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8.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9.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0.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1.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2.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3.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4.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16.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charts/chart3.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25" r:id="rId5"/>
    <p:sldMasterId id="2147484475" r:id="rId6"/>
    <p:sldMasterId id="2147484503" r:id="rId7"/>
    <p:sldMasterId id="2147484531" r:id="rId8"/>
    <p:sldMasterId id="2147484559" r:id="rId9"/>
    <p:sldMasterId id="2147484587" r:id="rId10"/>
    <p:sldMasterId id="2147484616" r:id="rId11"/>
    <p:sldMasterId id="2147484645" r:id="rId12"/>
    <p:sldMasterId id="2147484673" r:id="rId13"/>
    <p:sldMasterId id="2147484786" r:id="rId14"/>
    <p:sldMasterId id="2147484813" r:id="rId15"/>
    <p:sldMasterId id="2147484821" r:id="rId16"/>
    <p:sldMasterId id="2147484845" r:id="rId17"/>
    <p:sldMasterId id="2147484872" r:id="rId18"/>
    <p:sldMasterId id="2147484893" r:id="rId19"/>
    <p:sldMasterId id="2147484962" r:id="rId20"/>
    <p:sldMasterId id="2147484995" r:id="rId21"/>
  </p:sldMasterIdLst>
  <p:notesMasterIdLst>
    <p:notesMasterId r:id="rId55"/>
  </p:notesMasterIdLst>
  <p:handoutMasterIdLst>
    <p:handoutMasterId r:id="rId56"/>
  </p:handoutMasterIdLst>
  <p:sldIdLst>
    <p:sldId id="340" r:id="rId22"/>
    <p:sldId id="744" r:id="rId23"/>
    <p:sldId id="746" r:id="rId24"/>
    <p:sldId id="785" r:id="rId25"/>
    <p:sldId id="747" r:id="rId26"/>
    <p:sldId id="748" r:id="rId27"/>
    <p:sldId id="749" r:id="rId28"/>
    <p:sldId id="750" r:id="rId29"/>
    <p:sldId id="751" r:id="rId30"/>
    <p:sldId id="752" r:id="rId31"/>
    <p:sldId id="753" r:id="rId32"/>
    <p:sldId id="754" r:id="rId33"/>
    <p:sldId id="755" r:id="rId34"/>
    <p:sldId id="756" r:id="rId35"/>
    <p:sldId id="757" r:id="rId36"/>
    <p:sldId id="758" r:id="rId37"/>
    <p:sldId id="759" r:id="rId38"/>
    <p:sldId id="761" r:id="rId39"/>
    <p:sldId id="762" r:id="rId40"/>
    <p:sldId id="780" r:id="rId41"/>
    <p:sldId id="782" r:id="rId42"/>
    <p:sldId id="781" r:id="rId43"/>
    <p:sldId id="783" r:id="rId44"/>
    <p:sldId id="768" r:id="rId45"/>
    <p:sldId id="771" r:id="rId46"/>
    <p:sldId id="772" r:id="rId47"/>
    <p:sldId id="773" r:id="rId48"/>
    <p:sldId id="774" r:id="rId49"/>
    <p:sldId id="775" r:id="rId50"/>
    <p:sldId id="776" r:id="rId51"/>
    <p:sldId id="777" r:id="rId52"/>
    <p:sldId id="778" r:id="rId53"/>
    <p:sldId id="779" r:id="rId54"/>
  </p:sldIdLst>
  <p:sldSz cx="12436475" cy="6994525"/>
  <p:notesSz cx="6858000" cy="9144000"/>
  <p:custDataLst>
    <p:tags r:id="rId57"/>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oT Predictive Maintenance" id="{E68806EA-BD86-4D47-9F95-73D250BCC724}">
          <p14:sldIdLst>
            <p14:sldId id="340"/>
            <p14:sldId id="744"/>
            <p14:sldId id="746"/>
            <p14:sldId id="785"/>
            <p14:sldId id="747"/>
            <p14:sldId id="748"/>
            <p14:sldId id="749"/>
            <p14:sldId id="750"/>
            <p14:sldId id="751"/>
            <p14:sldId id="752"/>
            <p14:sldId id="753"/>
            <p14:sldId id="754"/>
            <p14:sldId id="755"/>
            <p14:sldId id="756"/>
            <p14:sldId id="757"/>
            <p14:sldId id="758"/>
            <p14:sldId id="759"/>
            <p14:sldId id="761"/>
            <p14:sldId id="762"/>
            <p14:sldId id="780"/>
            <p14:sldId id="782"/>
            <p14:sldId id="781"/>
            <p14:sldId id="783"/>
            <p14:sldId id="768"/>
            <p14:sldId id="771"/>
            <p14:sldId id="772"/>
            <p14:sldId id="773"/>
            <p14:sldId id="774"/>
            <p14:sldId id="775"/>
            <p14:sldId id="776"/>
            <p14:sldId id="777"/>
            <p14:sldId id="778"/>
            <p14:sldId id="7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Ben Johnson" initials="BJ" lastIdx="83" clrIdx="3">
    <p:extLst>
      <p:ext uri="{19B8F6BF-5375-455C-9EA6-DF929625EA0E}">
        <p15:presenceInfo xmlns:p15="http://schemas.microsoft.com/office/powerpoint/2012/main" userId="Ben Johnson" providerId="None"/>
      </p:ext>
    </p:extLst>
  </p:cmAuthor>
  <p:cmAuthor id="4" name="Sunil Tahilramani" initials="ST" lastIdx="1" clrIdx="4">
    <p:extLst>
      <p:ext uri="{19B8F6BF-5375-455C-9EA6-DF929625EA0E}">
        <p15:presenceInfo xmlns:p15="http://schemas.microsoft.com/office/powerpoint/2012/main" userId="S-1-5-21-124525095-708259637-1543119021-1153954" providerId="AD"/>
      </p:ext>
    </p:extLst>
  </p:cmAuthor>
  <p:cmAuthor id="5" name="Hannah Rames" initials="HR" lastIdx="3" clrIdx="5">
    <p:extLst>
      <p:ext uri="{19B8F6BF-5375-455C-9EA6-DF929625EA0E}">
        <p15:presenceInfo xmlns:p15="http://schemas.microsoft.com/office/powerpoint/2012/main" userId="def363eaf2d4bf6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92AF"/>
    <a:srgbClr val="0050A9"/>
    <a:srgbClr val="676565"/>
    <a:srgbClr val="00BCF2"/>
    <a:srgbClr val="BFBFBF"/>
    <a:srgbClr val="F2F2F2"/>
    <a:srgbClr val="505050"/>
    <a:srgbClr val="0033CC"/>
    <a:srgbClr val="0072C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5" autoAdjust="0"/>
    <p:restoredTop sz="75425" autoAdjust="0"/>
  </p:normalViewPr>
  <p:slideViewPr>
    <p:cSldViewPr snapToGrid="0">
      <p:cViewPr varScale="1">
        <p:scale>
          <a:sx n="70" d="100"/>
          <a:sy n="70" d="100"/>
        </p:scale>
        <p:origin x="676" y="6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7.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notesMaster" Target="notesMasters/notesMaster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8.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handoutMaster" Target="handoutMasters/handoutMaster1.xml"/><Relationship Id="rId8" Type="http://schemas.openxmlformats.org/officeDocument/2006/relationships/slideMaster" Target="slideMasters/slideMaster4.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2.bin"/></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keduggar_microsoft_com/Documents/Trane/machine-learning.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https://microsoft-my.sharepoint.com/personal/keduggar_microsoft_com/Documents/Trane/machine-learning.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Segoe UI Light" panose="020B0502040204020203" pitchFamily="34" charset="0"/>
                <a:cs typeface="Segoe UI Light" panose="020B0502040204020203" pitchFamily="34" charset="0"/>
              </a:rPr>
              <a:t>actual load vs temperature</a:t>
            </a:r>
          </a:p>
        </c:rich>
      </c:tx>
      <c:overlay val="0"/>
    </c:title>
    <c:autoTitleDeleted val="0"/>
    <c:plotArea>
      <c:layout/>
      <c:scatterChart>
        <c:scatterStyle val="lineMarker"/>
        <c:varyColors val="0"/>
        <c:ser>
          <c:idx val="0"/>
          <c:order val="0"/>
          <c:tx>
            <c:strRef>
              <c:f>oadtvsh!$O$1</c:f>
              <c:strCache>
                <c:ptCount val="1"/>
                <c:pt idx="0">
                  <c:v>GLOAD</c:v>
                </c:pt>
              </c:strCache>
            </c:strRef>
          </c:tx>
          <c:spPr>
            <a:ln w="31750">
              <a:noFill/>
            </a:ln>
          </c:spPr>
          <c:marker>
            <c:symbol val="circle"/>
            <c:size val="2"/>
          </c:marker>
          <c:trendline>
            <c:trendlineType val="linear"/>
            <c:dispRSqr val="1"/>
            <c:dispEq val="1"/>
            <c:trendlineLbl>
              <c:layout>
                <c:manualLayout>
                  <c:x val="-0.32645810200927777"/>
                  <c:y val="-0.19417533036084181"/>
                </c:manualLayout>
              </c:layout>
              <c:tx>
                <c:rich>
                  <a:bodyPr/>
                  <a:lstStyle/>
                  <a:p>
                    <a:pPr>
                      <a:defRPr/>
                    </a:pPr>
                    <a:r>
                      <a:rPr lang="en-US" sz="3600" baseline="0" dirty="0">
                        <a:latin typeface="Segoe UI Light" panose="020B0502040204020203" pitchFamily="34" charset="0"/>
                        <a:cs typeface="Segoe UI Light" panose="020B0502040204020203" pitchFamily="34" charset="0"/>
                      </a:rPr>
                      <a:t>y = 15.987x - 721.69</a:t>
                    </a:r>
                    <a:br>
                      <a:rPr lang="en-US" sz="3600" baseline="0" dirty="0">
                        <a:latin typeface="Segoe UI Light" panose="020B0502040204020203" pitchFamily="34" charset="0"/>
                        <a:cs typeface="Segoe UI Light" panose="020B0502040204020203" pitchFamily="34" charset="0"/>
                      </a:rPr>
                    </a:br>
                    <a:r>
                      <a:rPr lang="en-US" sz="3600" baseline="0" dirty="0">
                        <a:latin typeface="Segoe UI Light" panose="020B0502040204020203" pitchFamily="34" charset="0"/>
                        <a:cs typeface="Segoe UI Light" panose="020B0502040204020203" pitchFamily="34" charset="0"/>
                      </a:rPr>
                      <a:t>R² = 0.4678</a:t>
                    </a:r>
                    <a:endParaRPr lang="en-US" sz="3600" dirty="0">
                      <a:latin typeface="Segoe UI Light" panose="020B0502040204020203" pitchFamily="34" charset="0"/>
                      <a:cs typeface="Segoe UI Light" panose="020B0502040204020203" pitchFamily="34" charset="0"/>
                    </a:endParaRPr>
                  </a:p>
                </c:rich>
              </c:tx>
              <c:numFmt formatCode="General" sourceLinked="0"/>
            </c:trendlineLbl>
          </c:trendline>
          <c:xVal>
            <c:numRef>
              <c:f>oadtvsh!$N$2:$N$21342</c:f>
              <c:numCache>
                <c:formatCode>General</c:formatCode>
                <c:ptCount val="21341"/>
                <c:pt idx="0">
                  <c:v>61.5</c:v>
                </c:pt>
                <c:pt idx="1">
                  <c:v>61</c:v>
                </c:pt>
                <c:pt idx="2">
                  <c:v>61.5</c:v>
                </c:pt>
                <c:pt idx="3">
                  <c:v>62.4</c:v>
                </c:pt>
                <c:pt idx="4">
                  <c:v>62.2</c:v>
                </c:pt>
                <c:pt idx="5">
                  <c:v>61</c:v>
                </c:pt>
                <c:pt idx="6">
                  <c:v>59.4</c:v>
                </c:pt>
                <c:pt idx="7">
                  <c:v>59.5</c:v>
                </c:pt>
                <c:pt idx="8">
                  <c:v>59.5</c:v>
                </c:pt>
                <c:pt idx="9">
                  <c:v>58.5</c:v>
                </c:pt>
                <c:pt idx="10">
                  <c:v>57.7</c:v>
                </c:pt>
                <c:pt idx="11">
                  <c:v>57.7</c:v>
                </c:pt>
                <c:pt idx="12">
                  <c:v>57.6</c:v>
                </c:pt>
                <c:pt idx="13">
                  <c:v>56.5</c:v>
                </c:pt>
                <c:pt idx="14">
                  <c:v>50.9</c:v>
                </c:pt>
                <c:pt idx="15">
                  <c:v>52.2</c:v>
                </c:pt>
                <c:pt idx="16">
                  <c:v>53.8</c:v>
                </c:pt>
                <c:pt idx="17">
                  <c:v>54.5</c:v>
                </c:pt>
                <c:pt idx="18">
                  <c:v>54.9</c:v>
                </c:pt>
                <c:pt idx="19">
                  <c:v>55.8</c:v>
                </c:pt>
                <c:pt idx="20">
                  <c:v>57.7</c:v>
                </c:pt>
                <c:pt idx="21">
                  <c:v>57.4</c:v>
                </c:pt>
                <c:pt idx="22">
                  <c:v>59.4</c:v>
                </c:pt>
                <c:pt idx="23">
                  <c:v>59.2</c:v>
                </c:pt>
                <c:pt idx="24">
                  <c:v>59.9</c:v>
                </c:pt>
                <c:pt idx="25">
                  <c:v>59</c:v>
                </c:pt>
                <c:pt idx="26">
                  <c:v>59.2</c:v>
                </c:pt>
                <c:pt idx="27">
                  <c:v>61</c:v>
                </c:pt>
                <c:pt idx="28">
                  <c:v>62.1</c:v>
                </c:pt>
                <c:pt idx="29">
                  <c:v>61.5</c:v>
                </c:pt>
                <c:pt idx="30">
                  <c:v>63</c:v>
                </c:pt>
                <c:pt idx="31">
                  <c:v>62.6</c:v>
                </c:pt>
                <c:pt idx="32">
                  <c:v>62.2</c:v>
                </c:pt>
                <c:pt idx="33">
                  <c:v>62.2</c:v>
                </c:pt>
                <c:pt idx="34">
                  <c:v>63</c:v>
                </c:pt>
                <c:pt idx="35">
                  <c:v>63.5</c:v>
                </c:pt>
                <c:pt idx="36">
                  <c:v>63.5</c:v>
                </c:pt>
                <c:pt idx="37">
                  <c:v>63.5</c:v>
                </c:pt>
                <c:pt idx="38">
                  <c:v>62.4</c:v>
                </c:pt>
                <c:pt idx="39">
                  <c:v>62.1</c:v>
                </c:pt>
                <c:pt idx="40">
                  <c:v>59.7</c:v>
                </c:pt>
                <c:pt idx="41">
                  <c:v>57.7</c:v>
                </c:pt>
                <c:pt idx="42">
                  <c:v>62.4</c:v>
                </c:pt>
                <c:pt idx="43">
                  <c:v>63.5</c:v>
                </c:pt>
                <c:pt idx="44">
                  <c:v>64.599999999999994</c:v>
                </c:pt>
                <c:pt idx="45">
                  <c:v>65.5</c:v>
                </c:pt>
                <c:pt idx="46">
                  <c:v>65.3</c:v>
                </c:pt>
                <c:pt idx="47">
                  <c:v>65.7</c:v>
                </c:pt>
                <c:pt idx="48">
                  <c:v>67.3</c:v>
                </c:pt>
                <c:pt idx="49">
                  <c:v>66.900000000000006</c:v>
                </c:pt>
                <c:pt idx="50">
                  <c:v>67.3</c:v>
                </c:pt>
                <c:pt idx="51">
                  <c:v>68</c:v>
                </c:pt>
                <c:pt idx="52">
                  <c:v>68.2</c:v>
                </c:pt>
                <c:pt idx="53">
                  <c:v>68.5</c:v>
                </c:pt>
                <c:pt idx="54">
                  <c:v>68.2</c:v>
                </c:pt>
                <c:pt idx="55">
                  <c:v>68.2</c:v>
                </c:pt>
                <c:pt idx="56">
                  <c:v>68.400000000000006</c:v>
                </c:pt>
                <c:pt idx="57">
                  <c:v>68.7</c:v>
                </c:pt>
                <c:pt idx="58">
                  <c:v>68.400000000000006</c:v>
                </c:pt>
                <c:pt idx="59">
                  <c:v>68.400000000000006</c:v>
                </c:pt>
                <c:pt idx="60">
                  <c:v>68</c:v>
                </c:pt>
                <c:pt idx="61">
                  <c:v>67.599999999999994</c:v>
                </c:pt>
                <c:pt idx="62">
                  <c:v>67.099999999999994</c:v>
                </c:pt>
                <c:pt idx="63">
                  <c:v>66.900000000000006</c:v>
                </c:pt>
                <c:pt idx="64">
                  <c:v>65.8</c:v>
                </c:pt>
                <c:pt idx="65">
                  <c:v>64.8</c:v>
                </c:pt>
                <c:pt idx="66">
                  <c:v>64</c:v>
                </c:pt>
                <c:pt idx="67">
                  <c:v>63</c:v>
                </c:pt>
                <c:pt idx="68">
                  <c:v>62.6</c:v>
                </c:pt>
                <c:pt idx="69">
                  <c:v>61.9</c:v>
                </c:pt>
                <c:pt idx="70">
                  <c:v>61</c:v>
                </c:pt>
                <c:pt idx="71">
                  <c:v>61</c:v>
                </c:pt>
                <c:pt idx="72">
                  <c:v>63.9</c:v>
                </c:pt>
                <c:pt idx="73">
                  <c:v>63.5</c:v>
                </c:pt>
                <c:pt idx="74">
                  <c:v>64.400000000000006</c:v>
                </c:pt>
                <c:pt idx="75">
                  <c:v>63.5</c:v>
                </c:pt>
                <c:pt idx="76">
                  <c:v>63</c:v>
                </c:pt>
                <c:pt idx="77">
                  <c:v>65.3</c:v>
                </c:pt>
                <c:pt idx="78">
                  <c:v>65.7</c:v>
                </c:pt>
                <c:pt idx="79">
                  <c:v>66</c:v>
                </c:pt>
                <c:pt idx="80">
                  <c:v>65.5</c:v>
                </c:pt>
                <c:pt idx="81">
                  <c:v>67.099999999999994</c:v>
                </c:pt>
                <c:pt idx="82">
                  <c:v>67.099999999999994</c:v>
                </c:pt>
                <c:pt idx="83">
                  <c:v>67.099999999999994</c:v>
                </c:pt>
                <c:pt idx="84">
                  <c:v>66.900000000000006</c:v>
                </c:pt>
                <c:pt idx="85">
                  <c:v>68.5</c:v>
                </c:pt>
                <c:pt idx="86">
                  <c:v>69.8</c:v>
                </c:pt>
                <c:pt idx="87">
                  <c:v>69.3</c:v>
                </c:pt>
                <c:pt idx="88">
                  <c:v>69.400000000000006</c:v>
                </c:pt>
                <c:pt idx="89">
                  <c:v>71.2</c:v>
                </c:pt>
                <c:pt idx="90">
                  <c:v>70.900000000000006</c:v>
                </c:pt>
                <c:pt idx="91">
                  <c:v>70</c:v>
                </c:pt>
                <c:pt idx="92">
                  <c:v>69.400000000000006</c:v>
                </c:pt>
                <c:pt idx="93">
                  <c:v>72.3</c:v>
                </c:pt>
                <c:pt idx="94">
                  <c:v>72</c:v>
                </c:pt>
                <c:pt idx="95">
                  <c:v>71.2</c:v>
                </c:pt>
                <c:pt idx="96">
                  <c:v>70.7</c:v>
                </c:pt>
                <c:pt idx="97">
                  <c:v>70.5</c:v>
                </c:pt>
                <c:pt idx="98">
                  <c:v>72.099999999999994</c:v>
                </c:pt>
                <c:pt idx="99">
                  <c:v>70.5</c:v>
                </c:pt>
                <c:pt idx="100">
                  <c:v>69.400000000000006</c:v>
                </c:pt>
                <c:pt idx="101">
                  <c:v>69.3</c:v>
                </c:pt>
                <c:pt idx="102">
                  <c:v>68.400000000000006</c:v>
                </c:pt>
                <c:pt idx="103">
                  <c:v>67.8</c:v>
                </c:pt>
                <c:pt idx="104">
                  <c:v>67.3</c:v>
                </c:pt>
                <c:pt idx="105">
                  <c:v>66.7</c:v>
                </c:pt>
                <c:pt idx="106">
                  <c:v>66.400000000000006</c:v>
                </c:pt>
                <c:pt idx="107">
                  <c:v>65.8</c:v>
                </c:pt>
                <c:pt idx="108">
                  <c:v>66</c:v>
                </c:pt>
                <c:pt idx="109">
                  <c:v>65.7</c:v>
                </c:pt>
                <c:pt idx="110">
                  <c:v>65.7</c:v>
                </c:pt>
                <c:pt idx="111">
                  <c:v>65.099999999999994</c:v>
                </c:pt>
                <c:pt idx="112">
                  <c:v>64.900000000000006</c:v>
                </c:pt>
                <c:pt idx="113">
                  <c:v>64.8</c:v>
                </c:pt>
                <c:pt idx="114">
                  <c:v>64.400000000000006</c:v>
                </c:pt>
                <c:pt idx="115">
                  <c:v>64.400000000000006</c:v>
                </c:pt>
                <c:pt idx="116">
                  <c:v>64</c:v>
                </c:pt>
                <c:pt idx="117">
                  <c:v>63.9</c:v>
                </c:pt>
                <c:pt idx="118">
                  <c:v>63.7</c:v>
                </c:pt>
                <c:pt idx="119">
                  <c:v>63.3</c:v>
                </c:pt>
                <c:pt idx="120">
                  <c:v>63.3</c:v>
                </c:pt>
                <c:pt idx="121">
                  <c:v>63.5</c:v>
                </c:pt>
                <c:pt idx="122">
                  <c:v>63.5</c:v>
                </c:pt>
                <c:pt idx="123">
                  <c:v>63.7</c:v>
                </c:pt>
                <c:pt idx="124">
                  <c:v>63.5</c:v>
                </c:pt>
                <c:pt idx="125">
                  <c:v>63.3</c:v>
                </c:pt>
                <c:pt idx="126">
                  <c:v>63.3</c:v>
                </c:pt>
                <c:pt idx="127">
                  <c:v>63.3</c:v>
                </c:pt>
                <c:pt idx="128">
                  <c:v>63.3</c:v>
                </c:pt>
                <c:pt idx="129">
                  <c:v>63.1</c:v>
                </c:pt>
                <c:pt idx="130">
                  <c:v>63.1</c:v>
                </c:pt>
                <c:pt idx="131">
                  <c:v>63.3</c:v>
                </c:pt>
                <c:pt idx="132">
                  <c:v>63.3</c:v>
                </c:pt>
                <c:pt idx="133">
                  <c:v>63.3</c:v>
                </c:pt>
                <c:pt idx="134">
                  <c:v>63.5</c:v>
                </c:pt>
                <c:pt idx="135">
                  <c:v>63.3</c:v>
                </c:pt>
                <c:pt idx="136">
                  <c:v>63.5</c:v>
                </c:pt>
                <c:pt idx="137">
                  <c:v>63.3</c:v>
                </c:pt>
                <c:pt idx="138">
                  <c:v>63</c:v>
                </c:pt>
                <c:pt idx="139">
                  <c:v>62.2</c:v>
                </c:pt>
                <c:pt idx="140">
                  <c:v>62.2</c:v>
                </c:pt>
                <c:pt idx="141">
                  <c:v>61.9</c:v>
                </c:pt>
                <c:pt idx="142">
                  <c:v>61.9</c:v>
                </c:pt>
                <c:pt idx="143">
                  <c:v>61.9</c:v>
                </c:pt>
                <c:pt idx="144">
                  <c:v>61.7</c:v>
                </c:pt>
                <c:pt idx="145">
                  <c:v>61.3</c:v>
                </c:pt>
                <c:pt idx="146">
                  <c:v>61.2</c:v>
                </c:pt>
                <c:pt idx="147">
                  <c:v>61.3</c:v>
                </c:pt>
                <c:pt idx="148">
                  <c:v>61.3</c:v>
                </c:pt>
                <c:pt idx="149">
                  <c:v>61.5</c:v>
                </c:pt>
                <c:pt idx="150">
                  <c:v>61.5</c:v>
                </c:pt>
                <c:pt idx="151">
                  <c:v>61.5</c:v>
                </c:pt>
                <c:pt idx="152">
                  <c:v>61.3</c:v>
                </c:pt>
                <c:pt idx="153">
                  <c:v>61.3</c:v>
                </c:pt>
                <c:pt idx="154">
                  <c:v>61.3</c:v>
                </c:pt>
                <c:pt idx="155">
                  <c:v>61.3</c:v>
                </c:pt>
                <c:pt idx="156">
                  <c:v>61.2</c:v>
                </c:pt>
                <c:pt idx="157">
                  <c:v>61.3</c:v>
                </c:pt>
                <c:pt idx="158">
                  <c:v>61.3</c:v>
                </c:pt>
                <c:pt idx="159">
                  <c:v>61.2</c:v>
                </c:pt>
                <c:pt idx="160">
                  <c:v>61.2</c:v>
                </c:pt>
                <c:pt idx="161">
                  <c:v>61.3</c:v>
                </c:pt>
                <c:pt idx="162">
                  <c:v>61.5</c:v>
                </c:pt>
                <c:pt idx="163">
                  <c:v>61.7</c:v>
                </c:pt>
                <c:pt idx="164">
                  <c:v>61.7</c:v>
                </c:pt>
                <c:pt idx="165">
                  <c:v>62.1</c:v>
                </c:pt>
                <c:pt idx="166">
                  <c:v>62.4</c:v>
                </c:pt>
                <c:pt idx="167">
                  <c:v>62.8</c:v>
                </c:pt>
                <c:pt idx="168">
                  <c:v>63.3</c:v>
                </c:pt>
                <c:pt idx="169">
                  <c:v>64</c:v>
                </c:pt>
                <c:pt idx="170">
                  <c:v>65.5</c:v>
                </c:pt>
                <c:pt idx="171">
                  <c:v>66.599999999999994</c:v>
                </c:pt>
                <c:pt idx="172">
                  <c:v>68.2</c:v>
                </c:pt>
                <c:pt idx="173">
                  <c:v>69.8</c:v>
                </c:pt>
                <c:pt idx="174">
                  <c:v>67.8</c:v>
                </c:pt>
                <c:pt idx="175">
                  <c:v>69.3</c:v>
                </c:pt>
                <c:pt idx="176">
                  <c:v>70</c:v>
                </c:pt>
                <c:pt idx="177">
                  <c:v>70.900000000000006</c:v>
                </c:pt>
                <c:pt idx="178">
                  <c:v>72.099999999999994</c:v>
                </c:pt>
                <c:pt idx="179">
                  <c:v>71.400000000000006</c:v>
                </c:pt>
                <c:pt idx="180">
                  <c:v>73.599999999999994</c:v>
                </c:pt>
                <c:pt idx="181">
                  <c:v>72.7</c:v>
                </c:pt>
                <c:pt idx="182">
                  <c:v>73</c:v>
                </c:pt>
                <c:pt idx="183">
                  <c:v>74.099999999999994</c:v>
                </c:pt>
                <c:pt idx="184">
                  <c:v>74.5</c:v>
                </c:pt>
                <c:pt idx="185">
                  <c:v>75</c:v>
                </c:pt>
                <c:pt idx="186">
                  <c:v>73.8</c:v>
                </c:pt>
                <c:pt idx="187">
                  <c:v>75.7</c:v>
                </c:pt>
                <c:pt idx="188">
                  <c:v>77</c:v>
                </c:pt>
                <c:pt idx="189">
                  <c:v>76.8</c:v>
                </c:pt>
                <c:pt idx="190">
                  <c:v>75.400000000000006</c:v>
                </c:pt>
                <c:pt idx="191">
                  <c:v>76.5</c:v>
                </c:pt>
                <c:pt idx="192">
                  <c:v>74.5</c:v>
                </c:pt>
                <c:pt idx="193">
                  <c:v>73.599999999999994</c:v>
                </c:pt>
                <c:pt idx="194">
                  <c:v>73.599999999999994</c:v>
                </c:pt>
                <c:pt idx="195">
                  <c:v>74.5</c:v>
                </c:pt>
                <c:pt idx="196">
                  <c:v>73.8</c:v>
                </c:pt>
                <c:pt idx="197">
                  <c:v>72.3</c:v>
                </c:pt>
                <c:pt idx="198">
                  <c:v>71.2</c:v>
                </c:pt>
                <c:pt idx="199">
                  <c:v>69.599999999999994</c:v>
                </c:pt>
                <c:pt idx="200">
                  <c:v>68</c:v>
                </c:pt>
                <c:pt idx="201">
                  <c:v>66.2</c:v>
                </c:pt>
                <c:pt idx="202">
                  <c:v>65.5</c:v>
                </c:pt>
                <c:pt idx="203">
                  <c:v>64.900000000000006</c:v>
                </c:pt>
                <c:pt idx="204">
                  <c:v>64.400000000000006</c:v>
                </c:pt>
                <c:pt idx="205">
                  <c:v>63.9</c:v>
                </c:pt>
                <c:pt idx="206">
                  <c:v>63.5</c:v>
                </c:pt>
                <c:pt idx="207">
                  <c:v>62.8</c:v>
                </c:pt>
                <c:pt idx="208">
                  <c:v>61.7</c:v>
                </c:pt>
                <c:pt idx="209">
                  <c:v>60.8</c:v>
                </c:pt>
                <c:pt idx="210">
                  <c:v>60.3</c:v>
                </c:pt>
                <c:pt idx="211">
                  <c:v>61.3</c:v>
                </c:pt>
                <c:pt idx="212">
                  <c:v>60.8</c:v>
                </c:pt>
                <c:pt idx="213">
                  <c:v>61.7</c:v>
                </c:pt>
                <c:pt idx="214">
                  <c:v>61.9</c:v>
                </c:pt>
                <c:pt idx="215">
                  <c:v>61.5</c:v>
                </c:pt>
                <c:pt idx="216">
                  <c:v>61.2</c:v>
                </c:pt>
                <c:pt idx="217">
                  <c:v>61.3</c:v>
                </c:pt>
                <c:pt idx="218">
                  <c:v>61.3</c:v>
                </c:pt>
                <c:pt idx="219">
                  <c:v>60.8</c:v>
                </c:pt>
                <c:pt idx="220">
                  <c:v>61.5</c:v>
                </c:pt>
                <c:pt idx="221">
                  <c:v>62.1</c:v>
                </c:pt>
                <c:pt idx="222">
                  <c:v>62.1</c:v>
                </c:pt>
                <c:pt idx="223">
                  <c:v>63</c:v>
                </c:pt>
                <c:pt idx="224">
                  <c:v>63.3</c:v>
                </c:pt>
                <c:pt idx="225">
                  <c:v>63.3</c:v>
                </c:pt>
                <c:pt idx="226">
                  <c:v>63.5</c:v>
                </c:pt>
                <c:pt idx="227">
                  <c:v>63.5</c:v>
                </c:pt>
                <c:pt idx="228">
                  <c:v>63.5</c:v>
                </c:pt>
                <c:pt idx="229">
                  <c:v>63.5</c:v>
                </c:pt>
                <c:pt idx="230">
                  <c:v>63.5</c:v>
                </c:pt>
                <c:pt idx="231">
                  <c:v>63.3</c:v>
                </c:pt>
                <c:pt idx="232">
                  <c:v>63.3</c:v>
                </c:pt>
                <c:pt idx="233">
                  <c:v>63.3</c:v>
                </c:pt>
                <c:pt idx="234">
                  <c:v>63.3</c:v>
                </c:pt>
                <c:pt idx="235">
                  <c:v>63.3</c:v>
                </c:pt>
                <c:pt idx="236">
                  <c:v>63</c:v>
                </c:pt>
                <c:pt idx="237">
                  <c:v>62.8</c:v>
                </c:pt>
                <c:pt idx="238">
                  <c:v>62.8</c:v>
                </c:pt>
                <c:pt idx="239">
                  <c:v>62.8</c:v>
                </c:pt>
                <c:pt idx="240">
                  <c:v>62.4</c:v>
                </c:pt>
                <c:pt idx="241">
                  <c:v>62.4</c:v>
                </c:pt>
                <c:pt idx="242">
                  <c:v>62.2</c:v>
                </c:pt>
                <c:pt idx="243">
                  <c:v>61.9</c:v>
                </c:pt>
                <c:pt idx="244">
                  <c:v>61.9</c:v>
                </c:pt>
                <c:pt idx="245">
                  <c:v>61.7</c:v>
                </c:pt>
                <c:pt idx="246">
                  <c:v>61.3</c:v>
                </c:pt>
                <c:pt idx="247">
                  <c:v>61.3</c:v>
                </c:pt>
                <c:pt idx="248">
                  <c:v>61.3</c:v>
                </c:pt>
                <c:pt idx="249">
                  <c:v>62.1</c:v>
                </c:pt>
                <c:pt idx="250">
                  <c:v>63.1</c:v>
                </c:pt>
                <c:pt idx="251">
                  <c:v>65.099999999999994</c:v>
                </c:pt>
                <c:pt idx="252">
                  <c:v>65.5</c:v>
                </c:pt>
                <c:pt idx="253">
                  <c:v>65.3</c:v>
                </c:pt>
                <c:pt idx="254">
                  <c:v>66.599999999999994</c:v>
                </c:pt>
                <c:pt idx="255">
                  <c:v>66.7</c:v>
                </c:pt>
                <c:pt idx="256">
                  <c:v>66</c:v>
                </c:pt>
                <c:pt idx="257">
                  <c:v>68.7</c:v>
                </c:pt>
                <c:pt idx="258">
                  <c:v>70.2</c:v>
                </c:pt>
                <c:pt idx="259">
                  <c:v>71.8</c:v>
                </c:pt>
                <c:pt idx="260">
                  <c:v>72.900000000000006</c:v>
                </c:pt>
                <c:pt idx="261">
                  <c:v>73.900000000000006</c:v>
                </c:pt>
                <c:pt idx="262">
                  <c:v>74.8</c:v>
                </c:pt>
                <c:pt idx="263">
                  <c:v>74.7</c:v>
                </c:pt>
                <c:pt idx="264">
                  <c:v>73.599999999999994</c:v>
                </c:pt>
                <c:pt idx="265">
                  <c:v>74.5</c:v>
                </c:pt>
                <c:pt idx="266">
                  <c:v>76.099999999999994</c:v>
                </c:pt>
                <c:pt idx="267">
                  <c:v>76.599999999999994</c:v>
                </c:pt>
                <c:pt idx="268">
                  <c:v>71.599999999999994</c:v>
                </c:pt>
                <c:pt idx="269">
                  <c:v>75</c:v>
                </c:pt>
                <c:pt idx="270">
                  <c:v>75.900000000000006</c:v>
                </c:pt>
                <c:pt idx="271">
                  <c:v>74.7</c:v>
                </c:pt>
                <c:pt idx="272">
                  <c:v>75.2</c:v>
                </c:pt>
                <c:pt idx="273">
                  <c:v>76.5</c:v>
                </c:pt>
                <c:pt idx="274">
                  <c:v>74.7</c:v>
                </c:pt>
                <c:pt idx="275">
                  <c:v>74.7</c:v>
                </c:pt>
                <c:pt idx="276">
                  <c:v>74.7</c:v>
                </c:pt>
                <c:pt idx="277">
                  <c:v>71.099999999999994</c:v>
                </c:pt>
                <c:pt idx="278">
                  <c:v>70</c:v>
                </c:pt>
                <c:pt idx="279">
                  <c:v>70.7</c:v>
                </c:pt>
                <c:pt idx="280">
                  <c:v>71.099999999999994</c:v>
                </c:pt>
                <c:pt idx="281">
                  <c:v>70.900000000000006</c:v>
                </c:pt>
                <c:pt idx="282">
                  <c:v>70</c:v>
                </c:pt>
                <c:pt idx="283">
                  <c:v>69.400000000000006</c:v>
                </c:pt>
                <c:pt idx="284">
                  <c:v>68.5</c:v>
                </c:pt>
                <c:pt idx="285">
                  <c:v>68.400000000000006</c:v>
                </c:pt>
                <c:pt idx="286">
                  <c:v>68.400000000000006</c:v>
                </c:pt>
                <c:pt idx="287">
                  <c:v>69.099999999999994</c:v>
                </c:pt>
                <c:pt idx="288">
                  <c:v>69.099999999999994</c:v>
                </c:pt>
                <c:pt idx="289">
                  <c:v>69.099999999999994</c:v>
                </c:pt>
                <c:pt idx="290">
                  <c:v>69.400000000000006</c:v>
                </c:pt>
                <c:pt idx="291">
                  <c:v>69.3</c:v>
                </c:pt>
                <c:pt idx="292">
                  <c:v>69.099999999999994</c:v>
                </c:pt>
                <c:pt idx="293">
                  <c:v>68.5</c:v>
                </c:pt>
                <c:pt idx="294">
                  <c:v>67.099999999999994</c:v>
                </c:pt>
                <c:pt idx="295">
                  <c:v>67.099999999999994</c:v>
                </c:pt>
                <c:pt idx="296">
                  <c:v>66.900000000000006</c:v>
                </c:pt>
                <c:pt idx="297">
                  <c:v>66.900000000000006</c:v>
                </c:pt>
                <c:pt idx="298">
                  <c:v>66.900000000000006</c:v>
                </c:pt>
                <c:pt idx="299">
                  <c:v>66.7</c:v>
                </c:pt>
                <c:pt idx="300">
                  <c:v>66.7</c:v>
                </c:pt>
                <c:pt idx="301">
                  <c:v>66.400000000000006</c:v>
                </c:pt>
                <c:pt idx="302">
                  <c:v>66.400000000000006</c:v>
                </c:pt>
                <c:pt idx="303">
                  <c:v>66.7</c:v>
                </c:pt>
                <c:pt idx="304">
                  <c:v>66.7</c:v>
                </c:pt>
                <c:pt idx="305">
                  <c:v>66.7</c:v>
                </c:pt>
                <c:pt idx="306">
                  <c:v>66.599999999999994</c:v>
                </c:pt>
                <c:pt idx="307">
                  <c:v>66.7</c:v>
                </c:pt>
                <c:pt idx="308">
                  <c:v>66.900000000000006</c:v>
                </c:pt>
                <c:pt idx="309">
                  <c:v>66.900000000000006</c:v>
                </c:pt>
                <c:pt idx="310">
                  <c:v>67.099999999999994</c:v>
                </c:pt>
                <c:pt idx="311">
                  <c:v>67.599999999999994</c:v>
                </c:pt>
                <c:pt idx="312">
                  <c:v>67.599999999999994</c:v>
                </c:pt>
                <c:pt idx="313">
                  <c:v>67.5</c:v>
                </c:pt>
                <c:pt idx="314">
                  <c:v>66.900000000000006</c:v>
                </c:pt>
                <c:pt idx="315">
                  <c:v>66.900000000000006</c:v>
                </c:pt>
                <c:pt idx="316">
                  <c:v>67.3</c:v>
                </c:pt>
                <c:pt idx="317">
                  <c:v>68.5</c:v>
                </c:pt>
                <c:pt idx="318">
                  <c:v>68.400000000000006</c:v>
                </c:pt>
                <c:pt idx="319">
                  <c:v>68.400000000000006</c:v>
                </c:pt>
                <c:pt idx="320">
                  <c:v>68.400000000000006</c:v>
                </c:pt>
                <c:pt idx="321">
                  <c:v>68.7</c:v>
                </c:pt>
                <c:pt idx="322">
                  <c:v>58.3</c:v>
                </c:pt>
                <c:pt idx="323">
                  <c:v>57.7</c:v>
                </c:pt>
                <c:pt idx="324">
                  <c:v>58.5</c:v>
                </c:pt>
                <c:pt idx="325">
                  <c:v>61.3</c:v>
                </c:pt>
                <c:pt idx="326">
                  <c:v>61.2</c:v>
                </c:pt>
                <c:pt idx="327">
                  <c:v>60.1</c:v>
                </c:pt>
                <c:pt idx="328">
                  <c:v>61.3</c:v>
                </c:pt>
                <c:pt idx="329">
                  <c:v>61.5</c:v>
                </c:pt>
                <c:pt idx="330">
                  <c:v>64.599999999999994</c:v>
                </c:pt>
                <c:pt idx="331">
                  <c:v>63.9</c:v>
                </c:pt>
                <c:pt idx="332">
                  <c:v>63.7</c:v>
                </c:pt>
                <c:pt idx="333">
                  <c:v>64.2</c:v>
                </c:pt>
                <c:pt idx="334">
                  <c:v>65.7</c:v>
                </c:pt>
                <c:pt idx="335">
                  <c:v>65.3</c:v>
                </c:pt>
                <c:pt idx="336">
                  <c:v>64.599999999999994</c:v>
                </c:pt>
                <c:pt idx="337">
                  <c:v>65.5</c:v>
                </c:pt>
                <c:pt idx="338">
                  <c:v>64</c:v>
                </c:pt>
                <c:pt idx="339">
                  <c:v>64</c:v>
                </c:pt>
                <c:pt idx="340">
                  <c:v>64.599999999999994</c:v>
                </c:pt>
                <c:pt idx="341">
                  <c:v>64.8</c:v>
                </c:pt>
                <c:pt idx="342">
                  <c:v>65.8</c:v>
                </c:pt>
                <c:pt idx="343">
                  <c:v>65.3</c:v>
                </c:pt>
                <c:pt idx="344">
                  <c:v>63.1</c:v>
                </c:pt>
                <c:pt idx="345">
                  <c:v>62.2</c:v>
                </c:pt>
                <c:pt idx="346">
                  <c:v>61</c:v>
                </c:pt>
                <c:pt idx="347">
                  <c:v>59.7</c:v>
                </c:pt>
                <c:pt idx="348">
                  <c:v>58.5</c:v>
                </c:pt>
                <c:pt idx="349">
                  <c:v>57.7</c:v>
                </c:pt>
                <c:pt idx="350">
                  <c:v>57.2</c:v>
                </c:pt>
                <c:pt idx="351">
                  <c:v>56.8</c:v>
                </c:pt>
                <c:pt idx="352">
                  <c:v>56.5</c:v>
                </c:pt>
                <c:pt idx="353">
                  <c:v>63.9</c:v>
                </c:pt>
                <c:pt idx="354">
                  <c:v>64</c:v>
                </c:pt>
                <c:pt idx="355">
                  <c:v>63</c:v>
                </c:pt>
                <c:pt idx="356">
                  <c:v>64</c:v>
                </c:pt>
                <c:pt idx="357">
                  <c:v>64.400000000000006</c:v>
                </c:pt>
                <c:pt idx="358">
                  <c:v>64.400000000000006</c:v>
                </c:pt>
                <c:pt idx="359">
                  <c:v>66.2</c:v>
                </c:pt>
                <c:pt idx="360">
                  <c:v>64.8</c:v>
                </c:pt>
                <c:pt idx="361">
                  <c:v>65.7</c:v>
                </c:pt>
                <c:pt idx="362">
                  <c:v>65.3</c:v>
                </c:pt>
                <c:pt idx="363">
                  <c:v>65.8</c:v>
                </c:pt>
                <c:pt idx="364">
                  <c:v>65.7</c:v>
                </c:pt>
                <c:pt idx="365">
                  <c:v>65.7</c:v>
                </c:pt>
                <c:pt idx="366">
                  <c:v>64.900000000000006</c:v>
                </c:pt>
                <c:pt idx="367">
                  <c:v>64.400000000000006</c:v>
                </c:pt>
                <c:pt idx="368">
                  <c:v>64.400000000000006</c:v>
                </c:pt>
                <c:pt idx="369">
                  <c:v>63.9</c:v>
                </c:pt>
                <c:pt idx="370">
                  <c:v>63.9</c:v>
                </c:pt>
                <c:pt idx="371">
                  <c:v>62.4</c:v>
                </c:pt>
                <c:pt idx="372">
                  <c:v>61.3</c:v>
                </c:pt>
                <c:pt idx="373">
                  <c:v>61.3</c:v>
                </c:pt>
                <c:pt idx="374">
                  <c:v>60.3</c:v>
                </c:pt>
                <c:pt idx="375">
                  <c:v>59.5</c:v>
                </c:pt>
                <c:pt idx="376">
                  <c:v>58.5</c:v>
                </c:pt>
                <c:pt idx="377">
                  <c:v>57.2</c:v>
                </c:pt>
                <c:pt idx="378">
                  <c:v>56.7</c:v>
                </c:pt>
                <c:pt idx="379">
                  <c:v>61.5</c:v>
                </c:pt>
                <c:pt idx="380">
                  <c:v>61.3</c:v>
                </c:pt>
                <c:pt idx="381">
                  <c:v>61.5</c:v>
                </c:pt>
                <c:pt idx="382">
                  <c:v>62.2</c:v>
                </c:pt>
                <c:pt idx="383">
                  <c:v>62.4</c:v>
                </c:pt>
                <c:pt idx="384">
                  <c:v>63.5</c:v>
                </c:pt>
                <c:pt idx="385">
                  <c:v>63.9</c:v>
                </c:pt>
                <c:pt idx="386">
                  <c:v>62.4</c:v>
                </c:pt>
                <c:pt idx="387">
                  <c:v>61.2</c:v>
                </c:pt>
                <c:pt idx="388">
                  <c:v>61.9</c:v>
                </c:pt>
                <c:pt idx="389">
                  <c:v>62.1</c:v>
                </c:pt>
                <c:pt idx="390">
                  <c:v>62.1</c:v>
                </c:pt>
                <c:pt idx="391">
                  <c:v>61.7</c:v>
                </c:pt>
                <c:pt idx="392">
                  <c:v>61.5</c:v>
                </c:pt>
                <c:pt idx="393">
                  <c:v>61</c:v>
                </c:pt>
                <c:pt idx="394">
                  <c:v>60.3</c:v>
                </c:pt>
                <c:pt idx="395">
                  <c:v>58.8</c:v>
                </c:pt>
                <c:pt idx="396">
                  <c:v>57.9</c:v>
                </c:pt>
                <c:pt idx="397">
                  <c:v>57.2</c:v>
                </c:pt>
                <c:pt idx="398">
                  <c:v>55.8</c:v>
                </c:pt>
                <c:pt idx="399">
                  <c:v>56.5</c:v>
                </c:pt>
                <c:pt idx="400">
                  <c:v>57.4</c:v>
                </c:pt>
                <c:pt idx="401">
                  <c:v>56.8</c:v>
                </c:pt>
                <c:pt idx="402">
                  <c:v>56.1</c:v>
                </c:pt>
                <c:pt idx="403">
                  <c:v>64.599999999999994</c:v>
                </c:pt>
                <c:pt idx="404">
                  <c:v>65.5</c:v>
                </c:pt>
                <c:pt idx="405">
                  <c:v>66.400000000000006</c:v>
                </c:pt>
                <c:pt idx="406">
                  <c:v>67.599999999999994</c:v>
                </c:pt>
                <c:pt idx="407">
                  <c:v>68.400000000000006</c:v>
                </c:pt>
                <c:pt idx="408">
                  <c:v>69.099999999999994</c:v>
                </c:pt>
                <c:pt idx="409">
                  <c:v>69.599999999999994</c:v>
                </c:pt>
                <c:pt idx="410">
                  <c:v>69.3</c:v>
                </c:pt>
                <c:pt idx="411">
                  <c:v>69.3</c:v>
                </c:pt>
                <c:pt idx="412">
                  <c:v>69.599999999999994</c:v>
                </c:pt>
                <c:pt idx="413">
                  <c:v>72</c:v>
                </c:pt>
                <c:pt idx="414">
                  <c:v>73.8</c:v>
                </c:pt>
                <c:pt idx="415">
                  <c:v>72.5</c:v>
                </c:pt>
                <c:pt idx="416">
                  <c:v>71.8</c:v>
                </c:pt>
                <c:pt idx="417">
                  <c:v>71.599999999999994</c:v>
                </c:pt>
                <c:pt idx="418">
                  <c:v>69.599999999999994</c:v>
                </c:pt>
                <c:pt idx="419">
                  <c:v>69.099999999999994</c:v>
                </c:pt>
                <c:pt idx="420">
                  <c:v>66.900000000000006</c:v>
                </c:pt>
                <c:pt idx="421">
                  <c:v>67.099999999999994</c:v>
                </c:pt>
                <c:pt idx="422">
                  <c:v>65.7</c:v>
                </c:pt>
                <c:pt idx="423">
                  <c:v>61.7</c:v>
                </c:pt>
                <c:pt idx="424">
                  <c:v>59</c:v>
                </c:pt>
                <c:pt idx="425">
                  <c:v>62.6</c:v>
                </c:pt>
                <c:pt idx="426">
                  <c:v>65.7</c:v>
                </c:pt>
                <c:pt idx="427">
                  <c:v>66.2</c:v>
                </c:pt>
                <c:pt idx="428">
                  <c:v>67.599999999999994</c:v>
                </c:pt>
                <c:pt idx="429">
                  <c:v>67.5</c:v>
                </c:pt>
                <c:pt idx="430">
                  <c:v>67.8</c:v>
                </c:pt>
                <c:pt idx="431">
                  <c:v>67.8</c:v>
                </c:pt>
                <c:pt idx="432">
                  <c:v>69.400000000000006</c:v>
                </c:pt>
                <c:pt idx="433">
                  <c:v>69.400000000000006</c:v>
                </c:pt>
                <c:pt idx="434">
                  <c:v>69.3</c:v>
                </c:pt>
                <c:pt idx="435">
                  <c:v>69.400000000000006</c:v>
                </c:pt>
                <c:pt idx="436">
                  <c:v>69.8</c:v>
                </c:pt>
                <c:pt idx="437">
                  <c:v>70.3</c:v>
                </c:pt>
                <c:pt idx="438">
                  <c:v>71.2</c:v>
                </c:pt>
                <c:pt idx="439">
                  <c:v>72.7</c:v>
                </c:pt>
                <c:pt idx="440">
                  <c:v>72.900000000000006</c:v>
                </c:pt>
                <c:pt idx="441">
                  <c:v>72.099999999999994</c:v>
                </c:pt>
                <c:pt idx="442">
                  <c:v>72.099999999999994</c:v>
                </c:pt>
                <c:pt idx="443">
                  <c:v>72.3</c:v>
                </c:pt>
                <c:pt idx="444">
                  <c:v>71.400000000000006</c:v>
                </c:pt>
                <c:pt idx="445">
                  <c:v>72.099999999999994</c:v>
                </c:pt>
                <c:pt idx="446">
                  <c:v>71.8</c:v>
                </c:pt>
                <c:pt idx="447">
                  <c:v>71.8</c:v>
                </c:pt>
                <c:pt idx="448">
                  <c:v>70.5</c:v>
                </c:pt>
                <c:pt idx="449">
                  <c:v>69.400000000000006</c:v>
                </c:pt>
                <c:pt idx="450">
                  <c:v>68.5</c:v>
                </c:pt>
                <c:pt idx="451">
                  <c:v>67.5</c:v>
                </c:pt>
                <c:pt idx="452">
                  <c:v>66.599999999999994</c:v>
                </c:pt>
                <c:pt idx="453">
                  <c:v>66</c:v>
                </c:pt>
                <c:pt idx="454">
                  <c:v>65.099999999999994</c:v>
                </c:pt>
                <c:pt idx="455">
                  <c:v>64.2</c:v>
                </c:pt>
                <c:pt idx="456">
                  <c:v>63.9</c:v>
                </c:pt>
                <c:pt idx="457">
                  <c:v>63.9</c:v>
                </c:pt>
                <c:pt idx="458">
                  <c:v>63</c:v>
                </c:pt>
                <c:pt idx="459">
                  <c:v>62.2</c:v>
                </c:pt>
                <c:pt idx="460">
                  <c:v>62.1</c:v>
                </c:pt>
                <c:pt idx="461">
                  <c:v>61.2</c:v>
                </c:pt>
                <c:pt idx="462">
                  <c:v>61</c:v>
                </c:pt>
                <c:pt idx="463">
                  <c:v>60.4</c:v>
                </c:pt>
                <c:pt idx="464">
                  <c:v>59.7</c:v>
                </c:pt>
                <c:pt idx="465">
                  <c:v>59.5</c:v>
                </c:pt>
                <c:pt idx="466">
                  <c:v>59.2</c:v>
                </c:pt>
                <c:pt idx="467">
                  <c:v>58.5</c:v>
                </c:pt>
                <c:pt idx="468">
                  <c:v>59.7</c:v>
                </c:pt>
                <c:pt idx="469">
                  <c:v>59.9</c:v>
                </c:pt>
                <c:pt idx="470">
                  <c:v>60.6</c:v>
                </c:pt>
                <c:pt idx="471">
                  <c:v>60.8</c:v>
                </c:pt>
                <c:pt idx="472">
                  <c:v>61.5</c:v>
                </c:pt>
                <c:pt idx="473">
                  <c:v>62.6</c:v>
                </c:pt>
                <c:pt idx="474">
                  <c:v>63.5</c:v>
                </c:pt>
                <c:pt idx="475">
                  <c:v>64.900000000000006</c:v>
                </c:pt>
                <c:pt idx="476">
                  <c:v>64.400000000000006</c:v>
                </c:pt>
                <c:pt idx="477">
                  <c:v>64.599999999999994</c:v>
                </c:pt>
                <c:pt idx="478">
                  <c:v>65.5</c:v>
                </c:pt>
                <c:pt idx="479">
                  <c:v>65.5</c:v>
                </c:pt>
                <c:pt idx="480">
                  <c:v>66.7</c:v>
                </c:pt>
                <c:pt idx="481">
                  <c:v>66.400000000000006</c:v>
                </c:pt>
                <c:pt idx="482">
                  <c:v>66.900000000000006</c:v>
                </c:pt>
                <c:pt idx="483">
                  <c:v>66.7</c:v>
                </c:pt>
                <c:pt idx="484">
                  <c:v>66.599999999999994</c:v>
                </c:pt>
                <c:pt idx="485">
                  <c:v>67.099999999999994</c:v>
                </c:pt>
                <c:pt idx="486">
                  <c:v>66.7</c:v>
                </c:pt>
                <c:pt idx="487">
                  <c:v>66.599999999999994</c:v>
                </c:pt>
                <c:pt idx="488">
                  <c:v>66.7</c:v>
                </c:pt>
                <c:pt idx="489">
                  <c:v>67.5</c:v>
                </c:pt>
                <c:pt idx="490">
                  <c:v>66.900000000000006</c:v>
                </c:pt>
                <c:pt idx="491">
                  <c:v>67.099999999999994</c:v>
                </c:pt>
                <c:pt idx="492">
                  <c:v>67.599999999999994</c:v>
                </c:pt>
                <c:pt idx="493">
                  <c:v>67.599999999999994</c:v>
                </c:pt>
                <c:pt idx="494">
                  <c:v>67.5</c:v>
                </c:pt>
                <c:pt idx="495">
                  <c:v>67.5</c:v>
                </c:pt>
                <c:pt idx="496">
                  <c:v>67.599999999999994</c:v>
                </c:pt>
                <c:pt idx="497">
                  <c:v>67.599999999999994</c:v>
                </c:pt>
                <c:pt idx="498">
                  <c:v>67.599999999999994</c:v>
                </c:pt>
                <c:pt idx="499">
                  <c:v>67.3</c:v>
                </c:pt>
                <c:pt idx="500">
                  <c:v>67.3</c:v>
                </c:pt>
                <c:pt idx="501">
                  <c:v>67.099999999999994</c:v>
                </c:pt>
                <c:pt idx="502">
                  <c:v>66.400000000000006</c:v>
                </c:pt>
                <c:pt idx="503">
                  <c:v>65.8</c:v>
                </c:pt>
                <c:pt idx="504">
                  <c:v>65.099999999999994</c:v>
                </c:pt>
                <c:pt idx="505">
                  <c:v>64.400000000000006</c:v>
                </c:pt>
                <c:pt idx="506">
                  <c:v>64</c:v>
                </c:pt>
                <c:pt idx="507">
                  <c:v>63.3</c:v>
                </c:pt>
                <c:pt idx="508">
                  <c:v>62.2</c:v>
                </c:pt>
                <c:pt idx="509">
                  <c:v>61.5</c:v>
                </c:pt>
                <c:pt idx="510">
                  <c:v>60.8</c:v>
                </c:pt>
                <c:pt idx="511">
                  <c:v>60.1</c:v>
                </c:pt>
                <c:pt idx="512">
                  <c:v>59.5</c:v>
                </c:pt>
                <c:pt idx="513">
                  <c:v>58.8</c:v>
                </c:pt>
                <c:pt idx="514">
                  <c:v>58.6</c:v>
                </c:pt>
                <c:pt idx="515">
                  <c:v>58.1</c:v>
                </c:pt>
                <c:pt idx="516">
                  <c:v>57.9</c:v>
                </c:pt>
                <c:pt idx="517">
                  <c:v>57.7</c:v>
                </c:pt>
                <c:pt idx="518">
                  <c:v>57.7</c:v>
                </c:pt>
                <c:pt idx="519">
                  <c:v>57.9</c:v>
                </c:pt>
                <c:pt idx="520">
                  <c:v>57.7</c:v>
                </c:pt>
                <c:pt idx="521">
                  <c:v>60.8</c:v>
                </c:pt>
                <c:pt idx="522">
                  <c:v>62.4</c:v>
                </c:pt>
                <c:pt idx="523">
                  <c:v>62.2</c:v>
                </c:pt>
                <c:pt idx="524">
                  <c:v>62.2</c:v>
                </c:pt>
                <c:pt idx="525">
                  <c:v>62.2</c:v>
                </c:pt>
                <c:pt idx="526">
                  <c:v>62.2</c:v>
                </c:pt>
                <c:pt idx="527">
                  <c:v>62.4</c:v>
                </c:pt>
                <c:pt idx="528">
                  <c:v>62.1</c:v>
                </c:pt>
                <c:pt idx="529">
                  <c:v>61.9</c:v>
                </c:pt>
                <c:pt idx="530">
                  <c:v>59.5</c:v>
                </c:pt>
                <c:pt idx="531">
                  <c:v>59.5</c:v>
                </c:pt>
                <c:pt idx="532">
                  <c:v>59.4</c:v>
                </c:pt>
                <c:pt idx="533">
                  <c:v>59.5</c:v>
                </c:pt>
                <c:pt idx="534">
                  <c:v>59.5</c:v>
                </c:pt>
                <c:pt idx="535">
                  <c:v>59.5</c:v>
                </c:pt>
                <c:pt idx="536">
                  <c:v>59.5</c:v>
                </c:pt>
                <c:pt idx="537">
                  <c:v>59.5</c:v>
                </c:pt>
                <c:pt idx="538">
                  <c:v>59.4</c:v>
                </c:pt>
                <c:pt idx="539">
                  <c:v>59.4</c:v>
                </c:pt>
                <c:pt idx="540">
                  <c:v>59.2</c:v>
                </c:pt>
                <c:pt idx="541">
                  <c:v>59.2</c:v>
                </c:pt>
                <c:pt idx="542">
                  <c:v>59.2</c:v>
                </c:pt>
                <c:pt idx="543">
                  <c:v>59.2</c:v>
                </c:pt>
                <c:pt idx="544">
                  <c:v>59</c:v>
                </c:pt>
                <c:pt idx="545">
                  <c:v>59.2</c:v>
                </c:pt>
                <c:pt idx="546">
                  <c:v>59.2</c:v>
                </c:pt>
                <c:pt idx="547">
                  <c:v>59.4</c:v>
                </c:pt>
                <c:pt idx="548">
                  <c:v>59.5</c:v>
                </c:pt>
                <c:pt idx="549">
                  <c:v>59.9</c:v>
                </c:pt>
                <c:pt idx="550">
                  <c:v>60.1</c:v>
                </c:pt>
                <c:pt idx="551">
                  <c:v>60.4</c:v>
                </c:pt>
                <c:pt idx="552">
                  <c:v>61</c:v>
                </c:pt>
                <c:pt idx="553">
                  <c:v>61.3</c:v>
                </c:pt>
                <c:pt idx="554">
                  <c:v>61.3</c:v>
                </c:pt>
                <c:pt idx="555">
                  <c:v>63.1</c:v>
                </c:pt>
                <c:pt idx="556">
                  <c:v>64</c:v>
                </c:pt>
                <c:pt idx="557">
                  <c:v>64.599999999999994</c:v>
                </c:pt>
                <c:pt idx="558">
                  <c:v>64.2</c:v>
                </c:pt>
                <c:pt idx="559">
                  <c:v>64.2</c:v>
                </c:pt>
                <c:pt idx="560">
                  <c:v>63.9</c:v>
                </c:pt>
                <c:pt idx="561">
                  <c:v>64.900000000000006</c:v>
                </c:pt>
                <c:pt idx="562">
                  <c:v>65.3</c:v>
                </c:pt>
                <c:pt idx="563">
                  <c:v>66</c:v>
                </c:pt>
                <c:pt idx="564">
                  <c:v>66.2</c:v>
                </c:pt>
                <c:pt idx="565">
                  <c:v>66.2</c:v>
                </c:pt>
                <c:pt idx="566">
                  <c:v>66.599999999999994</c:v>
                </c:pt>
                <c:pt idx="567">
                  <c:v>66.599999999999994</c:v>
                </c:pt>
                <c:pt idx="568">
                  <c:v>66.900000000000006</c:v>
                </c:pt>
                <c:pt idx="569">
                  <c:v>66.900000000000006</c:v>
                </c:pt>
                <c:pt idx="570">
                  <c:v>67.099999999999994</c:v>
                </c:pt>
                <c:pt idx="571">
                  <c:v>67.8</c:v>
                </c:pt>
                <c:pt idx="572">
                  <c:v>68.400000000000006</c:v>
                </c:pt>
                <c:pt idx="573">
                  <c:v>69.3</c:v>
                </c:pt>
                <c:pt idx="574">
                  <c:v>70</c:v>
                </c:pt>
                <c:pt idx="575">
                  <c:v>69.099999999999994</c:v>
                </c:pt>
                <c:pt idx="576">
                  <c:v>69.3</c:v>
                </c:pt>
                <c:pt idx="577">
                  <c:v>69.400000000000006</c:v>
                </c:pt>
                <c:pt idx="578">
                  <c:v>69.400000000000006</c:v>
                </c:pt>
                <c:pt idx="579">
                  <c:v>69.3</c:v>
                </c:pt>
                <c:pt idx="580">
                  <c:v>68.900000000000006</c:v>
                </c:pt>
                <c:pt idx="581">
                  <c:v>68.2</c:v>
                </c:pt>
                <c:pt idx="582">
                  <c:v>67.8</c:v>
                </c:pt>
                <c:pt idx="583">
                  <c:v>67.599999999999994</c:v>
                </c:pt>
                <c:pt idx="584">
                  <c:v>67.3</c:v>
                </c:pt>
                <c:pt idx="585">
                  <c:v>66.900000000000006</c:v>
                </c:pt>
                <c:pt idx="586">
                  <c:v>66.599999999999994</c:v>
                </c:pt>
                <c:pt idx="587">
                  <c:v>66.2</c:v>
                </c:pt>
                <c:pt idx="588">
                  <c:v>65.8</c:v>
                </c:pt>
                <c:pt idx="589">
                  <c:v>65.099999999999994</c:v>
                </c:pt>
                <c:pt idx="590">
                  <c:v>65.3</c:v>
                </c:pt>
                <c:pt idx="591">
                  <c:v>64.400000000000006</c:v>
                </c:pt>
                <c:pt idx="592">
                  <c:v>64.2</c:v>
                </c:pt>
                <c:pt idx="593">
                  <c:v>64</c:v>
                </c:pt>
                <c:pt idx="594">
                  <c:v>64.2</c:v>
                </c:pt>
                <c:pt idx="595">
                  <c:v>63.7</c:v>
                </c:pt>
                <c:pt idx="596">
                  <c:v>62.2</c:v>
                </c:pt>
                <c:pt idx="597">
                  <c:v>62.2</c:v>
                </c:pt>
                <c:pt idx="598">
                  <c:v>61.9</c:v>
                </c:pt>
                <c:pt idx="599">
                  <c:v>61.3</c:v>
                </c:pt>
                <c:pt idx="600">
                  <c:v>61</c:v>
                </c:pt>
                <c:pt idx="601">
                  <c:v>60.6</c:v>
                </c:pt>
                <c:pt idx="602">
                  <c:v>60.3</c:v>
                </c:pt>
                <c:pt idx="603">
                  <c:v>59.9</c:v>
                </c:pt>
                <c:pt idx="604">
                  <c:v>60.1</c:v>
                </c:pt>
                <c:pt idx="605">
                  <c:v>60.3</c:v>
                </c:pt>
                <c:pt idx="606">
                  <c:v>60.1</c:v>
                </c:pt>
                <c:pt idx="607">
                  <c:v>60.1</c:v>
                </c:pt>
                <c:pt idx="608">
                  <c:v>59.7</c:v>
                </c:pt>
                <c:pt idx="609">
                  <c:v>59.5</c:v>
                </c:pt>
                <c:pt idx="610">
                  <c:v>59.2</c:v>
                </c:pt>
                <c:pt idx="611">
                  <c:v>59</c:v>
                </c:pt>
                <c:pt idx="612">
                  <c:v>58.8</c:v>
                </c:pt>
                <c:pt idx="613">
                  <c:v>58.8</c:v>
                </c:pt>
                <c:pt idx="614">
                  <c:v>59</c:v>
                </c:pt>
                <c:pt idx="615">
                  <c:v>59.2</c:v>
                </c:pt>
                <c:pt idx="616">
                  <c:v>59.2</c:v>
                </c:pt>
                <c:pt idx="617">
                  <c:v>59</c:v>
                </c:pt>
                <c:pt idx="618">
                  <c:v>58.5</c:v>
                </c:pt>
                <c:pt idx="619">
                  <c:v>58.3</c:v>
                </c:pt>
                <c:pt idx="620">
                  <c:v>58.3</c:v>
                </c:pt>
                <c:pt idx="621">
                  <c:v>59</c:v>
                </c:pt>
                <c:pt idx="622">
                  <c:v>59.4</c:v>
                </c:pt>
                <c:pt idx="623">
                  <c:v>59.5</c:v>
                </c:pt>
                <c:pt idx="624">
                  <c:v>59.5</c:v>
                </c:pt>
                <c:pt idx="625">
                  <c:v>59.5</c:v>
                </c:pt>
                <c:pt idx="626">
                  <c:v>59.9</c:v>
                </c:pt>
                <c:pt idx="627">
                  <c:v>59.9</c:v>
                </c:pt>
                <c:pt idx="628">
                  <c:v>60.1</c:v>
                </c:pt>
                <c:pt idx="629">
                  <c:v>59.9</c:v>
                </c:pt>
                <c:pt idx="630">
                  <c:v>59.7</c:v>
                </c:pt>
                <c:pt idx="631">
                  <c:v>59.9</c:v>
                </c:pt>
                <c:pt idx="632">
                  <c:v>59.9</c:v>
                </c:pt>
                <c:pt idx="633">
                  <c:v>59.9</c:v>
                </c:pt>
                <c:pt idx="634">
                  <c:v>59.9</c:v>
                </c:pt>
                <c:pt idx="635">
                  <c:v>59.9</c:v>
                </c:pt>
                <c:pt idx="636">
                  <c:v>59.7</c:v>
                </c:pt>
                <c:pt idx="637">
                  <c:v>59.9</c:v>
                </c:pt>
                <c:pt idx="638">
                  <c:v>60.1</c:v>
                </c:pt>
                <c:pt idx="639">
                  <c:v>60.1</c:v>
                </c:pt>
                <c:pt idx="640">
                  <c:v>60.1</c:v>
                </c:pt>
                <c:pt idx="641">
                  <c:v>60.1</c:v>
                </c:pt>
                <c:pt idx="642">
                  <c:v>60.1</c:v>
                </c:pt>
                <c:pt idx="643">
                  <c:v>60.4</c:v>
                </c:pt>
                <c:pt idx="644">
                  <c:v>60.8</c:v>
                </c:pt>
                <c:pt idx="645">
                  <c:v>60.8</c:v>
                </c:pt>
                <c:pt idx="646">
                  <c:v>61</c:v>
                </c:pt>
                <c:pt idx="647">
                  <c:v>61.3</c:v>
                </c:pt>
                <c:pt idx="648">
                  <c:v>61.9</c:v>
                </c:pt>
                <c:pt idx="649">
                  <c:v>63</c:v>
                </c:pt>
                <c:pt idx="650">
                  <c:v>62.8</c:v>
                </c:pt>
                <c:pt idx="651">
                  <c:v>62.8</c:v>
                </c:pt>
                <c:pt idx="652">
                  <c:v>62.6</c:v>
                </c:pt>
                <c:pt idx="653">
                  <c:v>63</c:v>
                </c:pt>
                <c:pt idx="654">
                  <c:v>63.9</c:v>
                </c:pt>
                <c:pt idx="655">
                  <c:v>64.8</c:v>
                </c:pt>
                <c:pt idx="656">
                  <c:v>65.7</c:v>
                </c:pt>
                <c:pt idx="657">
                  <c:v>65.3</c:v>
                </c:pt>
                <c:pt idx="658">
                  <c:v>66.7</c:v>
                </c:pt>
                <c:pt idx="659">
                  <c:v>67.3</c:v>
                </c:pt>
                <c:pt idx="660">
                  <c:v>66</c:v>
                </c:pt>
                <c:pt idx="661">
                  <c:v>64.8</c:v>
                </c:pt>
                <c:pt idx="662">
                  <c:v>64.2</c:v>
                </c:pt>
                <c:pt idx="663">
                  <c:v>64.8</c:v>
                </c:pt>
                <c:pt idx="664">
                  <c:v>64.599999999999994</c:v>
                </c:pt>
                <c:pt idx="665">
                  <c:v>64.400000000000006</c:v>
                </c:pt>
                <c:pt idx="666">
                  <c:v>63.7</c:v>
                </c:pt>
                <c:pt idx="667">
                  <c:v>63.1</c:v>
                </c:pt>
                <c:pt idx="668">
                  <c:v>63</c:v>
                </c:pt>
                <c:pt idx="669">
                  <c:v>63.1</c:v>
                </c:pt>
                <c:pt idx="670">
                  <c:v>62.6</c:v>
                </c:pt>
                <c:pt idx="671">
                  <c:v>62.4</c:v>
                </c:pt>
                <c:pt idx="672">
                  <c:v>62.1</c:v>
                </c:pt>
                <c:pt idx="673">
                  <c:v>62.1</c:v>
                </c:pt>
                <c:pt idx="674">
                  <c:v>61.3</c:v>
                </c:pt>
                <c:pt idx="675">
                  <c:v>61.3</c:v>
                </c:pt>
                <c:pt idx="676">
                  <c:v>61</c:v>
                </c:pt>
                <c:pt idx="677">
                  <c:v>60.8</c:v>
                </c:pt>
                <c:pt idx="678">
                  <c:v>60.8</c:v>
                </c:pt>
                <c:pt idx="679">
                  <c:v>60.4</c:v>
                </c:pt>
                <c:pt idx="680">
                  <c:v>60.1</c:v>
                </c:pt>
                <c:pt idx="681">
                  <c:v>59.9</c:v>
                </c:pt>
                <c:pt idx="682">
                  <c:v>59.7</c:v>
                </c:pt>
                <c:pt idx="683">
                  <c:v>59.5</c:v>
                </c:pt>
                <c:pt idx="684">
                  <c:v>59.4</c:v>
                </c:pt>
                <c:pt idx="685">
                  <c:v>59.4</c:v>
                </c:pt>
                <c:pt idx="686">
                  <c:v>59.7</c:v>
                </c:pt>
                <c:pt idx="687">
                  <c:v>59.7</c:v>
                </c:pt>
                <c:pt idx="688">
                  <c:v>59.7</c:v>
                </c:pt>
                <c:pt idx="689">
                  <c:v>59.5</c:v>
                </c:pt>
                <c:pt idx="690">
                  <c:v>59.4</c:v>
                </c:pt>
                <c:pt idx="691">
                  <c:v>59.4</c:v>
                </c:pt>
                <c:pt idx="692">
                  <c:v>59.4</c:v>
                </c:pt>
                <c:pt idx="693">
                  <c:v>59.2</c:v>
                </c:pt>
                <c:pt idx="694">
                  <c:v>59</c:v>
                </c:pt>
                <c:pt idx="695">
                  <c:v>58.8</c:v>
                </c:pt>
                <c:pt idx="696">
                  <c:v>58.8</c:v>
                </c:pt>
                <c:pt idx="697">
                  <c:v>58.8</c:v>
                </c:pt>
                <c:pt idx="698">
                  <c:v>58.8</c:v>
                </c:pt>
                <c:pt idx="699">
                  <c:v>58.8</c:v>
                </c:pt>
                <c:pt idx="700">
                  <c:v>58.6</c:v>
                </c:pt>
                <c:pt idx="701">
                  <c:v>58.6</c:v>
                </c:pt>
                <c:pt idx="702">
                  <c:v>58.6</c:v>
                </c:pt>
                <c:pt idx="703">
                  <c:v>58.6</c:v>
                </c:pt>
                <c:pt idx="704">
                  <c:v>58.6</c:v>
                </c:pt>
                <c:pt idx="705">
                  <c:v>58.6</c:v>
                </c:pt>
                <c:pt idx="706">
                  <c:v>58.6</c:v>
                </c:pt>
                <c:pt idx="707">
                  <c:v>58.6</c:v>
                </c:pt>
                <c:pt idx="708">
                  <c:v>58.5</c:v>
                </c:pt>
                <c:pt idx="709">
                  <c:v>58.5</c:v>
                </c:pt>
                <c:pt idx="710">
                  <c:v>58.3</c:v>
                </c:pt>
                <c:pt idx="711">
                  <c:v>58.3</c:v>
                </c:pt>
                <c:pt idx="712">
                  <c:v>58.3</c:v>
                </c:pt>
                <c:pt idx="713">
                  <c:v>58.3</c:v>
                </c:pt>
                <c:pt idx="714">
                  <c:v>58.3</c:v>
                </c:pt>
                <c:pt idx="715">
                  <c:v>58.1</c:v>
                </c:pt>
                <c:pt idx="716">
                  <c:v>58.1</c:v>
                </c:pt>
                <c:pt idx="717">
                  <c:v>58.1</c:v>
                </c:pt>
                <c:pt idx="718">
                  <c:v>57.9</c:v>
                </c:pt>
                <c:pt idx="719">
                  <c:v>57.9</c:v>
                </c:pt>
                <c:pt idx="720">
                  <c:v>57.9</c:v>
                </c:pt>
                <c:pt idx="721">
                  <c:v>57.9</c:v>
                </c:pt>
                <c:pt idx="722">
                  <c:v>57.9</c:v>
                </c:pt>
                <c:pt idx="723">
                  <c:v>57.9</c:v>
                </c:pt>
                <c:pt idx="724">
                  <c:v>57.9</c:v>
                </c:pt>
                <c:pt idx="725">
                  <c:v>57.9</c:v>
                </c:pt>
                <c:pt idx="726">
                  <c:v>57.9</c:v>
                </c:pt>
                <c:pt idx="727">
                  <c:v>57.7</c:v>
                </c:pt>
                <c:pt idx="728">
                  <c:v>57.7</c:v>
                </c:pt>
                <c:pt idx="729">
                  <c:v>57.7</c:v>
                </c:pt>
                <c:pt idx="730">
                  <c:v>57.7</c:v>
                </c:pt>
                <c:pt idx="731">
                  <c:v>57.7</c:v>
                </c:pt>
                <c:pt idx="732">
                  <c:v>57.7</c:v>
                </c:pt>
                <c:pt idx="733">
                  <c:v>57.7</c:v>
                </c:pt>
                <c:pt idx="734">
                  <c:v>57.7</c:v>
                </c:pt>
                <c:pt idx="735">
                  <c:v>57.9</c:v>
                </c:pt>
                <c:pt idx="736">
                  <c:v>58.1</c:v>
                </c:pt>
                <c:pt idx="737">
                  <c:v>58.3</c:v>
                </c:pt>
                <c:pt idx="738">
                  <c:v>58.6</c:v>
                </c:pt>
                <c:pt idx="739">
                  <c:v>59</c:v>
                </c:pt>
                <c:pt idx="740">
                  <c:v>59.4</c:v>
                </c:pt>
                <c:pt idx="741">
                  <c:v>60.6</c:v>
                </c:pt>
                <c:pt idx="742">
                  <c:v>61</c:v>
                </c:pt>
                <c:pt idx="743">
                  <c:v>61.5</c:v>
                </c:pt>
                <c:pt idx="744">
                  <c:v>61.5</c:v>
                </c:pt>
                <c:pt idx="745">
                  <c:v>62.6</c:v>
                </c:pt>
                <c:pt idx="746">
                  <c:v>62.6</c:v>
                </c:pt>
                <c:pt idx="747">
                  <c:v>63</c:v>
                </c:pt>
                <c:pt idx="748">
                  <c:v>63.1</c:v>
                </c:pt>
                <c:pt idx="749">
                  <c:v>63</c:v>
                </c:pt>
                <c:pt idx="750">
                  <c:v>62.2</c:v>
                </c:pt>
                <c:pt idx="751">
                  <c:v>62.1</c:v>
                </c:pt>
                <c:pt idx="752">
                  <c:v>62.4</c:v>
                </c:pt>
                <c:pt idx="753">
                  <c:v>62.2</c:v>
                </c:pt>
                <c:pt idx="754">
                  <c:v>62.6</c:v>
                </c:pt>
                <c:pt idx="755">
                  <c:v>63.9</c:v>
                </c:pt>
                <c:pt idx="756">
                  <c:v>63.7</c:v>
                </c:pt>
                <c:pt idx="757">
                  <c:v>63.7</c:v>
                </c:pt>
                <c:pt idx="758">
                  <c:v>66.900000000000006</c:v>
                </c:pt>
                <c:pt idx="759">
                  <c:v>68.7</c:v>
                </c:pt>
                <c:pt idx="760">
                  <c:v>70.2</c:v>
                </c:pt>
                <c:pt idx="761">
                  <c:v>70.3</c:v>
                </c:pt>
                <c:pt idx="762">
                  <c:v>70</c:v>
                </c:pt>
                <c:pt idx="763">
                  <c:v>70.900000000000006</c:v>
                </c:pt>
                <c:pt idx="764">
                  <c:v>69.8</c:v>
                </c:pt>
                <c:pt idx="765">
                  <c:v>72</c:v>
                </c:pt>
                <c:pt idx="766">
                  <c:v>72.5</c:v>
                </c:pt>
                <c:pt idx="767">
                  <c:v>70.900000000000006</c:v>
                </c:pt>
                <c:pt idx="768">
                  <c:v>68.7</c:v>
                </c:pt>
                <c:pt idx="769">
                  <c:v>67.3</c:v>
                </c:pt>
                <c:pt idx="770">
                  <c:v>66</c:v>
                </c:pt>
                <c:pt idx="771">
                  <c:v>63.7</c:v>
                </c:pt>
                <c:pt idx="772">
                  <c:v>62.4</c:v>
                </c:pt>
                <c:pt idx="773">
                  <c:v>62.4</c:v>
                </c:pt>
                <c:pt idx="774">
                  <c:v>62.1</c:v>
                </c:pt>
                <c:pt idx="775">
                  <c:v>61.9</c:v>
                </c:pt>
                <c:pt idx="776">
                  <c:v>62.1</c:v>
                </c:pt>
                <c:pt idx="777">
                  <c:v>62.1</c:v>
                </c:pt>
                <c:pt idx="778">
                  <c:v>61.9</c:v>
                </c:pt>
                <c:pt idx="779">
                  <c:v>62.1</c:v>
                </c:pt>
                <c:pt idx="780">
                  <c:v>62.2</c:v>
                </c:pt>
                <c:pt idx="781">
                  <c:v>62.2</c:v>
                </c:pt>
                <c:pt idx="782">
                  <c:v>62.2</c:v>
                </c:pt>
                <c:pt idx="783">
                  <c:v>63.3</c:v>
                </c:pt>
                <c:pt idx="784">
                  <c:v>62.6</c:v>
                </c:pt>
                <c:pt idx="785">
                  <c:v>62.6</c:v>
                </c:pt>
                <c:pt idx="786">
                  <c:v>63.3</c:v>
                </c:pt>
                <c:pt idx="787">
                  <c:v>63.3</c:v>
                </c:pt>
                <c:pt idx="788">
                  <c:v>63.1</c:v>
                </c:pt>
                <c:pt idx="789">
                  <c:v>63.1</c:v>
                </c:pt>
                <c:pt idx="790">
                  <c:v>63.5</c:v>
                </c:pt>
                <c:pt idx="791">
                  <c:v>64</c:v>
                </c:pt>
                <c:pt idx="792">
                  <c:v>63.9</c:v>
                </c:pt>
                <c:pt idx="793">
                  <c:v>63.9</c:v>
                </c:pt>
                <c:pt idx="794">
                  <c:v>59.7</c:v>
                </c:pt>
                <c:pt idx="795">
                  <c:v>59.2</c:v>
                </c:pt>
                <c:pt idx="796">
                  <c:v>59.2</c:v>
                </c:pt>
                <c:pt idx="797">
                  <c:v>59.2</c:v>
                </c:pt>
                <c:pt idx="798">
                  <c:v>61.5</c:v>
                </c:pt>
                <c:pt idx="799">
                  <c:v>61.3</c:v>
                </c:pt>
                <c:pt idx="800">
                  <c:v>61</c:v>
                </c:pt>
                <c:pt idx="801">
                  <c:v>60.4</c:v>
                </c:pt>
                <c:pt idx="802">
                  <c:v>60.3</c:v>
                </c:pt>
                <c:pt idx="803">
                  <c:v>59.7</c:v>
                </c:pt>
                <c:pt idx="804">
                  <c:v>59.2</c:v>
                </c:pt>
                <c:pt idx="805">
                  <c:v>59.2</c:v>
                </c:pt>
                <c:pt idx="806">
                  <c:v>60.1</c:v>
                </c:pt>
                <c:pt idx="807">
                  <c:v>60.3</c:v>
                </c:pt>
                <c:pt idx="808">
                  <c:v>60.3</c:v>
                </c:pt>
                <c:pt idx="809">
                  <c:v>58.1</c:v>
                </c:pt>
                <c:pt idx="810">
                  <c:v>57.2</c:v>
                </c:pt>
                <c:pt idx="811">
                  <c:v>56.3</c:v>
                </c:pt>
                <c:pt idx="812">
                  <c:v>63.3</c:v>
                </c:pt>
                <c:pt idx="813">
                  <c:v>63.7</c:v>
                </c:pt>
                <c:pt idx="814">
                  <c:v>64.400000000000006</c:v>
                </c:pt>
                <c:pt idx="815">
                  <c:v>64.900000000000006</c:v>
                </c:pt>
                <c:pt idx="816">
                  <c:v>64</c:v>
                </c:pt>
                <c:pt idx="817">
                  <c:v>63</c:v>
                </c:pt>
                <c:pt idx="818">
                  <c:v>63.3</c:v>
                </c:pt>
                <c:pt idx="819">
                  <c:v>62.4</c:v>
                </c:pt>
                <c:pt idx="820">
                  <c:v>60.6</c:v>
                </c:pt>
                <c:pt idx="821">
                  <c:v>59.2</c:v>
                </c:pt>
                <c:pt idx="822">
                  <c:v>56.5</c:v>
                </c:pt>
                <c:pt idx="823">
                  <c:v>64.900000000000006</c:v>
                </c:pt>
                <c:pt idx="824">
                  <c:v>64</c:v>
                </c:pt>
                <c:pt idx="825">
                  <c:v>65.5</c:v>
                </c:pt>
                <c:pt idx="826">
                  <c:v>65.7</c:v>
                </c:pt>
                <c:pt idx="827">
                  <c:v>66</c:v>
                </c:pt>
                <c:pt idx="828">
                  <c:v>66.7</c:v>
                </c:pt>
                <c:pt idx="829">
                  <c:v>68.400000000000006</c:v>
                </c:pt>
                <c:pt idx="830">
                  <c:v>67.599999999999994</c:v>
                </c:pt>
                <c:pt idx="831">
                  <c:v>68</c:v>
                </c:pt>
                <c:pt idx="832">
                  <c:v>69.3</c:v>
                </c:pt>
                <c:pt idx="833">
                  <c:v>68.400000000000006</c:v>
                </c:pt>
                <c:pt idx="834">
                  <c:v>68.400000000000006</c:v>
                </c:pt>
                <c:pt idx="835">
                  <c:v>69.3</c:v>
                </c:pt>
                <c:pt idx="836">
                  <c:v>69.599999999999994</c:v>
                </c:pt>
                <c:pt idx="837">
                  <c:v>69.599999999999994</c:v>
                </c:pt>
                <c:pt idx="838">
                  <c:v>69.8</c:v>
                </c:pt>
                <c:pt idx="839">
                  <c:v>68.5</c:v>
                </c:pt>
                <c:pt idx="840">
                  <c:v>68.7</c:v>
                </c:pt>
                <c:pt idx="841">
                  <c:v>68.400000000000006</c:v>
                </c:pt>
                <c:pt idx="842">
                  <c:v>68.5</c:v>
                </c:pt>
                <c:pt idx="843">
                  <c:v>68</c:v>
                </c:pt>
                <c:pt idx="844">
                  <c:v>68</c:v>
                </c:pt>
                <c:pt idx="845">
                  <c:v>67.099999999999994</c:v>
                </c:pt>
                <c:pt idx="846">
                  <c:v>66.400000000000006</c:v>
                </c:pt>
                <c:pt idx="847">
                  <c:v>64.8</c:v>
                </c:pt>
                <c:pt idx="848">
                  <c:v>63.5</c:v>
                </c:pt>
                <c:pt idx="849">
                  <c:v>62.6</c:v>
                </c:pt>
                <c:pt idx="850">
                  <c:v>62.2</c:v>
                </c:pt>
                <c:pt idx="851">
                  <c:v>61.3</c:v>
                </c:pt>
                <c:pt idx="852">
                  <c:v>60.8</c:v>
                </c:pt>
                <c:pt idx="853">
                  <c:v>60.4</c:v>
                </c:pt>
                <c:pt idx="854">
                  <c:v>59.7</c:v>
                </c:pt>
                <c:pt idx="855">
                  <c:v>59.7</c:v>
                </c:pt>
                <c:pt idx="856">
                  <c:v>59.2</c:v>
                </c:pt>
                <c:pt idx="857">
                  <c:v>59</c:v>
                </c:pt>
                <c:pt idx="858">
                  <c:v>58.1</c:v>
                </c:pt>
                <c:pt idx="859">
                  <c:v>58.1</c:v>
                </c:pt>
                <c:pt idx="860">
                  <c:v>57.9</c:v>
                </c:pt>
                <c:pt idx="861">
                  <c:v>64</c:v>
                </c:pt>
                <c:pt idx="862">
                  <c:v>64.2</c:v>
                </c:pt>
                <c:pt idx="863">
                  <c:v>64.400000000000006</c:v>
                </c:pt>
                <c:pt idx="864">
                  <c:v>67.099999999999994</c:v>
                </c:pt>
                <c:pt idx="865">
                  <c:v>65.8</c:v>
                </c:pt>
                <c:pt idx="866">
                  <c:v>69.3</c:v>
                </c:pt>
                <c:pt idx="867">
                  <c:v>71.400000000000006</c:v>
                </c:pt>
                <c:pt idx="868">
                  <c:v>70.2</c:v>
                </c:pt>
                <c:pt idx="869">
                  <c:v>73.8</c:v>
                </c:pt>
                <c:pt idx="870">
                  <c:v>71.8</c:v>
                </c:pt>
                <c:pt idx="871">
                  <c:v>72.5</c:v>
                </c:pt>
                <c:pt idx="872">
                  <c:v>73.400000000000006</c:v>
                </c:pt>
                <c:pt idx="873">
                  <c:v>73.2</c:v>
                </c:pt>
                <c:pt idx="874">
                  <c:v>73.8</c:v>
                </c:pt>
                <c:pt idx="875">
                  <c:v>70.5</c:v>
                </c:pt>
                <c:pt idx="876">
                  <c:v>70.900000000000006</c:v>
                </c:pt>
                <c:pt idx="877">
                  <c:v>71.400000000000006</c:v>
                </c:pt>
                <c:pt idx="878">
                  <c:v>70.7</c:v>
                </c:pt>
                <c:pt idx="879">
                  <c:v>70.7</c:v>
                </c:pt>
                <c:pt idx="880">
                  <c:v>72.7</c:v>
                </c:pt>
                <c:pt idx="881">
                  <c:v>71.599999999999994</c:v>
                </c:pt>
                <c:pt idx="882">
                  <c:v>72.3</c:v>
                </c:pt>
                <c:pt idx="883">
                  <c:v>73.8</c:v>
                </c:pt>
                <c:pt idx="884">
                  <c:v>73.8</c:v>
                </c:pt>
                <c:pt idx="885">
                  <c:v>72.3</c:v>
                </c:pt>
                <c:pt idx="886">
                  <c:v>73.599999999999994</c:v>
                </c:pt>
                <c:pt idx="887">
                  <c:v>72</c:v>
                </c:pt>
                <c:pt idx="888">
                  <c:v>70</c:v>
                </c:pt>
                <c:pt idx="889">
                  <c:v>73.599999999999994</c:v>
                </c:pt>
                <c:pt idx="890">
                  <c:v>73.400000000000006</c:v>
                </c:pt>
                <c:pt idx="891">
                  <c:v>72</c:v>
                </c:pt>
                <c:pt idx="892">
                  <c:v>71.599999999999994</c:v>
                </c:pt>
                <c:pt idx="893">
                  <c:v>69.599999999999994</c:v>
                </c:pt>
                <c:pt idx="894">
                  <c:v>67.599999999999994</c:v>
                </c:pt>
                <c:pt idx="895">
                  <c:v>65.7</c:v>
                </c:pt>
                <c:pt idx="896">
                  <c:v>64</c:v>
                </c:pt>
                <c:pt idx="897">
                  <c:v>62.1</c:v>
                </c:pt>
                <c:pt idx="898">
                  <c:v>61</c:v>
                </c:pt>
                <c:pt idx="899">
                  <c:v>59.2</c:v>
                </c:pt>
                <c:pt idx="900">
                  <c:v>58.5</c:v>
                </c:pt>
                <c:pt idx="901">
                  <c:v>57</c:v>
                </c:pt>
                <c:pt idx="902">
                  <c:v>56.3</c:v>
                </c:pt>
                <c:pt idx="903">
                  <c:v>59.9</c:v>
                </c:pt>
                <c:pt idx="904">
                  <c:v>62.1</c:v>
                </c:pt>
                <c:pt idx="905">
                  <c:v>61.5</c:v>
                </c:pt>
                <c:pt idx="906">
                  <c:v>62.1</c:v>
                </c:pt>
                <c:pt idx="907">
                  <c:v>63</c:v>
                </c:pt>
                <c:pt idx="908">
                  <c:v>63.5</c:v>
                </c:pt>
                <c:pt idx="909">
                  <c:v>63</c:v>
                </c:pt>
                <c:pt idx="910">
                  <c:v>63</c:v>
                </c:pt>
                <c:pt idx="911">
                  <c:v>63.5</c:v>
                </c:pt>
                <c:pt idx="912">
                  <c:v>63.3</c:v>
                </c:pt>
                <c:pt idx="913">
                  <c:v>63.9</c:v>
                </c:pt>
                <c:pt idx="914">
                  <c:v>63.5</c:v>
                </c:pt>
                <c:pt idx="915">
                  <c:v>63</c:v>
                </c:pt>
                <c:pt idx="916">
                  <c:v>63.3</c:v>
                </c:pt>
                <c:pt idx="917">
                  <c:v>62.6</c:v>
                </c:pt>
                <c:pt idx="918">
                  <c:v>63.7</c:v>
                </c:pt>
                <c:pt idx="919">
                  <c:v>64</c:v>
                </c:pt>
                <c:pt idx="920">
                  <c:v>65.099999999999994</c:v>
                </c:pt>
                <c:pt idx="921">
                  <c:v>65.7</c:v>
                </c:pt>
                <c:pt idx="922">
                  <c:v>68</c:v>
                </c:pt>
                <c:pt idx="923">
                  <c:v>68.900000000000006</c:v>
                </c:pt>
                <c:pt idx="924">
                  <c:v>69.099999999999994</c:v>
                </c:pt>
                <c:pt idx="925">
                  <c:v>67.599999999999994</c:v>
                </c:pt>
                <c:pt idx="926">
                  <c:v>67.8</c:v>
                </c:pt>
                <c:pt idx="927">
                  <c:v>70.5</c:v>
                </c:pt>
                <c:pt idx="928">
                  <c:v>70.900000000000006</c:v>
                </c:pt>
                <c:pt idx="929">
                  <c:v>70</c:v>
                </c:pt>
                <c:pt idx="930">
                  <c:v>70.3</c:v>
                </c:pt>
                <c:pt idx="931">
                  <c:v>69.599999999999994</c:v>
                </c:pt>
                <c:pt idx="932">
                  <c:v>69.400000000000006</c:v>
                </c:pt>
                <c:pt idx="933">
                  <c:v>69.599999999999994</c:v>
                </c:pt>
                <c:pt idx="934">
                  <c:v>70.900000000000006</c:v>
                </c:pt>
                <c:pt idx="935">
                  <c:v>69.8</c:v>
                </c:pt>
                <c:pt idx="936">
                  <c:v>69.8</c:v>
                </c:pt>
                <c:pt idx="937">
                  <c:v>69.599999999999994</c:v>
                </c:pt>
                <c:pt idx="938">
                  <c:v>69.400000000000006</c:v>
                </c:pt>
                <c:pt idx="939">
                  <c:v>69.099999999999994</c:v>
                </c:pt>
                <c:pt idx="940">
                  <c:v>68.5</c:v>
                </c:pt>
                <c:pt idx="941">
                  <c:v>63.1</c:v>
                </c:pt>
                <c:pt idx="942">
                  <c:v>64.599999999999994</c:v>
                </c:pt>
                <c:pt idx="943">
                  <c:v>65.099999999999994</c:v>
                </c:pt>
                <c:pt idx="944">
                  <c:v>65.8</c:v>
                </c:pt>
                <c:pt idx="945">
                  <c:v>66.400000000000006</c:v>
                </c:pt>
                <c:pt idx="946">
                  <c:v>66.400000000000006</c:v>
                </c:pt>
                <c:pt idx="947">
                  <c:v>66.900000000000006</c:v>
                </c:pt>
                <c:pt idx="948">
                  <c:v>67.8</c:v>
                </c:pt>
                <c:pt idx="949">
                  <c:v>67.5</c:v>
                </c:pt>
                <c:pt idx="950">
                  <c:v>67.3</c:v>
                </c:pt>
                <c:pt idx="951">
                  <c:v>68.2</c:v>
                </c:pt>
                <c:pt idx="952">
                  <c:v>66.2</c:v>
                </c:pt>
                <c:pt idx="953">
                  <c:v>66.2</c:v>
                </c:pt>
                <c:pt idx="954">
                  <c:v>68</c:v>
                </c:pt>
                <c:pt idx="955">
                  <c:v>66.2</c:v>
                </c:pt>
                <c:pt idx="956">
                  <c:v>66.2</c:v>
                </c:pt>
                <c:pt idx="957">
                  <c:v>65.8</c:v>
                </c:pt>
                <c:pt idx="958">
                  <c:v>65.3</c:v>
                </c:pt>
                <c:pt idx="959">
                  <c:v>64.400000000000006</c:v>
                </c:pt>
                <c:pt idx="960">
                  <c:v>63.7</c:v>
                </c:pt>
                <c:pt idx="961">
                  <c:v>61.7</c:v>
                </c:pt>
                <c:pt idx="962">
                  <c:v>59.9</c:v>
                </c:pt>
                <c:pt idx="963">
                  <c:v>63.3</c:v>
                </c:pt>
                <c:pt idx="964">
                  <c:v>64.599999999999994</c:v>
                </c:pt>
                <c:pt idx="965">
                  <c:v>65.7</c:v>
                </c:pt>
                <c:pt idx="966">
                  <c:v>66.7</c:v>
                </c:pt>
                <c:pt idx="967">
                  <c:v>66.900000000000006</c:v>
                </c:pt>
                <c:pt idx="968">
                  <c:v>67.5</c:v>
                </c:pt>
                <c:pt idx="969">
                  <c:v>68.400000000000006</c:v>
                </c:pt>
                <c:pt idx="970">
                  <c:v>71.599999999999994</c:v>
                </c:pt>
                <c:pt idx="971">
                  <c:v>70.5</c:v>
                </c:pt>
                <c:pt idx="972">
                  <c:v>70.5</c:v>
                </c:pt>
                <c:pt idx="973">
                  <c:v>72.3</c:v>
                </c:pt>
                <c:pt idx="974">
                  <c:v>70.900000000000006</c:v>
                </c:pt>
                <c:pt idx="975">
                  <c:v>70.7</c:v>
                </c:pt>
                <c:pt idx="976">
                  <c:v>72.099999999999994</c:v>
                </c:pt>
                <c:pt idx="977">
                  <c:v>72.900000000000006</c:v>
                </c:pt>
                <c:pt idx="978">
                  <c:v>73.599999999999994</c:v>
                </c:pt>
                <c:pt idx="979">
                  <c:v>73.599999999999994</c:v>
                </c:pt>
                <c:pt idx="980">
                  <c:v>73</c:v>
                </c:pt>
                <c:pt idx="981">
                  <c:v>72.900000000000006</c:v>
                </c:pt>
                <c:pt idx="982">
                  <c:v>76.3</c:v>
                </c:pt>
                <c:pt idx="983">
                  <c:v>76.5</c:v>
                </c:pt>
                <c:pt idx="984">
                  <c:v>75.7</c:v>
                </c:pt>
                <c:pt idx="985">
                  <c:v>77</c:v>
                </c:pt>
                <c:pt idx="986">
                  <c:v>75.599999999999994</c:v>
                </c:pt>
                <c:pt idx="987">
                  <c:v>75.2</c:v>
                </c:pt>
                <c:pt idx="988">
                  <c:v>74.3</c:v>
                </c:pt>
                <c:pt idx="989">
                  <c:v>74.5</c:v>
                </c:pt>
                <c:pt idx="990">
                  <c:v>74.5</c:v>
                </c:pt>
                <c:pt idx="991">
                  <c:v>73.8</c:v>
                </c:pt>
                <c:pt idx="992">
                  <c:v>73.2</c:v>
                </c:pt>
                <c:pt idx="993">
                  <c:v>72.099999999999994</c:v>
                </c:pt>
                <c:pt idx="994">
                  <c:v>70.900000000000006</c:v>
                </c:pt>
                <c:pt idx="995">
                  <c:v>70.2</c:v>
                </c:pt>
                <c:pt idx="996">
                  <c:v>69.3</c:v>
                </c:pt>
                <c:pt idx="997">
                  <c:v>68.2</c:v>
                </c:pt>
                <c:pt idx="998">
                  <c:v>67.5</c:v>
                </c:pt>
                <c:pt idx="999">
                  <c:v>66.400000000000006</c:v>
                </c:pt>
                <c:pt idx="1000">
                  <c:v>65.7</c:v>
                </c:pt>
                <c:pt idx="1001">
                  <c:v>65.3</c:v>
                </c:pt>
                <c:pt idx="1002">
                  <c:v>64.400000000000006</c:v>
                </c:pt>
                <c:pt idx="1003">
                  <c:v>64</c:v>
                </c:pt>
                <c:pt idx="1004">
                  <c:v>63.7</c:v>
                </c:pt>
                <c:pt idx="1005">
                  <c:v>63.3</c:v>
                </c:pt>
                <c:pt idx="1006">
                  <c:v>62.4</c:v>
                </c:pt>
                <c:pt idx="1007">
                  <c:v>62.1</c:v>
                </c:pt>
                <c:pt idx="1008">
                  <c:v>61.3</c:v>
                </c:pt>
                <c:pt idx="1009">
                  <c:v>60.8</c:v>
                </c:pt>
                <c:pt idx="1010">
                  <c:v>66.900000000000006</c:v>
                </c:pt>
                <c:pt idx="1011">
                  <c:v>66.400000000000006</c:v>
                </c:pt>
                <c:pt idx="1012">
                  <c:v>69.099999999999994</c:v>
                </c:pt>
                <c:pt idx="1013">
                  <c:v>69.400000000000006</c:v>
                </c:pt>
                <c:pt idx="1014">
                  <c:v>71.8</c:v>
                </c:pt>
                <c:pt idx="1015">
                  <c:v>70.5</c:v>
                </c:pt>
                <c:pt idx="1016">
                  <c:v>71.2</c:v>
                </c:pt>
                <c:pt idx="1017">
                  <c:v>73</c:v>
                </c:pt>
                <c:pt idx="1018">
                  <c:v>71.2</c:v>
                </c:pt>
                <c:pt idx="1019">
                  <c:v>70</c:v>
                </c:pt>
                <c:pt idx="1020">
                  <c:v>71.400000000000006</c:v>
                </c:pt>
                <c:pt idx="1021">
                  <c:v>72</c:v>
                </c:pt>
                <c:pt idx="1022">
                  <c:v>70.3</c:v>
                </c:pt>
                <c:pt idx="1023">
                  <c:v>72.900000000000006</c:v>
                </c:pt>
                <c:pt idx="1024">
                  <c:v>72.099999999999994</c:v>
                </c:pt>
                <c:pt idx="1025">
                  <c:v>74.7</c:v>
                </c:pt>
                <c:pt idx="1026">
                  <c:v>74.5</c:v>
                </c:pt>
                <c:pt idx="1027">
                  <c:v>73.900000000000006</c:v>
                </c:pt>
                <c:pt idx="1028">
                  <c:v>74.3</c:v>
                </c:pt>
                <c:pt idx="1029">
                  <c:v>73.8</c:v>
                </c:pt>
                <c:pt idx="1030">
                  <c:v>75.900000000000006</c:v>
                </c:pt>
                <c:pt idx="1031">
                  <c:v>79.3</c:v>
                </c:pt>
                <c:pt idx="1032">
                  <c:v>77.5</c:v>
                </c:pt>
                <c:pt idx="1033">
                  <c:v>73.2</c:v>
                </c:pt>
                <c:pt idx="1034">
                  <c:v>73</c:v>
                </c:pt>
                <c:pt idx="1035">
                  <c:v>76.099999999999994</c:v>
                </c:pt>
                <c:pt idx="1036">
                  <c:v>75.7</c:v>
                </c:pt>
                <c:pt idx="1037">
                  <c:v>77</c:v>
                </c:pt>
                <c:pt idx="1038">
                  <c:v>77.2</c:v>
                </c:pt>
                <c:pt idx="1039">
                  <c:v>76.8</c:v>
                </c:pt>
                <c:pt idx="1040">
                  <c:v>75.599999999999994</c:v>
                </c:pt>
                <c:pt idx="1041">
                  <c:v>73.8</c:v>
                </c:pt>
                <c:pt idx="1042">
                  <c:v>73.400000000000006</c:v>
                </c:pt>
                <c:pt idx="1043">
                  <c:v>72.7</c:v>
                </c:pt>
                <c:pt idx="1044">
                  <c:v>70.900000000000006</c:v>
                </c:pt>
                <c:pt idx="1045">
                  <c:v>70.900000000000006</c:v>
                </c:pt>
                <c:pt idx="1046">
                  <c:v>70.3</c:v>
                </c:pt>
                <c:pt idx="1047">
                  <c:v>69.3</c:v>
                </c:pt>
                <c:pt idx="1048">
                  <c:v>68.2</c:v>
                </c:pt>
                <c:pt idx="1049">
                  <c:v>67.5</c:v>
                </c:pt>
                <c:pt idx="1050">
                  <c:v>66.400000000000006</c:v>
                </c:pt>
                <c:pt idx="1051">
                  <c:v>65.7</c:v>
                </c:pt>
                <c:pt idx="1052">
                  <c:v>64.900000000000006</c:v>
                </c:pt>
                <c:pt idx="1053">
                  <c:v>64.8</c:v>
                </c:pt>
                <c:pt idx="1054">
                  <c:v>64.400000000000006</c:v>
                </c:pt>
                <c:pt idx="1055">
                  <c:v>64.2</c:v>
                </c:pt>
                <c:pt idx="1056">
                  <c:v>63.3</c:v>
                </c:pt>
                <c:pt idx="1057">
                  <c:v>63.3</c:v>
                </c:pt>
                <c:pt idx="1058">
                  <c:v>63.1</c:v>
                </c:pt>
                <c:pt idx="1059">
                  <c:v>63.9</c:v>
                </c:pt>
                <c:pt idx="1060">
                  <c:v>63.7</c:v>
                </c:pt>
                <c:pt idx="1061">
                  <c:v>64.2</c:v>
                </c:pt>
                <c:pt idx="1062">
                  <c:v>63.9</c:v>
                </c:pt>
                <c:pt idx="1063">
                  <c:v>63.5</c:v>
                </c:pt>
                <c:pt idx="1064">
                  <c:v>63.3</c:v>
                </c:pt>
                <c:pt idx="1065">
                  <c:v>63.1</c:v>
                </c:pt>
                <c:pt idx="1066">
                  <c:v>62.4</c:v>
                </c:pt>
                <c:pt idx="1067">
                  <c:v>62.2</c:v>
                </c:pt>
                <c:pt idx="1068">
                  <c:v>62.2</c:v>
                </c:pt>
                <c:pt idx="1069">
                  <c:v>61.7</c:v>
                </c:pt>
                <c:pt idx="1070">
                  <c:v>61.2</c:v>
                </c:pt>
                <c:pt idx="1071">
                  <c:v>61</c:v>
                </c:pt>
                <c:pt idx="1072">
                  <c:v>61</c:v>
                </c:pt>
                <c:pt idx="1073">
                  <c:v>60.6</c:v>
                </c:pt>
                <c:pt idx="1074">
                  <c:v>62.4</c:v>
                </c:pt>
                <c:pt idx="1075">
                  <c:v>64</c:v>
                </c:pt>
                <c:pt idx="1076">
                  <c:v>65.5</c:v>
                </c:pt>
                <c:pt idx="1077">
                  <c:v>66.7</c:v>
                </c:pt>
                <c:pt idx="1078">
                  <c:v>68.2</c:v>
                </c:pt>
                <c:pt idx="1079">
                  <c:v>69.8</c:v>
                </c:pt>
                <c:pt idx="1080">
                  <c:v>70.7</c:v>
                </c:pt>
                <c:pt idx="1081">
                  <c:v>69.8</c:v>
                </c:pt>
                <c:pt idx="1082">
                  <c:v>70.5</c:v>
                </c:pt>
                <c:pt idx="1083">
                  <c:v>71.2</c:v>
                </c:pt>
                <c:pt idx="1084">
                  <c:v>72.5</c:v>
                </c:pt>
                <c:pt idx="1085">
                  <c:v>72.5</c:v>
                </c:pt>
                <c:pt idx="1086">
                  <c:v>72.900000000000006</c:v>
                </c:pt>
                <c:pt idx="1087">
                  <c:v>74.7</c:v>
                </c:pt>
                <c:pt idx="1088">
                  <c:v>75.2</c:v>
                </c:pt>
                <c:pt idx="1089">
                  <c:v>74.5</c:v>
                </c:pt>
                <c:pt idx="1090">
                  <c:v>76.5</c:v>
                </c:pt>
                <c:pt idx="1091">
                  <c:v>75.900000000000006</c:v>
                </c:pt>
                <c:pt idx="1092">
                  <c:v>76.3</c:v>
                </c:pt>
                <c:pt idx="1093">
                  <c:v>76.3</c:v>
                </c:pt>
                <c:pt idx="1094">
                  <c:v>77.400000000000006</c:v>
                </c:pt>
                <c:pt idx="1095">
                  <c:v>78.400000000000006</c:v>
                </c:pt>
                <c:pt idx="1096">
                  <c:v>78.099999999999994</c:v>
                </c:pt>
                <c:pt idx="1097">
                  <c:v>79.3</c:v>
                </c:pt>
                <c:pt idx="1098">
                  <c:v>78.3</c:v>
                </c:pt>
                <c:pt idx="1099">
                  <c:v>79.7</c:v>
                </c:pt>
                <c:pt idx="1100">
                  <c:v>79.3</c:v>
                </c:pt>
                <c:pt idx="1101">
                  <c:v>77.7</c:v>
                </c:pt>
                <c:pt idx="1102">
                  <c:v>77</c:v>
                </c:pt>
                <c:pt idx="1103">
                  <c:v>77.7</c:v>
                </c:pt>
                <c:pt idx="1104">
                  <c:v>78.599999999999994</c:v>
                </c:pt>
                <c:pt idx="1105">
                  <c:v>77.2</c:v>
                </c:pt>
                <c:pt idx="1106">
                  <c:v>77.2</c:v>
                </c:pt>
                <c:pt idx="1107">
                  <c:v>76.099999999999994</c:v>
                </c:pt>
                <c:pt idx="1108">
                  <c:v>76.099999999999994</c:v>
                </c:pt>
                <c:pt idx="1109">
                  <c:v>75.599999999999994</c:v>
                </c:pt>
                <c:pt idx="1110">
                  <c:v>75.400000000000006</c:v>
                </c:pt>
                <c:pt idx="1111">
                  <c:v>75.2</c:v>
                </c:pt>
                <c:pt idx="1112">
                  <c:v>75.2</c:v>
                </c:pt>
                <c:pt idx="1113">
                  <c:v>75.2</c:v>
                </c:pt>
                <c:pt idx="1114">
                  <c:v>75.2</c:v>
                </c:pt>
                <c:pt idx="1115">
                  <c:v>74.099999999999994</c:v>
                </c:pt>
                <c:pt idx="1116">
                  <c:v>73.599999999999994</c:v>
                </c:pt>
                <c:pt idx="1117">
                  <c:v>73</c:v>
                </c:pt>
                <c:pt idx="1118">
                  <c:v>72.3</c:v>
                </c:pt>
                <c:pt idx="1119">
                  <c:v>72.099999999999994</c:v>
                </c:pt>
                <c:pt idx="1120">
                  <c:v>71.8</c:v>
                </c:pt>
                <c:pt idx="1121">
                  <c:v>72</c:v>
                </c:pt>
                <c:pt idx="1122">
                  <c:v>71.400000000000006</c:v>
                </c:pt>
                <c:pt idx="1123">
                  <c:v>70.900000000000006</c:v>
                </c:pt>
                <c:pt idx="1124">
                  <c:v>70.900000000000006</c:v>
                </c:pt>
                <c:pt idx="1125">
                  <c:v>70</c:v>
                </c:pt>
                <c:pt idx="1126">
                  <c:v>70.3</c:v>
                </c:pt>
                <c:pt idx="1127">
                  <c:v>70.2</c:v>
                </c:pt>
                <c:pt idx="1128">
                  <c:v>70.5</c:v>
                </c:pt>
                <c:pt idx="1129">
                  <c:v>70.3</c:v>
                </c:pt>
                <c:pt idx="1130">
                  <c:v>70</c:v>
                </c:pt>
                <c:pt idx="1131">
                  <c:v>70</c:v>
                </c:pt>
                <c:pt idx="1132">
                  <c:v>69.400000000000006</c:v>
                </c:pt>
                <c:pt idx="1133">
                  <c:v>69.3</c:v>
                </c:pt>
                <c:pt idx="1134">
                  <c:v>69.3</c:v>
                </c:pt>
                <c:pt idx="1135">
                  <c:v>69.3</c:v>
                </c:pt>
                <c:pt idx="1136">
                  <c:v>68.7</c:v>
                </c:pt>
                <c:pt idx="1137">
                  <c:v>68.5</c:v>
                </c:pt>
                <c:pt idx="1138">
                  <c:v>68.400000000000006</c:v>
                </c:pt>
                <c:pt idx="1139">
                  <c:v>68.2</c:v>
                </c:pt>
                <c:pt idx="1140">
                  <c:v>68</c:v>
                </c:pt>
                <c:pt idx="1141">
                  <c:v>67.599999999999994</c:v>
                </c:pt>
                <c:pt idx="1142">
                  <c:v>67.599999999999994</c:v>
                </c:pt>
                <c:pt idx="1143">
                  <c:v>67.5</c:v>
                </c:pt>
                <c:pt idx="1144">
                  <c:v>67.599999999999994</c:v>
                </c:pt>
                <c:pt idx="1145">
                  <c:v>67.599999999999994</c:v>
                </c:pt>
                <c:pt idx="1146">
                  <c:v>67.5</c:v>
                </c:pt>
                <c:pt idx="1147">
                  <c:v>67.599999999999994</c:v>
                </c:pt>
                <c:pt idx="1148">
                  <c:v>67.5</c:v>
                </c:pt>
                <c:pt idx="1149">
                  <c:v>67.3</c:v>
                </c:pt>
                <c:pt idx="1150">
                  <c:v>67.3</c:v>
                </c:pt>
                <c:pt idx="1151">
                  <c:v>67.099999999999994</c:v>
                </c:pt>
                <c:pt idx="1152">
                  <c:v>66.7</c:v>
                </c:pt>
                <c:pt idx="1153">
                  <c:v>66.7</c:v>
                </c:pt>
                <c:pt idx="1154">
                  <c:v>66.400000000000006</c:v>
                </c:pt>
                <c:pt idx="1155">
                  <c:v>65.8</c:v>
                </c:pt>
                <c:pt idx="1156">
                  <c:v>65.5</c:v>
                </c:pt>
                <c:pt idx="1157">
                  <c:v>65.099999999999994</c:v>
                </c:pt>
                <c:pt idx="1158">
                  <c:v>64.8</c:v>
                </c:pt>
                <c:pt idx="1159">
                  <c:v>64.400000000000006</c:v>
                </c:pt>
                <c:pt idx="1160">
                  <c:v>64</c:v>
                </c:pt>
                <c:pt idx="1161">
                  <c:v>63.7</c:v>
                </c:pt>
                <c:pt idx="1162">
                  <c:v>63.1</c:v>
                </c:pt>
                <c:pt idx="1163">
                  <c:v>62.6</c:v>
                </c:pt>
                <c:pt idx="1164">
                  <c:v>62.2</c:v>
                </c:pt>
                <c:pt idx="1165">
                  <c:v>62.1</c:v>
                </c:pt>
                <c:pt idx="1166">
                  <c:v>62.1</c:v>
                </c:pt>
                <c:pt idx="1167">
                  <c:v>62.6</c:v>
                </c:pt>
                <c:pt idx="1168">
                  <c:v>63.7</c:v>
                </c:pt>
                <c:pt idx="1169">
                  <c:v>65.099999999999994</c:v>
                </c:pt>
                <c:pt idx="1170">
                  <c:v>66.2</c:v>
                </c:pt>
                <c:pt idx="1171">
                  <c:v>67.3</c:v>
                </c:pt>
                <c:pt idx="1172">
                  <c:v>67.5</c:v>
                </c:pt>
                <c:pt idx="1173">
                  <c:v>68.5</c:v>
                </c:pt>
                <c:pt idx="1174">
                  <c:v>68.900000000000006</c:v>
                </c:pt>
                <c:pt idx="1175">
                  <c:v>69.400000000000006</c:v>
                </c:pt>
                <c:pt idx="1176">
                  <c:v>70</c:v>
                </c:pt>
                <c:pt idx="1177">
                  <c:v>70.7</c:v>
                </c:pt>
                <c:pt idx="1178">
                  <c:v>70.900000000000006</c:v>
                </c:pt>
                <c:pt idx="1179">
                  <c:v>71.2</c:v>
                </c:pt>
                <c:pt idx="1180">
                  <c:v>71.400000000000006</c:v>
                </c:pt>
                <c:pt idx="1181">
                  <c:v>74.5</c:v>
                </c:pt>
                <c:pt idx="1182">
                  <c:v>74.7</c:v>
                </c:pt>
                <c:pt idx="1183">
                  <c:v>75.400000000000006</c:v>
                </c:pt>
                <c:pt idx="1184">
                  <c:v>75.400000000000006</c:v>
                </c:pt>
                <c:pt idx="1185">
                  <c:v>75.900000000000006</c:v>
                </c:pt>
                <c:pt idx="1186">
                  <c:v>77.400000000000006</c:v>
                </c:pt>
                <c:pt idx="1187">
                  <c:v>76.099999999999994</c:v>
                </c:pt>
                <c:pt idx="1188">
                  <c:v>78.3</c:v>
                </c:pt>
                <c:pt idx="1189">
                  <c:v>77.5</c:v>
                </c:pt>
                <c:pt idx="1190">
                  <c:v>75.599999999999994</c:v>
                </c:pt>
                <c:pt idx="1191">
                  <c:v>75.599999999999994</c:v>
                </c:pt>
                <c:pt idx="1192">
                  <c:v>77.400000000000006</c:v>
                </c:pt>
                <c:pt idx="1193">
                  <c:v>76.099999999999994</c:v>
                </c:pt>
                <c:pt idx="1194">
                  <c:v>76.3</c:v>
                </c:pt>
                <c:pt idx="1195">
                  <c:v>75.900000000000006</c:v>
                </c:pt>
                <c:pt idx="1196">
                  <c:v>75.2</c:v>
                </c:pt>
                <c:pt idx="1197">
                  <c:v>74.099999999999994</c:v>
                </c:pt>
                <c:pt idx="1198">
                  <c:v>73.8</c:v>
                </c:pt>
                <c:pt idx="1199">
                  <c:v>74.3</c:v>
                </c:pt>
                <c:pt idx="1200">
                  <c:v>74.8</c:v>
                </c:pt>
                <c:pt idx="1201">
                  <c:v>74.7</c:v>
                </c:pt>
                <c:pt idx="1202">
                  <c:v>74.3</c:v>
                </c:pt>
                <c:pt idx="1203">
                  <c:v>74.099999999999994</c:v>
                </c:pt>
                <c:pt idx="1204">
                  <c:v>74.7</c:v>
                </c:pt>
                <c:pt idx="1205">
                  <c:v>74.7</c:v>
                </c:pt>
                <c:pt idx="1206">
                  <c:v>75.400000000000006</c:v>
                </c:pt>
                <c:pt idx="1207">
                  <c:v>74.5</c:v>
                </c:pt>
                <c:pt idx="1208">
                  <c:v>74.3</c:v>
                </c:pt>
                <c:pt idx="1209">
                  <c:v>74.3</c:v>
                </c:pt>
                <c:pt idx="1210">
                  <c:v>73.8</c:v>
                </c:pt>
                <c:pt idx="1211">
                  <c:v>73.400000000000006</c:v>
                </c:pt>
                <c:pt idx="1212">
                  <c:v>74.099999999999994</c:v>
                </c:pt>
                <c:pt idx="1213">
                  <c:v>73.2</c:v>
                </c:pt>
                <c:pt idx="1214">
                  <c:v>72.7</c:v>
                </c:pt>
                <c:pt idx="1215">
                  <c:v>72.3</c:v>
                </c:pt>
                <c:pt idx="1216">
                  <c:v>71.8</c:v>
                </c:pt>
                <c:pt idx="1217">
                  <c:v>65.5</c:v>
                </c:pt>
                <c:pt idx="1218">
                  <c:v>64.599999999999994</c:v>
                </c:pt>
                <c:pt idx="1219">
                  <c:v>64.900000000000006</c:v>
                </c:pt>
                <c:pt idx="1220">
                  <c:v>64.599999999999994</c:v>
                </c:pt>
                <c:pt idx="1221">
                  <c:v>64</c:v>
                </c:pt>
                <c:pt idx="1222">
                  <c:v>63.9</c:v>
                </c:pt>
                <c:pt idx="1223">
                  <c:v>63.9</c:v>
                </c:pt>
                <c:pt idx="1224">
                  <c:v>63.9</c:v>
                </c:pt>
                <c:pt idx="1225">
                  <c:v>63.7</c:v>
                </c:pt>
                <c:pt idx="1226">
                  <c:v>63.5</c:v>
                </c:pt>
                <c:pt idx="1227">
                  <c:v>64</c:v>
                </c:pt>
                <c:pt idx="1228">
                  <c:v>63.7</c:v>
                </c:pt>
                <c:pt idx="1229">
                  <c:v>63.5</c:v>
                </c:pt>
                <c:pt idx="1230">
                  <c:v>63.5</c:v>
                </c:pt>
                <c:pt idx="1231">
                  <c:v>63.5</c:v>
                </c:pt>
                <c:pt idx="1232">
                  <c:v>63.5</c:v>
                </c:pt>
                <c:pt idx="1233">
                  <c:v>63.3</c:v>
                </c:pt>
                <c:pt idx="1234">
                  <c:v>63.3</c:v>
                </c:pt>
                <c:pt idx="1235">
                  <c:v>63.3</c:v>
                </c:pt>
                <c:pt idx="1236">
                  <c:v>63.3</c:v>
                </c:pt>
                <c:pt idx="1237">
                  <c:v>63.3</c:v>
                </c:pt>
                <c:pt idx="1238">
                  <c:v>63.3</c:v>
                </c:pt>
                <c:pt idx="1239">
                  <c:v>63.3</c:v>
                </c:pt>
                <c:pt idx="1240">
                  <c:v>63.7</c:v>
                </c:pt>
                <c:pt idx="1241">
                  <c:v>63.3</c:v>
                </c:pt>
                <c:pt idx="1242">
                  <c:v>63.5</c:v>
                </c:pt>
                <c:pt idx="1243">
                  <c:v>64.2</c:v>
                </c:pt>
                <c:pt idx="1244">
                  <c:v>64</c:v>
                </c:pt>
                <c:pt idx="1245">
                  <c:v>63.7</c:v>
                </c:pt>
                <c:pt idx="1246">
                  <c:v>63</c:v>
                </c:pt>
                <c:pt idx="1247">
                  <c:v>62.6</c:v>
                </c:pt>
                <c:pt idx="1248">
                  <c:v>62.2</c:v>
                </c:pt>
                <c:pt idx="1249">
                  <c:v>62.2</c:v>
                </c:pt>
                <c:pt idx="1250">
                  <c:v>62.2</c:v>
                </c:pt>
                <c:pt idx="1251">
                  <c:v>62.2</c:v>
                </c:pt>
                <c:pt idx="1252">
                  <c:v>62.2</c:v>
                </c:pt>
                <c:pt idx="1253">
                  <c:v>62.1</c:v>
                </c:pt>
                <c:pt idx="1254">
                  <c:v>62.1</c:v>
                </c:pt>
                <c:pt idx="1255">
                  <c:v>62.1</c:v>
                </c:pt>
                <c:pt idx="1256">
                  <c:v>62.2</c:v>
                </c:pt>
                <c:pt idx="1257">
                  <c:v>62.2</c:v>
                </c:pt>
                <c:pt idx="1258">
                  <c:v>62.2</c:v>
                </c:pt>
                <c:pt idx="1259">
                  <c:v>62.2</c:v>
                </c:pt>
                <c:pt idx="1260">
                  <c:v>62.2</c:v>
                </c:pt>
                <c:pt idx="1261">
                  <c:v>62.1</c:v>
                </c:pt>
                <c:pt idx="1262">
                  <c:v>61.9</c:v>
                </c:pt>
                <c:pt idx="1263">
                  <c:v>62.1</c:v>
                </c:pt>
                <c:pt idx="1264">
                  <c:v>62.2</c:v>
                </c:pt>
                <c:pt idx="1265">
                  <c:v>62.2</c:v>
                </c:pt>
                <c:pt idx="1266">
                  <c:v>62.8</c:v>
                </c:pt>
                <c:pt idx="1267">
                  <c:v>63.3</c:v>
                </c:pt>
                <c:pt idx="1268">
                  <c:v>63.9</c:v>
                </c:pt>
                <c:pt idx="1269">
                  <c:v>64.900000000000006</c:v>
                </c:pt>
                <c:pt idx="1270">
                  <c:v>66.900000000000006</c:v>
                </c:pt>
                <c:pt idx="1271">
                  <c:v>70</c:v>
                </c:pt>
                <c:pt idx="1272">
                  <c:v>72.900000000000006</c:v>
                </c:pt>
                <c:pt idx="1273">
                  <c:v>71.8</c:v>
                </c:pt>
                <c:pt idx="1274">
                  <c:v>71.599999999999994</c:v>
                </c:pt>
                <c:pt idx="1275">
                  <c:v>73.8</c:v>
                </c:pt>
                <c:pt idx="1276">
                  <c:v>73.2</c:v>
                </c:pt>
                <c:pt idx="1277">
                  <c:v>72</c:v>
                </c:pt>
                <c:pt idx="1278">
                  <c:v>72.7</c:v>
                </c:pt>
                <c:pt idx="1279">
                  <c:v>73.599999999999994</c:v>
                </c:pt>
                <c:pt idx="1280">
                  <c:v>73.599999999999994</c:v>
                </c:pt>
                <c:pt idx="1281">
                  <c:v>73.2</c:v>
                </c:pt>
                <c:pt idx="1282">
                  <c:v>73.8</c:v>
                </c:pt>
                <c:pt idx="1283">
                  <c:v>75</c:v>
                </c:pt>
                <c:pt idx="1284">
                  <c:v>74.3</c:v>
                </c:pt>
                <c:pt idx="1285">
                  <c:v>74.3</c:v>
                </c:pt>
                <c:pt idx="1286">
                  <c:v>74.099999999999994</c:v>
                </c:pt>
                <c:pt idx="1287">
                  <c:v>75.7</c:v>
                </c:pt>
                <c:pt idx="1288">
                  <c:v>76.3</c:v>
                </c:pt>
                <c:pt idx="1289">
                  <c:v>74.5</c:v>
                </c:pt>
                <c:pt idx="1290">
                  <c:v>75.2</c:v>
                </c:pt>
                <c:pt idx="1291">
                  <c:v>73.8</c:v>
                </c:pt>
                <c:pt idx="1292">
                  <c:v>72.7</c:v>
                </c:pt>
                <c:pt idx="1293">
                  <c:v>72.3</c:v>
                </c:pt>
                <c:pt idx="1294">
                  <c:v>72.099999999999994</c:v>
                </c:pt>
                <c:pt idx="1295">
                  <c:v>71.8</c:v>
                </c:pt>
                <c:pt idx="1296">
                  <c:v>70.5</c:v>
                </c:pt>
                <c:pt idx="1297">
                  <c:v>70.3</c:v>
                </c:pt>
                <c:pt idx="1298">
                  <c:v>71.400000000000006</c:v>
                </c:pt>
                <c:pt idx="1299">
                  <c:v>72.3</c:v>
                </c:pt>
                <c:pt idx="1300">
                  <c:v>71.8</c:v>
                </c:pt>
                <c:pt idx="1301">
                  <c:v>71.099999999999994</c:v>
                </c:pt>
                <c:pt idx="1302">
                  <c:v>70.2</c:v>
                </c:pt>
                <c:pt idx="1303">
                  <c:v>70</c:v>
                </c:pt>
                <c:pt idx="1304">
                  <c:v>69.599999999999994</c:v>
                </c:pt>
                <c:pt idx="1305">
                  <c:v>70.2</c:v>
                </c:pt>
                <c:pt idx="1306">
                  <c:v>69.599999999999994</c:v>
                </c:pt>
                <c:pt idx="1307">
                  <c:v>68.900000000000006</c:v>
                </c:pt>
                <c:pt idx="1308">
                  <c:v>68.400000000000006</c:v>
                </c:pt>
                <c:pt idx="1309">
                  <c:v>68.2</c:v>
                </c:pt>
                <c:pt idx="1310">
                  <c:v>68.5</c:v>
                </c:pt>
                <c:pt idx="1311">
                  <c:v>68.400000000000006</c:v>
                </c:pt>
                <c:pt idx="1312">
                  <c:v>68.7</c:v>
                </c:pt>
                <c:pt idx="1313">
                  <c:v>67.3</c:v>
                </c:pt>
                <c:pt idx="1314">
                  <c:v>66.7</c:v>
                </c:pt>
                <c:pt idx="1315">
                  <c:v>67.8</c:v>
                </c:pt>
                <c:pt idx="1316">
                  <c:v>67.3</c:v>
                </c:pt>
                <c:pt idx="1317">
                  <c:v>66.7</c:v>
                </c:pt>
                <c:pt idx="1318">
                  <c:v>66.400000000000006</c:v>
                </c:pt>
                <c:pt idx="1319">
                  <c:v>66.400000000000006</c:v>
                </c:pt>
                <c:pt idx="1320">
                  <c:v>65.8</c:v>
                </c:pt>
                <c:pt idx="1321">
                  <c:v>66.2</c:v>
                </c:pt>
                <c:pt idx="1322">
                  <c:v>65.3</c:v>
                </c:pt>
                <c:pt idx="1323">
                  <c:v>64.900000000000006</c:v>
                </c:pt>
                <c:pt idx="1324">
                  <c:v>64</c:v>
                </c:pt>
                <c:pt idx="1325">
                  <c:v>65.099999999999994</c:v>
                </c:pt>
                <c:pt idx="1326">
                  <c:v>64</c:v>
                </c:pt>
                <c:pt idx="1327">
                  <c:v>64.400000000000006</c:v>
                </c:pt>
                <c:pt idx="1328">
                  <c:v>63.3</c:v>
                </c:pt>
                <c:pt idx="1329">
                  <c:v>63</c:v>
                </c:pt>
                <c:pt idx="1330">
                  <c:v>63</c:v>
                </c:pt>
                <c:pt idx="1331">
                  <c:v>63.3</c:v>
                </c:pt>
                <c:pt idx="1332">
                  <c:v>63.7</c:v>
                </c:pt>
                <c:pt idx="1333">
                  <c:v>64</c:v>
                </c:pt>
                <c:pt idx="1334">
                  <c:v>64</c:v>
                </c:pt>
                <c:pt idx="1335">
                  <c:v>64</c:v>
                </c:pt>
                <c:pt idx="1336">
                  <c:v>63.9</c:v>
                </c:pt>
                <c:pt idx="1337">
                  <c:v>64.400000000000006</c:v>
                </c:pt>
                <c:pt idx="1338">
                  <c:v>64.900000000000006</c:v>
                </c:pt>
                <c:pt idx="1339">
                  <c:v>66.2</c:v>
                </c:pt>
                <c:pt idx="1340">
                  <c:v>64.599999999999994</c:v>
                </c:pt>
                <c:pt idx="1341">
                  <c:v>63.7</c:v>
                </c:pt>
                <c:pt idx="1342">
                  <c:v>63.7</c:v>
                </c:pt>
                <c:pt idx="1343">
                  <c:v>63.7</c:v>
                </c:pt>
                <c:pt idx="1344">
                  <c:v>63.3</c:v>
                </c:pt>
                <c:pt idx="1345">
                  <c:v>63</c:v>
                </c:pt>
                <c:pt idx="1346">
                  <c:v>62.2</c:v>
                </c:pt>
                <c:pt idx="1347">
                  <c:v>62.6</c:v>
                </c:pt>
                <c:pt idx="1348">
                  <c:v>62.8</c:v>
                </c:pt>
                <c:pt idx="1349">
                  <c:v>62.2</c:v>
                </c:pt>
                <c:pt idx="1350">
                  <c:v>62.1</c:v>
                </c:pt>
                <c:pt idx="1351">
                  <c:v>63.5</c:v>
                </c:pt>
                <c:pt idx="1352">
                  <c:v>62.6</c:v>
                </c:pt>
                <c:pt idx="1353">
                  <c:v>62.8</c:v>
                </c:pt>
                <c:pt idx="1354">
                  <c:v>62.8</c:v>
                </c:pt>
                <c:pt idx="1355">
                  <c:v>63</c:v>
                </c:pt>
                <c:pt idx="1356">
                  <c:v>63.1</c:v>
                </c:pt>
                <c:pt idx="1357">
                  <c:v>63.1</c:v>
                </c:pt>
                <c:pt idx="1358">
                  <c:v>63.1</c:v>
                </c:pt>
                <c:pt idx="1359">
                  <c:v>63.3</c:v>
                </c:pt>
                <c:pt idx="1360">
                  <c:v>63.7</c:v>
                </c:pt>
                <c:pt idx="1361">
                  <c:v>63.7</c:v>
                </c:pt>
                <c:pt idx="1362">
                  <c:v>64</c:v>
                </c:pt>
                <c:pt idx="1363">
                  <c:v>64.900000000000006</c:v>
                </c:pt>
                <c:pt idx="1364">
                  <c:v>65.8</c:v>
                </c:pt>
                <c:pt idx="1365">
                  <c:v>67.5</c:v>
                </c:pt>
                <c:pt idx="1366">
                  <c:v>68</c:v>
                </c:pt>
                <c:pt idx="1367">
                  <c:v>70</c:v>
                </c:pt>
                <c:pt idx="1368">
                  <c:v>69.3</c:v>
                </c:pt>
                <c:pt idx="1369">
                  <c:v>69.400000000000006</c:v>
                </c:pt>
                <c:pt idx="1370">
                  <c:v>70.3</c:v>
                </c:pt>
                <c:pt idx="1371">
                  <c:v>70.900000000000006</c:v>
                </c:pt>
                <c:pt idx="1372">
                  <c:v>73</c:v>
                </c:pt>
                <c:pt idx="1373">
                  <c:v>74.099999999999994</c:v>
                </c:pt>
                <c:pt idx="1374">
                  <c:v>73.900000000000006</c:v>
                </c:pt>
                <c:pt idx="1375">
                  <c:v>75.2</c:v>
                </c:pt>
                <c:pt idx="1376">
                  <c:v>74.099999999999994</c:v>
                </c:pt>
                <c:pt idx="1377">
                  <c:v>73.599999999999994</c:v>
                </c:pt>
                <c:pt idx="1378">
                  <c:v>73.599999999999994</c:v>
                </c:pt>
                <c:pt idx="1379">
                  <c:v>72.099999999999994</c:v>
                </c:pt>
                <c:pt idx="1380">
                  <c:v>71.8</c:v>
                </c:pt>
                <c:pt idx="1381">
                  <c:v>72.099999999999994</c:v>
                </c:pt>
                <c:pt idx="1382">
                  <c:v>72.7</c:v>
                </c:pt>
                <c:pt idx="1383">
                  <c:v>72.3</c:v>
                </c:pt>
                <c:pt idx="1384">
                  <c:v>71.400000000000006</c:v>
                </c:pt>
                <c:pt idx="1385">
                  <c:v>70.900000000000006</c:v>
                </c:pt>
                <c:pt idx="1386">
                  <c:v>70.7</c:v>
                </c:pt>
                <c:pt idx="1387">
                  <c:v>70.5</c:v>
                </c:pt>
                <c:pt idx="1388">
                  <c:v>69.8</c:v>
                </c:pt>
                <c:pt idx="1389">
                  <c:v>70</c:v>
                </c:pt>
                <c:pt idx="1390">
                  <c:v>69.8</c:v>
                </c:pt>
                <c:pt idx="1391">
                  <c:v>69.8</c:v>
                </c:pt>
                <c:pt idx="1392">
                  <c:v>68.5</c:v>
                </c:pt>
                <c:pt idx="1393">
                  <c:v>67.5</c:v>
                </c:pt>
                <c:pt idx="1394">
                  <c:v>67.5</c:v>
                </c:pt>
                <c:pt idx="1395">
                  <c:v>68.7</c:v>
                </c:pt>
                <c:pt idx="1396">
                  <c:v>68.7</c:v>
                </c:pt>
                <c:pt idx="1397">
                  <c:v>69.3</c:v>
                </c:pt>
                <c:pt idx="1398">
                  <c:v>69.8</c:v>
                </c:pt>
                <c:pt idx="1399">
                  <c:v>68.2</c:v>
                </c:pt>
                <c:pt idx="1400">
                  <c:v>68</c:v>
                </c:pt>
                <c:pt idx="1401">
                  <c:v>68.2</c:v>
                </c:pt>
                <c:pt idx="1402">
                  <c:v>68</c:v>
                </c:pt>
                <c:pt idx="1403">
                  <c:v>67.3</c:v>
                </c:pt>
                <c:pt idx="1404">
                  <c:v>67.099999999999994</c:v>
                </c:pt>
                <c:pt idx="1405">
                  <c:v>66.7</c:v>
                </c:pt>
                <c:pt idx="1406">
                  <c:v>66.2</c:v>
                </c:pt>
                <c:pt idx="1407">
                  <c:v>66</c:v>
                </c:pt>
                <c:pt idx="1408">
                  <c:v>65.7</c:v>
                </c:pt>
                <c:pt idx="1409">
                  <c:v>65.5</c:v>
                </c:pt>
                <c:pt idx="1410">
                  <c:v>65.5</c:v>
                </c:pt>
                <c:pt idx="1411">
                  <c:v>65.099999999999994</c:v>
                </c:pt>
                <c:pt idx="1412">
                  <c:v>65.099999999999994</c:v>
                </c:pt>
                <c:pt idx="1413">
                  <c:v>64.900000000000006</c:v>
                </c:pt>
                <c:pt idx="1414">
                  <c:v>64.900000000000006</c:v>
                </c:pt>
                <c:pt idx="1415">
                  <c:v>64.900000000000006</c:v>
                </c:pt>
                <c:pt idx="1416">
                  <c:v>64.8</c:v>
                </c:pt>
                <c:pt idx="1417">
                  <c:v>64.8</c:v>
                </c:pt>
                <c:pt idx="1418">
                  <c:v>64.8</c:v>
                </c:pt>
                <c:pt idx="1419">
                  <c:v>64.8</c:v>
                </c:pt>
                <c:pt idx="1420">
                  <c:v>64.599999999999994</c:v>
                </c:pt>
                <c:pt idx="1421">
                  <c:v>64.599999999999994</c:v>
                </c:pt>
                <c:pt idx="1422">
                  <c:v>64.400000000000006</c:v>
                </c:pt>
                <c:pt idx="1423">
                  <c:v>63.9</c:v>
                </c:pt>
                <c:pt idx="1424">
                  <c:v>63.1</c:v>
                </c:pt>
                <c:pt idx="1425">
                  <c:v>63</c:v>
                </c:pt>
                <c:pt idx="1426">
                  <c:v>62.8</c:v>
                </c:pt>
                <c:pt idx="1427">
                  <c:v>62.4</c:v>
                </c:pt>
                <c:pt idx="1428">
                  <c:v>62.2</c:v>
                </c:pt>
                <c:pt idx="1429">
                  <c:v>62.1</c:v>
                </c:pt>
                <c:pt idx="1430">
                  <c:v>61.9</c:v>
                </c:pt>
                <c:pt idx="1431">
                  <c:v>61.9</c:v>
                </c:pt>
                <c:pt idx="1432">
                  <c:v>61.9</c:v>
                </c:pt>
                <c:pt idx="1433">
                  <c:v>61.7</c:v>
                </c:pt>
                <c:pt idx="1434">
                  <c:v>61.7</c:v>
                </c:pt>
                <c:pt idx="1435">
                  <c:v>61.7</c:v>
                </c:pt>
                <c:pt idx="1436">
                  <c:v>61.7</c:v>
                </c:pt>
                <c:pt idx="1437">
                  <c:v>61.5</c:v>
                </c:pt>
                <c:pt idx="1438">
                  <c:v>61.2</c:v>
                </c:pt>
                <c:pt idx="1439">
                  <c:v>60.8</c:v>
                </c:pt>
                <c:pt idx="1440">
                  <c:v>60.3</c:v>
                </c:pt>
                <c:pt idx="1441">
                  <c:v>60.3</c:v>
                </c:pt>
                <c:pt idx="1442">
                  <c:v>60.4</c:v>
                </c:pt>
                <c:pt idx="1443">
                  <c:v>60.3</c:v>
                </c:pt>
                <c:pt idx="1444">
                  <c:v>60.3</c:v>
                </c:pt>
                <c:pt idx="1445">
                  <c:v>60.3</c:v>
                </c:pt>
                <c:pt idx="1446">
                  <c:v>60.4</c:v>
                </c:pt>
                <c:pt idx="1447">
                  <c:v>60.4</c:v>
                </c:pt>
                <c:pt idx="1448">
                  <c:v>60.4</c:v>
                </c:pt>
                <c:pt idx="1449">
                  <c:v>60.6</c:v>
                </c:pt>
                <c:pt idx="1450">
                  <c:v>60.8</c:v>
                </c:pt>
                <c:pt idx="1451">
                  <c:v>61</c:v>
                </c:pt>
                <c:pt idx="1452">
                  <c:v>61.3</c:v>
                </c:pt>
                <c:pt idx="1453">
                  <c:v>61.7</c:v>
                </c:pt>
                <c:pt idx="1454">
                  <c:v>62.1</c:v>
                </c:pt>
                <c:pt idx="1455">
                  <c:v>62.4</c:v>
                </c:pt>
                <c:pt idx="1456">
                  <c:v>62.8</c:v>
                </c:pt>
                <c:pt idx="1457">
                  <c:v>63.1</c:v>
                </c:pt>
                <c:pt idx="1458">
                  <c:v>64.900000000000006</c:v>
                </c:pt>
                <c:pt idx="1459">
                  <c:v>66</c:v>
                </c:pt>
                <c:pt idx="1460">
                  <c:v>66</c:v>
                </c:pt>
                <c:pt idx="1461">
                  <c:v>66.2</c:v>
                </c:pt>
                <c:pt idx="1462">
                  <c:v>67.099999999999994</c:v>
                </c:pt>
                <c:pt idx="1463">
                  <c:v>67.099999999999994</c:v>
                </c:pt>
                <c:pt idx="1464">
                  <c:v>68.400000000000006</c:v>
                </c:pt>
                <c:pt idx="1465">
                  <c:v>69.099999999999994</c:v>
                </c:pt>
                <c:pt idx="1466">
                  <c:v>71.8</c:v>
                </c:pt>
                <c:pt idx="1467">
                  <c:v>71.8</c:v>
                </c:pt>
                <c:pt idx="1468">
                  <c:v>72.7</c:v>
                </c:pt>
                <c:pt idx="1469">
                  <c:v>71.099999999999994</c:v>
                </c:pt>
                <c:pt idx="1470">
                  <c:v>71.099999999999994</c:v>
                </c:pt>
                <c:pt idx="1471">
                  <c:v>73.900000000000006</c:v>
                </c:pt>
                <c:pt idx="1472">
                  <c:v>71.599999999999994</c:v>
                </c:pt>
                <c:pt idx="1473">
                  <c:v>74.7</c:v>
                </c:pt>
                <c:pt idx="1474">
                  <c:v>71.8</c:v>
                </c:pt>
                <c:pt idx="1475">
                  <c:v>74.7</c:v>
                </c:pt>
                <c:pt idx="1476">
                  <c:v>74.3</c:v>
                </c:pt>
                <c:pt idx="1477">
                  <c:v>76.599999999999994</c:v>
                </c:pt>
                <c:pt idx="1478">
                  <c:v>74.3</c:v>
                </c:pt>
                <c:pt idx="1479">
                  <c:v>74.3</c:v>
                </c:pt>
                <c:pt idx="1480">
                  <c:v>72.5</c:v>
                </c:pt>
                <c:pt idx="1481">
                  <c:v>72.5</c:v>
                </c:pt>
                <c:pt idx="1482">
                  <c:v>73.400000000000006</c:v>
                </c:pt>
                <c:pt idx="1483">
                  <c:v>73</c:v>
                </c:pt>
                <c:pt idx="1484">
                  <c:v>73.900000000000006</c:v>
                </c:pt>
                <c:pt idx="1485">
                  <c:v>75</c:v>
                </c:pt>
                <c:pt idx="1486">
                  <c:v>74.5</c:v>
                </c:pt>
                <c:pt idx="1487">
                  <c:v>74.099999999999994</c:v>
                </c:pt>
                <c:pt idx="1488">
                  <c:v>74.3</c:v>
                </c:pt>
                <c:pt idx="1489">
                  <c:v>73.8</c:v>
                </c:pt>
                <c:pt idx="1490">
                  <c:v>73.599999999999994</c:v>
                </c:pt>
                <c:pt idx="1491">
                  <c:v>72.7</c:v>
                </c:pt>
                <c:pt idx="1492">
                  <c:v>71.400000000000006</c:v>
                </c:pt>
                <c:pt idx="1493">
                  <c:v>70.5</c:v>
                </c:pt>
                <c:pt idx="1494">
                  <c:v>68.400000000000006</c:v>
                </c:pt>
                <c:pt idx="1495">
                  <c:v>66.599999999999994</c:v>
                </c:pt>
                <c:pt idx="1496">
                  <c:v>65.099999999999994</c:v>
                </c:pt>
                <c:pt idx="1497">
                  <c:v>63.5</c:v>
                </c:pt>
                <c:pt idx="1498">
                  <c:v>62.8</c:v>
                </c:pt>
                <c:pt idx="1499">
                  <c:v>61.3</c:v>
                </c:pt>
                <c:pt idx="1500">
                  <c:v>60.3</c:v>
                </c:pt>
                <c:pt idx="1501">
                  <c:v>59.4</c:v>
                </c:pt>
                <c:pt idx="1502">
                  <c:v>60.6</c:v>
                </c:pt>
                <c:pt idx="1503">
                  <c:v>59.2</c:v>
                </c:pt>
                <c:pt idx="1504">
                  <c:v>58.3</c:v>
                </c:pt>
                <c:pt idx="1505">
                  <c:v>57.6</c:v>
                </c:pt>
                <c:pt idx="1506">
                  <c:v>57.2</c:v>
                </c:pt>
                <c:pt idx="1507">
                  <c:v>56.3</c:v>
                </c:pt>
                <c:pt idx="1508">
                  <c:v>57.7</c:v>
                </c:pt>
                <c:pt idx="1509">
                  <c:v>56.5</c:v>
                </c:pt>
                <c:pt idx="1510">
                  <c:v>57</c:v>
                </c:pt>
                <c:pt idx="1511">
                  <c:v>57.7</c:v>
                </c:pt>
                <c:pt idx="1512">
                  <c:v>57.4</c:v>
                </c:pt>
                <c:pt idx="1513">
                  <c:v>61.3</c:v>
                </c:pt>
                <c:pt idx="1514">
                  <c:v>61.2</c:v>
                </c:pt>
                <c:pt idx="1515">
                  <c:v>61</c:v>
                </c:pt>
                <c:pt idx="1516">
                  <c:v>61</c:v>
                </c:pt>
                <c:pt idx="1517">
                  <c:v>60.4</c:v>
                </c:pt>
                <c:pt idx="1518">
                  <c:v>60.8</c:v>
                </c:pt>
                <c:pt idx="1519">
                  <c:v>60.6</c:v>
                </c:pt>
                <c:pt idx="1520">
                  <c:v>60.8</c:v>
                </c:pt>
                <c:pt idx="1521">
                  <c:v>61</c:v>
                </c:pt>
                <c:pt idx="1522">
                  <c:v>61.7</c:v>
                </c:pt>
                <c:pt idx="1523">
                  <c:v>62.1</c:v>
                </c:pt>
                <c:pt idx="1524">
                  <c:v>62.1</c:v>
                </c:pt>
                <c:pt idx="1525">
                  <c:v>62.1</c:v>
                </c:pt>
                <c:pt idx="1526">
                  <c:v>62.2</c:v>
                </c:pt>
                <c:pt idx="1527">
                  <c:v>62.1</c:v>
                </c:pt>
                <c:pt idx="1528">
                  <c:v>62.2</c:v>
                </c:pt>
                <c:pt idx="1529">
                  <c:v>62.4</c:v>
                </c:pt>
                <c:pt idx="1530">
                  <c:v>62.6</c:v>
                </c:pt>
                <c:pt idx="1531">
                  <c:v>62.4</c:v>
                </c:pt>
                <c:pt idx="1532">
                  <c:v>62.6</c:v>
                </c:pt>
                <c:pt idx="1533">
                  <c:v>62.6</c:v>
                </c:pt>
                <c:pt idx="1534">
                  <c:v>62.6</c:v>
                </c:pt>
                <c:pt idx="1535">
                  <c:v>62.8</c:v>
                </c:pt>
                <c:pt idx="1536">
                  <c:v>63.1</c:v>
                </c:pt>
                <c:pt idx="1537">
                  <c:v>63.3</c:v>
                </c:pt>
                <c:pt idx="1538">
                  <c:v>63.7</c:v>
                </c:pt>
                <c:pt idx="1539">
                  <c:v>64.2</c:v>
                </c:pt>
                <c:pt idx="1540">
                  <c:v>64.599999999999994</c:v>
                </c:pt>
                <c:pt idx="1541">
                  <c:v>64.8</c:v>
                </c:pt>
                <c:pt idx="1542">
                  <c:v>64.900000000000006</c:v>
                </c:pt>
                <c:pt idx="1543">
                  <c:v>65.099999999999994</c:v>
                </c:pt>
                <c:pt idx="1544">
                  <c:v>65.8</c:v>
                </c:pt>
                <c:pt idx="1545">
                  <c:v>66.2</c:v>
                </c:pt>
                <c:pt idx="1546">
                  <c:v>66.400000000000006</c:v>
                </c:pt>
                <c:pt idx="1547">
                  <c:v>66.7</c:v>
                </c:pt>
                <c:pt idx="1548">
                  <c:v>67.099999999999994</c:v>
                </c:pt>
                <c:pt idx="1549">
                  <c:v>68.5</c:v>
                </c:pt>
                <c:pt idx="1550">
                  <c:v>69.400000000000006</c:v>
                </c:pt>
                <c:pt idx="1551">
                  <c:v>70</c:v>
                </c:pt>
                <c:pt idx="1552">
                  <c:v>69.099999999999994</c:v>
                </c:pt>
                <c:pt idx="1553">
                  <c:v>70.7</c:v>
                </c:pt>
                <c:pt idx="1554">
                  <c:v>72.7</c:v>
                </c:pt>
                <c:pt idx="1555">
                  <c:v>72.7</c:v>
                </c:pt>
                <c:pt idx="1556">
                  <c:v>73.900000000000006</c:v>
                </c:pt>
                <c:pt idx="1557">
                  <c:v>73.900000000000006</c:v>
                </c:pt>
                <c:pt idx="1558">
                  <c:v>76.099999999999994</c:v>
                </c:pt>
                <c:pt idx="1559">
                  <c:v>75.7</c:v>
                </c:pt>
                <c:pt idx="1560">
                  <c:v>75.900000000000006</c:v>
                </c:pt>
                <c:pt idx="1561">
                  <c:v>77.2</c:v>
                </c:pt>
                <c:pt idx="1562">
                  <c:v>77.2</c:v>
                </c:pt>
                <c:pt idx="1563">
                  <c:v>77.900000000000006</c:v>
                </c:pt>
                <c:pt idx="1564">
                  <c:v>76.599999999999994</c:v>
                </c:pt>
                <c:pt idx="1565">
                  <c:v>77.400000000000006</c:v>
                </c:pt>
                <c:pt idx="1566">
                  <c:v>76.3</c:v>
                </c:pt>
                <c:pt idx="1567">
                  <c:v>77</c:v>
                </c:pt>
                <c:pt idx="1568">
                  <c:v>77.7</c:v>
                </c:pt>
                <c:pt idx="1569">
                  <c:v>79.7</c:v>
                </c:pt>
                <c:pt idx="1570">
                  <c:v>79.3</c:v>
                </c:pt>
                <c:pt idx="1571">
                  <c:v>78.099999999999994</c:v>
                </c:pt>
                <c:pt idx="1572">
                  <c:v>78.400000000000006</c:v>
                </c:pt>
                <c:pt idx="1573">
                  <c:v>78.599999999999994</c:v>
                </c:pt>
                <c:pt idx="1574">
                  <c:v>77.7</c:v>
                </c:pt>
                <c:pt idx="1575">
                  <c:v>78.3</c:v>
                </c:pt>
                <c:pt idx="1576">
                  <c:v>77.400000000000006</c:v>
                </c:pt>
                <c:pt idx="1577">
                  <c:v>78.099999999999994</c:v>
                </c:pt>
                <c:pt idx="1578">
                  <c:v>77.7</c:v>
                </c:pt>
                <c:pt idx="1579">
                  <c:v>77.900000000000006</c:v>
                </c:pt>
                <c:pt idx="1580">
                  <c:v>76.599999999999994</c:v>
                </c:pt>
                <c:pt idx="1581">
                  <c:v>75.7</c:v>
                </c:pt>
                <c:pt idx="1582">
                  <c:v>74.3</c:v>
                </c:pt>
                <c:pt idx="1583">
                  <c:v>72.099999999999994</c:v>
                </c:pt>
                <c:pt idx="1584">
                  <c:v>70.5</c:v>
                </c:pt>
                <c:pt idx="1585">
                  <c:v>68.900000000000006</c:v>
                </c:pt>
                <c:pt idx="1586">
                  <c:v>67.099999999999994</c:v>
                </c:pt>
                <c:pt idx="1587">
                  <c:v>65.8</c:v>
                </c:pt>
                <c:pt idx="1588">
                  <c:v>64.599999999999994</c:v>
                </c:pt>
                <c:pt idx="1589">
                  <c:v>63.3</c:v>
                </c:pt>
                <c:pt idx="1590">
                  <c:v>62.4</c:v>
                </c:pt>
                <c:pt idx="1591">
                  <c:v>61.3</c:v>
                </c:pt>
                <c:pt idx="1592">
                  <c:v>61</c:v>
                </c:pt>
                <c:pt idx="1593">
                  <c:v>60.1</c:v>
                </c:pt>
                <c:pt idx="1594">
                  <c:v>59</c:v>
                </c:pt>
                <c:pt idx="1595">
                  <c:v>59</c:v>
                </c:pt>
                <c:pt idx="1596">
                  <c:v>58.3</c:v>
                </c:pt>
                <c:pt idx="1597">
                  <c:v>57.6</c:v>
                </c:pt>
                <c:pt idx="1598">
                  <c:v>56.8</c:v>
                </c:pt>
                <c:pt idx="1599">
                  <c:v>56.1</c:v>
                </c:pt>
                <c:pt idx="1600">
                  <c:v>55.8</c:v>
                </c:pt>
                <c:pt idx="1601">
                  <c:v>55.8</c:v>
                </c:pt>
                <c:pt idx="1602">
                  <c:v>66</c:v>
                </c:pt>
                <c:pt idx="1603">
                  <c:v>67.8</c:v>
                </c:pt>
                <c:pt idx="1604">
                  <c:v>69.3</c:v>
                </c:pt>
                <c:pt idx="1605">
                  <c:v>70.2</c:v>
                </c:pt>
                <c:pt idx="1606">
                  <c:v>71.400000000000006</c:v>
                </c:pt>
                <c:pt idx="1607">
                  <c:v>72.900000000000006</c:v>
                </c:pt>
                <c:pt idx="1608">
                  <c:v>73.900000000000006</c:v>
                </c:pt>
                <c:pt idx="1609">
                  <c:v>77.400000000000006</c:v>
                </c:pt>
                <c:pt idx="1610">
                  <c:v>78.099999999999994</c:v>
                </c:pt>
                <c:pt idx="1611">
                  <c:v>79.900000000000006</c:v>
                </c:pt>
                <c:pt idx="1612">
                  <c:v>72.900000000000006</c:v>
                </c:pt>
                <c:pt idx="1613">
                  <c:v>74.7</c:v>
                </c:pt>
                <c:pt idx="1614">
                  <c:v>75</c:v>
                </c:pt>
                <c:pt idx="1615">
                  <c:v>74.5</c:v>
                </c:pt>
                <c:pt idx="1616">
                  <c:v>76.099999999999994</c:v>
                </c:pt>
                <c:pt idx="1617">
                  <c:v>74.7</c:v>
                </c:pt>
                <c:pt idx="1618">
                  <c:v>76.099999999999994</c:v>
                </c:pt>
                <c:pt idx="1619">
                  <c:v>76.599999999999994</c:v>
                </c:pt>
                <c:pt idx="1620">
                  <c:v>77.7</c:v>
                </c:pt>
                <c:pt idx="1621">
                  <c:v>75.7</c:v>
                </c:pt>
                <c:pt idx="1622">
                  <c:v>77.400000000000006</c:v>
                </c:pt>
                <c:pt idx="1623">
                  <c:v>77.2</c:v>
                </c:pt>
                <c:pt idx="1624">
                  <c:v>78.8</c:v>
                </c:pt>
                <c:pt idx="1625">
                  <c:v>79</c:v>
                </c:pt>
                <c:pt idx="1626">
                  <c:v>78.400000000000006</c:v>
                </c:pt>
                <c:pt idx="1627">
                  <c:v>79</c:v>
                </c:pt>
                <c:pt idx="1628">
                  <c:v>78.3</c:v>
                </c:pt>
                <c:pt idx="1629">
                  <c:v>78.599999999999994</c:v>
                </c:pt>
                <c:pt idx="1630">
                  <c:v>79.5</c:v>
                </c:pt>
                <c:pt idx="1631">
                  <c:v>79.3</c:v>
                </c:pt>
                <c:pt idx="1632">
                  <c:v>79.3</c:v>
                </c:pt>
                <c:pt idx="1633">
                  <c:v>79</c:v>
                </c:pt>
                <c:pt idx="1634">
                  <c:v>79.5</c:v>
                </c:pt>
                <c:pt idx="1635">
                  <c:v>78.3</c:v>
                </c:pt>
                <c:pt idx="1636">
                  <c:v>79.3</c:v>
                </c:pt>
                <c:pt idx="1637">
                  <c:v>78.099999999999994</c:v>
                </c:pt>
                <c:pt idx="1638">
                  <c:v>77</c:v>
                </c:pt>
                <c:pt idx="1639">
                  <c:v>77.2</c:v>
                </c:pt>
                <c:pt idx="1640">
                  <c:v>76.8</c:v>
                </c:pt>
                <c:pt idx="1641">
                  <c:v>75.2</c:v>
                </c:pt>
                <c:pt idx="1642">
                  <c:v>73.599999999999994</c:v>
                </c:pt>
                <c:pt idx="1643">
                  <c:v>72</c:v>
                </c:pt>
                <c:pt idx="1644">
                  <c:v>70.2</c:v>
                </c:pt>
                <c:pt idx="1645">
                  <c:v>69.3</c:v>
                </c:pt>
                <c:pt idx="1646">
                  <c:v>69.099999999999994</c:v>
                </c:pt>
                <c:pt idx="1647">
                  <c:v>67.8</c:v>
                </c:pt>
                <c:pt idx="1648">
                  <c:v>66.400000000000006</c:v>
                </c:pt>
                <c:pt idx="1649">
                  <c:v>64.599999999999994</c:v>
                </c:pt>
                <c:pt idx="1650">
                  <c:v>62.1</c:v>
                </c:pt>
                <c:pt idx="1651">
                  <c:v>61.2</c:v>
                </c:pt>
                <c:pt idx="1652">
                  <c:v>59.4</c:v>
                </c:pt>
                <c:pt idx="1653">
                  <c:v>58.1</c:v>
                </c:pt>
                <c:pt idx="1654">
                  <c:v>57.2</c:v>
                </c:pt>
                <c:pt idx="1655">
                  <c:v>56.1</c:v>
                </c:pt>
                <c:pt idx="1656">
                  <c:v>57</c:v>
                </c:pt>
                <c:pt idx="1657">
                  <c:v>55.2</c:v>
                </c:pt>
                <c:pt idx="1658">
                  <c:v>62.6</c:v>
                </c:pt>
                <c:pt idx="1659">
                  <c:v>63.9</c:v>
                </c:pt>
                <c:pt idx="1660">
                  <c:v>65.3</c:v>
                </c:pt>
                <c:pt idx="1661">
                  <c:v>67.5</c:v>
                </c:pt>
                <c:pt idx="1662">
                  <c:v>67.8</c:v>
                </c:pt>
                <c:pt idx="1663">
                  <c:v>63.1</c:v>
                </c:pt>
                <c:pt idx="1664">
                  <c:v>63.9</c:v>
                </c:pt>
                <c:pt idx="1665">
                  <c:v>64.900000000000006</c:v>
                </c:pt>
                <c:pt idx="1666">
                  <c:v>65.8</c:v>
                </c:pt>
                <c:pt idx="1667">
                  <c:v>66.599999999999994</c:v>
                </c:pt>
                <c:pt idx="1668">
                  <c:v>67.099999999999994</c:v>
                </c:pt>
                <c:pt idx="1669">
                  <c:v>67.8</c:v>
                </c:pt>
                <c:pt idx="1670">
                  <c:v>68.7</c:v>
                </c:pt>
                <c:pt idx="1671">
                  <c:v>70</c:v>
                </c:pt>
                <c:pt idx="1672">
                  <c:v>70.5</c:v>
                </c:pt>
                <c:pt idx="1673">
                  <c:v>70.5</c:v>
                </c:pt>
                <c:pt idx="1674">
                  <c:v>70.900000000000006</c:v>
                </c:pt>
                <c:pt idx="1675">
                  <c:v>72</c:v>
                </c:pt>
                <c:pt idx="1676">
                  <c:v>71.8</c:v>
                </c:pt>
                <c:pt idx="1677">
                  <c:v>72.3</c:v>
                </c:pt>
                <c:pt idx="1678">
                  <c:v>73.2</c:v>
                </c:pt>
                <c:pt idx="1679">
                  <c:v>73.400000000000006</c:v>
                </c:pt>
                <c:pt idx="1680">
                  <c:v>73.400000000000006</c:v>
                </c:pt>
                <c:pt idx="1681">
                  <c:v>74.7</c:v>
                </c:pt>
                <c:pt idx="1682">
                  <c:v>75.400000000000006</c:v>
                </c:pt>
                <c:pt idx="1683">
                  <c:v>75</c:v>
                </c:pt>
                <c:pt idx="1684">
                  <c:v>77.5</c:v>
                </c:pt>
                <c:pt idx="1685">
                  <c:v>77.900000000000006</c:v>
                </c:pt>
                <c:pt idx="1686">
                  <c:v>76.8</c:v>
                </c:pt>
                <c:pt idx="1687">
                  <c:v>77.5</c:v>
                </c:pt>
                <c:pt idx="1688">
                  <c:v>75.900000000000006</c:v>
                </c:pt>
                <c:pt idx="1689">
                  <c:v>76.8</c:v>
                </c:pt>
                <c:pt idx="1690">
                  <c:v>76.8</c:v>
                </c:pt>
                <c:pt idx="1691">
                  <c:v>75.599999999999994</c:v>
                </c:pt>
                <c:pt idx="1692">
                  <c:v>75.2</c:v>
                </c:pt>
                <c:pt idx="1693">
                  <c:v>75.7</c:v>
                </c:pt>
                <c:pt idx="1694">
                  <c:v>73</c:v>
                </c:pt>
                <c:pt idx="1695">
                  <c:v>73</c:v>
                </c:pt>
                <c:pt idx="1696">
                  <c:v>72</c:v>
                </c:pt>
                <c:pt idx="1697">
                  <c:v>70.5</c:v>
                </c:pt>
                <c:pt idx="1698">
                  <c:v>65.5</c:v>
                </c:pt>
                <c:pt idx="1699">
                  <c:v>62.4</c:v>
                </c:pt>
                <c:pt idx="1700">
                  <c:v>59.9</c:v>
                </c:pt>
                <c:pt idx="1701">
                  <c:v>58.1</c:v>
                </c:pt>
                <c:pt idx="1702">
                  <c:v>56.8</c:v>
                </c:pt>
                <c:pt idx="1703">
                  <c:v>55.6</c:v>
                </c:pt>
                <c:pt idx="1704">
                  <c:v>54.9</c:v>
                </c:pt>
                <c:pt idx="1705">
                  <c:v>59</c:v>
                </c:pt>
                <c:pt idx="1706">
                  <c:v>59.4</c:v>
                </c:pt>
                <c:pt idx="1707">
                  <c:v>60.4</c:v>
                </c:pt>
                <c:pt idx="1708">
                  <c:v>62.1</c:v>
                </c:pt>
                <c:pt idx="1709">
                  <c:v>63</c:v>
                </c:pt>
                <c:pt idx="1710">
                  <c:v>64.2</c:v>
                </c:pt>
                <c:pt idx="1711">
                  <c:v>64.599999999999994</c:v>
                </c:pt>
                <c:pt idx="1712">
                  <c:v>64.599999999999994</c:v>
                </c:pt>
                <c:pt idx="1713">
                  <c:v>65.099999999999994</c:v>
                </c:pt>
                <c:pt idx="1714">
                  <c:v>65.8</c:v>
                </c:pt>
                <c:pt idx="1715">
                  <c:v>66.900000000000006</c:v>
                </c:pt>
                <c:pt idx="1716">
                  <c:v>67.5</c:v>
                </c:pt>
                <c:pt idx="1717">
                  <c:v>67.8</c:v>
                </c:pt>
                <c:pt idx="1718">
                  <c:v>69.8</c:v>
                </c:pt>
                <c:pt idx="1719">
                  <c:v>70.7</c:v>
                </c:pt>
                <c:pt idx="1720">
                  <c:v>71.099999999999994</c:v>
                </c:pt>
                <c:pt idx="1721">
                  <c:v>71.2</c:v>
                </c:pt>
                <c:pt idx="1722">
                  <c:v>70.3</c:v>
                </c:pt>
                <c:pt idx="1723">
                  <c:v>71.8</c:v>
                </c:pt>
                <c:pt idx="1724">
                  <c:v>72</c:v>
                </c:pt>
                <c:pt idx="1725">
                  <c:v>71.400000000000006</c:v>
                </c:pt>
                <c:pt idx="1726">
                  <c:v>71.400000000000006</c:v>
                </c:pt>
                <c:pt idx="1727">
                  <c:v>71.8</c:v>
                </c:pt>
                <c:pt idx="1728">
                  <c:v>73</c:v>
                </c:pt>
                <c:pt idx="1729">
                  <c:v>73.900000000000006</c:v>
                </c:pt>
                <c:pt idx="1730">
                  <c:v>73.900000000000006</c:v>
                </c:pt>
                <c:pt idx="1731">
                  <c:v>72.900000000000006</c:v>
                </c:pt>
                <c:pt idx="1732">
                  <c:v>72.900000000000006</c:v>
                </c:pt>
                <c:pt idx="1733">
                  <c:v>75</c:v>
                </c:pt>
                <c:pt idx="1734">
                  <c:v>72.5</c:v>
                </c:pt>
                <c:pt idx="1735">
                  <c:v>72.099999999999994</c:v>
                </c:pt>
                <c:pt idx="1736">
                  <c:v>72</c:v>
                </c:pt>
                <c:pt idx="1737">
                  <c:v>71.2</c:v>
                </c:pt>
                <c:pt idx="1738">
                  <c:v>71.400000000000006</c:v>
                </c:pt>
                <c:pt idx="1739">
                  <c:v>71.099999999999994</c:v>
                </c:pt>
                <c:pt idx="1740">
                  <c:v>70.5</c:v>
                </c:pt>
                <c:pt idx="1741">
                  <c:v>70.7</c:v>
                </c:pt>
                <c:pt idx="1742">
                  <c:v>70.2</c:v>
                </c:pt>
                <c:pt idx="1743">
                  <c:v>68.5</c:v>
                </c:pt>
                <c:pt idx="1744">
                  <c:v>67.599999999999994</c:v>
                </c:pt>
                <c:pt idx="1745">
                  <c:v>67.599999999999994</c:v>
                </c:pt>
                <c:pt idx="1746">
                  <c:v>67.599999999999994</c:v>
                </c:pt>
                <c:pt idx="1747">
                  <c:v>67.5</c:v>
                </c:pt>
                <c:pt idx="1748">
                  <c:v>64.900000000000006</c:v>
                </c:pt>
                <c:pt idx="1749">
                  <c:v>64.599999999999994</c:v>
                </c:pt>
                <c:pt idx="1750">
                  <c:v>65.3</c:v>
                </c:pt>
                <c:pt idx="1751">
                  <c:v>60.1</c:v>
                </c:pt>
                <c:pt idx="1752">
                  <c:v>60.8</c:v>
                </c:pt>
                <c:pt idx="1753">
                  <c:v>62.4</c:v>
                </c:pt>
                <c:pt idx="1754">
                  <c:v>62.6</c:v>
                </c:pt>
                <c:pt idx="1755">
                  <c:v>65.5</c:v>
                </c:pt>
                <c:pt idx="1756">
                  <c:v>67.599999999999994</c:v>
                </c:pt>
                <c:pt idx="1757">
                  <c:v>66.900000000000006</c:v>
                </c:pt>
                <c:pt idx="1758">
                  <c:v>68.5</c:v>
                </c:pt>
                <c:pt idx="1759">
                  <c:v>69.8</c:v>
                </c:pt>
                <c:pt idx="1760">
                  <c:v>70.7</c:v>
                </c:pt>
                <c:pt idx="1761">
                  <c:v>70.5</c:v>
                </c:pt>
                <c:pt idx="1762">
                  <c:v>73</c:v>
                </c:pt>
                <c:pt idx="1763">
                  <c:v>72.900000000000006</c:v>
                </c:pt>
                <c:pt idx="1764">
                  <c:v>72.900000000000006</c:v>
                </c:pt>
                <c:pt idx="1765">
                  <c:v>73.2</c:v>
                </c:pt>
                <c:pt idx="1766">
                  <c:v>72</c:v>
                </c:pt>
                <c:pt idx="1767">
                  <c:v>74.7</c:v>
                </c:pt>
                <c:pt idx="1768">
                  <c:v>74.099999999999994</c:v>
                </c:pt>
                <c:pt idx="1769">
                  <c:v>74.8</c:v>
                </c:pt>
                <c:pt idx="1770">
                  <c:v>74.5</c:v>
                </c:pt>
                <c:pt idx="1771">
                  <c:v>74.7</c:v>
                </c:pt>
                <c:pt idx="1772">
                  <c:v>74.3</c:v>
                </c:pt>
                <c:pt idx="1773">
                  <c:v>75.900000000000006</c:v>
                </c:pt>
                <c:pt idx="1774">
                  <c:v>75.599999999999994</c:v>
                </c:pt>
                <c:pt idx="1775">
                  <c:v>77.7</c:v>
                </c:pt>
                <c:pt idx="1776">
                  <c:v>75.2</c:v>
                </c:pt>
                <c:pt idx="1777">
                  <c:v>75.2</c:v>
                </c:pt>
                <c:pt idx="1778">
                  <c:v>76.3</c:v>
                </c:pt>
                <c:pt idx="1779">
                  <c:v>76.099999999999994</c:v>
                </c:pt>
                <c:pt idx="1780">
                  <c:v>76.099999999999994</c:v>
                </c:pt>
                <c:pt idx="1781">
                  <c:v>75.900000000000006</c:v>
                </c:pt>
                <c:pt idx="1782">
                  <c:v>76.3</c:v>
                </c:pt>
                <c:pt idx="1783">
                  <c:v>75.599999999999994</c:v>
                </c:pt>
                <c:pt idx="1784">
                  <c:v>76.5</c:v>
                </c:pt>
                <c:pt idx="1785">
                  <c:v>76.599999999999994</c:v>
                </c:pt>
                <c:pt idx="1786">
                  <c:v>76.8</c:v>
                </c:pt>
                <c:pt idx="1787">
                  <c:v>74.099999999999994</c:v>
                </c:pt>
                <c:pt idx="1788">
                  <c:v>74.7</c:v>
                </c:pt>
                <c:pt idx="1789">
                  <c:v>71.8</c:v>
                </c:pt>
                <c:pt idx="1790">
                  <c:v>70.5</c:v>
                </c:pt>
                <c:pt idx="1791">
                  <c:v>69.8</c:v>
                </c:pt>
                <c:pt idx="1792">
                  <c:v>69.8</c:v>
                </c:pt>
                <c:pt idx="1793">
                  <c:v>68.400000000000006</c:v>
                </c:pt>
                <c:pt idx="1794">
                  <c:v>66.400000000000006</c:v>
                </c:pt>
                <c:pt idx="1795">
                  <c:v>66</c:v>
                </c:pt>
                <c:pt idx="1796">
                  <c:v>65.5</c:v>
                </c:pt>
                <c:pt idx="1797">
                  <c:v>65.5</c:v>
                </c:pt>
                <c:pt idx="1798">
                  <c:v>64.599999999999994</c:v>
                </c:pt>
                <c:pt idx="1799">
                  <c:v>64.400000000000006</c:v>
                </c:pt>
                <c:pt idx="1800">
                  <c:v>64.8</c:v>
                </c:pt>
                <c:pt idx="1801">
                  <c:v>66.2</c:v>
                </c:pt>
                <c:pt idx="1802">
                  <c:v>66.900000000000006</c:v>
                </c:pt>
                <c:pt idx="1803">
                  <c:v>65.3</c:v>
                </c:pt>
                <c:pt idx="1804">
                  <c:v>64</c:v>
                </c:pt>
                <c:pt idx="1805">
                  <c:v>63.9</c:v>
                </c:pt>
                <c:pt idx="1806">
                  <c:v>63.9</c:v>
                </c:pt>
                <c:pt idx="1807">
                  <c:v>63</c:v>
                </c:pt>
                <c:pt idx="1808">
                  <c:v>62.1</c:v>
                </c:pt>
                <c:pt idx="1809">
                  <c:v>61.2</c:v>
                </c:pt>
                <c:pt idx="1810">
                  <c:v>61.3</c:v>
                </c:pt>
                <c:pt idx="1811">
                  <c:v>61.5</c:v>
                </c:pt>
                <c:pt idx="1812">
                  <c:v>62.6</c:v>
                </c:pt>
                <c:pt idx="1813">
                  <c:v>62.8</c:v>
                </c:pt>
                <c:pt idx="1814">
                  <c:v>61.9</c:v>
                </c:pt>
                <c:pt idx="1815">
                  <c:v>61.2</c:v>
                </c:pt>
                <c:pt idx="1816">
                  <c:v>58.5</c:v>
                </c:pt>
                <c:pt idx="1817">
                  <c:v>56.8</c:v>
                </c:pt>
                <c:pt idx="1818">
                  <c:v>55.4</c:v>
                </c:pt>
                <c:pt idx="1819">
                  <c:v>54.9</c:v>
                </c:pt>
                <c:pt idx="1820">
                  <c:v>54.3</c:v>
                </c:pt>
                <c:pt idx="1821">
                  <c:v>60.4</c:v>
                </c:pt>
                <c:pt idx="1822">
                  <c:v>59.5</c:v>
                </c:pt>
                <c:pt idx="1823">
                  <c:v>60.1</c:v>
                </c:pt>
                <c:pt idx="1824">
                  <c:v>61.9</c:v>
                </c:pt>
                <c:pt idx="1825">
                  <c:v>62.2</c:v>
                </c:pt>
                <c:pt idx="1826">
                  <c:v>62.1</c:v>
                </c:pt>
                <c:pt idx="1827">
                  <c:v>61</c:v>
                </c:pt>
                <c:pt idx="1828">
                  <c:v>63.5</c:v>
                </c:pt>
                <c:pt idx="1829">
                  <c:v>64.599999999999994</c:v>
                </c:pt>
                <c:pt idx="1830">
                  <c:v>63.9</c:v>
                </c:pt>
                <c:pt idx="1831">
                  <c:v>65.099999999999994</c:v>
                </c:pt>
                <c:pt idx="1832">
                  <c:v>64.900000000000006</c:v>
                </c:pt>
                <c:pt idx="1833">
                  <c:v>64.900000000000006</c:v>
                </c:pt>
                <c:pt idx="1834">
                  <c:v>65.099999999999994</c:v>
                </c:pt>
                <c:pt idx="1835">
                  <c:v>65.5</c:v>
                </c:pt>
                <c:pt idx="1836">
                  <c:v>67.3</c:v>
                </c:pt>
                <c:pt idx="1837">
                  <c:v>67.099999999999994</c:v>
                </c:pt>
                <c:pt idx="1838">
                  <c:v>66.599999999999994</c:v>
                </c:pt>
                <c:pt idx="1839">
                  <c:v>67.5</c:v>
                </c:pt>
                <c:pt idx="1840">
                  <c:v>67.3</c:v>
                </c:pt>
                <c:pt idx="1841">
                  <c:v>66.7</c:v>
                </c:pt>
                <c:pt idx="1842">
                  <c:v>66.400000000000006</c:v>
                </c:pt>
                <c:pt idx="1843">
                  <c:v>66.2</c:v>
                </c:pt>
                <c:pt idx="1844">
                  <c:v>65.8</c:v>
                </c:pt>
                <c:pt idx="1845">
                  <c:v>65.8</c:v>
                </c:pt>
                <c:pt idx="1846">
                  <c:v>66.400000000000006</c:v>
                </c:pt>
                <c:pt idx="1847">
                  <c:v>65.7</c:v>
                </c:pt>
                <c:pt idx="1848">
                  <c:v>65.7</c:v>
                </c:pt>
                <c:pt idx="1849">
                  <c:v>65.7</c:v>
                </c:pt>
                <c:pt idx="1850">
                  <c:v>66</c:v>
                </c:pt>
                <c:pt idx="1851">
                  <c:v>66</c:v>
                </c:pt>
                <c:pt idx="1852">
                  <c:v>64.8</c:v>
                </c:pt>
                <c:pt idx="1853">
                  <c:v>63.7</c:v>
                </c:pt>
                <c:pt idx="1854">
                  <c:v>62.6</c:v>
                </c:pt>
                <c:pt idx="1855">
                  <c:v>61.5</c:v>
                </c:pt>
                <c:pt idx="1856">
                  <c:v>61.5</c:v>
                </c:pt>
                <c:pt idx="1857">
                  <c:v>59.9</c:v>
                </c:pt>
                <c:pt idx="1858">
                  <c:v>58.6</c:v>
                </c:pt>
                <c:pt idx="1859">
                  <c:v>57.2</c:v>
                </c:pt>
                <c:pt idx="1860">
                  <c:v>56.5</c:v>
                </c:pt>
                <c:pt idx="1861">
                  <c:v>55.8</c:v>
                </c:pt>
                <c:pt idx="1862">
                  <c:v>55.8</c:v>
                </c:pt>
                <c:pt idx="1863">
                  <c:v>55</c:v>
                </c:pt>
                <c:pt idx="1864">
                  <c:v>54.7</c:v>
                </c:pt>
                <c:pt idx="1865">
                  <c:v>54.7</c:v>
                </c:pt>
                <c:pt idx="1866">
                  <c:v>53.6</c:v>
                </c:pt>
                <c:pt idx="1867">
                  <c:v>62.1</c:v>
                </c:pt>
                <c:pt idx="1868">
                  <c:v>65.5</c:v>
                </c:pt>
                <c:pt idx="1869">
                  <c:v>66.2</c:v>
                </c:pt>
                <c:pt idx="1870">
                  <c:v>65.7</c:v>
                </c:pt>
                <c:pt idx="1871">
                  <c:v>65.7</c:v>
                </c:pt>
                <c:pt idx="1872">
                  <c:v>65.7</c:v>
                </c:pt>
                <c:pt idx="1873">
                  <c:v>64.8</c:v>
                </c:pt>
                <c:pt idx="1874">
                  <c:v>64</c:v>
                </c:pt>
                <c:pt idx="1875">
                  <c:v>65.5</c:v>
                </c:pt>
                <c:pt idx="1876">
                  <c:v>66.599999999999994</c:v>
                </c:pt>
                <c:pt idx="1877">
                  <c:v>66.400000000000006</c:v>
                </c:pt>
                <c:pt idx="1878">
                  <c:v>68.400000000000006</c:v>
                </c:pt>
                <c:pt idx="1879">
                  <c:v>67.8</c:v>
                </c:pt>
                <c:pt idx="1880">
                  <c:v>68.7</c:v>
                </c:pt>
                <c:pt idx="1881">
                  <c:v>69.3</c:v>
                </c:pt>
                <c:pt idx="1882">
                  <c:v>68.7</c:v>
                </c:pt>
                <c:pt idx="1883">
                  <c:v>67.3</c:v>
                </c:pt>
                <c:pt idx="1884">
                  <c:v>70.3</c:v>
                </c:pt>
                <c:pt idx="1885">
                  <c:v>69.3</c:v>
                </c:pt>
                <c:pt idx="1886">
                  <c:v>69.400000000000006</c:v>
                </c:pt>
                <c:pt idx="1887">
                  <c:v>69.400000000000006</c:v>
                </c:pt>
                <c:pt idx="1888">
                  <c:v>73</c:v>
                </c:pt>
                <c:pt idx="1889">
                  <c:v>72.5</c:v>
                </c:pt>
                <c:pt idx="1890">
                  <c:v>71.599999999999994</c:v>
                </c:pt>
                <c:pt idx="1891">
                  <c:v>71.599999999999994</c:v>
                </c:pt>
                <c:pt idx="1892">
                  <c:v>70.5</c:v>
                </c:pt>
                <c:pt idx="1893">
                  <c:v>70.3</c:v>
                </c:pt>
                <c:pt idx="1894">
                  <c:v>70.2</c:v>
                </c:pt>
                <c:pt idx="1895">
                  <c:v>68.5</c:v>
                </c:pt>
                <c:pt idx="1896">
                  <c:v>69.8</c:v>
                </c:pt>
                <c:pt idx="1897">
                  <c:v>68.400000000000006</c:v>
                </c:pt>
                <c:pt idx="1898">
                  <c:v>68.900000000000006</c:v>
                </c:pt>
                <c:pt idx="1899">
                  <c:v>66.7</c:v>
                </c:pt>
                <c:pt idx="1900">
                  <c:v>65.5</c:v>
                </c:pt>
                <c:pt idx="1901">
                  <c:v>60.4</c:v>
                </c:pt>
                <c:pt idx="1902">
                  <c:v>57.6</c:v>
                </c:pt>
                <c:pt idx="1903">
                  <c:v>55.8</c:v>
                </c:pt>
                <c:pt idx="1904">
                  <c:v>54.1</c:v>
                </c:pt>
                <c:pt idx="1905">
                  <c:v>52.9</c:v>
                </c:pt>
                <c:pt idx="1906">
                  <c:v>62.1</c:v>
                </c:pt>
                <c:pt idx="1907">
                  <c:v>63.5</c:v>
                </c:pt>
                <c:pt idx="1908">
                  <c:v>63.7</c:v>
                </c:pt>
                <c:pt idx="1909">
                  <c:v>65.5</c:v>
                </c:pt>
                <c:pt idx="1910">
                  <c:v>64.2</c:v>
                </c:pt>
                <c:pt idx="1911">
                  <c:v>66.900000000000006</c:v>
                </c:pt>
                <c:pt idx="1912">
                  <c:v>69.3</c:v>
                </c:pt>
                <c:pt idx="1913">
                  <c:v>68.2</c:v>
                </c:pt>
                <c:pt idx="1914">
                  <c:v>67.8</c:v>
                </c:pt>
                <c:pt idx="1915">
                  <c:v>70.900000000000006</c:v>
                </c:pt>
                <c:pt idx="1916">
                  <c:v>70.900000000000006</c:v>
                </c:pt>
                <c:pt idx="1917">
                  <c:v>71.400000000000006</c:v>
                </c:pt>
                <c:pt idx="1918">
                  <c:v>71.400000000000006</c:v>
                </c:pt>
                <c:pt idx="1919">
                  <c:v>71.400000000000006</c:v>
                </c:pt>
                <c:pt idx="1920">
                  <c:v>73.400000000000006</c:v>
                </c:pt>
                <c:pt idx="1921">
                  <c:v>71.8</c:v>
                </c:pt>
                <c:pt idx="1922">
                  <c:v>72.7</c:v>
                </c:pt>
                <c:pt idx="1923">
                  <c:v>74.8</c:v>
                </c:pt>
                <c:pt idx="1924">
                  <c:v>73.400000000000006</c:v>
                </c:pt>
                <c:pt idx="1925">
                  <c:v>73.8</c:v>
                </c:pt>
                <c:pt idx="1926">
                  <c:v>75</c:v>
                </c:pt>
                <c:pt idx="1927">
                  <c:v>75</c:v>
                </c:pt>
                <c:pt idx="1928">
                  <c:v>74.099999999999994</c:v>
                </c:pt>
                <c:pt idx="1929">
                  <c:v>74.3</c:v>
                </c:pt>
                <c:pt idx="1930">
                  <c:v>73.400000000000006</c:v>
                </c:pt>
                <c:pt idx="1931">
                  <c:v>73.8</c:v>
                </c:pt>
                <c:pt idx="1932">
                  <c:v>73.900000000000006</c:v>
                </c:pt>
                <c:pt idx="1933">
                  <c:v>72.900000000000006</c:v>
                </c:pt>
                <c:pt idx="1934">
                  <c:v>72.7</c:v>
                </c:pt>
                <c:pt idx="1935">
                  <c:v>72.7</c:v>
                </c:pt>
                <c:pt idx="1936">
                  <c:v>72.7</c:v>
                </c:pt>
                <c:pt idx="1937">
                  <c:v>71.599999999999994</c:v>
                </c:pt>
                <c:pt idx="1938">
                  <c:v>71.599999999999994</c:v>
                </c:pt>
                <c:pt idx="1939">
                  <c:v>71.099999999999994</c:v>
                </c:pt>
                <c:pt idx="1940">
                  <c:v>71.099999999999994</c:v>
                </c:pt>
                <c:pt idx="1941">
                  <c:v>71.099999999999994</c:v>
                </c:pt>
                <c:pt idx="1942">
                  <c:v>70.2</c:v>
                </c:pt>
                <c:pt idx="1943">
                  <c:v>65.099999999999994</c:v>
                </c:pt>
                <c:pt idx="1944">
                  <c:v>63.9</c:v>
                </c:pt>
                <c:pt idx="1945">
                  <c:v>63</c:v>
                </c:pt>
                <c:pt idx="1946">
                  <c:v>62.2</c:v>
                </c:pt>
                <c:pt idx="1947">
                  <c:v>61.9</c:v>
                </c:pt>
                <c:pt idx="1948">
                  <c:v>61.3</c:v>
                </c:pt>
                <c:pt idx="1949">
                  <c:v>60.8</c:v>
                </c:pt>
                <c:pt idx="1950">
                  <c:v>60.8</c:v>
                </c:pt>
                <c:pt idx="1951">
                  <c:v>60.6</c:v>
                </c:pt>
                <c:pt idx="1952">
                  <c:v>60.8</c:v>
                </c:pt>
                <c:pt idx="1953">
                  <c:v>60.8</c:v>
                </c:pt>
                <c:pt idx="1954">
                  <c:v>60.6</c:v>
                </c:pt>
                <c:pt idx="1955">
                  <c:v>59.9</c:v>
                </c:pt>
                <c:pt idx="1956">
                  <c:v>59.5</c:v>
                </c:pt>
                <c:pt idx="1957">
                  <c:v>59.4</c:v>
                </c:pt>
                <c:pt idx="1958">
                  <c:v>59.5</c:v>
                </c:pt>
                <c:pt idx="1959">
                  <c:v>59.5</c:v>
                </c:pt>
                <c:pt idx="1960">
                  <c:v>59</c:v>
                </c:pt>
                <c:pt idx="1961">
                  <c:v>58.6</c:v>
                </c:pt>
                <c:pt idx="1962">
                  <c:v>57.9</c:v>
                </c:pt>
                <c:pt idx="1963">
                  <c:v>57</c:v>
                </c:pt>
                <c:pt idx="1964">
                  <c:v>55.8</c:v>
                </c:pt>
                <c:pt idx="1965">
                  <c:v>65.5</c:v>
                </c:pt>
                <c:pt idx="1966">
                  <c:v>67.3</c:v>
                </c:pt>
                <c:pt idx="1967">
                  <c:v>69.599999999999994</c:v>
                </c:pt>
                <c:pt idx="1968">
                  <c:v>68.400000000000006</c:v>
                </c:pt>
                <c:pt idx="1969">
                  <c:v>69.400000000000006</c:v>
                </c:pt>
                <c:pt idx="1970">
                  <c:v>68.900000000000006</c:v>
                </c:pt>
                <c:pt idx="1971">
                  <c:v>70.2</c:v>
                </c:pt>
                <c:pt idx="1972">
                  <c:v>68.7</c:v>
                </c:pt>
                <c:pt idx="1973">
                  <c:v>69.599999999999994</c:v>
                </c:pt>
                <c:pt idx="1974">
                  <c:v>70</c:v>
                </c:pt>
                <c:pt idx="1975">
                  <c:v>69.8</c:v>
                </c:pt>
                <c:pt idx="1976">
                  <c:v>69.400000000000006</c:v>
                </c:pt>
                <c:pt idx="1977">
                  <c:v>68.7</c:v>
                </c:pt>
                <c:pt idx="1978">
                  <c:v>67.8</c:v>
                </c:pt>
                <c:pt idx="1979">
                  <c:v>68.7</c:v>
                </c:pt>
                <c:pt idx="1980">
                  <c:v>68.7</c:v>
                </c:pt>
                <c:pt idx="1981">
                  <c:v>68.7</c:v>
                </c:pt>
                <c:pt idx="1982">
                  <c:v>68.2</c:v>
                </c:pt>
                <c:pt idx="1983">
                  <c:v>68.2</c:v>
                </c:pt>
                <c:pt idx="1984">
                  <c:v>69.099999999999994</c:v>
                </c:pt>
                <c:pt idx="1985">
                  <c:v>68.7</c:v>
                </c:pt>
                <c:pt idx="1986">
                  <c:v>68.400000000000006</c:v>
                </c:pt>
                <c:pt idx="1987">
                  <c:v>67.8</c:v>
                </c:pt>
                <c:pt idx="1988">
                  <c:v>66.400000000000006</c:v>
                </c:pt>
                <c:pt idx="1989">
                  <c:v>63.5</c:v>
                </c:pt>
                <c:pt idx="1990">
                  <c:v>59.9</c:v>
                </c:pt>
                <c:pt idx="1991">
                  <c:v>58.1</c:v>
                </c:pt>
                <c:pt idx="1992">
                  <c:v>57.9</c:v>
                </c:pt>
                <c:pt idx="1993">
                  <c:v>57.2</c:v>
                </c:pt>
                <c:pt idx="1994">
                  <c:v>57.2</c:v>
                </c:pt>
                <c:pt idx="1995">
                  <c:v>57.2</c:v>
                </c:pt>
                <c:pt idx="1996">
                  <c:v>57.4</c:v>
                </c:pt>
                <c:pt idx="1997">
                  <c:v>57.6</c:v>
                </c:pt>
                <c:pt idx="1998">
                  <c:v>57.7</c:v>
                </c:pt>
                <c:pt idx="1999">
                  <c:v>57.9</c:v>
                </c:pt>
                <c:pt idx="2000">
                  <c:v>57.9</c:v>
                </c:pt>
                <c:pt idx="2001">
                  <c:v>57.9</c:v>
                </c:pt>
                <c:pt idx="2002">
                  <c:v>58.3</c:v>
                </c:pt>
                <c:pt idx="2003">
                  <c:v>58.6</c:v>
                </c:pt>
                <c:pt idx="2004">
                  <c:v>58.6</c:v>
                </c:pt>
                <c:pt idx="2005">
                  <c:v>58.8</c:v>
                </c:pt>
                <c:pt idx="2006">
                  <c:v>59</c:v>
                </c:pt>
                <c:pt idx="2007">
                  <c:v>59.2</c:v>
                </c:pt>
                <c:pt idx="2008">
                  <c:v>58.5</c:v>
                </c:pt>
                <c:pt idx="2009">
                  <c:v>57.2</c:v>
                </c:pt>
                <c:pt idx="2010">
                  <c:v>56.7</c:v>
                </c:pt>
                <c:pt idx="2011">
                  <c:v>56.7</c:v>
                </c:pt>
                <c:pt idx="2012">
                  <c:v>56.5</c:v>
                </c:pt>
                <c:pt idx="2013">
                  <c:v>56.5</c:v>
                </c:pt>
                <c:pt idx="2014">
                  <c:v>56.5</c:v>
                </c:pt>
                <c:pt idx="2015">
                  <c:v>56.8</c:v>
                </c:pt>
                <c:pt idx="2016">
                  <c:v>57</c:v>
                </c:pt>
                <c:pt idx="2017">
                  <c:v>57.6</c:v>
                </c:pt>
                <c:pt idx="2018">
                  <c:v>57.6</c:v>
                </c:pt>
                <c:pt idx="2019">
                  <c:v>57.6</c:v>
                </c:pt>
                <c:pt idx="2020">
                  <c:v>57.6</c:v>
                </c:pt>
                <c:pt idx="2021">
                  <c:v>57.4</c:v>
                </c:pt>
                <c:pt idx="2022">
                  <c:v>57.4</c:v>
                </c:pt>
                <c:pt idx="2023">
                  <c:v>57.4</c:v>
                </c:pt>
                <c:pt idx="2024">
                  <c:v>57.7</c:v>
                </c:pt>
                <c:pt idx="2025">
                  <c:v>57.7</c:v>
                </c:pt>
                <c:pt idx="2026">
                  <c:v>57.6</c:v>
                </c:pt>
                <c:pt idx="2027">
                  <c:v>57.6</c:v>
                </c:pt>
                <c:pt idx="2028">
                  <c:v>58.1</c:v>
                </c:pt>
                <c:pt idx="2029">
                  <c:v>57.9</c:v>
                </c:pt>
                <c:pt idx="2030">
                  <c:v>57.9</c:v>
                </c:pt>
                <c:pt idx="2031">
                  <c:v>58.1</c:v>
                </c:pt>
                <c:pt idx="2032">
                  <c:v>58.3</c:v>
                </c:pt>
                <c:pt idx="2033">
                  <c:v>58.5</c:v>
                </c:pt>
                <c:pt idx="2034">
                  <c:v>58.5</c:v>
                </c:pt>
                <c:pt idx="2035">
                  <c:v>58.5</c:v>
                </c:pt>
                <c:pt idx="2036">
                  <c:v>58.8</c:v>
                </c:pt>
                <c:pt idx="2037">
                  <c:v>59</c:v>
                </c:pt>
                <c:pt idx="2038">
                  <c:v>59</c:v>
                </c:pt>
                <c:pt idx="2039">
                  <c:v>59</c:v>
                </c:pt>
                <c:pt idx="2040">
                  <c:v>59</c:v>
                </c:pt>
                <c:pt idx="2041">
                  <c:v>59</c:v>
                </c:pt>
                <c:pt idx="2042">
                  <c:v>59</c:v>
                </c:pt>
                <c:pt idx="2043">
                  <c:v>58.8</c:v>
                </c:pt>
                <c:pt idx="2044">
                  <c:v>58.5</c:v>
                </c:pt>
                <c:pt idx="2045">
                  <c:v>58.3</c:v>
                </c:pt>
                <c:pt idx="2046">
                  <c:v>58.3</c:v>
                </c:pt>
                <c:pt idx="2047">
                  <c:v>58.1</c:v>
                </c:pt>
                <c:pt idx="2048">
                  <c:v>58.1</c:v>
                </c:pt>
                <c:pt idx="2049">
                  <c:v>58.1</c:v>
                </c:pt>
                <c:pt idx="2050">
                  <c:v>58.1</c:v>
                </c:pt>
                <c:pt idx="2051">
                  <c:v>58.1</c:v>
                </c:pt>
                <c:pt idx="2052">
                  <c:v>58.1</c:v>
                </c:pt>
                <c:pt idx="2053">
                  <c:v>58.3</c:v>
                </c:pt>
                <c:pt idx="2054">
                  <c:v>58.3</c:v>
                </c:pt>
                <c:pt idx="2055">
                  <c:v>58.8</c:v>
                </c:pt>
                <c:pt idx="2056">
                  <c:v>58.8</c:v>
                </c:pt>
                <c:pt idx="2057">
                  <c:v>59.2</c:v>
                </c:pt>
                <c:pt idx="2058">
                  <c:v>59.4</c:v>
                </c:pt>
                <c:pt idx="2059">
                  <c:v>59.9</c:v>
                </c:pt>
                <c:pt idx="2060">
                  <c:v>61</c:v>
                </c:pt>
                <c:pt idx="2061">
                  <c:v>61.7</c:v>
                </c:pt>
                <c:pt idx="2062">
                  <c:v>62.6</c:v>
                </c:pt>
                <c:pt idx="2063">
                  <c:v>63.9</c:v>
                </c:pt>
                <c:pt idx="2064">
                  <c:v>65.8</c:v>
                </c:pt>
                <c:pt idx="2065">
                  <c:v>64</c:v>
                </c:pt>
                <c:pt idx="2066">
                  <c:v>64.400000000000006</c:v>
                </c:pt>
                <c:pt idx="2067">
                  <c:v>62.4</c:v>
                </c:pt>
                <c:pt idx="2068">
                  <c:v>65.099999999999994</c:v>
                </c:pt>
                <c:pt idx="2069">
                  <c:v>67.599999999999994</c:v>
                </c:pt>
                <c:pt idx="2070">
                  <c:v>70.900000000000006</c:v>
                </c:pt>
                <c:pt idx="2071">
                  <c:v>66</c:v>
                </c:pt>
                <c:pt idx="2072">
                  <c:v>68.400000000000006</c:v>
                </c:pt>
                <c:pt idx="2073">
                  <c:v>67.099999999999994</c:v>
                </c:pt>
                <c:pt idx="2074">
                  <c:v>71.400000000000006</c:v>
                </c:pt>
                <c:pt idx="2075">
                  <c:v>68.400000000000006</c:v>
                </c:pt>
                <c:pt idx="2076">
                  <c:v>68.2</c:v>
                </c:pt>
                <c:pt idx="2077">
                  <c:v>69.599999999999994</c:v>
                </c:pt>
                <c:pt idx="2078">
                  <c:v>68.900000000000006</c:v>
                </c:pt>
                <c:pt idx="2079">
                  <c:v>70.900000000000006</c:v>
                </c:pt>
                <c:pt idx="2080">
                  <c:v>71.599999999999994</c:v>
                </c:pt>
                <c:pt idx="2081">
                  <c:v>68.5</c:v>
                </c:pt>
                <c:pt idx="2082">
                  <c:v>70.3</c:v>
                </c:pt>
                <c:pt idx="2083">
                  <c:v>69.3</c:v>
                </c:pt>
                <c:pt idx="2084">
                  <c:v>69.099999999999994</c:v>
                </c:pt>
                <c:pt idx="2085">
                  <c:v>69.3</c:v>
                </c:pt>
                <c:pt idx="2086">
                  <c:v>68.5</c:v>
                </c:pt>
                <c:pt idx="2087">
                  <c:v>68.5</c:v>
                </c:pt>
                <c:pt idx="2088">
                  <c:v>68.2</c:v>
                </c:pt>
                <c:pt idx="2089">
                  <c:v>70.3</c:v>
                </c:pt>
                <c:pt idx="2090">
                  <c:v>68.400000000000006</c:v>
                </c:pt>
                <c:pt idx="2091">
                  <c:v>68.2</c:v>
                </c:pt>
                <c:pt idx="2092">
                  <c:v>67.5</c:v>
                </c:pt>
                <c:pt idx="2093">
                  <c:v>68.900000000000006</c:v>
                </c:pt>
                <c:pt idx="2094">
                  <c:v>68.400000000000006</c:v>
                </c:pt>
                <c:pt idx="2095">
                  <c:v>67.3</c:v>
                </c:pt>
                <c:pt idx="2096">
                  <c:v>67.8</c:v>
                </c:pt>
                <c:pt idx="2097">
                  <c:v>66.7</c:v>
                </c:pt>
                <c:pt idx="2098">
                  <c:v>68</c:v>
                </c:pt>
                <c:pt idx="2099">
                  <c:v>65.7</c:v>
                </c:pt>
                <c:pt idx="2100">
                  <c:v>65.8</c:v>
                </c:pt>
                <c:pt idx="2101">
                  <c:v>64.2</c:v>
                </c:pt>
                <c:pt idx="2102">
                  <c:v>62.2</c:v>
                </c:pt>
                <c:pt idx="2103">
                  <c:v>60.4</c:v>
                </c:pt>
                <c:pt idx="2104">
                  <c:v>58.6</c:v>
                </c:pt>
                <c:pt idx="2105">
                  <c:v>59</c:v>
                </c:pt>
                <c:pt idx="2106">
                  <c:v>57.2</c:v>
                </c:pt>
                <c:pt idx="2107">
                  <c:v>57.2</c:v>
                </c:pt>
                <c:pt idx="2108">
                  <c:v>57.2</c:v>
                </c:pt>
                <c:pt idx="2109">
                  <c:v>56.8</c:v>
                </c:pt>
                <c:pt idx="2110">
                  <c:v>54.3</c:v>
                </c:pt>
                <c:pt idx="2111">
                  <c:v>54</c:v>
                </c:pt>
                <c:pt idx="2112">
                  <c:v>53.8</c:v>
                </c:pt>
                <c:pt idx="2113">
                  <c:v>61</c:v>
                </c:pt>
                <c:pt idx="2114">
                  <c:v>61.9</c:v>
                </c:pt>
                <c:pt idx="2115">
                  <c:v>62.1</c:v>
                </c:pt>
                <c:pt idx="2116">
                  <c:v>63.3</c:v>
                </c:pt>
                <c:pt idx="2117">
                  <c:v>64.2</c:v>
                </c:pt>
                <c:pt idx="2118">
                  <c:v>65.099999999999994</c:v>
                </c:pt>
                <c:pt idx="2119">
                  <c:v>67.8</c:v>
                </c:pt>
                <c:pt idx="2120">
                  <c:v>68</c:v>
                </c:pt>
                <c:pt idx="2121">
                  <c:v>68.5</c:v>
                </c:pt>
                <c:pt idx="2122">
                  <c:v>66.7</c:v>
                </c:pt>
                <c:pt idx="2123">
                  <c:v>66.7</c:v>
                </c:pt>
                <c:pt idx="2124">
                  <c:v>66.7</c:v>
                </c:pt>
                <c:pt idx="2125">
                  <c:v>66.599999999999994</c:v>
                </c:pt>
                <c:pt idx="2126">
                  <c:v>67.099999999999994</c:v>
                </c:pt>
                <c:pt idx="2127">
                  <c:v>67.599999999999994</c:v>
                </c:pt>
                <c:pt idx="2128">
                  <c:v>67.099999999999994</c:v>
                </c:pt>
                <c:pt idx="2129">
                  <c:v>66.7</c:v>
                </c:pt>
                <c:pt idx="2130">
                  <c:v>66.900000000000006</c:v>
                </c:pt>
                <c:pt idx="2131">
                  <c:v>66.900000000000006</c:v>
                </c:pt>
                <c:pt idx="2132">
                  <c:v>68.5</c:v>
                </c:pt>
                <c:pt idx="2133">
                  <c:v>69.099999999999994</c:v>
                </c:pt>
                <c:pt idx="2134">
                  <c:v>68.400000000000006</c:v>
                </c:pt>
                <c:pt idx="2135">
                  <c:v>67.5</c:v>
                </c:pt>
                <c:pt idx="2136">
                  <c:v>67.3</c:v>
                </c:pt>
                <c:pt idx="2137">
                  <c:v>67.3</c:v>
                </c:pt>
                <c:pt idx="2138">
                  <c:v>67.5</c:v>
                </c:pt>
                <c:pt idx="2139">
                  <c:v>67.099999999999994</c:v>
                </c:pt>
                <c:pt idx="2140">
                  <c:v>66.599999999999994</c:v>
                </c:pt>
                <c:pt idx="2141">
                  <c:v>65.3</c:v>
                </c:pt>
                <c:pt idx="2142">
                  <c:v>64.900000000000006</c:v>
                </c:pt>
                <c:pt idx="2143">
                  <c:v>64.8</c:v>
                </c:pt>
                <c:pt idx="2144">
                  <c:v>64.8</c:v>
                </c:pt>
                <c:pt idx="2145">
                  <c:v>64.8</c:v>
                </c:pt>
                <c:pt idx="2146">
                  <c:v>64.599999999999994</c:v>
                </c:pt>
                <c:pt idx="2147">
                  <c:v>64.8</c:v>
                </c:pt>
                <c:pt idx="2148">
                  <c:v>64.599999999999994</c:v>
                </c:pt>
                <c:pt idx="2149">
                  <c:v>64.599999999999994</c:v>
                </c:pt>
                <c:pt idx="2150">
                  <c:v>63.7</c:v>
                </c:pt>
                <c:pt idx="2151">
                  <c:v>63.3</c:v>
                </c:pt>
                <c:pt idx="2152">
                  <c:v>63</c:v>
                </c:pt>
                <c:pt idx="2153">
                  <c:v>62.8</c:v>
                </c:pt>
                <c:pt idx="2154">
                  <c:v>62.8</c:v>
                </c:pt>
                <c:pt idx="2155">
                  <c:v>62.4</c:v>
                </c:pt>
                <c:pt idx="2156">
                  <c:v>62.4</c:v>
                </c:pt>
                <c:pt idx="2157">
                  <c:v>62.2</c:v>
                </c:pt>
                <c:pt idx="2158">
                  <c:v>62.2</c:v>
                </c:pt>
                <c:pt idx="2159">
                  <c:v>61.9</c:v>
                </c:pt>
                <c:pt idx="2160">
                  <c:v>61.7</c:v>
                </c:pt>
                <c:pt idx="2161">
                  <c:v>61.5</c:v>
                </c:pt>
                <c:pt idx="2162">
                  <c:v>61.3</c:v>
                </c:pt>
                <c:pt idx="2163">
                  <c:v>61.2</c:v>
                </c:pt>
                <c:pt idx="2164">
                  <c:v>60.8</c:v>
                </c:pt>
                <c:pt idx="2165">
                  <c:v>60.8</c:v>
                </c:pt>
                <c:pt idx="2166">
                  <c:v>60.6</c:v>
                </c:pt>
                <c:pt idx="2167">
                  <c:v>60.4</c:v>
                </c:pt>
                <c:pt idx="2168">
                  <c:v>60.4</c:v>
                </c:pt>
                <c:pt idx="2169">
                  <c:v>60.4</c:v>
                </c:pt>
                <c:pt idx="2170">
                  <c:v>60.4</c:v>
                </c:pt>
                <c:pt idx="2171">
                  <c:v>60.4</c:v>
                </c:pt>
                <c:pt idx="2172">
                  <c:v>60.4</c:v>
                </c:pt>
                <c:pt idx="2173">
                  <c:v>60.4</c:v>
                </c:pt>
                <c:pt idx="2174">
                  <c:v>60.4</c:v>
                </c:pt>
                <c:pt idx="2175">
                  <c:v>60.4</c:v>
                </c:pt>
                <c:pt idx="2176">
                  <c:v>60.4</c:v>
                </c:pt>
                <c:pt idx="2177">
                  <c:v>60.4</c:v>
                </c:pt>
                <c:pt idx="2178">
                  <c:v>60.4</c:v>
                </c:pt>
                <c:pt idx="2179">
                  <c:v>60.4</c:v>
                </c:pt>
                <c:pt idx="2180">
                  <c:v>59.5</c:v>
                </c:pt>
                <c:pt idx="2181">
                  <c:v>59.5</c:v>
                </c:pt>
                <c:pt idx="2182">
                  <c:v>59.5</c:v>
                </c:pt>
                <c:pt idx="2183">
                  <c:v>59.5</c:v>
                </c:pt>
                <c:pt idx="2184">
                  <c:v>59.5</c:v>
                </c:pt>
                <c:pt idx="2185">
                  <c:v>59.5</c:v>
                </c:pt>
                <c:pt idx="2186">
                  <c:v>59.5</c:v>
                </c:pt>
                <c:pt idx="2187">
                  <c:v>59.5</c:v>
                </c:pt>
                <c:pt idx="2188">
                  <c:v>59.5</c:v>
                </c:pt>
                <c:pt idx="2189">
                  <c:v>59.5</c:v>
                </c:pt>
                <c:pt idx="2190">
                  <c:v>59.5</c:v>
                </c:pt>
                <c:pt idx="2191">
                  <c:v>59.4</c:v>
                </c:pt>
                <c:pt idx="2192">
                  <c:v>59.4</c:v>
                </c:pt>
                <c:pt idx="2193">
                  <c:v>59.4</c:v>
                </c:pt>
                <c:pt idx="2194">
                  <c:v>59.4</c:v>
                </c:pt>
                <c:pt idx="2195">
                  <c:v>59.4</c:v>
                </c:pt>
                <c:pt idx="2196">
                  <c:v>59.4</c:v>
                </c:pt>
                <c:pt idx="2197">
                  <c:v>59.4</c:v>
                </c:pt>
                <c:pt idx="2198">
                  <c:v>59.7</c:v>
                </c:pt>
                <c:pt idx="2199">
                  <c:v>59.9</c:v>
                </c:pt>
                <c:pt idx="2200">
                  <c:v>60.4</c:v>
                </c:pt>
                <c:pt idx="2201">
                  <c:v>61</c:v>
                </c:pt>
                <c:pt idx="2202">
                  <c:v>61.7</c:v>
                </c:pt>
                <c:pt idx="2203">
                  <c:v>62.6</c:v>
                </c:pt>
                <c:pt idx="2204">
                  <c:v>63</c:v>
                </c:pt>
                <c:pt idx="2205">
                  <c:v>63.9</c:v>
                </c:pt>
                <c:pt idx="2206">
                  <c:v>65.099999999999994</c:v>
                </c:pt>
                <c:pt idx="2207">
                  <c:v>65.5</c:v>
                </c:pt>
                <c:pt idx="2208">
                  <c:v>66</c:v>
                </c:pt>
                <c:pt idx="2209">
                  <c:v>66.599999999999994</c:v>
                </c:pt>
                <c:pt idx="2210">
                  <c:v>66.400000000000006</c:v>
                </c:pt>
                <c:pt idx="2211">
                  <c:v>65.8</c:v>
                </c:pt>
                <c:pt idx="2212">
                  <c:v>65.7</c:v>
                </c:pt>
                <c:pt idx="2213">
                  <c:v>65.7</c:v>
                </c:pt>
                <c:pt idx="2214">
                  <c:v>64.900000000000006</c:v>
                </c:pt>
                <c:pt idx="2215">
                  <c:v>64.2</c:v>
                </c:pt>
                <c:pt idx="2216">
                  <c:v>64.400000000000006</c:v>
                </c:pt>
                <c:pt idx="2217">
                  <c:v>65.5</c:v>
                </c:pt>
                <c:pt idx="2218">
                  <c:v>66.900000000000006</c:v>
                </c:pt>
                <c:pt idx="2219">
                  <c:v>68.900000000000006</c:v>
                </c:pt>
                <c:pt idx="2220">
                  <c:v>67.8</c:v>
                </c:pt>
                <c:pt idx="2221">
                  <c:v>69.3</c:v>
                </c:pt>
                <c:pt idx="2222">
                  <c:v>68</c:v>
                </c:pt>
                <c:pt idx="2223">
                  <c:v>68.900000000000006</c:v>
                </c:pt>
                <c:pt idx="2224">
                  <c:v>68.900000000000006</c:v>
                </c:pt>
                <c:pt idx="2225">
                  <c:v>69.400000000000006</c:v>
                </c:pt>
                <c:pt idx="2226">
                  <c:v>73.599999999999994</c:v>
                </c:pt>
                <c:pt idx="2227">
                  <c:v>72.5</c:v>
                </c:pt>
                <c:pt idx="2228">
                  <c:v>71.8</c:v>
                </c:pt>
                <c:pt idx="2229">
                  <c:v>71.400000000000006</c:v>
                </c:pt>
                <c:pt idx="2230">
                  <c:v>71.2</c:v>
                </c:pt>
                <c:pt idx="2231">
                  <c:v>70.2</c:v>
                </c:pt>
                <c:pt idx="2232">
                  <c:v>70</c:v>
                </c:pt>
                <c:pt idx="2233">
                  <c:v>69.400000000000006</c:v>
                </c:pt>
                <c:pt idx="2234">
                  <c:v>68.400000000000006</c:v>
                </c:pt>
                <c:pt idx="2235">
                  <c:v>68.400000000000006</c:v>
                </c:pt>
                <c:pt idx="2236">
                  <c:v>69.099999999999994</c:v>
                </c:pt>
                <c:pt idx="2237">
                  <c:v>68.7</c:v>
                </c:pt>
                <c:pt idx="2238">
                  <c:v>68.7</c:v>
                </c:pt>
                <c:pt idx="2239">
                  <c:v>68</c:v>
                </c:pt>
                <c:pt idx="2240">
                  <c:v>68.400000000000006</c:v>
                </c:pt>
                <c:pt idx="2241">
                  <c:v>67.099999999999994</c:v>
                </c:pt>
                <c:pt idx="2242">
                  <c:v>66.400000000000006</c:v>
                </c:pt>
                <c:pt idx="2243">
                  <c:v>65.8</c:v>
                </c:pt>
                <c:pt idx="2244">
                  <c:v>65.8</c:v>
                </c:pt>
                <c:pt idx="2245">
                  <c:v>65.5</c:v>
                </c:pt>
                <c:pt idx="2246">
                  <c:v>61.7</c:v>
                </c:pt>
                <c:pt idx="2247">
                  <c:v>61.7</c:v>
                </c:pt>
                <c:pt idx="2248">
                  <c:v>61.2</c:v>
                </c:pt>
                <c:pt idx="2249">
                  <c:v>60.8</c:v>
                </c:pt>
                <c:pt idx="2250">
                  <c:v>60.6</c:v>
                </c:pt>
                <c:pt idx="2251">
                  <c:v>60.6</c:v>
                </c:pt>
                <c:pt idx="2252">
                  <c:v>60.4</c:v>
                </c:pt>
                <c:pt idx="2253">
                  <c:v>60.3</c:v>
                </c:pt>
                <c:pt idx="2254">
                  <c:v>60.3</c:v>
                </c:pt>
                <c:pt idx="2255">
                  <c:v>60.1</c:v>
                </c:pt>
                <c:pt idx="2256">
                  <c:v>60.1</c:v>
                </c:pt>
                <c:pt idx="2257">
                  <c:v>60.1</c:v>
                </c:pt>
                <c:pt idx="2258">
                  <c:v>61</c:v>
                </c:pt>
                <c:pt idx="2259">
                  <c:v>60.4</c:v>
                </c:pt>
                <c:pt idx="2260">
                  <c:v>60.1</c:v>
                </c:pt>
                <c:pt idx="2261">
                  <c:v>59.5</c:v>
                </c:pt>
                <c:pt idx="2262">
                  <c:v>59.4</c:v>
                </c:pt>
                <c:pt idx="2263">
                  <c:v>60.8</c:v>
                </c:pt>
                <c:pt idx="2264">
                  <c:v>59.5</c:v>
                </c:pt>
                <c:pt idx="2265">
                  <c:v>59.2</c:v>
                </c:pt>
                <c:pt idx="2266">
                  <c:v>59.2</c:v>
                </c:pt>
                <c:pt idx="2267">
                  <c:v>59</c:v>
                </c:pt>
                <c:pt idx="2268">
                  <c:v>58.8</c:v>
                </c:pt>
                <c:pt idx="2269">
                  <c:v>58.6</c:v>
                </c:pt>
                <c:pt idx="2270">
                  <c:v>58.5</c:v>
                </c:pt>
                <c:pt idx="2271">
                  <c:v>58.3</c:v>
                </c:pt>
                <c:pt idx="2272">
                  <c:v>58.1</c:v>
                </c:pt>
                <c:pt idx="2273">
                  <c:v>57.9</c:v>
                </c:pt>
                <c:pt idx="2274">
                  <c:v>57.6</c:v>
                </c:pt>
                <c:pt idx="2275">
                  <c:v>57.7</c:v>
                </c:pt>
                <c:pt idx="2276">
                  <c:v>57.7</c:v>
                </c:pt>
                <c:pt idx="2277">
                  <c:v>57.7</c:v>
                </c:pt>
                <c:pt idx="2278">
                  <c:v>57.6</c:v>
                </c:pt>
                <c:pt idx="2279">
                  <c:v>57.2</c:v>
                </c:pt>
                <c:pt idx="2280">
                  <c:v>57.2</c:v>
                </c:pt>
                <c:pt idx="2281">
                  <c:v>57</c:v>
                </c:pt>
                <c:pt idx="2282">
                  <c:v>56.8</c:v>
                </c:pt>
                <c:pt idx="2283">
                  <c:v>56.7</c:v>
                </c:pt>
                <c:pt idx="2284">
                  <c:v>56.7</c:v>
                </c:pt>
                <c:pt idx="2285">
                  <c:v>56.5</c:v>
                </c:pt>
                <c:pt idx="2286">
                  <c:v>56.5</c:v>
                </c:pt>
                <c:pt idx="2287">
                  <c:v>56.3</c:v>
                </c:pt>
                <c:pt idx="2288">
                  <c:v>56.1</c:v>
                </c:pt>
                <c:pt idx="2289">
                  <c:v>55.9</c:v>
                </c:pt>
                <c:pt idx="2290">
                  <c:v>55.9</c:v>
                </c:pt>
                <c:pt idx="2291">
                  <c:v>55.8</c:v>
                </c:pt>
                <c:pt idx="2292">
                  <c:v>55.8</c:v>
                </c:pt>
                <c:pt idx="2293">
                  <c:v>55.9</c:v>
                </c:pt>
                <c:pt idx="2294">
                  <c:v>56.1</c:v>
                </c:pt>
                <c:pt idx="2295">
                  <c:v>56.5</c:v>
                </c:pt>
                <c:pt idx="2296">
                  <c:v>56.8</c:v>
                </c:pt>
                <c:pt idx="2297">
                  <c:v>57</c:v>
                </c:pt>
                <c:pt idx="2298">
                  <c:v>57</c:v>
                </c:pt>
                <c:pt idx="2299">
                  <c:v>57.6</c:v>
                </c:pt>
                <c:pt idx="2300">
                  <c:v>57.6</c:v>
                </c:pt>
                <c:pt idx="2301">
                  <c:v>57.9</c:v>
                </c:pt>
                <c:pt idx="2302">
                  <c:v>58.1</c:v>
                </c:pt>
                <c:pt idx="2303">
                  <c:v>58.6</c:v>
                </c:pt>
                <c:pt idx="2304">
                  <c:v>59.2</c:v>
                </c:pt>
                <c:pt idx="2305">
                  <c:v>58.5</c:v>
                </c:pt>
                <c:pt idx="2306">
                  <c:v>59.2</c:v>
                </c:pt>
                <c:pt idx="2307">
                  <c:v>59.4</c:v>
                </c:pt>
                <c:pt idx="2308">
                  <c:v>60.4</c:v>
                </c:pt>
                <c:pt idx="2309">
                  <c:v>61.7</c:v>
                </c:pt>
                <c:pt idx="2310">
                  <c:v>61.7</c:v>
                </c:pt>
                <c:pt idx="2311">
                  <c:v>63.3</c:v>
                </c:pt>
                <c:pt idx="2312">
                  <c:v>65.099999999999994</c:v>
                </c:pt>
                <c:pt idx="2313">
                  <c:v>64.2</c:v>
                </c:pt>
                <c:pt idx="2314">
                  <c:v>66</c:v>
                </c:pt>
                <c:pt idx="2315">
                  <c:v>66</c:v>
                </c:pt>
                <c:pt idx="2316">
                  <c:v>66</c:v>
                </c:pt>
                <c:pt idx="2317">
                  <c:v>65.3</c:v>
                </c:pt>
                <c:pt idx="2318">
                  <c:v>69.099999999999994</c:v>
                </c:pt>
                <c:pt idx="2319">
                  <c:v>67.599999999999994</c:v>
                </c:pt>
                <c:pt idx="2320">
                  <c:v>69.8</c:v>
                </c:pt>
                <c:pt idx="2321">
                  <c:v>74.099999999999994</c:v>
                </c:pt>
                <c:pt idx="2322">
                  <c:v>71.400000000000006</c:v>
                </c:pt>
                <c:pt idx="2323">
                  <c:v>67.3</c:v>
                </c:pt>
                <c:pt idx="2324">
                  <c:v>66.7</c:v>
                </c:pt>
                <c:pt idx="2325">
                  <c:v>66.7</c:v>
                </c:pt>
                <c:pt idx="2326">
                  <c:v>68.5</c:v>
                </c:pt>
                <c:pt idx="2327">
                  <c:v>68.400000000000006</c:v>
                </c:pt>
                <c:pt idx="2328">
                  <c:v>68.400000000000006</c:v>
                </c:pt>
                <c:pt idx="2329">
                  <c:v>68.900000000000006</c:v>
                </c:pt>
                <c:pt idx="2330">
                  <c:v>68.900000000000006</c:v>
                </c:pt>
                <c:pt idx="2331">
                  <c:v>68</c:v>
                </c:pt>
                <c:pt idx="2332">
                  <c:v>68.2</c:v>
                </c:pt>
                <c:pt idx="2333">
                  <c:v>68.5</c:v>
                </c:pt>
                <c:pt idx="2334">
                  <c:v>68.400000000000006</c:v>
                </c:pt>
                <c:pt idx="2335">
                  <c:v>67.5</c:v>
                </c:pt>
                <c:pt idx="2336">
                  <c:v>66.900000000000006</c:v>
                </c:pt>
                <c:pt idx="2337">
                  <c:v>66.2</c:v>
                </c:pt>
                <c:pt idx="2338">
                  <c:v>65.7</c:v>
                </c:pt>
                <c:pt idx="2339">
                  <c:v>65.5</c:v>
                </c:pt>
                <c:pt idx="2340">
                  <c:v>65.5</c:v>
                </c:pt>
                <c:pt idx="2341">
                  <c:v>64.900000000000006</c:v>
                </c:pt>
                <c:pt idx="2342">
                  <c:v>64.2</c:v>
                </c:pt>
                <c:pt idx="2343">
                  <c:v>63.3</c:v>
                </c:pt>
                <c:pt idx="2344">
                  <c:v>61.9</c:v>
                </c:pt>
                <c:pt idx="2345">
                  <c:v>60.1</c:v>
                </c:pt>
                <c:pt idx="2346">
                  <c:v>57.6</c:v>
                </c:pt>
                <c:pt idx="2347">
                  <c:v>56.8</c:v>
                </c:pt>
                <c:pt idx="2348">
                  <c:v>56.5</c:v>
                </c:pt>
                <c:pt idx="2349">
                  <c:v>56.3</c:v>
                </c:pt>
                <c:pt idx="2350">
                  <c:v>56.3</c:v>
                </c:pt>
                <c:pt idx="2351">
                  <c:v>56.1</c:v>
                </c:pt>
                <c:pt idx="2352">
                  <c:v>56.1</c:v>
                </c:pt>
                <c:pt idx="2353">
                  <c:v>56.3</c:v>
                </c:pt>
                <c:pt idx="2354">
                  <c:v>57.4</c:v>
                </c:pt>
                <c:pt idx="2355">
                  <c:v>57</c:v>
                </c:pt>
                <c:pt idx="2356">
                  <c:v>56.8</c:v>
                </c:pt>
                <c:pt idx="2357">
                  <c:v>56.8</c:v>
                </c:pt>
                <c:pt idx="2358">
                  <c:v>56.8</c:v>
                </c:pt>
                <c:pt idx="2359">
                  <c:v>56.8</c:v>
                </c:pt>
                <c:pt idx="2360">
                  <c:v>56.8</c:v>
                </c:pt>
                <c:pt idx="2361">
                  <c:v>57</c:v>
                </c:pt>
                <c:pt idx="2362">
                  <c:v>57</c:v>
                </c:pt>
                <c:pt idx="2363">
                  <c:v>56.8</c:v>
                </c:pt>
                <c:pt idx="2364">
                  <c:v>56.7</c:v>
                </c:pt>
                <c:pt idx="2365">
                  <c:v>56.7</c:v>
                </c:pt>
                <c:pt idx="2366">
                  <c:v>56.7</c:v>
                </c:pt>
                <c:pt idx="2367">
                  <c:v>56.7</c:v>
                </c:pt>
                <c:pt idx="2368">
                  <c:v>56.7</c:v>
                </c:pt>
                <c:pt idx="2369">
                  <c:v>56.3</c:v>
                </c:pt>
                <c:pt idx="2370">
                  <c:v>56.1</c:v>
                </c:pt>
                <c:pt idx="2371">
                  <c:v>55.9</c:v>
                </c:pt>
                <c:pt idx="2372">
                  <c:v>55.9</c:v>
                </c:pt>
                <c:pt idx="2373">
                  <c:v>55.9</c:v>
                </c:pt>
                <c:pt idx="2374">
                  <c:v>56.1</c:v>
                </c:pt>
                <c:pt idx="2375">
                  <c:v>56.1</c:v>
                </c:pt>
                <c:pt idx="2376">
                  <c:v>56.1</c:v>
                </c:pt>
                <c:pt idx="2377">
                  <c:v>56.1</c:v>
                </c:pt>
                <c:pt idx="2378">
                  <c:v>56.3</c:v>
                </c:pt>
                <c:pt idx="2379">
                  <c:v>56.5</c:v>
                </c:pt>
                <c:pt idx="2380">
                  <c:v>56.5</c:v>
                </c:pt>
                <c:pt idx="2381">
                  <c:v>56.7</c:v>
                </c:pt>
                <c:pt idx="2382">
                  <c:v>56.7</c:v>
                </c:pt>
                <c:pt idx="2383">
                  <c:v>56.7</c:v>
                </c:pt>
                <c:pt idx="2384">
                  <c:v>56.7</c:v>
                </c:pt>
                <c:pt idx="2385">
                  <c:v>56.7</c:v>
                </c:pt>
                <c:pt idx="2386">
                  <c:v>56.7</c:v>
                </c:pt>
                <c:pt idx="2387">
                  <c:v>56.7</c:v>
                </c:pt>
                <c:pt idx="2388">
                  <c:v>56.7</c:v>
                </c:pt>
                <c:pt idx="2389">
                  <c:v>56.3</c:v>
                </c:pt>
                <c:pt idx="2390">
                  <c:v>56.3</c:v>
                </c:pt>
                <c:pt idx="2391">
                  <c:v>56.8</c:v>
                </c:pt>
                <c:pt idx="2392">
                  <c:v>57</c:v>
                </c:pt>
                <c:pt idx="2393">
                  <c:v>57</c:v>
                </c:pt>
                <c:pt idx="2394">
                  <c:v>57.9</c:v>
                </c:pt>
                <c:pt idx="2395">
                  <c:v>58.5</c:v>
                </c:pt>
                <c:pt idx="2396">
                  <c:v>58.8</c:v>
                </c:pt>
                <c:pt idx="2397">
                  <c:v>59.4</c:v>
                </c:pt>
                <c:pt idx="2398">
                  <c:v>60.1</c:v>
                </c:pt>
                <c:pt idx="2399">
                  <c:v>61</c:v>
                </c:pt>
                <c:pt idx="2400">
                  <c:v>61.9</c:v>
                </c:pt>
                <c:pt idx="2401">
                  <c:v>61.9</c:v>
                </c:pt>
                <c:pt idx="2402">
                  <c:v>63.9</c:v>
                </c:pt>
                <c:pt idx="2403">
                  <c:v>65.3</c:v>
                </c:pt>
                <c:pt idx="2404">
                  <c:v>66.900000000000006</c:v>
                </c:pt>
                <c:pt idx="2405">
                  <c:v>67.3</c:v>
                </c:pt>
                <c:pt idx="2406">
                  <c:v>68.7</c:v>
                </c:pt>
                <c:pt idx="2407">
                  <c:v>70.5</c:v>
                </c:pt>
                <c:pt idx="2408">
                  <c:v>71.2</c:v>
                </c:pt>
                <c:pt idx="2409">
                  <c:v>73</c:v>
                </c:pt>
                <c:pt idx="2410">
                  <c:v>75.599999999999994</c:v>
                </c:pt>
                <c:pt idx="2411">
                  <c:v>74.5</c:v>
                </c:pt>
                <c:pt idx="2412">
                  <c:v>72.099999999999994</c:v>
                </c:pt>
                <c:pt idx="2413">
                  <c:v>73</c:v>
                </c:pt>
                <c:pt idx="2414">
                  <c:v>73.400000000000006</c:v>
                </c:pt>
                <c:pt idx="2415">
                  <c:v>74.5</c:v>
                </c:pt>
                <c:pt idx="2416">
                  <c:v>76.099999999999994</c:v>
                </c:pt>
                <c:pt idx="2417">
                  <c:v>76.599999999999994</c:v>
                </c:pt>
                <c:pt idx="2418">
                  <c:v>75.7</c:v>
                </c:pt>
                <c:pt idx="2419">
                  <c:v>75.599999999999994</c:v>
                </c:pt>
                <c:pt idx="2420">
                  <c:v>76.099999999999994</c:v>
                </c:pt>
                <c:pt idx="2421">
                  <c:v>74.5</c:v>
                </c:pt>
                <c:pt idx="2422">
                  <c:v>72.099999999999994</c:v>
                </c:pt>
                <c:pt idx="2423">
                  <c:v>73</c:v>
                </c:pt>
                <c:pt idx="2424">
                  <c:v>73.599999999999994</c:v>
                </c:pt>
                <c:pt idx="2425">
                  <c:v>73.8</c:v>
                </c:pt>
                <c:pt idx="2426">
                  <c:v>74.3</c:v>
                </c:pt>
                <c:pt idx="2427">
                  <c:v>74.3</c:v>
                </c:pt>
                <c:pt idx="2428">
                  <c:v>73</c:v>
                </c:pt>
                <c:pt idx="2429">
                  <c:v>73.599999999999994</c:v>
                </c:pt>
                <c:pt idx="2430">
                  <c:v>71.8</c:v>
                </c:pt>
                <c:pt idx="2431">
                  <c:v>72</c:v>
                </c:pt>
                <c:pt idx="2432">
                  <c:v>72.099999999999994</c:v>
                </c:pt>
                <c:pt idx="2433">
                  <c:v>71.599999999999994</c:v>
                </c:pt>
                <c:pt idx="2434">
                  <c:v>75.2</c:v>
                </c:pt>
                <c:pt idx="2435">
                  <c:v>73</c:v>
                </c:pt>
                <c:pt idx="2436">
                  <c:v>71.400000000000006</c:v>
                </c:pt>
                <c:pt idx="2437">
                  <c:v>70</c:v>
                </c:pt>
                <c:pt idx="2438">
                  <c:v>68.2</c:v>
                </c:pt>
                <c:pt idx="2439">
                  <c:v>66.400000000000006</c:v>
                </c:pt>
                <c:pt idx="2440">
                  <c:v>65.099999999999994</c:v>
                </c:pt>
                <c:pt idx="2441">
                  <c:v>64.400000000000006</c:v>
                </c:pt>
                <c:pt idx="2442">
                  <c:v>63.1</c:v>
                </c:pt>
                <c:pt idx="2443">
                  <c:v>60.6</c:v>
                </c:pt>
                <c:pt idx="2444">
                  <c:v>60.3</c:v>
                </c:pt>
                <c:pt idx="2445">
                  <c:v>59.7</c:v>
                </c:pt>
                <c:pt idx="2446">
                  <c:v>59.7</c:v>
                </c:pt>
                <c:pt idx="2447">
                  <c:v>58.8</c:v>
                </c:pt>
                <c:pt idx="2448">
                  <c:v>58.3</c:v>
                </c:pt>
                <c:pt idx="2449">
                  <c:v>57.6</c:v>
                </c:pt>
                <c:pt idx="2450">
                  <c:v>56.7</c:v>
                </c:pt>
                <c:pt idx="2451">
                  <c:v>56.3</c:v>
                </c:pt>
                <c:pt idx="2452">
                  <c:v>56.1</c:v>
                </c:pt>
                <c:pt idx="2453">
                  <c:v>56.1</c:v>
                </c:pt>
                <c:pt idx="2454">
                  <c:v>55.4</c:v>
                </c:pt>
                <c:pt idx="2455">
                  <c:v>54.9</c:v>
                </c:pt>
                <c:pt idx="2456">
                  <c:v>54.9</c:v>
                </c:pt>
                <c:pt idx="2457">
                  <c:v>54.9</c:v>
                </c:pt>
                <c:pt idx="2458">
                  <c:v>54.7</c:v>
                </c:pt>
                <c:pt idx="2459">
                  <c:v>55.4</c:v>
                </c:pt>
                <c:pt idx="2460">
                  <c:v>55.2</c:v>
                </c:pt>
                <c:pt idx="2461">
                  <c:v>54.7</c:v>
                </c:pt>
                <c:pt idx="2462">
                  <c:v>54.9</c:v>
                </c:pt>
                <c:pt idx="2463">
                  <c:v>54.3</c:v>
                </c:pt>
                <c:pt idx="2464">
                  <c:v>54.7</c:v>
                </c:pt>
                <c:pt idx="2465">
                  <c:v>55.9</c:v>
                </c:pt>
                <c:pt idx="2466">
                  <c:v>56.1</c:v>
                </c:pt>
                <c:pt idx="2467">
                  <c:v>56.8</c:v>
                </c:pt>
                <c:pt idx="2468">
                  <c:v>57</c:v>
                </c:pt>
                <c:pt idx="2469">
                  <c:v>65.099999999999994</c:v>
                </c:pt>
                <c:pt idx="2470">
                  <c:v>66</c:v>
                </c:pt>
                <c:pt idx="2471">
                  <c:v>60.1</c:v>
                </c:pt>
                <c:pt idx="2472">
                  <c:v>61.7</c:v>
                </c:pt>
                <c:pt idx="2473">
                  <c:v>62.8</c:v>
                </c:pt>
                <c:pt idx="2474">
                  <c:v>63.9</c:v>
                </c:pt>
                <c:pt idx="2475">
                  <c:v>65.099999999999994</c:v>
                </c:pt>
                <c:pt idx="2476">
                  <c:v>66.2</c:v>
                </c:pt>
                <c:pt idx="2477">
                  <c:v>68</c:v>
                </c:pt>
                <c:pt idx="2478">
                  <c:v>70</c:v>
                </c:pt>
                <c:pt idx="2479">
                  <c:v>71.2</c:v>
                </c:pt>
                <c:pt idx="2480">
                  <c:v>72.7</c:v>
                </c:pt>
                <c:pt idx="2481">
                  <c:v>72.7</c:v>
                </c:pt>
                <c:pt idx="2482">
                  <c:v>74.8</c:v>
                </c:pt>
                <c:pt idx="2483">
                  <c:v>77.5</c:v>
                </c:pt>
                <c:pt idx="2484">
                  <c:v>78.099999999999994</c:v>
                </c:pt>
                <c:pt idx="2485">
                  <c:v>79.7</c:v>
                </c:pt>
                <c:pt idx="2486">
                  <c:v>77.900000000000006</c:v>
                </c:pt>
                <c:pt idx="2487">
                  <c:v>79.3</c:v>
                </c:pt>
                <c:pt idx="2488">
                  <c:v>80.599999999999994</c:v>
                </c:pt>
                <c:pt idx="2489">
                  <c:v>80.599999999999994</c:v>
                </c:pt>
                <c:pt idx="2490">
                  <c:v>77.900000000000006</c:v>
                </c:pt>
                <c:pt idx="2491">
                  <c:v>79</c:v>
                </c:pt>
                <c:pt idx="2492">
                  <c:v>79.5</c:v>
                </c:pt>
                <c:pt idx="2493">
                  <c:v>80.400000000000006</c:v>
                </c:pt>
                <c:pt idx="2494">
                  <c:v>81</c:v>
                </c:pt>
                <c:pt idx="2495">
                  <c:v>81.7</c:v>
                </c:pt>
                <c:pt idx="2496">
                  <c:v>82.2</c:v>
                </c:pt>
                <c:pt idx="2497">
                  <c:v>81.900000000000006</c:v>
                </c:pt>
                <c:pt idx="2498">
                  <c:v>82</c:v>
                </c:pt>
                <c:pt idx="2499">
                  <c:v>82.4</c:v>
                </c:pt>
                <c:pt idx="2500">
                  <c:v>82.9</c:v>
                </c:pt>
                <c:pt idx="2501">
                  <c:v>83.5</c:v>
                </c:pt>
                <c:pt idx="2502">
                  <c:v>84.2</c:v>
                </c:pt>
                <c:pt idx="2503">
                  <c:v>84.2</c:v>
                </c:pt>
                <c:pt idx="2504">
                  <c:v>83.1</c:v>
                </c:pt>
                <c:pt idx="2505">
                  <c:v>83.1</c:v>
                </c:pt>
                <c:pt idx="2506">
                  <c:v>83.8</c:v>
                </c:pt>
                <c:pt idx="2507">
                  <c:v>82.9</c:v>
                </c:pt>
                <c:pt idx="2508">
                  <c:v>81.900000000000006</c:v>
                </c:pt>
                <c:pt idx="2509">
                  <c:v>80.400000000000006</c:v>
                </c:pt>
                <c:pt idx="2510">
                  <c:v>79.5</c:v>
                </c:pt>
                <c:pt idx="2511">
                  <c:v>77.7</c:v>
                </c:pt>
                <c:pt idx="2512">
                  <c:v>74.7</c:v>
                </c:pt>
                <c:pt idx="2513">
                  <c:v>71.2</c:v>
                </c:pt>
                <c:pt idx="2514">
                  <c:v>68</c:v>
                </c:pt>
                <c:pt idx="2515">
                  <c:v>65.3</c:v>
                </c:pt>
                <c:pt idx="2516">
                  <c:v>63.5</c:v>
                </c:pt>
                <c:pt idx="2517">
                  <c:v>62.1</c:v>
                </c:pt>
                <c:pt idx="2518">
                  <c:v>60.3</c:v>
                </c:pt>
                <c:pt idx="2519">
                  <c:v>59</c:v>
                </c:pt>
                <c:pt idx="2520">
                  <c:v>57.7</c:v>
                </c:pt>
                <c:pt idx="2521">
                  <c:v>56.3</c:v>
                </c:pt>
                <c:pt idx="2522">
                  <c:v>56.1</c:v>
                </c:pt>
                <c:pt idx="2523">
                  <c:v>55.2</c:v>
                </c:pt>
                <c:pt idx="2524">
                  <c:v>55.2</c:v>
                </c:pt>
                <c:pt idx="2525">
                  <c:v>54.7</c:v>
                </c:pt>
                <c:pt idx="2526">
                  <c:v>53.4</c:v>
                </c:pt>
                <c:pt idx="2527">
                  <c:v>53.4</c:v>
                </c:pt>
                <c:pt idx="2528">
                  <c:v>54.1</c:v>
                </c:pt>
                <c:pt idx="2529">
                  <c:v>58.3</c:v>
                </c:pt>
                <c:pt idx="2530">
                  <c:v>60.3</c:v>
                </c:pt>
                <c:pt idx="2531">
                  <c:v>61.7</c:v>
                </c:pt>
                <c:pt idx="2532">
                  <c:v>63.3</c:v>
                </c:pt>
                <c:pt idx="2533">
                  <c:v>64.8</c:v>
                </c:pt>
                <c:pt idx="2534">
                  <c:v>66.400000000000006</c:v>
                </c:pt>
                <c:pt idx="2535">
                  <c:v>67.8</c:v>
                </c:pt>
                <c:pt idx="2536">
                  <c:v>70.3</c:v>
                </c:pt>
                <c:pt idx="2537">
                  <c:v>72.7</c:v>
                </c:pt>
                <c:pt idx="2538">
                  <c:v>73.900000000000006</c:v>
                </c:pt>
                <c:pt idx="2539">
                  <c:v>74.3</c:v>
                </c:pt>
                <c:pt idx="2540">
                  <c:v>74.7</c:v>
                </c:pt>
                <c:pt idx="2541">
                  <c:v>76.099999999999994</c:v>
                </c:pt>
                <c:pt idx="2542">
                  <c:v>77.400000000000006</c:v>
                </c:pt>
                <c:pt idx="2543">
                  <c:v>77.2</c:v>
                </c:pt>
                <c:pt idx="2544">
                  <c:v>77.2</c:v>
                </c:pt>
                <c:pt idx="2545">
                  <c:v>78.099999999999994</c:v>
                </c:pt>
                <c:pt idx="2546">
                  <c:v>78.599999999999994</c:v>
                </c:pt>
                <c:pt idx="2547">
                  <c:v>78.8</c:v>
                </c:pt>
                <c:pt idx="2548">
                  <c:v>79</c:v>
                </c:pt>
                <c:pt idx="2549">
                  <c:v>79.5</c:v>
                </c:pt>
                <c:pt idx="2550">
                  <c:v>80.599999999999994</c:v>
                </c:pt>
                <c:pt idx="2551">
                  <c:v>80.2</c:v>
                </c:pt>
                <c:pt idx="2552">
                  <c:v>80.2</c:v>
                </c:pt>
                <c:pt idx="2553">
                  <c:v>81.5</c:v>
                </c:pt>
                <c:pt idx="2554">
                  <c:v>82.8</c:v>
                </c:pt>
                <c:pt idx="2555">
                  <c:v>83.5</c:v>
                </c:pt>
                <c:pt idx="2556">
                  <c:v>83.5</c:v>
                </c:pt>
                <c:pt idx="2557">
                  <c:v>83.7</c:v>
                </c:pt>
                <c:pt idx="2558">
                  <c:v>83.8</c:v>
                </c:pt>
                <c:pt idx="2559">
                  <c:v>84</c:v>
                </c:pt>
                <c:pt idx="2560">
                  <c:v>84.9</c:v>
                </c:pt>
                <c:pt idx="2561">
                  <c:v>85.3</c:v>
                </c:pt>
                <c:pt idx="2562">
                  <c:v>85.3</c:v>
                </c:pt>
                <c:pt idx="2563">
                  <c:v>84.9</c:v>
                </c:pt>
                <c:pt idx="2564">
                  <c:v>81.900000000000006</c:v>
                </c:pt>
                <c:pt idx="2565">
                  <c:v>83.3</c:v>
                </c:pt>
                <c:pt idx="2566">
                  <c:v>82</c:v>
                </c:pt>
                <c:pt idx="2567">
                  <c:v>80.400000000000006</c:v>
                </c:pt>
                <c:pt idx="2568">
                  <c:v>76.599999999999994</c:v>
                </c:pt>
                <c:pt idx="2569">
                  <c:v>75.599999999999994</c:v>
                </c:pt>
                <c:pt idx="2570">
                  <c:v>73.599999999999994</c:v>
                </c:pt>
                <c:pt idx="2571">
                  <c:v>71.400000000000006</c:v>
                </c:pt>
                <c:pt idx="2572">
                  <c:v>69.099999999999994</c:v>
                </c:pt>
                <c:pt idx="2573">
                  <c:v>67.3</c:v>
                </c:pt>
                <c:pt idx="2574">
                  <c:v>65.099999999999994</c:v>
                </c:pt>
                <c:pt idx="2575">
                  <c:v>64.599999999999994</c:v>
                </c:pt>
                <c:pt idx="2576">
                  <c:v>62.1</c:v>
                </c:pt>
                <c:pt idx="2577">
                  <c:v>60.6</c:v>
                </c:pt>
                <c:pt idx="2578">
                  <c:v>59.5</c:v>
                </c:pt>
                <c:pt idx="2579">
                  <c:v>58.5</c:v>
                </c:pt>
                <c:pt idx="2580">
                  <c:v>58.1</c:v>
                </c:pt>
                <c:pt idx="2581">
                  <c:v>57</c:v>
                </c:pt>
                <c:pt idx="2582">
                  <c:v>55.8</c:v>
                </c:pt>
                <c:pt idx="2583">
                  <c:v>55.4</c:v>
                </c:pt>
                <c:pt idx="2584">
                  <c:v>54.9</c:v>
                </c:pt>
                <c:pt idx="2585">
                  <c:v>54.3</c:v>
                </c:pt>
                <c:pt idx="2586">
                  <c:v>54.3</c:v>
                </c:pt>
                <c:pt idx="2587">
                  <c:v>53.2</c:v>
                </c:pt>
                <c:pt idx="2588">
                  <c:v>75.2</c:v>
                </c:pt>
                <c:pt idx="2589">
                  <c:v>75</c:v>
                </c:pt>
                <c:pt idx="2590">
                  <c:v>77</c:v>
                </c:pt>
                <c:pt idx="2591">
                  <c:v>67.3</c:v>
                </c:pt>
                <c:pt idx="2592">
                  <c:v>68.400000000000006</c:v>
                </c:pt>
                <c:pt idx="2593">
                  <c:v>69.099999999999994</c:v>
                </c:pt>
                <c:pt idx="2594">
                  <c:v>70.900000000000006</c:v>
                </c:pt>
                <c:pt idx="2595">
                  <c:v>73.400000000000006</c:v>
                </c:pt>
                <c:pt idx="2596">
                  <c:v>74.7</c:v>
                </c:pt>
                <c:pt idx="2597">
                  <c:v>75.900000000000006</c:v>
                </c:pt>
                <c:pt idx="2598">
                  <c:v>77.5</c:v>
                </c:pt>
                <c:pt idx="2599">
                  <c:v>78.8</c:v>
                </c:pt>
                <c:pt idx="2600">
                  <c:v>79</c:v>
                </c:pt>
                <c:pt idx="2601">
                  <c:v>79.7</c:v>
                </c:pt>
                <c:pt idx="2602">
                  <c:v>81</c:v>
                </c:pt>
                <c:pt idx="2603">
                  <c:v>85.1</c:v>
                </c:pt>
                <c:pt idx="2604">
                  <c:v>88.3</c:v>
                </c:pt>
                <c:pt idx="2605">
                  <c:v>82.2</c:v>
                </c:pt>
                <c:pt idx="2606">
                  <c:v>82.8</c:v>
                </c:pt>
                <c:pt idx="2607">
                  <c:v>83.5</c:v>
                </c:pt>
                <c:pt idx="2608">
                  <c:v>83.8</c:v>
                </c:pt>
                <c:pt idx="2609">
                  <c:v>83.1</c:v>
                </c:pt>
                <c:pt idx="2610">
                  <c:v>82.6</c:v>
                </c:pt>
                <c:pt idx="2611">
                  <c:v>82.8</c:v>
                </c:pt>
                <c:pt idx="2612">
                  <c:v>82.8</c:v>
                </c:pt>
                <c:pt idx="2613">
                  <c:v>81</c:v>
                </c:pt>
                <c:pt idx="2614">
                  <c:v>80.8</c:v>
                </c:pt>
                <c:pt idx="2615">
                  <c:v>81</c:v>
                </c:pt>
                <c:pt idx="2616">
                  <c:v>80.2</c:v>
                </c:pt>
                <c:pt idx="2617">
                  <c:v>80.2</c:v>
                </c:pt>
                <c:pt idx="2618">
                  <c:v>80.8</c:v>
                </c:pt>
                <c:pt idx="2619">
                  <c:v>79.900000000000006</c:v>
                </c:pt>
                <c:pt idx="2620">
                  <c:v>77.7</c:v>
                </c:pt>
                <c:pt idx="2621">
                  <c:v>76.599999999999994</c:v>
                </c:pt>
                <c:pt idx="2622">
                  <c:v>76.599999999999994</c:v>
                </c:pt>
                <c:pt idx="2623">
                  <c:v>76.099999999999994</c:v>
                </c:pt>
                <c:pt idx="2624">
                  <c:v>75.900000000000006</c:v>
                </c:pt>
                <c:pt idx="2625">
                  <c:v>75</c:v>
                </c:pt>
                <c:pt idx="2626">
                  <c:v>73.8</c:v>
                </c:pt>
                <c:pt idx="2627">
                  <c:v>72.7</c:v>
                </c:pt>
                <c:pt idx="2628">
                  <c:v>70.900000000000006</c:v>
                </c:pt>
                <c:pt idx="2629">
                  <c:v>69.400000000000006</c:v>
                </c:pt>
                <c:pt idx="2630">
                  <c:v>68.7</c:v>
                </c:pt>
                <c:pt idx="2631">
                  <c:v>68</c:v>
                </c:pt>
                <c:pt idx="2632">
                  <c:v>67.3</c:v>
                </c:pt>
                <c:pt idx="2633">
                  <c:v>66.400000000000006</c:v>
                </c:pt>
                <c:pt idx="2634">
                  <c:v>67.099999999999994</c:v>
                </c:pt>
                <c:pt idx="2635">
                  <c:v>65.7</c:v>
                </c:pt>
                <c:pt idx="2636">
                  <c:v>64.8</c:v>
                </c:pt>
                <c:pt idx="2637">
                  <c:v>64.2</c:v>
                </c:pt>
                <c:pt idx="2638">
                  <c:v>65.099999999999994</c:v>
                </c:pt>
                <c:pt idx="2639">
                  <c:v>63.1</c:v>
                </c:pt>
                <c:pt idx="2640">
                  <c:v>62.8</c:v>
                </c:pt>
                <c:pt idx="2641">
                  <c:v>62.6</c:v>
                </c:pt>
                <c:pt idx="2642">
                  <c:v>62.6</c:v>
                </c:pt>
                <c:pt idx="2643">
                  <c:v>62.8</c:v>
                </c:pt>
                <c:pt idx="2644">
                  <c:v>62.1</c:v>
                </c:pt>
                <c:pt idx="2645">
                  <c:v>61.5</c:v>
                </c:pt>
                <c:pt idx="2646">
                  <c:v>61.5</c:v>
                </c:pt>
                <c:pt idx="2647">
                  <c:v>61.5</c:v>
                </c:pt>
                <c:pt idx="2648">
                  <c:v>61.2</c:v>
                </c:pt>
                <c:pt idx="2649">
                  <c:v>61</c:v>
                </c:pt>
                <c:pt idx="2650">
                  <c:v>60.8</c:v>
                </c:pt>
                <c:pt idx="2651">
                  <c:v>60.6</c:v>
                </c:pt>
                <c:pt idx="2652">
                  <c:v>60.4</c:v>
                </c:pt>
                <c:pt idx="2653">
                  <c:v>60.3</c:v>
                </c:pt>
                <c:pt idx="2654">
                  <c:v>59.9</c:v>
                </c:pt>
                <c:pt idx="2655">
                  <c:v>59.9</c:v>
                </c:pt>
                <c:pt idx="2656">
                  <c:v>59.7</c:v>
                </c:pt>
                <c:pt idx="2657">
                  <c:v>59.9</c:v>
                </c:pt>
                <c:pt idx="2658">
                  <c:v>59.5</c:v>
                </c:pt>
                <c:pt idx="2659">
                  <c:v>59.5</c:v>
                </c:pt>
                <c:pt idx="2660">
                  <c:v>59.2</c:v>
                </c:pt>
                <c:pt idx="2661">
                  <c:v>59</c:v>
                </c:pt>
                <c:pt idx="2662">
                  <c:v>58.3</c:v>
                </c:pt>
                <c:pt idx="2663">
                  <c:v>58.3</c:v>
                </c:pt>
                <c:pt idx="2664">
                  <c:v>58.3</c:v>
                </c:pt>
                <c:pt idx="2665">
                  <c:v>58.6</c:v>
                </c:pt>
                <c:pt idx="2666">
                  <c:v>58.3</c:v>
                </c:pt>
                <c:pt idx="2667">
                  <c:v>58.3</c:v>
                </c:pt>
                <c:pt idx="2668">
                  <c:v>58.3</c:v>
                </c:pt>
                <c:pt idx="2669">
                  <c:v>58.5</c:v>
                </c:pt>
                <c:pt idx="2670">
                  <c:v>58.5</c:v>
                </c:pt>
                <c:pt idx="2671">
                  <c:v>58.1</c:v>
                </c:pt>
                <c:pt idx="2672">
                  <c:v>58.5</c:v>
                </c:pt>
                <c:pt idx="2673">
                  <c:v>59</c:v>
                </c:pt>
                <c:pt idx="2674">
                  <c:v>59</c:v>
                </c:pt>
                <c:pt idx="2675">
                  <c:v>58.3</c:v>
                </c:pt>
                <c:pt idx="2676">
                  <c:v>58.1</c:v>
                </c:pt>
                <c:pt idx="2677">
                  <c:v>58.1</c:v>
                </c:pt>
                <c:pt idx="2678">
                  <c:v>59.5</c:v>
                </c:pt>
                <c:pt idx="2679">
                  <c:v>61.9</c:v>
                </c:pt>
                <c:pt idx="2680">
                  <c:v>68.2</c:v>
                </c:pt>
                <c:pt idx="2681">
                  <c:v>73</c:v>
                </c:pt>
                <c:pt idx="2682">
                  <c:v>76.3</c:v>
                </c:pt>
                <c:pt idx="2683">
                  <c:v>66.400000000000006</c:v>
                </c:pt>
                <c:pt idx="2684">
                  <c:v>67.8</c:v>
                </c:pt>
                <c:pt idx="2685">
                  <c:v>68.900000000000006</c:v>
                </c:pt>
                <c:pt idx="2686">
                  <c:v>70.5</c:v>
                </c:pt>
                <c:pt idx="2687">
                  <c:v>72.099999999999994</c:v>
                </c:pt>
                <c:pt idx="2688">
                  <c:v>72</c:v>
                </c:pt>
                <c:pt idx="2689">
                  <c:v>72.7</c:v>
                </c:pt>
                <c:pt idx="2690">
                  <c:v>74.3</c:v>
                </c:pt>
                <c:pt idx="2691">
                  <c:v>75.900000000000006</c:v>
                </c:pt>
                <c:pt idx="2692">
                  <c:v>77.400000000000006</c:v>
                </c:pt>
                <c:pt idx="2693">
                  <c:v>77.7</c:v>
                </c:pt>
                <c:pt idx="2694">
                  <c:v>79.900000000000006</c:v>
                </c:pt>
                <c:pt idx="2695">
                  <c:v>79.3</c:v>
                </c:pt>
                <c:pt idx="2696">
                  <c:v>82.8</c:v>
                </c:pt>
                <c:pt idx="2697">
                  <c:v>81.3</c:v>
                </c:pt>
                <c:pt idx="2698">
                  <c:v>82.2</c:v>
                </c:pt>
                <c:pt idx="2699">
                  <c:v>84.2</c:v>
                </c:pt>
                <c:pt idx="2700">
                  <c:v>82</c:v>
                </c:pt>
                <c:pt idx="2701">
                  <c:v>82</c:v>
                </c:pt>
                <c:pt idx="2702">
                  <c:v>82.9</c:v>
                </c:pt>
                <c:pt idx="2703">
                  <c:v>80.8</c:v>
                </c:pt>
                <c:pt idx="2704">
                  <c:v>84.9</c:v>
                </c:pt>
                <c:pt idx="2705">
                  <c:v>81.5</c:v>
                </c:pt>
                <c:pt idx="2706">
                  <c:v>84.6</c:v>
                </c:pt>
                <c:pt idx="2707">
                  <c:v>86.9</c:v>
                </c:pt>
                <c:pt idx="2708">
                  <c:v>82</c:v>
                </c:pt>
                <c:pt idx="2709">
                  <c:v>82.2</c:v>
                </c:pt>
                <c:pt idx="2710">
                  <c:v>83.3</c:v>
                </c:pt>
                <c:pt idx="2711">
                  <c:v>84.2</c:v>
                </c:pt>
                <c:pt idx="2712">
                  <c:v>84.2</c:v>
                </c:pt>
                <c:pt idx="2713">
                  <c:v>83.8</c:v>
                </c:pt>
                <c:pt idx="2714">
                  <c:v>81.7</c:v>
                </c:pt>
                <c:pt idx="2715">
                  <c:v>82.2</c:v>
                </c:pt>
                <c:pt idx="2716">
                  <c:v>81.7</c:v>
                </c:pt>
                <c:pt idx="2717">
                  <c:v>82.6</c:v>
                </c:pt>
                <c:pt idx="2718">
                  <c:v>81.3</c:v>
                </c:pt>
                <c:pt idx="2719">
                  <c:v>80.400000000000006</c:v>
                </c:pt>
                <c:pt idx="2720">
                  <c:v>78.099999999999994</c:v>
                </c:pt>
                <c:pt idx="2721">
                  <c:v>77.7</c:v>
                </c:pt>
                <c:pt idx="2722">
                  <c:v>76.5</c:v>
                </c:pt>
                <c:pt idx="2723">
                  <c:v>75.400000000000006</c:v>
                </c:pt>
                <c:pt idx="2724">
                  <c:v>75.2</c:v>
                </c:pt>
                <c:pt idx="2725">
                  <c:v>74.7</c:v>
                </c:pt>
                <c:pt idx="2726">
                  <c:v>73.8</c:v>
                </c:pt>
                <c:pt idx="2727">
                  <c:v>72.7</c:v>
                </c:pt>
                <c:pt idx="2728">
                  <c:v>71.599999999999994</c:v>
                </c:pt>
                <c:pt idx="2729">
                  <c:v>71.599999999999994</c:v>
                </c:pt>
                <c:pt idx="2730">
                  <c:v>71.400000000000006</c:v>
                </c:pt>
                <c:pt idx="2731">
                  <c:v>70.2</c:v>
                </c:pt>
                <c:pt idx="2732">
                  <c:v>69.400000000000006</c:v>
                </c:pt>
                <c:pt idx="2733">
                  <c:v>68.7</c:v>
                </c:pt>
                <c:pt idx="2734">
                  <c:v>68</c:v>
                </c:pt>
                <c:pt idx="2735">
                  <c:v>67.8</c:v>
                </c:pt>
                <c:pt idx="2736">
                  <c:v>69.3</c:v>
                </c:pt>
                <c:pt idx="2737">
                  <c:v>68.5</c:v>
                </c:pt>
                <c:pt idx="2738">
                  <c:v>67.599999999999994</c:v>
                </c:pt>
                <c:pt idx="2739">
                  <c:v>66.900000000000006</c:v>
                </c:pt>
                <c:pt idx="2740">
                  <c:v>68.400000000000006</c:v>
                </c:pt>
                <c:pt idx="2741">
                  <c:v>68.900000000000006</c:v>
                </c:pt>
                <c:pt idx="2742">
                  <c:v>68.900000000000006</c:v>
                </c:pt>
                <c:pt idx="2743">
                  <c:v>68.5</c:v>
                </c:pt>
                <c:pt idx="2744">
                  <c:v>67.8</c:v>
                </c:pt>
                <c:pt idx="2745">
                  <c:v>67.099999999999994</c:v>
                </c:pt>
                <c:pt idx="2746">
                  <c:v>66.599999999999994</c:v>
                </c:pt>
                <c:pt idx="2747">
                  <c:v>66.599999999999994</c:v>
                </c:pt>
                <c:pt idx="2748">
                  <c:v>63.1</c:v>
                </c:pt>
                <c:pt idx="2749">
                  <c:v>61.7</c:v>
                </c:pt>
                <c:pt idx="2750">
                  <c:v>62.8</c:v>
                </c:pt>
                <c:pt idx="2751">
                  <c:v>60.8</c:v>
                </c:pt>
                <c:pt idx="2752">
                  <c:v>59.2</c:v>
                </c:pt>
                <c:pt idx="2753">
                  <c:v>58.3</c:v>
                </c:pt>
                <c:pt idx="2754">
                  <c:v>57.2</c:v>
                </c:pt>
                <c:pt idx="2755">
                  <c:v>56.8</c:v>
                </c:pt>
                <c:pt idx="2756">
                  <c:v>56.3</c:v>
                </c:pt>
                <c:pt idx="2757">
                  <c:v>55.2</c:v>
                </c:pt>
                <c:pt idx="2758">
                  <c:v>66.7</c:v>
                </c:pt>
                <c:pt idx="2759">
                  <c:v>66.900000000000006</c:v>
                </c:pt>
                <c:pt idx="2760">
                  <c:v>67.8</c:v>
                </c:pt>
                <c:pt idx="2761">
                  <c:v>70.900000000000006</c:v>
                </c:pt>
                <c:pt idx="2762">
                  <c:v>72.7</c:v>
                </c:pt>
                <c:pt idx="2763">
                  <c:v>73.8</c:v>
                </c:pt>
                <c:pt idx="2764">
                  <c:v>70.2</c:v>
                </c:pt>
                <c:pt idx="2765">
                  <c:v>70.5</c:v>
                </c:pt>
                <c:pt idx="2766">
                  <c:v>71.2</c:v>
                </c:pt>
                <c:pt idx="2767">
                  <c:v>73.2</c:v>
                </c:pt>
                <c:pt idx="2768">
                  <c:v>74.7</c:v>
                </c:pt>
                <c:pt idx="2769">
                  <c:v>75.400000000000006</c:v>
                </c:pt>
                <c:pt idx="2770">
                  <c:v>76.099999999999994</c:v>
                </c:pt>
                <c:pt idx="2771">
                  <c:v>76.5</c:v>
                </c:pt>
                <c:pt idx="2772">
                  <c:v>74.5</c:v>
                </c:pt>
                <c:pt idx="2773">
                  <c:v>75.7</c:v>
                </c:pt>
                <c:pt idx="2774">
                  <c:v>74.7</c:v>
                </c:pt>
                <c:pt idx="2775">
                  <c:v>75.7</c:v>
                </c:pt>
                <c:pt idx="2776">
                  <c:v>76.599999999999994</c:v>
                </c:pt>
                <c:pt idx="2777">
                  <c:v>75.599999999999994</c:v>
                </c:pt>
                <c:pt idx="2778">
                  <c:v>77.2</c:v>
                </c:pt>
                <c:pt idx="2779">
                  <c:v>77</c:v>
                </c:pt>
                <c:pt idx="2780">
                  <c:v>77.2</c:v>
                </c:pt>
                <c:pt idx="2781">
                  <c:v>77.900000000000006</c:v>
                </c:pt>
                <c:pt idx="2782">
                  <c:v>77.7</c:v>
                </c:pt>
                <c:pt idx="2783">
                  <c:v>71.2</c:v>
                </c:pt>
                <c:pt idx="2784">
                  <c:v>66.599999999999994</c:v>
                </c:pt>
                <c:pt idx="2785">
                  <c:v>65.099999999999994</c:v>
                </c:pt>
                <c:pt idx="2786">
                  <c:v>65.3</c:v>
                </c:pt>
                <c:pt idx="2787">
                  <c:v>65.5</c:v>
                </c:pt>
                <c:pt idx="2788">
                  <c:v>65.7</c:v>
                </c:pt>
                <c:pt idx="2789">
                  <c:v>65.099999999999994</c:v>
                </c:pt>
                <c:pt idx="2790">
                  <c:v>64.900000000000006</c:v>
                </c:pt>
                <c:pt idx="2791">
                  <c:v>64.400000000000006</c:v>
                </c:pt>
                <c:pt idx="2792">
                  <c:v>64</c:v>
                </c:pt>
                <c:pt idx="2793">
                  <c:v>63.9</c:v>
                </c:pt>
                <c:pt idx="2794">
                  <c:v>63.5</c:v>
                </c:pt>
                <c:pt idx="2795">
                  <c:v>64</c:v>
                </c:pt>
                <c:pt idx="2796">
                  <c:v>64</c:v>
                </c:pt>
                <c:pt idx="2797">
                  <c:v>64</c:v>
                </c:pt>
                <c:pt idx="2798">
                  <c:v>66.400000000000006</c:v>
                </c:pt>
                <c:pt idx="2799">
                  <c:v>67.099999999999994</c:v>
                </c:pt>
                <c:pt idx="2800">
                  <c:v>67.599999999999994</c:v>
                </c:pt>
                <c:pt idx="2801">
                  <c:v>66.2</c:v>
                </c:pt>
                <c:pt idx="2802">
                  <c:v>65.099999999999994</c:v>
                </c:pt>
                <c:pt idx="2803">
                  <c:v>64.8</c:v>
                </c:pt>
                <c:pt idx="2804">
                  <c:v>63.7</c:v>
                </c:pt>
                <c:pt idx="2805">
                  <c:v>63.7</c:v>
                </c:pt>
                <c:pt idx="2806">
                  <c:v>62.2</c:v>
                </c:pt>
                <c:pt idx="2807">
                  <c:v>61.2</c:v>
                </c:pt>
                <c:pt idx="2808">
                  <c:v>60.1</c:v>
                </c:pt>
                <c:pt idx="2809">
                  <c:v>60.1</c:v>
                </c:pt>
                <c:pt idx="2810">
                  <c:v>59.7</c:v>
                </c:pt>
                <c:pt idx="2811">
                  <c:v>59.7</c:v>
                </c:pt>
                <c:pt idx="2812">
                  <c:v>59.7</c:v>
                </c:pt>
                <c:pt idx="2813">
                  <c:v>59.4</c:v>
                </c:pt>
                <c:pt idx="2814">
                  <c:v>59.2</c:v>
                </c:pt>
                <c:pt idx="2815">
                  <c:v>58.6</c:v>
                </c:pt>
                <c:pt idx="2816">
                  <c:v>58.6</c:v>
                </c:pt>
                <c:pt idx="2817">
                  <c:v>58.5</c:v>
                </c:pt>
                <c:pt idx="2818">
                  <c:v>58.6</c:v>
                </c:pt>
                <c:pt idx="2819">
                  <c:v>58.8</c:v>
                </c:pt>
                <c:pt idx="2820">
                  <c:v>59.2</c:v>
                </c:pt>
                <c:pt idx="2821">
                  <c:v>59.4</c:v>
                </c:pt>
                <c:pt idx="2822">
                  <c:v>59.7</c:v>
                </c:pt>
                <c:pt idx="2823">
                  <c:v>59.9</c:v>
                </c:pt>
                <c:pt idx="2824">
                  <c:v>60.1</c:v>
                </c:pt>
                <c:pt idx="2825">
                  <c:v>60.4</c:v>
                </c:pt>
                <c:pt idx="2826">
                  <c:v>60.4</c:v>
                </c:pt>
                <c:pt idx="2827">
                  <c:v>60.3</c:v>
                </c:pt>
                <c:pt idx="2828">
                  <c:v>60.3</c:v>
                </c:pt>
                <c:pt idx="2829">
                  <c:v>61.3</c:v>
                </c:pt>
                <c:pt idx="2830">
                  <c:v>62.4</c:v>
                </c:pt>
                <c:pt idx="2831">
                  <c:v>63.1</c:v>
                </c:pt>
                <c:pt idx="2832">
                  <c:v>63.1</c:v>
                </c:pt>
                <c:pt idx="2833">
                  <c:v>63.1</c:v>
                </c:pt>
                <c:pt idx="2834">
                  <c:v>63.1</c:v>
                </c:pt>
                <c:pt idx="2835">
                  <c:v>63.1</c:v>
                </c:pt>
                <c:pt idx="2836">
                  <c:v>63.3</c:v>
                </c:pt>
                <c:pt idx="2837">
                  <c:v>63.3</c:v>
                </c:pt>
                <c:pt idx="2838">
                  <c:v>63.1</c:v>
                </c:pt>
                <c:pt idx="2839">
                  <c:v>62.8</c:v>
                </c:pt>
                <c:pt idx="2840">
                  <c:v>62.4</c:v>
                </c:pt>
                <c:pt idx="2841">
                  <c:v>62.2</c:v>
                </c:pt>
                <c:pt idx="2842">
                  <c:v>61.9</c:v>
                </c:pt>
                <c:pt idx="2843">
                  <c:v>61.5</c:v>
                </c:pt>
                <c:pt idx="2844">
                  <c:v>61.2</c:v>
                </c:pt>
                <c:pt idx="2845">
                  <c:v>61</c:v>
                </c:pt>
                <c:pt idx="2846">
                  <c:v>60.6</c:v>
                </c:pt>
                <c:pt idx="2847">
                  <c:v>60.6</c:v>
                </c:pt>
                <c:pt idx="2848">
                  <c:v>60.4</c:v>
                </c:pt>
                <c:pt idx="2849">
                  <c:v>60.4</c:v>
                </c:pt>
                <c:pt idx="2850">
                  <c:v>60.4</c:v>
                </c:pt>
                <c:pt idx="2851">
                  <c:v>60.4</c:v>
                </c:pt>
                <c:pt idx="2852">
                  <c:v>60.4</c:v>
                </c:pt>
                <c:pt idx="2853">
                  <c:v>61.2</c:v>
                </c:pt>
                <c:pt idx="2854">
                  <c:v>61.2</c:v>
                </c:pt>
                <c:pt idx="2855">
                  <c:v>61.9</c:v>
                </c:pt>
                <c:pt idx="2856">
                  <c:v>61.9</c:v>
                </c:pt>
                <c:pt idx="2857">
                  <c:v>63</c:v>
                </c:pt>
                <c:pt idx="2858">
                  <c:v>63.7</c:v>
                </c:pt>
                <c:pt idx="2859">
                  <c:v>65.3</c:v>
                </c:pt>
                <c:pt idx="2860">
                  <c:v>66.900000000000006</c:v>
                </c:pt>
                <c:pt idx="2861">
                  <c:v>70.7</c:v>
                </c:pt>
                <c:pt idx="2862">
                  <c:v>66</c:v>
                </c:pt>
                <c:pt idx="2863">
                  <c:v>66.7</c:v>
                </c:pt>
                <c:pt idx="2864">
                  <c:v>67.099999999999994</c:v>
                </c:pt>
                <c:pt idx="2865">
                  <c:v>68.400000000000006</c:v>
                </c:pt>
                <c:pt idx="2866">
                  <c:v>69.3</c:v>
                </c:pt>
                <c:pt idx="2867">
                  <c:v>70.900000000000006</c:v>
                </c:pt>
                <c:pt idx="2868">
                  <c:v>71.8</c:v>
                </c:pt>
                <c:pt idx="2869">
                  <c:v>75.400000000000006</c:v>
                </c:pt>
                <c:pt idx="2870">
                  <c:v>76.3</c:v>
                </c:pt>
                <c:pt idx="2871">
                  <c:v>76.3</c:v>
                </c:pt>
                <c:pt idx="2872">
                  <c:v>79.7</c:v>
                </c:pt>
                <c:pt idx="2873">
                  <c:v>75.900000000000006</c:v>
                </c:pt>
                <c:pt idx="2874">
                  <c:v>74.8</c:v>
                </c:pt>
                <c:pt idx="2875">
                  <c:v>73.400000000000006</c:v>
                </c:pt>
                <c:pt idx="2876">
                  <c:v>77</c:v>
                </c:pt>
                <c:pt idx="2877">
                  <c:v>79.3</c:v>
                </c:pt>
                <c:pt idx="2878">
                  <c:v>77.400000000000006</c:v>
                </c:pt>
                <c:pt idx="2879">
                  <c:v>79.3</c:v>
                </c:pt>
                <c:pt idx="2880">
                  <c:v>79.7</c:v>
                </c:pt>
                <c:pt idx="2881">
                  <c:v>79.3</c:v>
                </c:pt>
                <c:pt idx="2882">
                  <c:v>79.900000000000006</c:v>
                </c:pt>
                <c:pt idx="2883">
                  <c:v>78.8</c:v>
                </c:pt>
                <c:pt idx="2884">
                  <c:v>77</c:v>
                </c:pt>
                <c:pt idx="2885">
                  <c:v>72</c:v>
                </c:pt>
                <c:pt idx="2886">
                  <c:v>67.5</c:v>
                </c:pt>
                <c:pt idx="2887">
                  <c:v>64.900000000000006</c:v>
                </c:pt>
                <c:pt idx="2888">
                  <c:v>62.8</c:v>
                </c:pt>
                <c:pt idx="2889">
                  <c:v>64.599999999999994</c:v>
                </c:pt>
                <c:pt idx="2890">
                  <c:v>64.8</c:v>
                </c:pt>
                <c:pt idx="2891">
                  <c:v>68.400000000000006</c:v>
                </c:pt>
                <c:pt idx="2892">
                  <c:v>72.900000000000006</c:v>
                </c:pt>
                <c:pt idx="2893">
                  <c:v>74.8</c:v>
                </c:pt>
                <c:pt idx="2894">
                  <c:v>75</c:v>
                </c:pt>
                <c:pt idx="2895">
                  <c:v>73.900000000000006</c:v>
                </c:pt>
                <c:pt idx="2896">
                  <c:v>71.2</c:v>
                </c:pt>
                <c:pt idx="2897">
                  <c:v>68.900000000000006</c:v>
                </c:pt>
                <c:pt idx="2898">
                  <c:v>70.2</c:v>
                </c:pt>
                <c:pt idx="2899">
                  <c:v>68.2</c:v>
                </c:pt>
                <c:pt idx="2900">
                  <c:v>67.599999999999994</c:v>
                </c:pt>
                <c:pt idx="2901">
                  <c:v>66.599999999999994</c:v>
                </c:pt>
                <c:pt idx="2902">
                  <c:v>64.599999999999994</c:v>
                </c:pt>
                <c:pt idx="2903">
                  <c:v>65.5</c:v>
                </c:pt>
                <c:pt idx="2904">
                  <c:v>63.5</c:v>
                </c:pt>
                <c:pt idx="2905">
                  <c:v>62.8</c:v>
                </c:pt>
                <c:pt idx="2906">
                  <c:v>62.2</c:v>
                </c:pt>
                <c:pt idx="2907">
                  <c:v>61.7</c:v>
                </c:pt>
                <c:pt idx="2908">
                  <c:v>61.5</c:v>
                </c:pt>
                <c:pt idx="2909">
                  <c:v>61</c:v>
                </c:pt>
                <c:pt idx="2910">
                  <c:v>60.6</c:v>
                </c:pt>
                <c:pt idx="2911">
                  <c:v>61.2</c:v>
                </c:pt>
                <c:pt idx="2912">
                  <c:v>61</c:v>
                </c:pt>
                <c:pt idx="2913">
                  <c:v>60.3</c:v>
                </c:pt>
                <c:pt idx="2914">
                  <c:v>59.5</c:v>
                </c:pt>
                <c:pt idx="2915">
                  <c:v>59.2</c:v>
                </c:pt>
                <c:pt idx="2916">
                  <c:v>58.5</c:v>
                </c:pt>
                <c:pt idx="2917">
                  <c:v>57.9</c:v>
                </c:pt>
                <c:pt idx="2918">
                  <c:v>57.2</c:v>
                </c:pt>
                <c:pt idx="2919">
                  <c:v>56.8</c:v>
                </c:pt>
                <c:pt idx="2920">
                  <c:v>56.7</c:v>
                </c:pt>
                <c:pt idx="2921">
                  <c:v>56.3</c:v>
                </c:pt>
                <c:pt idx="2922">
                  <c:v>56.3</c:v>
                </c:pt>
                <c:pt idx="2923">
                  <c:v>55.9</c:v>
                </c:pt>
                <c:pt idx="2924">
                  <c:v>55.2</c:v>
                </c:pt>
                <c:pt idx="2925">
                  <c:v>58.8</c:v>
                </c:pt>
                <c:pt idx="2926">
                  <c:v>59.9</c:v>
                </c:pt>
                <c:pt idx="2927">
                  <c:v>60.8</c:v>
                </c:pt>
                <c:pt idx="2928">
                  <c:v>61.5</c:v>
                </c:pt>
                <c:pt idx="2929">
                  <c:v>62.4</c:v>
                </c:pt>
                <c:pt idx="2930">
                  <c:v>63.5</c:v>
                </c:pt>
                <c:pt idx="2931">
                  <c:v>64.8</c:v>
                </c:pt>
                <c:pt idx="2932">
                  <c:v>65.8</c:v>
                </c:pt>
                <c:pt idx="2933">
                  <c:v>67.3</c:v>
                </c:pt>
                <c:pt idx="2934">
                  <c:v>73.2</c:v>
                </c:pt>
                <c:pt idx="2935">
                  <c:v>73.2</c:v>
                </c:pt>
                <c:pt idx="2936">
                  <c:v>76.099999999999994</c:v>
                </c:pt>
                <c:pt idx="2937">
                  <c:v>76.099999999999994</c:v>
                </c:pt>
                <c:pt idx="2938">
                  <c:v>75.400000000000006</c:v>
                </c:pt>
                <c:pt idx="2939">
                  <c:v>78.400000000000006</c:v>
                </c:pt>
                <c:pt idx="2940">
                  <c:v>77.7</c:v>
                </c:pt>
                <c:pt idx="2941">
                  <c:v>79.3</c:v>
                </c:pt>
                <c:pt idx="2942">
                  <c:v>77.900000000000006</c:v>
                </c:pt>
                <c:pt idx="2943">
                  <c:v>77.900000000000006</c:v>
                </c:pt>
                <c:pt idx="2944">
                  <c:v>78.3</c:v>
                </c:pt>
                <c:pt idx="2945">
                  <c:v>81.900000000000006</c:v>
                </c:pt>
                <c:pt idx="2946">
                  <c:v>81.3</c:v>
                </c:pt>
                <c:pt idx="2947">
                  <c:v>81.099999999999994</c:v>
                </c:pt>
                <c:pt idx="2948">
                  <c:v>82.2</c:v>
                </c:pt>
                <c:pt idx="2949">
                  <c:v>80.599999999999994</c:v>
                </c:pt>
                <c:pt idx="2950">
                  <c:v>80.400000000000006</c:v>
                </c:pt>
                <c:pt idx="2951">
                  <c:v>80.599999999999994</c:v>
                </c:pt>
                <c:pt idx="2952">
                  <c:v>82.4</c:v>
                </c:pt>
                <c:pt idx="2953">
                  <c:v>82.2</c:v>
                </c:pt>
                <c:pt idx="2954">
                  <c:v>83.8</c:v>
                </c:pt>
                <c:pt idx="2955">
                  <c:v>80.8</c:v>
                </c:pt>
                <c:pt idx="2956">
                  <c:v>84.2</c:v>
                </c:pt>
                <c:pt idx="2957">
                  <c:v>82.6</c:v>
                </c:pt>
                <c:pt idx="2958">
                  <c:v>83.3</c:v>
                </c:pt>
                <c:pt idx="2959">
                  <c:v>81.900000000000006</c:v>
                </c:pt>
                <c:pt idx="2960">
                  <c:v>81.5</c:v>
                </c:pt>
                <c:pt idx="2961">
                  <c:v>83.1</c:v>
                </c:pt>
                <c:pt idx="2962">
                  <c:v>82.4</c:v>
                </c:pt>
                <c:pt idx="2963">
                  <c:v>80.400000000000006</c:v>
                </c:pt>
                <c:pt idx="2964">
                  <c:v>80.599999999999994</c:v>
                </c:pt>
                <c:pt idx="2965">
                  <c:v>79.5</c:v>
                </c:pt>
                <c:pt idx="2966">
                  <c:v>79.2</c:v>
                </c:pt>
                <c:pt idx="2967">
                  <c:v>77</c:v>
                </c:pt>
                <c:pt idx="2968">
                  <c:v>75.7</c:v>
                </c:pt>
                <c:pt idx="2969">
                  <c:v>73.400000000000006</c:v>
                </c:pt>
                <c:pt idx="2970">
                  <c:v>71.099999999999994</c:v>
                </c:pt>
                <c:pt idx="2971">
                  <c:v>67.599999999999994</c:v>
                </c:pt>
                <c:pt idx="2972">
                  <c:v>66.2</c:v>
                </c:pt>
                <c:pt idx="2973">
                  <c:v>64.900000000000006</c:v>
                </c:pt>
                <c:pt idx="2974">
                  <c:v>64</c:v>
                </c:pt>
                <c:pt idx="2975">
                  <c:v>63.5</c:v>
                </c:pt>
                <c:pt idx="2976">
                  <c:v>63</c:v>
                </c:pt>
                <c:pt idx="2977">
                  <c:v>61.9</c:v>
                </c:pt>
                <c:pt idx="2978">
                  <c:v>60.6</c:v>
                </c:pt>
                <c:pt idx="2979">
                  <c:v>59</c:v>
                </c:pt>
                <c:pt idx="2980">
                  <c:v>58.3</c:v>
                </c:pt>
                <c:pt idx="2981">
                  <c:v>59.7</c:v>
                </c:pt>
                <c:pt idx="2982">
                  <c:v>58.6</c:v>
                </c:pt>
                <c:pt idx="2983">
                  <c:v>57.2</c:v>
                </c:pt>
                <c:pt idx="2984">
                  <c:v>55.8</c:v>
                </c:pt>
                <c:pt idx="2985">
                  <c:v>55.2</c:v>
                </c:pt>
                <c:pt idx="2986">
                  <c:v>54.3</c:v>
                </c:pt>
                <c:pt idx="2987">
                  <c:v>71.099999999999994</c:v>
                </c:pt>
                <c:pt idx="2988">
                  <c:v>73.900000000000006</c:v>
                </c:pt>
                <c:pt idx="2989">
                  <c:v>76.099999999999994</c:v>
                </c:pt>
                <c:pt idx="2990">
                  <c:v>76.099999999999994</c:v>
                </c:pt>
                <c:pt idx="2991">
                  <c:v>66.400000000000006</c:v>
                </c:pt>
                <c:pt idx="2992">
                  <c:v>67.8</c:v>
                </c:pt>
                <c:pt idx="2993">
                  <c:v>69.3</c:v>
                </c:pt>
                <c:pt idx="2994">
                  <c:v>70.5</c:v>
                </c:pt>
                <c:pt idx="2995">
                  <c:v>72.5</c:v>
                </c:pt>
                <c:pt idx="2996">
                  <c:v>74.5</c:v>
                </c:pt>
                <c:pt idx="2997">
                  <c:v>76.099999999999994</c:v>
                </c:pt>
                <c:pt idx="2998">
                  <c:v>77.7</c:v>
                </c:pt>
                <c:pt idx="2999">
                  <c:v>78.599999999999994</c:v>
                </c:pt>
                <c:pt idx="3000">
                  <c:v>79.2</c:v>
                </c:pt>
                <c:pt idx="3001">
                  <c:v>79.3</c:v>
                </c:pt>
                <c:pt idx="3002">
                  <c:v>79.900000000000006</c:v>
                </c:pt>
                <c:pt idx="3003">
                  <c:v>81.099999999999994</c:v>
                </c:pt>
                <c:pt idx="3004">
                  <c:v>80.599999999999994</c:v>
                </c:pt>
                <c:pt idx="3005">
                  <c:v>80.2</c:v>
                </c:pt>
                <c:pt idx="3006">
                  <c:v>81.900000000000006</c:v>
                </c:pt>
                <c:pt idx="3007">
                  <c:v>83.5</c:v>
                </c:pt>
                <c:pt idx="3008">
                  <c:v>84.4</c:v>
                </c:pt>
                <c:pt idx="3009">
                  <c:v>85.6</c:v>
                </c:pt>
                <c:pt idx="3010">
                  <c:v>85.3</c:v>
                </c:pt>
                <c:pt idx="3011">
                  <c:v>84.9</c:v>
                </c:pt>
                <c:pt idx="3012">
                  <c:v>85.1</c:v>
                </c:pt>
                <c:pt idx="3013">
                  <c:v>86.2</c:v>
                </c:pt>
                <c:pt idx="3014">
                  <c:v>87.1</c:v>
                </c:pt>
                <c:pt idx="3015">
                  <c:v>86.5</c:v>
                </c:pt>
                <c:pt idx="3016">
                  <c:v>83.7</c:v>
                </c:pt>
                <c:pt idx="3017">
                  <c:v>86.2</c:v>
                </c:pt>
                <c:pt idx="3018">
                  <c:v>87.3</c:v>
                </c:pt>
                <c:pt idx="3019">
                  <c:v>86.4</c:v>
                </c:pt>
                <c:pt idx="3020">
                  <c:v>84.7</c:v>
                </c:pt>
                <c:pt idx="3021">
                  <c:v>86.7</c:v>
                </c:pt>
                <c:pt idx="3022">
                  <c:v>87.4</c:v>
                </c:pt>
                <c:pt idx="3023">
                  <c:v>81.7</c:v>
                </c:pt>
                <c:pt idx="3024">
                  <c:v>79.900000000000006</c:v>
                </c:pt>
                <c:pt idx="3025">
                  <c:v>78.8</c:v>
                </c:pt>
                <c:pt idx="3026">
                  <c:v>80.2</c:v>
                </c:pt>
                <c:pt idx="3027">
                  <c:v>81</c:v>
                </c:pt>
                <c:pt idx="3028">
                  <c:v>78.3</c:v>
                </c:pt>
                <c:pt idx="3029">
                  <c:v>74.5</c:v>
                </c:pt>
                <c:pt idx="3030">
                  <c:v>72.5</c:v>
                </c:pt>
                <c:pt idx="3031">
                  <c:v>75.900000000000006</c:v>
                </c:pt>
                <c:pt idx="3032">
                  <c:v>73.599999999999994</c:v>
                </c:pt>
                <c:pt idx="3033">
                  <c:v>71.599999999999994</c:v>
                </c:pt>
                <c:pt idx="3034">
                  <c:v>69.599999999999994</c:v>
                </c:pt>
                <c:pt idx="3035">
                  <c:v>68.2</c:v>
                </c:pt>
                <c:pt idx="3036">
                  <c:v>67.599999999999994</c:v>
                </c:pt>
                <c:pt idx="3037">
                  <c:v>66.2</c:v>
                </c:pt>
                <c:pt idx="3038">
                  <c:v>66.900000000000006</c:v>
                </c:pt>
                <c:pt idx="3039">
                  <c:v>64.900000000000006</c:v>
                </c:pt>
                <c:pt idx="3040">
                  <c:v>64</c:v>
                </c:pt>
                <c:pt idx="3041">
                  <c:v>64.599999999999994</c:v>
                </c:pt>
                <c:pt idx="3042">
                  <c:v>64.2</c:v>
                </c:pt>
                <c:pt idx="3043">
                  <c:v>62.8</c:v>
                </c:pt>
                <c:pt idx="3044">
                  <c:v>61.9</c:v>
                </c:pt>
                <c:pt idx="3045">
                  <c:v>61.9</c:v>
                </c:pt>
                <c:pt idx="3046">
                  <c:v>61.7</c:v>
                </c:pt>
                <c:pt idx="3047">
                  <c:v>60.6</c:v>
                </c:pt>
                <c:pt idx="3048">
                  <c:v>59.7</c:v>
                </c:pt>
                <c:pt idx="3049">
                  <c:v>59.9</c:v>
                </c:pt>
                <c:pt idx="3050">
                  <c:v>60.1</c:v>
                </c:pt>
                <c:pt idx="3051">
                  <c:v>61</c:v>
                </c:pt>
                <c:pt idx="3052">
                  <c:v>59.9</c:v>
                </c:pt>
                <c:pt idx="3053">
                  <c:v>59.2</c:v>
                </c:pt>
                <c:pt idx="3054">
                  <c:v>58.6</c:v>
                </c:pt>
                <c:pt idx="3055">
                  <c:v>58.1</c:v>
                </c:pt>
                <c:pt idx="3056">
                  <c:v>60.3</c:v>
                </c:pt>
                <c:pt idx="3057">
                  <c:v>59.4</c:v>
                </c:pt>
                <c:pt idx="3058">
                  <c:v>58.3</c:v>
                </c:pt>
                <c:pt idx="3059">
                  <c:v>58.5</c:v>
                </c:pt>
                <c:pt idx="3060">
                  <c:v>57.9</c:v>
                </c:pt>
                <c:pt idx="3061">
                  <c:v>57.9</c:v>
                </c:pt>
                <c:pt idx="3062">
                  <c:v>57.9</c:v>
                </c:pt>
                <c:pt idx="3063">
                  <c:v>57.7</c:v>
                </c:pt>
                <c:pt idx="3064">
                  <c:v>57.2</c:v>
                </c:pt>
                <c:pt idx="3065">
                  <c:v>56.8</c:v>
                </c:pt>
                <c:pt idx="3066">
                  <c:v>57</c:v>
                </c:pt>
                <c:pt idx="3067">
                  <c:v>56.8</c:v>
                </c:pt>
                <c:pt idx="3068">
                  <c:v>59</c:v>
                </c:pt>
                <c:pt idx="3069">
                  <c:v>59</c:v>
                </c:pt>
                <c:pt idx="3070">
                  <c:v>57.2</c:v>
                </c:pt>
                <c:pt idx="3071">
                  <c:v>56.5</c:v>
                </c:pt>
                <c:pt idx="3072">
                  <c:v>55.9</c:v>
                </c:pt>
                <c:pt idx="3073">
                  <c:v>64.8</c:v>
                </c:pt>
                <c:pt idx="3074">
                  <c:v>68.400000000000006</c:v>
                </c:pt>
                <c:pt idx="3075">
                  <c:v>69.8</c:v>
                </c:pt>
                <c:pt idx="3076">
                  <c:v>63.3</c:v>
                </c:pt>
                <c:pt idx="3077">
                  <c:v>65.099999999999994</c:v>
                </c:pt>
                <c:pt idx="3078">
                  <c:v>66.599999999999994</c:v>
                </c:pt>
                <c:pt idx="3079">
                  <c:v>68.2</c:v>
                </c:pt>
                <c:pt idx="3080">
                  <c:v>70</c:v>
                </c:pt>
                <c:pt idx="3081">
                  <c:v>71.099999999999994</c:v>
                </c:pt>
                <c:pt idx="3082">
                  <c:v>72</c:v>
                </c:pt>
                <c:pt idx="3083">
                  <c:v>73</c:v>
                </c:pt>
                <c:pt idx="3084">
                  <c:v>78.8</c:v>
                </c:pt>
                <c:pt idx="3085">
                  <c:v>78.8</c:v>
                </c:pt>
                <c:pt idx="3086">
                  <c:v>80.400000000000006</c:v>
                </c:pt>
                <c:pt idx="3087">
                  <c:v>81</c:v>
                </c:pt>
                <c:pt idx="3088">
                  <c:v>77.5</c:v>
                </c:pt>
                <c:pt idx="3089">
                  <c:v>80.8</c:v>
                </c:pt>
                <c:pt idx="3090">
                  <c:v>80.099999999999994</c:v>
                </c:pt>
                <c:pt idx="3091">
                  <c:v>80.8</c:v>
                </c:pt>
                <c:pt idx="3092">
                  <c:v>81.900000000000006</c:v>
                </c:pt>
                <c:pt idx="3093">
                  <c:v>81.5</c:v>
                </c:pt>
                <c:pt idx="3094">
                  <c:v>82</c:v>
                </c:pt>
                <c:pt idx="3095">
                  <c:v>81.3</c:v>
                </c:pt>
                <c:pt idx="3096">
                  <c:v>81.3</c:v>
                </c:pt>
                <c:pt idx="3097">
                  <c:v>81</c:v>
                </c:pt>
                <c:pt idx="3098">
                  <c:v>81.3</c:v>
                </c:pt>
                <c:pt idx="3099">
                  <c:v>82.2</c:v>
                </c:pt>
                <c:pt idx="3100">
                  <c:v>82.4</c:v>
                </c:pt>
                <c:pt idx="3101">
                  <c:v>80.099999999999994</c:v>
                </c:pt>
                <c:pt idx="3102">
                  <c:v>81.3</c:v>
                </c:pt>
                <c:pt idx="3103">
                  <c:v>80.099999999999994</c:v>
                </c:pt>
                <c:pt idx="3104">
                  <c:v>79.3</c:v>
                </c:pt>
                <c:pt idx="3105">
                  <c:v>84.4</c:v>
                </c:pt>
                <c:pt idx="3106">
                  <c:v>81.5</c:v>
                </c:pt>
                <c:pt idx="3107">
                  <c:v>83.3</c:v>
                </c:pt>
                <c:pt idx="3108">
                  <c:v>84.6</c:v>
                </c:pt>
                <c:pt idx="3109">
                  <c:v>82.8</c:v>
                </c:pt>
                <c:pt idx="3110">
                  <c:v>82.9</c:v>
                </c:pt>
                <c:pt idx="3111">
                  <c:v>82.9</c:v>
                </c:pt>
                <c:pt idx="3112">
                  <c:v>83.5</c:v>
                </c:pt>
                <c:pt idx="3113">
                  <c:v>82.8</c:v>
                </c:pt>
                <c:pt idx="3114">
                  <c:v>82</c:v>
                </c:pt>
                <c:pt idx="3115">
                  <c:v>81.3</c:v>
                </c:pt>
                <c:pt idx="3116">
                  <c:v>81.099999999999994</c:v>
                </c:pt>
                <c:pt idx="3117">
                  <c:v>81</c:v>
                </c:pt>
                <c:pt idx="3118">
                  <c:v>80.099999999999994</c:v>
                </c:pt>
                <c:pt idx="3119">
                  <c:v>77.2</c:v>
                </c:pt>
                <c:pt idx="3120">
                  <c:v>76.5</c:v>
                </c:pt>
                <c:pt idx="3121">
                  <c:v>73.400000000000006</c:v>
                </c:pt>
                <c:pt idx="3122">
                  <c:v>70.900000000000006</c:v>
                </c:pt>
                <c:pt idx="3123">
                  <c:v>69.8</c:v>
                </c:pt>
                <c:pt idx="3124">
                  <c:v>68.7</c:v>
                </c:pt>
                <c:pt idx="3125">
                  <c:v>67.599999999999994</c:v>
                </c:pt>
                <c:pt idx="3126">
                  <c:v>66.7</c:v>
                </c:pt>
                <c:pt idx="3127">
                  <c:v>66</c:v>
                </c:pt>
                <c:pt idx="3128">
                  <c:v>65.099999999999994</c:v>
                </c:pt>
                <c:pt idx="3129">
                  <c:v>64.400000000000006</c:v>
                </c:pt>
                <c:pt idx="3130">
                  <c:v>63.7</c:v>
                </c:pt>
                <c:pt idx="3131">
                  <c:v>63.3</c:v>
                </c:pt>
                <c:pt idx="3132">
                  <c:v>64.900000000000006</c:v>
                </c:pt>
                <c:pt idx="3133">
                  <c:v>63.5</c:v>
                </c:pt>
                <c:pt idx="3134">
                  <c:v>62.8</c:v>
                </c:pt>
                <c:pt idx="3135">
                  <c:v>62.4</c:v>
                </c:pt>
                <c:pt idx="3136">
                  <c:v>64</c:v>
                </c:pt>
                <c:pt idx="3137">
                  <c:v>62.4</c:v>
                </c:pt>
                <c:pt idx="3138">
                  <c:v>61.7</c:v>
                </c:pt>
                <c:pt idx="3139">
                  <c:v>61.3</c:v>
                </c:pt>
                <c:pt idx="3140">
                  <c:v>60.8</c:v>
                </c:pt>
                <c:pt idx="3141">
                  <c:v>61.3</c:v>
                </c:pt>
                <c:pt idx="3142">
                  <c:v>61.9</c:v>
                </c:pt>
                <c:pt idx="3143">
                  <c:v>60.4</c:v>
                </c:pt>
                <c:pt idx="3144">
                  <c:v>60.1</c:v>
                </c:pt>
                <c:pt idx="3145">
                  <c:v>59.7</c:v>
                </c:pt>
                <c:pt idx="3146">
                  <c:v>60.6</c:v>
                </c:pt>
                <c:pt idx="3147">
                  <c:v>59.9</c:v>
                </c:pt>
                <c:pt idx="3148">
                  <c:v>59.4</c:v>
                </c:pt>
                <c:pt idx="3149">
                  <c:v>58.8</c:v>
                </c:pt>
                <c:pt idx="3150">
                  <c:v>58.6</c:v>
                </c:pt>
                <c:pt idx="3151">
                  <c:v>59</c:v>
                </c:pt>
                <c:pt idx="3152">
                  <c:v>58.5</c:v>
                </c:pt>
                <c:pt idx="3153">
                  <c:v>58.5</c:v>
                </c:pt>
                <c:pt idx="3154">
                  <c:v>58.3</c:v>
                </c:pt>
                <c:pt idx="3155">
                  <c:v>57.7</c:v>
                </c:pt>
                <c:pt idx="3156">
                  <c:v>57.6</c:v>
                </c:pt>
                <c:pt idx="3157">
                  <c:v>57.2</c:v>
                </c:pt>
                <c:pt idx="3158">
                  <c:v>57.2</c:v>
                </c:pt>
                <c:pt idx="3159">
                  <c:v>56.8</c:v>
                </c:pt>
                <c:pt idx="3160">
                  <c:v>57</c:v>
                </c:pt>
                <c:pt idx="3161">
                  <c:v>57</c:v>
                </c:pt>
                <c:pt idx="3162">
                  <c:v>56.7</c:v>
                </c:pt>
                <c:pt idx="3163">
                  <c:v>56.7</c:v>
                </c:pt>
                <c:pt idx="3164">
                  <c:v>56.7</c:v>
                </c:pt>
                <c:pt idx="3165">
                  <c:v>57.4</c:v>
                </c:pt>
                <c:pt idx="3166">
                  <c:v>58.5</c:v>
                </c:pt>
                <c:pt idx="3167">
                  <c:v>62.6</c:v>
                </c:pt>
                <c:pt idx="3168">
                  <c:v>66.400000000000006</c:v>
                </c:pt>
                <c:pt idx="3169">
                  <c:v>70.900000000000006</c:v>
                </c:pt>
                <c:pt idx="3170">
                  <c:v>71.2</c:v>
                </c:pt>
                <c:pt idx="3171">
                  <c:v>71.2</c:v>
                </c:pt>
                <c:pt idx="3172">
                  <c:v>66.2</c:v>
                </c:pt>
                <c:pt idx="3173">
                  <c:v>67.3</c:v>
                </c:pt>
                <c:pt idx="3174">
                  <c:v>68.5</c:v>
                </c:pt>
                <c:pt idx="3175">
                  <c:v>69.599999999999994</c:v>
                </c:pt>
                <c:pt idx="3176">
                  <c:v>70.900000000000006</c:v>
                </c:pt>
                <c:pt idx="3177">
                  <c:v>72.099999999999994</c:v>
                </c:pt>
                <c:pt idx="3178">
                  <c:v>73</c:v>
                </c:pt>
                <c:pt idx="3179">
                  <c:v>73.8</c:v>
                </c:pt>
                <c:pt idx="3180">
                  <c:v>75.400000000000006</c:v>
                </c:pt>
                <c:pt idx="3181">
                  <c:v>76.8</c:v>
                </c:pt>
                <c:pt idx="3182">
                  <c:v>77.900000000000006</c:v>
                </c:pt>
                <c:pt idx="3183">
                  <c:v>79.3</c:v>
                </c:pt>
                <c:pt idx="3184">
                  <c:v>80.099999999999994</c:v>
                </c:pt>
                <c:pt idx="3185">
                  <c:v>78.8</c:v>
                </c:pt>
                <c:pt idx="3186">
                  <c:v>78.400000000000006</c:v>
                </c:pt>
                <c:pt idx="3187">
                  <c:v>80.099999999999994</c:v>
                </c:pt>
                <c:pt idx="3188">
                  <c:v>82</c:v>
                </c:pt>
                <c:pt idx="3189">
                  <c:v>82.6</c:v>
                </c:pt>
                <c:pt idx="3190">
                  <c:v>83.7</c:v>
                </c:pt>
                <c:pt idx="3191">
                  <c:v>83.8</c:v>
                </c:pt>
                <c:pt idx="3192">
                  <c:v>84</c:v>
                </c:pt>
                <c:pt idx="3193">
                  <c:v>84.4</c:v>
                </c:pt>
                <c:pt idx="3194">
                  <c:v>84.7</c:v>
                </c:pt>
                <c:pt idx="3195">
                  <c:v>84.9</c:v>
                </c:pt>
                <c:pt idx="3196">
                  <c:v>85.6</c:v>
                </c:pt>
                <c:pt idx="3197">
                  <c:v>84.2</c:v>
                </c:pt>
                <c:pt idx="3198">
                  <c:v>84.4</c:v>
                </c:pt>
                <c:pt idx="3199">
                  <c:v>86.7</c:v>
                </c:pt>
                <c:pt idx="3200">
                  <c:v>84.6</c:v>
                </c:pt>
                <c:pt idx="3201">
                  <c:v>85.6</c:v>
                </c:pt>
                <c:pt idx="3202">
                  <c:v>85.3</c:v>
                </c:pt>
                <c:pt idx="3203">
                  <c:v>82.2</c:v>
                </c:pt>
                <c:pt idx="3204">
                  <c:v>81.5</c:v>
                </c:pt>
                <c:pt idx="3205">
                  <c:v>82.6</c:v>
                </c:pt>
                <c:pt idx="3206">
                  <c:v>81.7</c:v>
                </c:pt>
                <c:pt idx="3207">
                  <c:v>81</c:v>
                </c:pt>
                <c:pt idx="3208">
                  <c:v>83.1</c:v>
                </c:pt>
                <c:pt idx="3209">
                  <c:v>81.900000000000006</c:v>
                </c:pt>
                <c:pt idx="3210">
                  <c:v>82</c:v>
                </c:pt>
                <c:pt idx="3211">
                  <c:v>81.5</c:v>
                </c:pt>
                <c:pt idx="3212">
                  <c:v>82.4</c:v>
                </c:pt>
                <c:pt idx="3213">
                  <c:v>81.7</c:v>
                </c:pt>
                <c:pt idx="3214">
                  <c:v>79.900000000000006</c:v>
                </c:pt>
                <c:pt idx="3215">
                  <c:v>79.3</c:v>
                </c:pt>
                <c:pt idx="3216">
                  <c:v>77</c:v>
                </c:pt>
                <c:pt idx="3217">
                  <c:v>75.400000000000006</c:v>
                </c:pt>
                <c:pt idx="3218">
                  <c:v>75</c:v>
                </c:pt>
                <c:pt idx="3219">
                  <c:v>73.599999999999994</c:v>
                </c:pt>
                <c:pt idx="3220">
                  <c:v>71.099999999999994</c:v>
                </c:pt>
                <c:pt idx="3221">
                  <c:v>69.8</c:v>
                </c:pt>
                <c:pt idx="3222">
                  <c:v>69.400000000000006</c:v>
                </c:pt>
                <c:pt idx="3223">
                  <c:v>69.400000000000006</c:v>
                </c:pt>
                <c:pt idx="3224">
                  <c:v>67.8</c:v>
                </c:pt>
                <c:pt idx="3225">
                  <c:v>66.900000000000006</c:v>
                </c:pt>
                <c:pt idx="3226">
                  <c:v>66.2</c:v>
                </c:pt>
                <c:pt idx="3227">
                  <c:v>65.5</c:v>
                </c:pt>
                <c:pt idx="3228">
                  <c:v>65.5</c:v>
                </c:pt>
                <c:pt idx="3229">
                  <c:v>65.3</c:v>
                </c:pt>
                <c:pt idx="3230">
                  <c:v>64.900000000000006</c:v>
                </c:pt>
                <c:pt idx="3231">
                  <c:v>64.2</c:v>
                </c:pt>
                <c:pt idx="3232">
                  <c:v>63.9</c:v>
                </c:pt>
                <c:pt idx="3233">
                  <c:v>64</c:v>
                </c:pt>
                <c:pt idx="3234">
                  <c:v>63.7</c:v>
                </c:pt>
                <c:pt idx="3235">
                  <c:v>63.3</c:v>
                </c:pt>
                <c:pt idx="3236">
                  <c:v>63</c:v>
                </c:pt>
                <c:pt idx="3237">
                  <c:v>62.4</c:v>
                </c:pt>
                <c:pt idx="3238">
                  <c:v>62.2</c:v>
                </c:pt>
                <c:pt idx="3239">
                  <c:v>62.2</c:v>
                </c:pt>
                <c:pt idx="3240">
                  <c:v>62.1</c:v>
                </c:pt>
                <c:pt idx="3241">
                  <c:v>61.9</c:v>
                </c:pt>
                <c:pt idx="3242">
                  <c:v>61.5</c:v>
                </c:pt>
                <c:pt idx="3243">
                  <c:v>61.5</c:v>
                </c:pt>
                <c:pt idx="3244">
                  <c:v>61.3</c:v>
                </c:pt>
                <c:pt idx="3245">
                  <c:v>61.5</c:v>
                </c:pt>
                <c:pt idx="3246">
                  <c:v>61.3</c:v>
                </c:pt>
                <c:pt idx="3247">
                  <c:v>61.3</c:v>
                </c:pt>
                <c:pt idx="3248">
                  <c:v>60.8</c:v>
                </c:pt>
                <c:pt idx="3249">
                  <c:v>60.4</c:v>
                </c:pt>
                <c:pt idx="3250">
                  <c:v>60.1</c:v>
                </c:pt>
                <c:pt idx="3251">
                  <c:v>60.1</c:v>
                </c:pt>
                <c:pt idx="3252">
                  <c:v>59.7</c:v>
                </c:pt>
                <c:pt idx="3253">
                  <c:v>59.9</c:v>
                </c:pt>
                <c:pt idx="3254">
                  <c:v>59.4</c:v>
                </c:pt>
                <c:pt idx="3255">
                  <c:v>59.2</c:v>
                </c:pt>
                <c:pt idx="3256">
                  <c:v>58.6</c:v>
                </c:pt>
                <c:pt idx="3257">
                  <c:v>59</c:v>
                </c:pt>
                <c:pt idx="3258">
                  <c:v>59</c:v>
                </c:pt>
                <c:pt idx="3259">
                  <c:v>58.6</c:v>
                </c:pt>
                <c:pt idx="3260">
                  <c:v>58.8</c:v>
                </c:pt>
                <c:pt idx="3261">
                  <c:v>59.4</c:v>
                </c:pt>
                <c:pt idx="3262">
                  <c:v>60.1</c:v>
                </c:pt>
                <c:pt idx="3263">
                  <c:v>61.2</c:v>
                </c:pt>
                <c:pt idx="3264">
                  <c:v>65.099999999999994</c:v>
                </c:pt>
                <c:pt idx="3265">
                  <c:v>67.3</c:v>
                </c:pt>
                <c:pt idx="3266">
                  <c:v>68.2</c:v>
                </c:pt>
                <c:pt idx="3267">
                  <c:v>68.2</c:v>
                </c:pt>
                <c:pt idx="3268">
                  <c:v>68</c:v>
                </c:pt>
                <c:pt idx="3269">
                  <c:v>68.900000000000006</c:v>
                </c:pt>
                <c:pt idx="3270">
                  <c:v>68.5</c:v>
                </c:pt>
                <c:pt idx="3271">
                  <c:v>67.3</c:v>
                </c:pt>
                <c:pt idx="3272">
                  <c:v>67.8</c:v>
                </c:pt>
                <c:pt idx="3273">
                  <c:v>71.8</c:v>
                </c:pt>
                <c:pt idx="3274">
                  <c:v>71.599999999999994</c:v>
                </c:pt>
                <c:pt idx="3275">
                  <c:v>71.8</c:v>
                </c:pt>
                <c:pt idx="3276">
                  <c:v>73.8</c:v>
                </c:pt>
                <c:pt idx="3277">
                  <c:v>76.099999999999994</c:v>
                </c:pt>
                <c:pt idx="3278">
                  <c:v>75</c:v>
                </c:pt>
                <c:pt idx="3279">
                  <c:v>76.599999999999994</c:v>
                </c:pt>
                <c:pt idx="3280">
                  <c:v>78.3</c:v>
                </c:pt>
                <c:pt idx="3281">
                  <c:v>77.900000000000006</c:v>
                </c:pt>
                <c:pt idx="3282">
                  <c:v>78.599999999999994</c:v>
                </c:pt>
                <c:pt idx="3283">
                  <c:v>78.099999999999994</c:v>
                </c:pt>
                <c:pt idx="3284">
                  <c:v>79.2</c:v>
                </c:pt>
                <c:pt idx="3285">
                  <c:v>78.099999999999994</c:v>
                </c:pt>
                <c:pt idx="3286">
                  <c:v>78.8</c:v>
                </c:pt>
                <c:pt idx="3287">
                  <c:v>81.5</c:v>
                </c:pt>
                <c:pt idx="3288">
                  <c:v>82.9</c:v>
                </c:pt>
                <c:pt idx="3289">
                  <c:v>82.9</c:v>
                </c:pt>
                <c:pt idx="3290">
                  <c:v>78.400000000000006</c:v>
                </c:pt>
                <c:pt idx="3291">
                  <c:v>78.8</c:v>
                </c:pt>
                <c:pt idx="3292">
                  <c:v>78.8</c:v>
                </c:pt>
                <c:pt idx="3293">
                  <c:v>78.8</c:v>
                </c:pt>
                <c:pt idx="3294">
                  <c:v>79.3</c:v>
                </c:pt>
                <c:pt idx="3295">
                  <c:v>84.2</c:v>
                </c:pt>
                <c:pt idx="3296">
                  <c:v>82</c:v>
                </c:pt>
                <c:pt idx="3297">
                  <c:v>82</c:v>
                </c:pt>
                <c:pt idx="3298">
                  <c:v>83.7</c:v>
                </c:pt>
                <c:pt idx="3299">
                  <c:v>82.6</c:v>
                </c:pt>
                <c:pt idx="3300">
                  <c:v>79.7</c:v>
                </c:pt>
                <c:pt idx="3301">
                  <c:v>76.599999999999994</c:v>
                </c:pt>
                <c:pt idx="3302">
                  <c:v>73.599999999999994</c:v>
                </c:pt>
                <c:pt idx="3303">
                  <c:v>72</c:v>
                </c:pt>
                <c:pt idx="3304">
                  <c:v>67.599999999999994</c:v>
                </c:pt>
                <c:pt idx="3305">
                  <c:v>66.900000000000006</c:v>
                </c:pt>
                <c:pt idx="3306">
                  <c:v>66.900000000000006</c:v>
                </c:pt>
                <c:pt idx="3307">
                  <c:v>67.099999999999994</c:v>
                </c:pt>
                <c:pt idx="3308">
                  <c:v>66.900000000000006</c:v>
                </c:pt>
                <c:pt idx="3309">
                  <c:v>66.7</c:v>
                </c:pt>
                <c:pt idx="3310">
                  <c:v>67.599999999999994</c:v>
                </c:pt>
                <c:pt idx="3311">
                  <c:v>66.900000000000006</c:v>
                </c:pt>
                <c:pt idx="3312">
                  <c:v>66</c:v>
                </c:pt>
                <c:pt idx="3313">
                  <c:v>65.8</c:v>
                </c:pt>
                <c:pt idx="3314">
                  <c:v>65.5</c:v>
                </c:pt>
                <c:pt idx="3315">
                  <c:v>66</c:v>
                </c:pt>
                <c:pt idx="3316">
                  <c:v>65.099999999999994</c:v>
                </c:pt>
                <c:pt idx="3317">
                  <c:v>66.400000000000006</c:v>
                </c:pt>
                <c:pt idx="3318">
                  <c:v>64.900000000000006</c:v>
                </c:pt>
                <c:pt idx="3319">
                  <c:v>64.2</c:v>
                </c:pt>
                <c:pt idx="3320">
                  <c:v>64.8</c:v>
                </c:pt>
                <c:pt idx="3321">
                  <c:v>65.099999999999994</c:v>
                </c:pt>
                <c:pt idx="3322">
                  <c:v>63.7</c:v>
                </c:pt>
                <c:pt idx="3323">
                  <c:v>63.5</c:v>
                </c:pt>
                <c:pt idx="3324">
                  <c:v>63.1</c:v>
                </c:pt>
                <c:pt idx="3325">
                  <c:v>62.6</c:v>
                </c:pt>
                <c:pt idx="3326">
                  <c:v>64.400000000000006</c:v>
                </c:pt>
                <c:pt idx="3327">
                  <c:v>63.1</c:v>
                </c:pt>
                <c:pt idx="3328">
                  <c:v>62.4</c:v>
                </c:pt>
                <c:pt idx="3329">
                  <c:v>61.9</c:v>
                </c:pt>
                <c:pt idx="3330">
                  <c:v>61.5</c:v>
                </c:pt>
                <c:pt idx="3331">
                  <c:v>61</c:v>
                </c:pt>
                <c:pt idx="3332">
                  <c:v>63.5</c:v>
                </c:pt>
                <c:pt idx="3333">
                  <c:v>61.7</c:v>
                </c:pt>
                <c:pt idx="3334">
                  <c:v>61.2</c:v>
                </c:pt>
                <c:pt idx="3335">
                  <c:v>61.3</c:v>
                </c:pt>
                <c:pt idx="3336">
                  <c:v>61.9</c:v>
                </c:pt>
                <c:pt idx="3337">
                  <c:v>63.5</c:v>
                </c:pt>
                <c:pt idx="3338">
                  <c:v>63.1</c:v>
                </c:pt>
                <c:pt idx="3339">
                  <c:v>62.2</c:v>
                </c:pt>
                <c:pt idx="3340">
                  <c:v>62.2</c:v>
                </c:pt>
                <c:pt idx="3341">
                  <c:v>61.9</c:v>
                </c:pt>
                <c:pt idx="3342">
                  <c:v>61.5</c:v>
                </c:pt>
                <c:pt idx="3343">
                  <c:v>63.7</c:v>
                </c:pt>
                <c:pt idx="3344">
                  <c:v>63.7</c:v>
                </c:pt>
                <c:pt idx="3345">
                  <c:v>63.7</c:v>
                </c:pt>
                <c:pt idx="3346">
                  <c:v>63.9</c:v>
                </c:pt>
                <c:pt idx="3347">
                  <c:v>64.2</c:v>
                </c:pt>
                <c:pt idx="3348">
                  <c:v>64.400000000000006</c:v>
                </c:pt>
                <c:pt idx="3349">
                  <c:v>64.599999999999994</c:v>
                </c:pt>
                <c:pt idx="3350">
                  <c:v>64.8</c:v>
                </c:pt>
                <c:pt idx="3351">
                  <c:v>64.900000000000006</c:v>
                </c:pt>
                <c:pt idx="3352">
                  <c:v>64.900000000000006</c:v>
                </c:pt>
                <c:pt idx="3353">
                  <c:v>66.7</c:v>
                </c:pt>
                <c:pt idx="3354">
                  <c:v>66</c:v>
                </c:pt>
                <c:pt idx="3355">
                  <c:v>66.400000000000006</c:v>
                </c:pt>
                <c:pt idx="3356">
                  <c:v>66.599999999999994</c:v>
                </c:pt>
                <c:pt idx="3357">
                  <c:v>66.7</c:v>
                </c:pt>
                <c:pt idx="3358">
                  <c:v>67.099999999999994</c:v>
                </c:pt>
                <c:pt idx="3359">
                  <c:v>67.3</c:v>
                </c:pt>
                <c:pt idx="3360">
                  <c:v>67.5</c:v>
                </c:pt>
                <c:pt idx="3361">
                  <c:v>68.2</c:v>
                </c:pt>
                <c:pt idx="3362">
                  <c:v>68.5</c:v>
                </c:pt>
                <c:pt idx="3363">
                  <c:v>68.5</c:v>
                </c:pt>
                <c:pt idx="3364">
                  <c:v>68.900000000000006</c:v>
                </c:pt>
                <c:pt idx="3365">
                  <c:v>69.099999999999994</c:v>
                </c:pt>
                <c:pt idx="3366">
                  <c:v>68.900000000000006</c:v>
                </c:pt>
                <c:pt idx="3367">
                  <c:v>70.7</c:v>
                </c:pt>
                <c:pt idx="3368">
                  <c:v>72.7</c:v>
                </c:pt>
                <c:pt idx="3369">
                  <c:v>75.599999999999994</c:v>
                </c:pt>
                <c:pt idx="3370">
                  <c:v>74.3</c:v>
                </c:pt>
                <c:pt idx="3371">
                  <c:v>80.099999999999994</c:v>
                </c:pt>
                <c:pt idx="3372">
                  <c:v>80.400000000000006</c:v>
                </c:pt>
                <c:pt idx="3373">
                  <c:v>81.099999999999994</c:v>
                </c:pt>
                <c:pt idx="3374">
                  <c:v>81.7</c:v>
                </c:pt>
                <c:pt idx="3375">
                  <c:v>81.099999999999994</c:v>
                </c:pt>
                <c:pt idx="3376">
                  <c:v>81</c:v>
                </c:pt>
                <c:pt idx="3377">
                  <c:v>79.900000000000006</c:v>
                </c:pt>
                <c:pt idx="3378">
                  <c:v>82.9</c:v>
                </c:pt>
                <c:pt idx="3379">
                  <c:v>83.5</c:v>
                </c:pt>
                <c:pt idx="3380">
                  <c:v>83.1</c:v>
                </c:pt>
                <c:pt idx="3381">
                  <c:v>87.4</c:v>
                </c:pt>
                <c:pt idx="3382">
                  <c:v>85.5</c:v>
                </c:pt>
                <c:pt idx="3383">
                  <c:v>86.2</c:v>
                </c:pt>
                <c:pt idx="3384">
                  <c:v>86.9</c:v>
                </c:pt>
                <c:pt idx="3385">
                  <c:v>88</c:v>
                </c:pt>
                <c:pt idx="3386">
                  <c:v>87.8</c:v>
                </c:pt>
                <c:pt idx="3387">
                  <c:v>87.8</c:v>
                </c:pt>
                <c:pt idx="3388">
                  <c:v>87.4</c:v>
                </c:pt>
                <c:pt idx="3389">
                  <c:v>88</c:v>
                </c:pt>
                <c:pt idx="3390">
                  <c:v>87.1</c:v>
                </c:pt>
                <c:pt idx="3391">
                  <c:v>86</c:v>
                </c:pt>
                <c:pt idx="3392">
                  <c:v>87.1</c:v>
                </c:pt>
                <c:pt idx="3393">
                  <c:v>85.1</c:v>
                </c:pt>
                <c:pt idx="3394">
                  <c:v>85.6</c:v>
                </c:pt>
                <c:pt idx="3395">
                  <c:v>86</c:v>
                </c:pt>
                <c:pt idx="3396">
                  <c:v>86.4</c:v>
                </c:pt>
                <c:pt idx="3397">
                  <c:v>85.6</c:v>
                </c:pt>
                <c:pt idx="3398">
                  <c:v>85.5</c:v>
                </c:pt>
                <c:pt idx="3399">
                  <c:v>84.2</c:v>
                </c:pt>
                <c:pt idx="3400">
                  <c:v>81.7</c:v>
                </c:pt>
                <c:pt idx="3401">
                  <c:v>78.599999999999994</c:v>
                </c:pt>
                <c:pt idx="3402">
                  <c:v>78.400000000000006</c:v>
                </c:pt>
                <c:pt idx="3403">
                  <c:v>75</c:v>
                </c:pt>
                <c:pt idx="3404">
                  <c:v>73.400000000000006</c:v>
                </c:pt>
                <c:pt idx="3405">
                  <c:v>71.599999999999994</c:v>
                </c:pt>
                <c:pt idx="3406">
                  <c:v>70.2</c:v>
                </c:pt>
                <c:pt idx="3407">
                  <c:v>70.7</c:v>
                </c:pt>
                <c:pt idx="3408">
                  <c:v>69.599999999999994</c:v>
                </c:pt>
                <c:pt idx="3409">
                  <c:v>68.2</c:v>
                </c:pt>
                <c:pt idx="3410">
                  <c:v>67.5</c:v>
                </c:pt>
                <c:pt idx="3411">
                  <c:v>67.3</c:v>
                </c:pt>
                <c:pt idx="3412">
                  <c:v>66.400000000000006</c:v>
                </c:pt>
                <c:pt idx="3413">
                  <c:v>65.7</c:v>
                </c:pt>
                <c:pt idx="3414">
                  <c:v>65.099999999999994</c:v>
                </c:pt>
                <c:pt idx="3415">
                  <c:v>65.099999999999994</c:v>
                </c:pt>
                <c:pt idx="3416">
                  <c:v>65.099999999999994</c:v>
                </c:pt>
                <c:pt idx="3417">
                  <c:v>64.8</c:v>
                </c:pt>
                <c:pt idx="3418">
                  <c:v>64</c:v>
                </c:pt>
                <c:pt idx="3419">
                  <c:v>63.5</c:v>
                </c:pt>
                <c:pt idx="3420">
                  <c:v>63.3</c:v>
                </c:pt>
                <c:pt idx="3421">
                  <c:v>63.5</c:v>
                </c:pt>
                <c:pt idx="3422">
                  <c:v>63.9</c:v>
                </c:pt>
                <c:pt idx="3423">
                  <c:v>62.6</c:v>
                </c:pt>
                <c:pt idx="3424">
                  <c:v>62.2</c:v>
                </c:pt>
                <c:pt idx="3425">
                  <c:v>61.7</c:v>
                </c:pt>
                <c:pt idx="3426">
                  <c:v>61.3</c:v>
                </c:pt>
                <c:pt idx="3427">
                  <c:v>61.2</c:v>
                </c:pt>
                <c:pt idx="3428">
                  <c:v>61.3</c:v>
                </c:pt>
                <c:pt idx="3429">
                  <c:v>61.2</c:v>
                </c:pt>
                <c:pt idx="3430">
                  <c:v>61</c:v>
                </c:pt>
                <c:pt idx="3431">
                  <c:v>61.3</c:v>
                </c:pt>
                <c:pt idx="3432">
                  <c:v>61.5</c:v>
                </c:pt>
                <c:pt idx="3433">
                  <c:v>60.6</c:v>
                </c:pt>
                <c:pt idx="3434">
                  <c:v>59.9</c:v>
                </c:pt>
                <c:pt idx="3435">
                  <c:v>59.7</c:v>
                </c:pt>
                <c:pt idx="3436">
                  <c:v>59.4</c:v>
                </c:pt>
                <c:pt idx="3437">
                  <c:v>59.4</c:v>
                </c:pt>
                <c:pt idx="3438">
                  <c:v>59.4</c:v>
                </c:pt>
                <c:pt idx="3439">
                  <c:v>59.2</c:v>
                </c:pt>
                <c:pt idx="3440">
                  <c:v>59</c:v>
                </c:pt>
                <c:pt idx="3441">
                  <c:v>59</c:v>
                </c:pt>
                <c:pt idx="3442">
                  <c:v>58.1</c:v>
                </c:pt>
                <c:pt idx="3443">
                  <c:v>58.3</c:v>
                </c:pt>
                <c:pt idx="3444">
                  <c:v>58.3</c:v>
                </c:pt>
                <c:pt idx="3445">
                  <c:v>58.6</c:v>
                </c:pt>
                <c:pt idx="3446">
                  <c:v>58.5</c:v>
                </c:pt>
                <c:pt idx="3447">
                  <c:v>61.2</c:v>
                </c:pt>
                <c:pt idx="3448">
                  <c:v>60.8</c:v>
                </c:pt>
                <c:pt idx="3449">
                  <c:v>62.8</c:v>
                </c:pt>
                <c:pt idx="3450">
                  <c:v>66.400000000000006</c:v>
                </c:pt>
                <c:pt idx="3451">
                  <c:v>68.5</c:v>
                </c:pt>
                <c:pt idx="3452">
                  <c:v>72</c:v>
                </c:pt>
                <c:pt idx="3453">
                  <c:v>67.5</c:v>
                </c:pt>
                <c:pt idx="3454">
                  <c:v>70</c:v>
                </c:pt>
                <c:pt idx="3455">
                  <c:v>71.599999999999994</c:v>
                </c:pt>
                <c:pt idx="3456">
                  <c:v>72.7</c:v>
                </c:pt>
                <c:pt idx="3457">
                  <c:v>73.599999999999994</c:v>
                </c:pt>
                <c:pt idx="3458">
                  <c:v>74.7</c:v>
                </c:pt>
                <c:pt idx="3459">
                  <c:v>75.7</c:v>
                </c:pt>
                <c:pt idx="3460">
                  <c:v>77</c:v>
                </c:pt>
                <c:pt idx="3461">
                  <c:v>85.1</c:v>
                </c:pt>
                <c:pt idx="3462">
                  <c:v>86</c:v>
                </c:pt>
                <c:pt idx="3463">
                  <c:v>86.9</c:v>
                </c:pt>
                <c:pt idx="3464">
                  <c:v>87.8</c:v>
                </c:pt>
                <c:pt idx="3465">
                  <c:v>87.8</c:v>
                </c:pt>
                <c:pt idx="3466">
                  <c:v>88.7</c:v>
                </c:pt>
                <c:pt idx="3467">
                  <c:v>90</c:v>
                </c:pt>
                <c:pt idx="3468">
                  <c:v>90.1</c:v>
                </c:pt>
                <c:pt idx="3469">
                  <c:v>90.3</c:v>
                </c:pt>
                <c:pt idx="3470">
                  <c:v>90.9</c:v>
                </c:pt>
                <c:pt idx="3471">
                  <c:v>89.2</c:v>
                </c:pt>
                <c:pt idx="3472">
                  <c:v>91</c:v>
                </c:pt>
                <c:pt idx="3473">
                  <c:v>90.7</c:v>
                </c:pt>
                <c:pt idx="3474">
                  <c:v>89.4</c:v>
                </c:pt>
                <c:pt idx="3475">
                  <c:v>88.5</c:v>
                </c:pt>
                <c:pt idx="3476">
                  <c:v>88</c:v>
                </c:pt>
                <c:pt idx="3477">
                  <c:v>89.1</c:v>
                </c:pt>
                <c:pt idx="3478">
                  <c:v>88.3</c:v>
                </c:pt>
                <c:pt idx="3479">
                  <c:v>89.4</c:v>
                </c:pt>
                <c:pt idx="3480">
                  <c:v>90.9</c:v>
                </c:pt>
                <c:pt idx="3481">
                  <c:v>89.4</c:v>
                </c:pt>
                <c:pt idx="3482">
                  <c:v>88.3</c:v>
                </c:pt>
                <c:pt idx="3483">
                  <c:v>88.3</c:v>
                </c:pt>
                <c:pt idx="3484">
                  <c:v>86.7</c:v>
                </c:pt>
                <c:pt idx="3485">
                  <c:v>85.6</c:v>
                </c:pt>
                <c:pt idx="3486">
                  <c:v>85.1</c:v>
                </c:pt>
                <c:pt idx="3487">
                  <c:v>84</c:v>
                </c:pt>
                <c:pt idx="3488">
                  <c:v>84.6</c:v>
                </c:pt>
                <c:pt idx="3489">
                  <c:v>84</c:v>
                </c:pt>
                <c:pt idx="3490">
                  <c:v>83.7</c:v>
                </c:pt>
                <c:pt idx="3491">
                  <c:v>82.8</c:v>
                </c:pt>
                <c:pt idx="3492">
                  <c:v>81.7</c:v>
                </c:pt>
                <c:pt idx="3493">
                  <c:v>80.599999999999994</c:v>
                </c:pt>
                <c:pt idx="3494">
                  <c:v>78.599999999999994</c:v>
                </c:pt>
                <c:pt idx="3495">
                  <c:v>72.3</c:v>
                </c:pt>
                <c:pt idx="3496">
                  <c:v>70.7</c:v>
                </c:pt>
                <c:pt idx="3497">
                  <c:v>66</c:v>
                </c:pt>
                <c:pt idx="3498">
                  <c:v>64.900000000000006</c:v>
                </c:pt>
                <c:pt idx="3499">
                  <c:v>65.099999999999994</c:v>
                </c:pt>
                <c:pt idx="3500">
                  <c:v>64.8</c:v>
                </c:pt>
                <c:pt idx="3501">
                  <c:v>64.599999999999994</c:v>
                </c:pt>
                <c:pt idx="3502">
                  <c:v>64.2</c:v>
                </c:pt>
                <c:pt idx="3503">
                  <c:v>64.400000000000006</c:v>
                </c:pt>
                <c:pt idx="3504">
                  <c:v>63.7</c:v>
                </c:pt>
                <c:pt idx="3505">
                  <c:v>63.9</c:v>
                </c:pt>
                <c:pt idx="3506">
                  <c:v>63.3</c:v>
                </c:pt>
                <c:pt idx="3507">
                  <c:v>63.1</c:v>
                </c:pt>
                <c:pt idx="3508">
                  <c:v>63.3</c:v>
                </c:pt>
                <c:pt idx="3509">
                  <c:v>63.7</c:v>
                </c:pt>
                <c:pt idx="3510">
                  <c:v>63.5</c:v>
                </c:pt>
                <c:pt idx="3511">
                  <c:v>63.1</c:v>
                </c:pt>
                <c:pt idx="3512">
                  <c:v>62.8</c:v>
                </c:pt>
                <c:pt idx="3513">
                  <c:v>62.4</c:v>
                </c:pt>
                <c:pt idx="3514">
                  <c:v>62.2</c:v>
                </c:pt>
                <c:pt idx="3515">
                  <c:v>61.7</c:v>
                </c:pt>
                <c:pt idx="3516">
                  <c:v>61.2</c:v>
                </c:pt>
                <c:pt idx="3517">
                  <c:v>62.6</c:v>
                </c:pt>
                <c:pt idx="3518">
                  <c:v>64</c:v>
                </c:pt>
                <c:pt idx="3519">
                  <c:v>65.3</c:v>
                </c:pt>
                <c:pt idx="3520">
                  <c:v>66</c:v>
                </c:pt>
                <c:pt idx="3521">
                  <c:v>67.099999999999994</c:v>
                </c:pt>
                <c:pt idx="3522">
                  <c:v>70.7</c:v>
                </c:pt>
                <c:pt idx="3523">
                  <c:v>71.599999999999994</c:v>
                </c:pt>
                <c:pt idx="3524">
                  <c:v>72.900000000000006</c:v>
                </c:pt>
                <c:pt idx="3525">
                  <c:v>72.900000000000006</c:v>
                </c:pt>
                <c:pt idx="3526">
                  <c:v>72.7</c:v>
                </c:pt>
                <c:pt idx="3527">
                  <c:v>73.8</c:v>
                </c:pt>
                <c:pt idx="3528">
                  <c:v>74.7</c:v>
                </c:pt>
                <c:pt idx="3529">
                  <c:v>76.8</c:v>
                </c:pt>
                <c:pt idx="3530">
                  <c:v>77.900000000000006</c:v>
                </c:pt>
                <c:pt idx="3531">
                  <c:v>79.3</c:v>
                </c:pt>
                <c:pt idx="3532">
                  <c:v>79.900000000000006</c:v>
                </c:pt>
                <c:pt idx="3533">
                  <c:v>81.3</c:v>
                </c:pt>
                <c:pt idx="3534">
                  <c:v>83.1</c:v>
                </c:pt>
                <c:pt idx="3535">
                  <c:v>82.9</c:v>
                </c:pt>
                <c:pt idx="3536">
                  <c:v>81.3</c:v>
                </c:pt>
                <c:pt idx="3537">
                  <c:v>82.9</c:v>
                </c:pt>
                <c:pt idx="3538">
                  <c:v>83.7</c:v>
                </c:pt>
                <c:pt idx="3539">
                  <c:v>85.3</c:v>
                </c:pt>
                <c:pt idx="3540">
                  <c:v>84.4</c:v>
                </c:pt>
                <c:pt idx="3541">
                  <c:v>83.8</c:v>
                </c:pt>
                <c:pt idx="3542">
                  <c:v>79.3</c:v>
                </c:pt>
                <c:pt idx="3543">
                  <c:v>82.4</c:v>
                </c:pt>
                <c:pt idx="3544">
                  <c:v>83.5</c:v>
                </c:pt>
                <c:pt idx="3545">
                  <c:v>84.4</c:v>
                </c:pt>
                <c:pt idx="3546">
                  <c:v>84</c:v>
                </c:pt>
                <c:pt idx="3547">
                  <c:v>83.5</c:v>
                </c:pt>
                <c:pt idx="3548">
                  <c:v>82.9</c:v>
                </c:pt>
                <c:pt idx="3549">
                  <c:v>82.9</c:v>
                </c:pt>
                <c:pt idx="3550">
                  <c:v>82.9</c:v>
                </c:pt>
                <c:pt idx="3551">
                  <c:v>82.9</c:v>
                </c:pt>
                <c:pt idx="3552">
                  <c:v>82.2</c:v>
                </c:pt>
                <c:pt idx="3553">
                  <c:v>81.5</c:v>
                </c:pt>
                <c:pt idx="3554">
                  <c:v>80.8</c:v>
                </c:pt>
                <c:pt idx="3555">
                  <c:v>82.9</c:v>
                </c:pt>
                <c:pt idx="3556">
                  <c:v>81.099999999999994</c:v>
                </c:pt>
                <c:pt idx="3557">
                  <c:v>81.5</c:v>
                </c:pt>
                <c:pt idx="3558">
                  <c:v>80.8</c:v>
                </c:pt>
                <c:pt idx="3559">
                  <c:v>79.900000000000006</c:v>
                </c:pt>
                <c:pt idx="3560">
                  <c:v>78.599999999999994</c:v>
                </c:pt>
                <c:pt idx="3561">
                  <c:v>78.400000000000006</c:v>
                </c:pt>
                <c:pt idx="3562">
                  <c:v>78.099999999999994</c:v>
                </c:pt>
                <c:pt idx="3563">
                  <c:v>77.400000000000006</c:v>
                </c:pt>
                <c:pt idx="3564">
                  <c:v>76.3</c:v>
                </c:pt>
                <c:pt idx="3565">
                  <c:v>76.8</c:v>
                </c:pt>
                <c:pt idx="3566">
                  <c:v>76.8</c:v>
                </c:pt>
                <c:pt idx="3567">
                  <c:v>75.7</c:v>
                </c:pt>
                <c:pt idx="3568">
                  <c:v>75.7</c:v>
                </c:pt>
                <c:pt idx="3569">
                  <c:v>75.599999999999994</c:v>
                </c:pt>
                <c:pt idx="3570">
                  <c:v>73.599999999999994</c:v>
                </c:pt>
                <c:pt idx="3571">
                  <c:v>75.400000000000006</c:v>
                </c:pt>
                <c:pt idx="3572">
                  <c:v>75.2</c:v>
                </c:pt>
                <c:pt idx="3573">
                  <c:v>75.400000000000006</c:v>
                </c:pt>
                <c:pt idx="3574">
                  <c:v>74.8</c:v>
                </c:pt>
                <c:pt idx="3575">
                  <c:v>74.7</c:v>
                </c:pt>
                <c:pt idx="3576">
                  <c:v>75</c:v>
                </c:pt>
                <c:pt idx="3577">
                  <c:v>74.3</c:v>
                </c:pt>
                <c:pt idx="3578">
                  <c:v>73.8</c:v>
                </c:pt>
                <c:pt idx="3579">
                  <c:v>73.2</c:v>
                </c:pt>
                <c:pt idx="3580">
                  <c:v>73.2</c:v>
                </c:pt>
                <c:pt idx="3581">
                  <c:v>70.900000000000006</c:v>
                </c:pt>
                <c:pt idx="3582">
                  <c:v>69.599999999999994</c:v>
                </c:pt>
                <c:pt idx="3583">
                  <c:v>68.900000000000006</c:v>
                </c:pt>
                <c:pt idx="3584">
                  <c:v>67.8</c:v>
                </c:pt>
                <c:pt idx="3585">
                  <c:v>67.5</c:v>
                </c:pt>
                <c:pt idx="3586">
                  <c:v>67.099999999999994</c:v>
                </c:pt>
                <c:pt idx="3587">
                  <c:v>66.900000000000006</c:v>
                </c:pt>
                <c:pt idx="3588">
                  <c:v>72.3</c:v>
                </c:pt>
                <c:pt idx="3589">
                  <c:v>66.400000000000006</c:v>
                </c:pt>
                <c:pt idx="3590">
                  <c:v>72.3</c:v>
                </c:pt>
                <c:pt idx="3591">
                  <c:v>65.7</c:v>
                </c:pt>
                <c:pt idx="3592">
                  <c:v>65.099999999999994</c:v>
                </c:pt>
                <c:pt idx="3593">
                  <c:v>64.8</c:v>
                </c:pt>
                <c:pt idx="3594">
                  <c:v>64.2</c:v>
                </c:pt>
                <c:pt idx="3595">
                  <c:v>63.9</c:v>
                </c:pt>
                <c:pt idx="3596">
                  <c:v>63.9</c:v>
                </c:pt>
                <c:pt idx="3597">
                  <c:v>63.1</c:v>
                </c:pt>
                <c:pt idx="3598">
                  <c:v>63.1</c:v>
                </c:pt>
                <c:pt idx="3599">
                  <c:v>63.1</c:v>
                </c:pt>
                <c:pt idx="3600">
                  <c:v>63.5</c:v>
                </c:pt>
                <c:pt idx="3601">
                  <c:v>63.1</c:v>
                </c:pt>
                <c:pt idx="3602">
                  <c:v>62.8</c:v>
                </c:pt>
                <c:pt idx="3603">
                  <c:v>62.8</c:v>
                </c:pt>
                <c:pt idx="3604">
                  <c:v>62.8</c:v>
                </c:pt>
                <c:pt idx="3605">
                  <c:v>62.8</c:v>
                </c:pt>
                <c:pt idx="3606">
                  <c:v>66</c:v>
                </c:pt>
                <c:pt idx="3607">
                  <c:v>63.5</c:v>
                </c:pt>
                <c:pt idx="3608">
                  <c:v>63.9</c:v>
                </c:pt>
                <c:pt idx="3609">
                  <c:v>64</c:v>
                </c:pt>
                <c:pt idx="3610">
                  <c:v>64</c:v>
                </c:pt>
                <c:pt idx="3611">
                  <c:v>64.599999999999994</c:v>
                </c:pt>
                <c:pt idx="3612">
                  <c:v>65.3</c:v>
                </c:pt>
                <c:pt idx="3613">
                  <c:v>66.7</c:v>
                </c:pt>
                <c:pt idx="3614">
                  <c:v>67.5</c:v>
                </c:pt>
                <c:pt idx="3615">
                  <c:v>68</c:v>
                </c:pt>
                <c:pt idx="3616">
                  <c:v>69.599999999999994</c:v>
                </c:pt>
                <c:pt idx="3617">
                  <c:v>69.599999999999994</c:v>
                </c:pt>
                <c:pt idx="3618">
                  <c:v>69.599999999999994</c:v>
                </c:pt>
                <c:pt idx="3619">
                  <c:v>73</c:v>
                </c:pt>
                <c:pt idx="3620">
                  <c:v>73.2</c:v>
                </c:pt>
                <c:pt idx="3621">
                  <c:v>75.599999999999994</c:v>
                </c:pt>
                <c:pt idx="3622">
                  <c:v>75.400000000000006</c:v>
                </c:pt>
                <c:pt idx="3623">
                  <c:v>76.3</c:v>
                </c:pt>
                <c:pt idx="3624">
                  <c:v>78.3</c:v>
                </c:pt>
                <c:pt idx="3625">
                  <c:v>77.400000000000006</c:v>
                </c:pt>
                <c:pt idx="3626">
                  <c:v>78.400000000000006</c:v>
                </c:pt>
                <c:pt idx="3627">
                  <c:v>77.900000000000006</c:v>
                </c:pt>
                <c:pt idx="3628">
                  <c:v>78.8</c:v>
                </c:pt>
                <c:pt idx="3629">
                  <c:v>79.5</c:v>
                </c:pt>
                <c:pt idx="3630">
                  <c:v>79.5</c:v>
                </c:pt>
                <c:pt idx="3631">
                  <c:v>78.599999999999994</c:v>
                </c:pt>
                <c:pt idx="3632">
                  <c:v>78.8</c:v>
                </c:pt>
                <c:pt idx="3633">
                  <c:v>79.7</c:v>
                </c:pt>
                <c:pt idx="3634">
                  <c:v>78.400000000000006</c:v>
                </c:pt>
                <c:pt idx="3635">
                  <c:v>79.3</c:v>
                </c:pt>
                <c:pt idx="3636">
                  <c:v>80.2</c:v>
                </c:pt>
                <c:pt idx="3637">
                  <c:v>80.2</c:v>
                </c:pt>
                <c:pt idx="3638">
                  <c:v>80.8</c:v>
                </c:pt>
                <c:pt idx="3639">
                  <c:v>79.900000000000006</c:v>
                </c:pt>
                <c:pt idx="3640">
                  <c:v>79.3</c:v>
                </c:pt>
                <c:pt idx="3641">
                  <c:v>77.400000000000006</c:v>
                </c:pt>
                <c:pt idx="3642">
                  <c:v>77</c:v>
                </c:pt>
                <c:pt idx="3643">
                  <c:v>75</c:v>
                </c:pt>
                <c:pt idx="3644">
                  <c:v>74.099999999999994</c:v>
                </c:pt>
                <c:pt idx="3645">
                  <c:v>72.7</c:v>
                </c:pt>
                <c:pt idx="3646">
                  <c:v>72.7</c:v>
                </c:pt>
                <c:pt idx="3647">
                  <c:v>66.2</c:v>
                </c:pt>
                <c:pt idx="3648">
                  <c:v>66.2</c:v>
                </c:pt>
                <c:pt idx="3649">
                  <c:v>66.599999999999994</c:v>
                </c:pt>
                <c:pt idx="3650">
                  <c:v>66</c:v>
                </c:pt>
                <c:pt idx="3651">
                  <c:v>66.400000000000006</c:v>
                </c:pt>
                <c:pt idx="3652">
                  <c:v>66</c:v>
                </c:pt>
                <c:pt idx="3653">
                  <c:v>66</c:v>
                </c:pt>
                <c:pt idx="3654">
                  <c:v>66</c:v>
                </c:pt>
                <c:pt idx="3655">
                  <c:v>66.2</c:v>
                </c:pt>
                <c:pt idx="3656">
                  <c:v>66.400000000000006</c:v>
                </c:pt>
                <c:pt idx="3657">
                  <c:v>66.400000000000006</c:v>
                </c:pt>
                <c:pt idx="3658">
                  <c:v>66.7</c:v>
                </c:pt>
                <c:pt idx="3659">
                  <c:v>67.5</c:v>
                </c:pt>
                <c:pt idx="3660">
                  <c:v>67.5</c:v>
                </c:pt>
                <c:pt idx="3661">
                  <c:v>67.8</c:v>
                </c:pt>
                <c:pt idx="3662">
                  <c:v>67.099999999999994</c:v>
                </c:pt>
                <c:pt idx="3663">
                  <c:v>66.599999999999994</c:v>
                </c:pt>
                <c:pt idx="3664">
                  <c:v>66.599999999999994</c:v>
                </c:pt>
                <c:pt idx="3665">
                  <c:v>66</c:v>
                </c:pt>
                <c:pt idx="3666">
                  <c:v>65.8</c:v>
                </c:pt>
                <c:pt idx="3667">
                  <c:v>65.8</c:v>
                </c:pt>
                <c:pt idx="3668">
                  <c:v>65.5</c:v>
                </c:pt>
                <c:pt idx="3669">
                  <c:v>65.3</c:v>
                </c:pt>
                <c:pt idx="3670">
                  <c:v>65.099999999999994</c:v>
                </c:pt>
                <c:pt idx="3671">
                  <c:v>64.599999999999994</c:v>
                </c:pt>
                <c:pt idx="3672">
                  <c:v>64.400000000000006</c:v>
                </c:pt>
                <c:pt idx="3673">
                  <c:v>64</c:v>
                </c:pt>
                <c:pt idx="3674">
                  <c:v>63.9</c:v>
                </c:pt>
                <c:pt idx="3675">
                  <c:v>63.7</c:v>
                </c:pt>
                <c:pt idx="3676">
                  <c:v>63.7</c:v>
                </c:pt>
                <c:pt idx="3677">
                  <c:v>63.9</c:v>
                </c:pt>
                <c:pt idx="3678">
                  <c:v>63.9</c:v>
                </c:pt>
                <c:pt idx="3679">
                  <c:v>62.6</c:v>
                </c:pt>
                <c:pt idx="3680">
                  <c:v>62.2</c:v>
                </c:pt>
                <c:pt idx="3681">
                  <c:v>61.9</c:v>
                </c:pt>
                <c:pt idx="3682">
                  <c:v>61.9</c:v>
                </c:pt>
                <c:pt idx="3683">
                  <c:v>62.8</c:v>
                </c:pt>
                <c:pt idx="3684">
                  <c:v>62.1</c:v>
                </c:pt>
                <c:pt idx="3685">
                  <c:v>61.9</c:v>
                </c:pt>
                <c:pt idx="3686">
                  <c:v>61.7</c:v>
                </c:pt>
                <c:pt idx="3687">
                  <c:v>61.3</c:v>
                </c:pt>
                <c:pt idx="3688">
                  <c:v>61.2</c:v>
                </c:pt>
                <c:pt idx="3689">
                  <c:v>61.3</c:v>
                </c:pt>
                <c:pt idx="3690">
                  <c:v>61.2</c:v>
                </c:pt>
                <c:pt idx="3691">
                  <c:v>61.2</c:v>
                </c:pt>
                <c:pt idx="3692">
                  <c:v>61.2</c:v>
                </c:pt>
                <c:pt idx="3693">
                  <c:v>61.2</c:v>
                </c:pt>
                <c:pt idx="3694">
                  <c:v>61</c:v>
                </c:pt>
                <c:pt idx="3695">
                  <c:v>61</c:v>
                </c:pt>
                <c:pt idx="3696">
                  <c:v>61.7</c:v>
                </c:pt>
                <c:pt idx="3697">
                  <c:v>63</c:v>
                </c:pt>
                <c:pt idx="3698">
                  <c:v>60.4</c:v>
                </c:pt>
                <c:pt idx="3699">
                  <c:v>60.8</c:v>
                </c:pt>
                <c:pt idx="3700">
                  <c:v>61</c:v>
                </c:pt>
                <c:pt idx="3701">
                  <c:v>61.3</c:v>
                </c:pt>
                <c:pt idx="3702">
                  <c:v>61.3</c:v>
                </c:pt>
                <c:pt idx="3703">
                  <c:v>61.2</c:v>
                </c:pt>
                <c:pt idx="3704">
                  <c:v>61.7</c:v>
                </c:pt>
                <c:pt idx="3705">
                  <c:v>62.1</c:v>
                </c:pt>
                <c:pt idx="3706">
                  <c:v>62.4</c:v>
                </c:pt>
                <c:pt idx="3707">
                  <c:v>62.8</c:v>
                </c:pt>
                <c:pt idx="3708">
                  <c:v>63.5</c:v>
                </c:pt>
                <c:pt idx="3709">
                  <c:v>63.9</c:v>
                </c:pt>
                <c:pt idx="3710">
                  <c:v>64.2</c:v>
                </c:pt>
                <c:pt idx="3711">
                  <c:v>64.8</c:v>
                </c:pt>
                <c:pt idx="3712">
                  <c:v>65.7</c:v>
                </c:pt>
                <c:pt idx="3713">
                  <c:v>66.400000000000006</c:v>
                </c:pt>
                <c:pt idx="3714">
                  <c:v>67.3</c:v>
                </c:pt>
                <c:pt idx="3715">
                  <c:v>67.3</c:v>
                </c:pt>
                <c:pt idx="3716">
                  <c:v>69.099999999999994</c:v>
                </c:pt>
                <c:pt idx="3717">
                  <c:v>70.900000000000006</c:v>
                </c:pt>
                <c:pt idx="3718">
                  <c:v>73</c:v>
                </c:pt>
                <c:pt idx="3719">
                  <c:v>76.099999999999994</c:v>
                </c:pt>
                <c:pt idx="3720">
                  <c:v>74.099999999999994</c:v>
                </c:pt>
                <c:pt idx="3721">
                  <c:v>78.099999999999994</c:v>
                </c:pt>
                <c:pt idx="3722">
                  <c:v>76.3</c:v>
                </c:pt>
                <c:pt idx="3723">
                  <c:v>77.400000000000006</c:v>
                </c:pt>
                <c:pt idx="3724">
                  <c:v>67.8</c:v>
                </c:pt>
                <c:pt idx="3725">
                  <c:v>77.900000000000006</c:v>
                </c:pt>
                <c:pt idx="3726">
                  <c:v>80.099999999999994</c:v>
                </c:pt>
                <c:pt idx="3727">
                  <c:v>77</c:v>
                </c:pt>
                <c:pt idx="3728">
                  <c:v>67.8</c:v>
                </c:pt>
                <c:pt idx="3729">
                  <c:v>73.8</c:v>
                </c:pt>
                <c:pt idx="3730">
                  <c:v>79.900000000000006</c:v>
                </c:pt>
                <c:pt idx="3731">
                  <c:v>79.7</c:v>
                </c:pt>
                <c:pt idx="3732">
                  <c:v>83.3</c:v>
                </c:pt>
                <c:pt idx="3733">
                  <c:v>83.5</c:v>
                </c:pt>
                <c:pt idx="3734">
                  <c:v>83.5</c:v>
                </c:pt>
                <c:pt idx="3735">
                  <c:v>82</c:v>
                </c:pt>
                <c:pt idx="3736">
                  <c:v>82</c:v>
                </c:pt>
                <c:pt idx="3737">
                  <c:v>80.599999999999994</c:v>
                </c:pt>
                <c:pt idx="3738">
                  <c:v>79.3</c:v>
                </c:pt>
                <c:pt idx="3739">
                  <c:v>78.3</c:v>
                </c:pt>
                <c:pt idx="3740">
                  <c:v>79.5</c:v>
                </c:pt>
                <c:pt idx="3741">
                  <c:v>78.3</c:v>
                </c:pt>
                <c:pt idx="3742">
                  <c:v>78.3</c:v>
                </c:pt>
                <c:pt idx="3743">
                  <c:v>76.099999999999994</c:v>
                </c:pt>
                <c:pt idx="3744">
                  <c:v>77</c:v>
                </c:pt>
                <c:pt idx="3745">
                  <c:v>81.3</c:v>
                </c:pt>
                <c:pt idx="3746">
                  <c:v>76.599999999999994</c:v>
                </c:pt>
                <c:pt idx="3747">
                  <c:v>75.900000000000006</c:v>
                </c:pt>
                <c:pt idx="3748">
                  <c:v>74.7</c:v>
                </c:pt>
                <c:pt idx="3749">
                  <c:v>73.900000000000006</c:v>
                </c:pt>
                <c:pt idx="3750">
                  <c:v>73.400000000000006</c:v>
                </c:pt>
                <c:pt idx="3751">
                  <c:v>72</c:v>
                </c:pt>
                <c:pt idx="3752">
                  <c:v>71.400000000000006</c:v>
                </c:pt>
                <c:pt idx="3753">
                  <c:v>70.5</c:v>
                </c:pt>
                <c:pt idx="3754">
                  <c:v>70</c:v>
                </c:pt>
                <c:pt idx="3755">
                  <c:v>69.3</c:v>
                </c:pt>
                <c:pt idx="3756">
                  <c:v>68.400000000000006</c:v>
                </c:pt>
                <c:pt idx="3757">
                  <c:v>68.400000000000006</c:v>
                </c:pt>
                <c:pt idx="3758">
                  <c:v>67.3</c:v>
                </c:pt>
                <c:pt idx="3759">
                  <c:v>67.3</c:v>
                </c:pt>
                <c:pt idx="3760">
                  <c:v>67.599999999999994</c:v>
                </c:pt>
                <c:pt idx="3761">
                  <c:v>66</c:v>
                </c:pt>
                <c:pt idx="3762">
                  <c:v>66</c:v>
                </c:pt>
                <c:pt idx="3763">
                  <c:v>65.8</c:v>
                </c:pt>
                <c:pt idx="3764">
                  <c:v>66</c:v>
                </c:pt>
                <c:pt idx="3765">
                  <c:v>65.8</c:v>
                </c:pt>
                <c:pt idx="3766">
                  <c:v>66.7</c:v>
                </c:pt>
                <c:pt idx="3767">
                  <c:v>66.599999999999994</c:v>
                </c:pt>
                <c:pt idx="3768">
                  <c:v>65.8</c:v>
                </c:pt>
                <c:pt idx="3769">
                  <c:v>66.900000000000006</c:v>
                </c:pt>
                <c:pt idx="3770">
                  <c:v>65.099999999999994</c:v>
                </c:pt>
                <c:pt idx="3771">
                  <c:v>64.2</c:v>
                </c:pt>
                <c:pt idx="3772">
                  <c:v>63.7</c:v>
                </c:pt>
                <c:pt idx="3773">
                  <c:v>63.3</c:v>
                </c:pt>
                <c:pt idx="3774">
                  <c:v>63.1</c:v>
                </c:pt>
                <c:pt idx="3775">
                  <c:v>63.9</c:v>
                </c:pt>
                <c:pt idx="3776">
                  <c:v>64.2</c:v>
                </c:pt>
                <c:pt idx="3777">
                  <c:v>64.400000000000006</c:v>
                </c:pt>
                <c:pt idx="3778">
                  <c:v>64.8</c:v>
                </c:pt>
                <c:pt idx="3779">
                  <c:v>65.099999999999994</c:v>
                </c:pt>
                <c:pt idx="3780">
                  <c:v>65.3</c:v>
                </c:pt>
                <c:pt idx="3781">
                  <c:v>65.3</c:v>
                </c:pt>
                <c:pt idx="3782">
                  <c:v>65.099999999999994</c:v>
                </c:pt>
                <c:pt idx="3783">
                  <c:v>65.099999999999994</c:v>
                </c:pt>
                <c:pt idx="3784">
                  <c:v>65.099999999999994</c:v>
                </c:pt>
                <c:pt idx="3785">
                  <c:v>65.099999999999994</c:v>
                </c:pt>
                <c:pt idx="3786">
                  <c:v>65.099999999999994</c:v>
                </c:pt>
                <c:pt idx="3787">
                  <c:v>65.099999999999994</c:v>
                </c:pt>
                <c:pt idx="3788">
                  <c:v>64.900000000000006</c:v>
                </c:pt>
                <c:pt idx="3789">
                  <c:v>64.8</c:v>
                </c:pt>
                <c:pt idx="3790">
                  <c:v>64.400000000000006</c:v>
                </c:pt>
                <c:pt idx="3791">
                  <c:v>64.400000000000006</c:v>
                </c:pt>
                <c:pt idx="3792">
                  <c:v>64.2</c:v>
                </c:pt>
                <c:pt idx="3793">
                  <c:v>64</c:v>
                </c:pt>
                <c:pt idx="3794">
                  <c:v>64</c:v>
                </c:pt>
                <c:pt idx="3795">
                  <c:v>63.9</c:v>
                </c:pt>
                <c:pt idx="3796">
                  <c:v>64</c:v>
                </c:pt>
                <c:pt idx="3797">
                  <c:v>63.9</c:v>
                </c:pt>
                <c:pt idx="3798">
                  <c:v>63.5</c:v>
                </c:pt>
                <c:pt idx="3799">
                  <c:v>63.5</c:v>
                </c:pt>
                <c:pt idx="3800">
                  <c:v>63.5</c:v>
                </c:pt>
                <c:pt idx="3801">
                  <c:v>63.5</c:v>
                </c:pt>
                <c:pt idx="3802">
                  <c:v>63.5</c:v>
                </c:pt>
                <c:pt idx="3803">
                  <c:v>63.5</c:v>
                </c:pt>
                <c:pt idx="3804">
                  <c:v>65.099999999999994</c:v>
                </c:pt>
                <c:pt idx="3805">
                  <c:v>63.5</c:v>
                </c:pt>
                <c:pt idx="3806">
                  <c:v>65.099999999999994</c:v>
                </c:pt>
                <c:pt idx="3807">
                  <c:v>64</c:v>
                </c:pt>
                <c:pt idx="3808">
                  <c:v>64</c:v>
                </c:pt>
                <c:pt idx="3809">
                  <c:v>63.7</c:v>
                </c:pt>
                <c:pt idx="3810">
                  <c:v>64.2</c:v>
                </c:pt>
                <c:pt idx="3811">
                  <c:v>64.8</c:v>
                </c:pt>
                <c:pt idx="3812">
                  <c:v>64.400000000000006</c:v>
                </c:pt>
                <c:pt idx="3813">
                  <c:v>63.9</c:v>
                </c:pt>
                <c:pt idx="3814">
                  <c:v>64.400000000000006</c:v>
                </c:pt>
                <c:pt idx="3815">
                  <c:v>66.900000000000006</c:v>
                </c:pt>
                <c:pt idx="3816">
                  <c:v>66.900000000000006</c:v>
                </c:pt>
                <c:pt idx="3817">
                  <c:v>68.2</c:v>
                </c:pt>
                <c:pt idx="3818">
                  <c:v>71.099999999999994</c:v>
                </c:pt>
                <c:pt idx="3819">
                  <c:v>72.5</c:v>
                </c:pt>
                <c:pt idx="3820">
                  <c:v>74.8</c:v>
                </c:pt>
                <c:pt idx="3821">
                  <c:v>75.599999999999994</c:v>
                </c:pt>
                <c:pt idx="3822">
                  <c:v>75</c:v>
                </c:pt>
                <c:pt idx="3823">
                  <c:v>73.400000000000006</c:v>
                </c:pt>
                <c:pt idx="3824">
                  <c:v>75.400000000000006</c:v>
                </c:pt>
                <c:pt idx="3825">
                  <c:v>75.400000000000006</c:v>
                </c:pt>
                <c:pt idx="3826">
                  <c:v>75.599999999999994</c:v>
                </c:pt>
                <c:pt idx="3827">
                  <c:v>73</c:v>
                </c:pt>
                <c:pt idx="3828">
                  <c:v>72.099999999999994</c:v>
                </c:pt>
                <c:pt idx="3829">
                  <c:v>72.5</c:v>
                </c:pt>
                <c:pt idx="3830">
                  <c:v>73.8</c:v>
                </c:pt>
                <c:pt idx="3831">
                  <c:v>70.900000000000006</c:v>
                </c:pt>
                <c:pt idx="3832">
                  <c:v>72.5</c:v>
                </c:pt>
                <c:pt idx="3833">
                  <c:v>72.900000000000006</c:v>
                </c:pt>
                <c:pt idx="3834">
                  <c:v>75.599999999999994</c:v>
                </c:pt>
                <c:pt idx="3835">
                  <c:v>75</c:v>
                </c:pt>
                <c:pt idx="3836">
                  <c:v>75</c:v>
                </c:pt>
                <c:pt idx="3837">
                  <c:v>72</c:v>
                </c:pt>
                <c:pt idx="3838">
                  <c:v>75.599999999999994</c:v>
                </c:pt>
                <c:pt idx="3839">
                  <c:v>75</c:v>
                </c:pt>
                <c:pt idx="3840">
                  <c:v>76.5</c:v>
                </c:pt>
                <c:pt idx="3841">
                  <c:v>77.2</c:v>
                </c:pt>
                <c:pt idx="3842">
                  <c:v>75.900000000000006</c:v>
                </c:pt>
                <c:pt idx="3843">
                  <c:v>76.099999999999994</c:v>
                </c:pt>
                <c:pt idx="3844">
                  <c:v>77</c:v>
                </c:pt>
                <c:pt idx="3845">
                  <c:v>74.7</c:v>
                </c:pt>
                <c:pt idx="3846">
                  <c:v>74.5</c:v>
                </c:pt>
                <c:pt idx="3847">
                  <c:v>75</c:v>
                </c:pt>
                <c:pt idx="3848">
                  <c:v>75</c:v>
                </c:pt>
                <c:pt idx="3849">
                  <c:v>75</c:v>
                </c:pt>
                <c:pt idx="3850">
                  <c:v>73.400000000000006</c:v>
                </c:pt>
                <c:pt idx="3851">
                  <c:v>72.7</c:v>
                </c:pt>
                <c:pt idx="3852">
                  <c:v>71.2</c:v>
                </c:pt>
                <c:pt idx="3853">
                  <c:v>70</c:v>
                </c:pt>
                <c:pt idx="3854">
                  <c:v>68.2</c:v>
                </c:pt>
                <c:pt idx="3855">
                  <c:v>66.7</c:v>
                </c:pt>
                <c:pt idx="3856">
                  <c:v>65.7</c:v>
                </c:pt>
                <c:pt idx="3857">
                  <c:v>64.599999999999994</c:v>
                </c:pt>
                <c:pt idx="3858">
                  <c:v>65.099999999999994</c:v>
                </c:pt>
                <c:pt idx="3859">
                  <c:v>63.9</c:v>
                </c:pt>
                <c:pt idx="3860">
                  <c:v>65.099999999999994</c:v>
                </c:pt>
                <c:pt idx="3861">
                  <c:v>65.099999999999994</c:v>
                </c:pt>
                <c:pt idx="3862">
                  <c:v>64.900000000000006</c:v>
                </c:pt>
                <c:pt idx="3863">
                  <c:v>64.599999999999994</c:v>
                </c:pt>
                <c:pt idx="3864">
                  <c:v>63.9</c:v>
                </c:pt>
                <c:pt idx="3865">
                  <c:v>61.9</c:v>
                </c:pt>
                <c:pt idx="3866">
                  <c:v>63</c:v>
                </c:pt>
                <c:pt idx="3867">
                  <c:v>61</c:v>
                </c:pt>
                <c:pt idx="3868">
                  <c:v>60.6</c:v>
                </c:pt>
                <c:pt idx="3869">
                  <c:v>60.3</c:v>
                </c:pt>
                <c:pt idx="3870">
                  <c:v>59.9</c:v>
                </c:pt>
                <c:pt idx="3871">
                  <c:v>59</c:v>
                </c:pt>
                <c:pt idx="3872">
                  <c:v>58.3</c:v>
                </c:pt>
                <c:pt idx="3873">
                  <c:v>57.7</c:v>
                </c:pt>
                <c:pt idx="3874">
                  <c:v>59.7</c:v>
                </c:pt>
                <c:pt idx="3875">
                  <c:v>57.7</c:v>
                </c:pt>
                <c:pt idx="3876">
                  <c:v>56.7</c:v>
                </c:pt>
                <c:pt idx="3877">
                  <c:v>56.7</c:v>
                </c:pt>
                <c:pt idx="3878">
                  <c:v>56.5</c:v>
                </c:pt>
                <c:pt idx="3879">
                  <c:v>56.7</c:v>
                </c:pt>
                <c:pt idx="3880">
                  <c:v>57.7</c:v>
                </c:pt>
                <c:pt idx="3881">
                  <c:v>56.7</c:v>
                </c:pt>
                <c:pt idx="3882">
                  <c:v>56.1</c:v>
                </c:pt>
                <c:pt idx="3883">
                  <c:v>55.9</c:v>
                </c:pt>
                <c:pt idx="3884">
                  <c:v>55.2</c:v>
                </c:pt>
                <c:pt idx="3885">
                  <c:v>54.3</c:v>
                </c:pt>
                <c:pt idx="3886">
                  <c:v>59.9</c:v>
                </c:pt>
                <c:pt idx="3887">
                  <c:v>60.4</c:v>
                </c:pt>
                <c:pt idx="3888">
                  <c:v>61.2</c:v>
                </c:pt>
                <c:pt idx="3889">
                  <c:v>62.1</c:v>
                </c:pt>
                <c:pt idx="3890">
                  <c:v>69.400000000000006</c:v>
                </c:pt>
                <c:pt idx="3891">
                  <c:v>66</c:v>
                </c:pt>
                <c:pt idx="3892">
                  <c:v>69.3</c:v>
                </c:pt>
                <c:pt idx="3893">
                  <c:v>68</c:v>
                </c:pt>
                <c:pt idx="3894">
                  <c:v>71.400000000000006</c:v>
                </c:pt>
                <c:pt idx="3895">
                  <c:v>71.400000000000006</c:v>
                </c:pt>
                <c:pt idx="3896">
                  <c:v>69.400000000000006</c:v>
                </c:pt>
                <c:pt idx="3897">
                  <c:v>69.599999999999994</c:v>
                </c:pt>
                <c:pt idx="3898">
                  <c:v>70.2</c:v>
                </c:pt>
                <c:pt idx="3899">
                  <c:v>71.2</c:v>
                </c:pt>
                <c:pt idx="3900">
                  <c:v>72.5</c:v>
                </c:pt>
                <c:pt idx="3901">
                  <c:v>71.8</c:v>
                </c:pt>
                <c:pt idx="3902">
                  <c:v>72.5</c:v>
                </c:pt>
                <c:pt idx="3903">
                  <c:v>72</c:v>
                </c:pt>
                <c:pt idx="3904">
                  <c:v>72.3</c:v>
                </c:pt>
                <c:pt idx="3905">
                  <c:v>73.8</c:v>
                </c:pt>
                <c:pt idx="3906">
                  <c:v>70.900000000000006</c:v>
                </c:pt>
                <c:pt idx="3907">
                  <c:v>74.8</c:v>
                </c:pt>
                <c:pt idx="3908">
                  <c:v>73.2</c:v>
                </c:pt>
                <c:pt idx="3909">
                  <c:v>72.900000000000006</c:v>
                </c:pt>
                <c:pt idx="3910">
                  <c:v>73.599999999999994</c:v>
                </c:pt>
                <c:pt idx="3911">
                  <c:v>72.099999999999994</c:v>
                </c:pt>
                <c:pt idx="3912">
                  <c:v>72.7</c:v>
                </c:pt>
                <c:pt idx="3913">
                  <c:v>74.8</c:v>
                </c:pt>
                <c:pt idx="3914">
                  <c:v>72.099999999999994</c:v>
                </c:pt>
                <c:pt idx="3915">
                  <c:v>73</c:v>
                </c:pt>
                <c:pt idx="3916">
                  <c:v>73.400000000000006</c:v>
                </c:pt>
                <c:pt idx="3917">
                  <c:v>72.5</c:v>
                </c:pt>
                <c:pt idx="3918">
                  <c:v>73</c:v>
                </c:pt>
                <c:pt idx="3919">
                  <c:v>74.099999999999994</c:v>
                </c:pt>
                <c:pt idx="3920">
                  <c:v>73.8</c:v>
                </c:pt>
                <c:pt idx="3921">
                  <c:v>73.599999999999994</c:v>
                </c:pt>
                <c:pt idx="3922">
                  <c:v>72.900000000000006</c:v>
                </c:pt>
                <c:pt idx="3923">
                  <c:v>72.5</c:v>
                </c:pt>
                <c:pt idx="3924">
                  <c:v>71.8</c:v>
                </c:pt>
                <c:pt idx="3925">
                  <c:v>70.900000000000006</c:v>
                </c:pt>
                <c:pt idx="3926">
                  <c:v>70.5</c:v>
                </c:pt>
                <c:pt idx="3927">
                  <c:v>70.5</c:v>
                </c:pt>
                <c:pt idx="3928">
                  <c:v>67.099999999999994</c:v>
                </c:pt>
                <c:pt idx="3929">
                  <c:v>66.7</c:v>
                </c:pt>
                <c:pt idx="3930">
                  <c:v>63.5</c:v>
                </c:pt>
                <c:pt idx="3931">
                  <c:v>63.1</c:v>
                </c:pt>
                <c:pt idx="3932">
                  <c:v>62.1</c:v>
                </c:pt>
                <c:pt idx="3933">
                  <c:v>61.9</c:v>
                </c:pt>
                <c:pt idx="3934">
                  <c:v>61.2</c:v>
                </c:pt>
                <c:pt idx="3935">
                  <c:v>60.1</c:v>
                </c:pt>
                <c:pt idx="3936">
                  <c:v>60.8</c:v>
                </c:pt>
                <c:pt idx="3937">
                  <c:v>58.8</c:v>
                </c:pt>
                <c:pt idx="3938">
                  <c:v>57.6</c:v>
                </c:pt>
                <c:pt idx="3939">
                  <c:v>56.7</c:v>
                </c:pt>
                <c:pt idx="3940">
                  <c:v>56.1</c:v>
                </c:pt>
                <c:pt idx="3941">
                  <c:v>55.6</c:v>
                </c:pt>
                <c:pt idx="3942">
                  <c:v>56.3</c:v>
                </c:pt>
                <c:pt idx="3943">
                  <c:v>58.3</c:v>
                </c:pt>
                <c:pt idx="3944">
                  <c:v>59.4</c:v>
                </c:pt>
                <c:pt idx="3945">
                  <c:v>63.5</c:v>
                </c:pt>
                <c:pt idx="3946">
                  <c:v>64</c:v>
                </c:pt>
                <c:pt idx="3947">
                  <c:v>65.7</c:v>
                </c:pt>
                <c:pt idx="3948">
                  <c:v>66</c:v>
                </c:pt>
                <c:pt idx="3949">
                  <c:v>65.099999999999994</c:v>
                </c:pt>
                <c:pt idx="3950">
                  <c:v>65.8</c:v>
                </c:pt>
                <c:pt idx="3951">
                  <c:v>65.8</c:v>
                </c:pt>
                <c:pt idx="3952">
                  <c:v>68.7</c:v>
                </c:pt>
                <c:pt idx="3953">
                  <c:v>67.599999999999994</c:v>
                </c:pt>
                <c:pt idx="3954">
                  <c:v>68.400000000000006</c:v>
                </c:pt>
                <c:pt idx="3955">
                  <c:v>66.599999999999994</c:v>
                </c:pt>
                <c:pt idx="3956">
                  <c:v>69.3</c:v>
                </c:pt>
                <c:pt idx="3957">
                  <c:v>69.8</c:v>
                </c:pt>
                <c:pt idx="3958">
                  <c:v>68.5</c:v>
                </c:pt>
                <c:pt idx="3959">
                  <c:v>68.900000000000006</c:v>
                </c:pt>
                <c:pt idx="3960">
                  <c:v>68.2</c:v>
                </c:pt>
                <c:pt idx="3961">
                  <c:v>69.400000000000006</c:v>
                </c:pt>
                <c:pt idx="3962">
                  <c:v>69.099999999999994</c:v>
                </c:pt>
                <c:pt idx="3963">
                  <c:v>69.400000000000006</c:v>
                </c:pt>
                <c:pt idx="3964">
                  <c:v>70.3</c:v>
                </c:pt>
                <c:pt idx="3965">
                  <c:v>70.900000000000006</c:v>
                </c:pt>
                <c:pt idx="3966">
                  <c:v>71.099999999999994</c:v>
                </c:pt>
                <c:pt idx="3967">
                  <c:v>71.599999999999994</c:v>
                </c:pt>
                <c:pt idx="3968">
                  <c:v>71.599999999999994</c:v>
                </c:pt>
                <c:pt idx="3969">
                  <c:v>71.8</c:v>
                </c:pt>
                <c:pt idx="3970">
                  <c:v>70.5</c:v>
                </c:pt>
                <c:pt idx="3971">
                  <c:v>71.599999999999994</c:v>
                </c:pt>
                <c:pt idx="3972">
                  <c:v>71.2</c:v>
                </c:pt>
                <c:pt idx="3973">
                  <c:v>70.3</c:v>
                </c:pt>
                <c:pt idx="3974">
                  <c:v>72</c:v>
                </c:pt>
                <c:pt idx="3975">
                  <c:v>69.8</c:v>
                </c:pt>
                <c:pt idx="3976">
                  <c:v>70.2</c:v>
                </c:pt>
                <c:pt idx="3977">
                  <c:v>68.7</c:v>
                </c:pt>
                <c:pt idx="3978">
                  <c:v>69.099999999999994</c:v>
                </c:pt>
                <c:pt idx="3979">
                  <c:v>66.7</c:v>
                </c:pt>
                <c:pt idx="3980">
                  <c:v>66</c:v>
                </c:pt>
                <c:pt idx="3981">
                  <c:v>65.099999999999994</c:v>
                </c:pt>
                <c:pt idx="3982">
                  <c:v>63.9</c:v>
                </c:pt>
                <c:pt idx="3983">
                  <c:v>62.6</c:v>
                </c:pt>
                <c:pt idx="3984">
                  <c:v>62.2</c:v>
                </c:pt>
                <c:pt idx="3985">
                  <c:v>60.6</c:v>
                </c:pt>
                <c:pt idx="3986">
                  <c:v>60.3</c:v>
                </c:pt>
                <c:pt idx="3987">
                  <c:v>60.1</c:v>
                </c:pt>
                <c:pt idx="3988">
                  <c:v>59.5</c:v>
                </c:pt>
                <c:pt idx="3989">
                  <c:v>58.8</c:v>
                </c:pt>
                <c:pt idx="3990">
                  <c:v>58.5</c:v>
                </c:pt>
                <c:pt idx="3991">
                  <c:v>58.1</c:v>
                </c:pt>
                <c:pt idx="3992">
                  <c:v>58.1</c:v>
                </c:pt>
                <c:pt idx="3993">
                  <c:v>57.6</c:v>
                </c:pt>
                <c:pt idx="3994">
                  <c:v>57.2</c:v>
                </c:pt>
                <c:pt idx="3995">
                  <c:v>56.7</c:v>
                </c:pt>
                <c:pt idx="3996">
                  <c:v>55.9</c:v>
                </c:pt>
                <c:pt idx="3997">
                  <c:v>59.4</c:v>
                </c:pt>
                <c:pt idx="3998">
                  <c:v>60.4</c:v>
                </c:pt>
                <c:pt idx="3999">
                  <c:v>61.5</c:v>
                </c:pt>
                <c:pt idx="4000">
                  <c:v>65.3</c:v>
                </c:pt>
                <c:pt idx="4001">
                  <c:v>66.7</c:v>
                </c:pt>
                <c:pt idx="4002">
                  <c:v>68.900000000000006</c:v>
                </c:pt>
                <c:pt idx="4003">
                  <c:v>69.599999999999994</c:v>
                </c:pt>
                <c:pt idx="4004">
                  <c:v>71.599999999999994</c:v>
                </c:pt>
                <c:pt idx="4005">
                  <c:v>69.099999999999994</c:v>
                </c:pt>
                <c:pt idx="4006">
                  <c:v>68.5</c:v>
                </c:pt>
                <c:pt idx="4007">
                  <c:v>73.400000000000006</c:v>
                </c:pt>
                <c:pt idx="4008">
                  <c:v>71.099999999999994</c:v>
                </c:pt>
                <c:pt idx="4009">
                  <c:v>72.099999999999994</c:v>
                </c:pt>
                <c:pt idx="4010">
                  <c:v>73.599999999999994</c:v>
                </c:pt>
                <c:pt idx="4011">
                  <c:v>73.599999999999994</c:v>
                </c:pt>
                <c:pt idx="4012">
                  <c:v>73.8</c:v>
                </c:pt>
                <c:pt idx="4013">
                  <c:v>74.099999999999994</c:v>
                </c:pt>
                <c:pt idx="4014">
                  <c:v>72.7</c:v>
                </c:pt>
                <c:pt idx="4015">
                  <c:v>72.7</c:v>
                </c:pt>
                <c:pt idx="4016">
                  <c:v>74.3</c:v>
                </c:pt>
                <c:pt idx="4017">
                  <c:v>73.900000000000006</c:v>
                </c:pt>
                <c:pt idx="4018">
                  <c:v>74.3</c:v>
                </c:pt>
                <c:pt idx="4019">
                  <c:v>74.3</c:v>
                </c:pt>
                <c:pt idx="4020">
                  <c:v>73</c:v>
                </c:pt>
                <c:pt idx="4021">
                  <c:v>73.400000000000006</c:v>
                </c:pt>
                <c:pt idx="4022">
                  <c:v>74.099999999999994</c:v>
                </c:pt>
                <c:pt idx="4023">
                  <c:v>73.2</c:v>
                </c:pt>
                <c:pt idx="4024">
                  <c:v>76.3</c:v>
                </c:pt>
                <c:pt idx="4025">
                  <c:v>73.400000000000006</c:v>
                </c:pt>
                <c:pt idx="4026">
                  <c:v>71.099999999999994</c:v>
                </c:pt>
                <c:pt idx="4027">
                  <c:v>70.7</c:v>
                </c:pt>
                <c:pt idx="4028">
                  <c:v>72.900000000000006</c:v>
                </c:pt>
                <c:pt idx="4029">
                  <c:v>73.599999999999994</c:v>
                </c:pt>
                <c:pt idx="4030">
                  <c:v>74.5</c:v>
                </c:pt>
                <c:pt idx="4031">
                  <c:v>74.5</c:v>
                </c:pt>
                <c:pt idx="4032">
                  <c:v>73.400000000000006</c:v>
                </c:pt>
                <c:pt idx="4033">
                  <c:v>71.8</c:v>
                </c:pt>
                <c:pt idx="4034">
                  <c:v>70.5</c:v>
                </c:pt>
                <c:pt idx="4035">
                  <c:v>69.400000000000006</c:v>
                </c:pt>
                <c:pt idx="4036">
                  <c:v>68.5</c:v>
                </c:pt>
                <c:pt idx="4037">
                  <c:v>66.2</c:v>
                </c:pt>
                <c:pt idx="4038">
                  <c:v>64</c:v>
                </c:pt>
                <c:pt idx="4039">
                  <c:v>62.1</c:v>
                </c:pt>
                <c:pt idx="4040">
                  <c:v>59.9</c:v>
                </c:pt>
                <c:pt idx="4041">
                  <c:v>58.6</c:v>
                </c:pt>
                <c:pt idx="4042">
                  <c:v>57.2</c:v>
                </c:pt>
                <c:pt idx="4043">
                  <c:v>56.5</c:v>
                </c:pt>
                <c:pt idx="4044">
                  <c:v>69.8</c:v>
                </c:pt>
                <c:pt idx="4045">
                  <c:v>69.3</c:v>
                </c:pt>
                <c:pt idx="4046">
                  <c:v>71.099999999999994</c:v>
                </c:pt>
                <c:pt idx="4047">
                  <c:v>70.900000000000006</c:v>
                </c:pt>
                <c:pt idx="4048">
                  <c:v>72.099999999999994</c:v>
                </c:pt>
                <c:pt idx="4049">
                  <c:v>73.900000000000006</c:v>
                </c:pt>
                <c:pt idx="4050">
                  <c:v>73.8</c:v>
                </c:pt>
                <c:pt idx="4051">
                  <c:v>74.099999999999994</c:v>
                </c:pt>
                <c:pt idx="4052">
                  <c:v>77.5</c:v>
                </c:pt>
                <c:pt idx="4053">
                  <c:v>78.599999999999994</c:v>
                </c:pt>
                <c:pt idx="4054">
                  <c:v>79</c:v>
                </c:pt>
                <c:pt idx="4055">
                  <c:v>76.8</c:v>
                </c:pt>
                <c:pt idx="4056">
                  <c:v>78.400000000000006</c:v>
                </c:pt>
                <c:pt idx="4057">
                  <c:v>81.099999999999994</c:v>
                </c:pt>
                <c:pt idx="4058">
                  <c:v>80.400000000000006</c:v>
                </c:pt>
                <c:pt idx="4059">
                  <c:v>78.599999999999994</c:v>
                </c:pt>
                <c:pt idx="4060">
                  <c:v>79.7</c:v>
                </c:pt>
                <c:pt idx="4061">
                  <c:v>79.7</c:v>
                </c:pt>
                <c:pt idx="4062">
                  <c:v>80.8</c:v>
                </c:pt>
                <c:pt idx="4063">
                  <c:v>81.5</c:v>
                </c:pt>
                <c:pt idx="4064">
                  <c:v>82.2</c:v>
                </c:pt>
                <c:pt idx="4065">
                  <c:v>81.3</c:v>
                </c:pt>
                <c:pt idx="4066">
                  <c:v>80.400000000000006</c:v>
                </c:pt>
                <c:pt idx="4067">
                  <c:v>80.8</c:v>
                </c:pt>
                <c:pt idx="4068">
                  <c:v>80.8</c:v>
                </c:pt>
                <c:pt idx="4069">
                  <c:v>81.5</c:v>
                </c:pt>
                <c:pt idx="4070">
                  <c:v>82.6</c:v>
                </c:pt>
                <c:pt idx="4071">
                  <c:v>81.900000000000006</c:v>
                </c:pt>
                <c:pt idx="4072">
                  <c:v>82.2</c:v>
                </c:pt>
                <c:pt idx="4073">
                  <c:v>82</c:v>
                </c:pt>
                <c:pt idx="4074">
                  <c:v>81.3</c:v>
                </c:pt>
                <c:pt idx="4075">
                  <c:v>82.9</c:v>
                </c:pt>
                <c:pt idx="4076">
                  <c:v>82.4</c:v>
                </c:pt>
                <c:pt idx="4077">
                  <c:v>83.5</c:v>
                </c:pt>
                <c:pt idx="4078">
                  <c:v>82.4</c:v>
                </c:pt>
                <c:pt idx="4079">
                  <c:v>81.099999999999994</c:v>
                </c:pt>
                <c:pt idx="4080">
                  <c:v>81.900000000000006</c:v>
                </c:pt>
                <c:pt idx="4081">
                  <c:v>81.3</c:v>
                </c:pt>
                <c:pt idx="4082">
                  <c:v>79.7</c:v>
                </c:pt>
                <c:pt idx="4083">
                  <c:v>77.400000000000006</c:v>
                </c:pt>
                <c:pt idx="4084">
                  <c:v>76.8</c:v>
                </c:pt>
                <c:pt idx="4085">
                  <c:v>74.099999999999994</c:v>
                </c:pt>
                <c:pt idx="4086">
                  <c:v>72</c:v>
                </c:pt>
                <c:pt idx="4087">
                  <c:v>69.599999999999994</c:v>
                </c:pt>
                <c:pt idx="4088">
                  <c:v>67.599999999999994</c:v>
                </c:pt>
                <c:pt idx="4089">
                  <c:v>66.2</c:v>
                </c:pt>
                <c:pt idx="4090">
                  <c:v>65.8</c:v>
                </c:pt>
                <c:pt idx="4091">
                  <c:v>66.400000000000006</c:v>
                </c:pt>
                <c:pt idx="4092">
                  <c:v>65.3</c:v>
                </c:pt>
                <c:pt idx="4093">
                  <c:v>64.2</c:v>
                </c:pt>
                <c:pt idx="4094">
                  <c:v>63.3</c:v>
                </c:pt>
                <c:pt idx="4095">
                  <c:v>63.3</c:v>
                </c:pt>
                <c:pt idx="4096">
                  <c:v>61.3</c:v>
                </c:pt>
                <c:pt idx="4097">
                  <c:v>60.3</c:v>
                </c:pt>
                <c:pt idx="4098">
                  <c:v>59.4</c:v>
                </c:pt>
                <c:pt idx="4099">
                  <c:v>61.2</c:v>
                </c:pt>
                <c:pt idx="4100">
                  <c:v>61.2</c:v>
                </c:pt>
                <c:pt idx="4101">
                  <c:v>58.6</c:v>
                </c:pt>
                <c:pt idx="4102">
                  <c:v>58.1</c:v>
                </c:pt>
                <c:pt idx="4103">
                  <c:v>57.6</c:v>
                </c:pt>
                <c:pt idx="4104">
                  <c:v>57.2</c:v>
                </c:pt>
                <c:pt idx="4105">
                  <c:v>57</c:v>
                </c:pt>
                <c:pt idx="4106">
                  <c:v>56.7</c:v>
                </c:pt>
                <c:pt idx="4107">
                  <c:v>56.1</c:v>
                </c:pt>
                <c:pt idx="4108">
                  <c:v>55.8</c:v>
                </c:pt>
                <c:pt idx="4109">
                  <c:v>55</c:v>
                </c:pt>
                <c:pt idx="4110">
                  <c:v>61</c:v>
                </c:pt>
                <c:pt idx="4111">
                  <c:v>63.7</c:v>
                </c:pt>
                <c:pt idx="4112">
                  <c:v>66.400000000000006</c:v>
                </c:pt>
                <c:pt idx="4113">
                  <c:v>67.5</c:v>
                </c:pt>
                <c:pt idx="4114">
                  <c:v>68.900000000000006</c:v>
                </c:pt>
                <c:pt idx="4115">
                  <c:v>70</c:v>
                </c:pt>
                <c:pt idx="4116">
                  <c:v>71.400000000000006</c:v>
                </c:pt>
                <c:pt idx="4117">
                  <c:v>73</c:v>
                </c:pt>
                <c:pt idx="4118">
                  <c:v>74.5</c:v>
                </c:pt>
                <c:pt idx="4119">
                  <c:v>80.2</c:v>
                </c:pt>
                <c:pt idx="4120">
                  <c:v>82.9</c:v>
                </c:pt>
                <c:pt idx="4121">
                  <c:v>85.1</c:v>
                </c:pt>
                <c:pt idx="4122">
                  <c:v>84.4</c:v>
                </c:pt>
                <c:pt idx="4123">
                  <c:v>83.8</c:v>
                </c:pt>
                <c:pt idx="4124">
                  <c:v>85.8</c:v>
                </c:pt>
                <c:pt idx="4125">
                  <c:v>87.3</c:v>
                </c:pt>
                <c:pt idx="4126">
                  <c:v>83.8</c:v>
                </c:pt>
                <c:pt idx="4127">
                  <c:v>86.5</c:v>
                </c:pt>
                <c:pt idx="4128">
                  <c:v>86.4</c:v>
                </c:pt>
                <c:pt idx="4129">
                  <c:v>85.8</c:v>
                </c:pt>
                <c:pt idx="4130">
                  <c:v>85.8</c:v>
                </c:pt>
                <c:pt idx="4131">
                  <c:v>87.4</c:v>
                </c:pt>
                <c:pt idx="4132">
                  <c:v>88.3</c:v>
                </c:pt>
                <c:pt idx="4133">
                  <c:v>86.9</c:v>
                </c:pt>
                <c:pt idx="4134">
                  <c:v>88.5</c:v>
                </c:pt>
                <c:pt idx="4135">
                  <c:v>86.9</c:v>
                </c:pt>
                <c:pt idx="4136">
                  <c:v>86.9</c:v>
                </c:pt>
                <c:pt idx="4137">
                  <c:v>86.9</c:v>
                </c:pt>
                <c:pt idx="4138">
                  <c:v>87.8</c:v>
                </c:pt>
                <c:pt idx="4139">
                  <c:v>86.9</c:v>
                </c:pt>
                <c:pt idx="4140">
                  <c:v>88.9</c:v>
                </c:pt>
                <c:pt idx="4141">
                  <c:v>88</c:v>
                </c:pt>
                <c:pt idx="4142">
                  <c:v>87.3</c:v>
                </c:pt>
                <c:pt idx="4143">
                  <c:v>86.4</c:v>
                </c:pt>
                <c:pt idx="4144">
                  <c:v>87.1</c:v>
                </c:pt>
                <c:pt idx="4145">
                  <c:v>87.1</c:v>
                </c:pt>
                <c:pt idx="4146">
                  <c:v>85.1</c:v>
                </c:pt>
                <c:pt idx="4147">
                  <c:v>86</c:v>
                </c:pt>
                <c:pt idx="4148">
                  <c:v>86.4</c:v>
                </c:pt>
                <c:pt idx="4149">
                  <c:v>84.9</c:v>
                </c:pt>
                <c:pt idx="4150">
                  <c:v>84.6</c:v>
                </c:pt>
                <c:pt idx="4151">
                  <c:v>82.9</c:v>
                </c:pt>
                <c:pt idx="4152">
                  <c:v>81.900000000000006</c:v>
                </c:pt>
                <c:pt idx="4153">
                  <c:v>80.599999999999994</c:v>
                </c:pt>
                <c:pt idx="4154">
                  <c:v>79.7</c:v>
                </c:pt>
                <c:pt idx="4155">
                  <c:v>76.8</c:v>
                </c:pt>
                <c:pt idx="4156">
                  <c:v>76.8</c:v>
                </c:pt>
                <c:pt idx="4157">
                  <c:v>72.3</c:v>
                </c:pt>
                <c:pt idx="4158">
                  <c:v>70.7</c:v>
                </c:pt>
                <c:pt idx="4159">
                  <c:v>70.5</c:v>
                </c:pt>
                <c:pt idx="4160">
                  <c:v>69.3</c:v>
                </c:pt>
                <c:pt idx="4161">
                  <c:v>68.5</c:v>
                </c:pt>
                <c:pt idx="4162">
                  <c:v>68</c:v>
                </c:pt>
                <c:pt idx="4163">
                  <c:v>67.5</c:v>
                </c:pt>
                <c:pt idx="4164">
                  <c:v>67.5</c:v>
                </c:pt>
                <c:pt idx="4165">
                  <c:v>66.400000000000006</c:v>
                </c:pt>
                <c:pt idx="4166">
                  <c:v>64.599999999999994</c:v>
                </c:pt>
                <c:pt idx="4167">
                  <c:v>63.3</c:v>
                </c:pt>
                <c:pt idx="4168">
                  <c:v>63.9</c:v>
                </c:pt>
                <c:pt idx="4169">
                  <c:v>63.9</c:v>
                </c:pt>
                <c:pt idx="4170">
                  <c:v>62.8</c:v>
                </c:pt>
                <c:pt idx="4171">
                  <c:v>62.2</c:v>
                </c:pt>
                <c:pt idx="4172">
                  <c:v>61.9</c:v>
                </c:pt>
                <c:pt idx="4173">
                  <c:v>64.8</c:v>
                </c:pt>
                <c:pt idx="4174">
                  <c:v>63.1</c:v>
                </c:pt>
                <c:pt idx="4175">
                  <c:v>62.2</c:v>
                </c:pt>
                <c:pt idx="4176">
                  <c:v>61.3</c:v>
                </c:pt>
                <c:pt idx="4177">
                  <c:v>61.2</c:v>
                </c:pt>
                <c:pt idx="4178">
                  <c:v>62.6</c:v>
                </c:pt>
                <c:pt idx="4179">
                  <c:v>61.5</c:v>
                </c:pt>
                <c:pt idx="4180">
                  <c:v>60.1</c:v>
                </c:pt>
                <c:pt idx="4181">
                  <c:v>59.5</c:v>
                </c:pt>
                <c:pt idx="4182">
                  <c:v>61</c:v>
                </c:pt>
                <c:pt idx="4183">
                  <c:v>61.3</c:v>
                </c:pt>
                <c:pt idx="4184">
                  <c:v>63</c:v>
                </c:pt>
                <c:pt idx="4185">
                  <c:v>63</c:v>
                </c:pt>
                <c:pt idx="4186">
                  <c:v>62.2</c:v>
                </c:pt>
                <c:pt idx="4187">
                  <c:v>62.1</c:v>
                </c:pt>
                <c:pt idx="4188">
                  <c:v>62.1</c:v>
                </c:pt>
                <c:pt idx="4189">
                  <c:v>61.9</c:v>
                </c:pt>
                <c:pt idx="4190">
                  <c:v>62.2</c:v>
                </c:pt>
                <c:pt idx="4191">
                  <c:v>61.9</c:v>
                </c:pt>
                <c:pt idx="4192">
                  <c:v>60.4</c:v>
                </c:pt>
                <c:pt idx="4193">
                  <c:v>59.9</c:v>
                </c:pt>
                <c:pt idx="4194">
                  <c:v>59.5</c:v>
                </c:pt>
                <c:pt idx="4195">
                  <c:v>59.2</c:v>
                </c:pt>
                <c:pt idx="4196">
                  <c:v>58.6</c:v>
                </c:pt>
                <c:pt idx="4197">
                  <c:v>59.7</c:v>
                </c:pt>
                <c:pt idx="4198">
                  <c:v>59</c:v>
                </c:pt>
                <c:pt idx="4199">
                  <c:v>59</c:v>
                </c:pt>
                <c:pt idx="4200">
                  <c:v>59</c:v>
                </c:pt>
                <c:pt idx="4201">
                  <c:v>60.3</c:v>
                </c:pt>
                <c:pt idx="4202">
                  <c:v>63</c:v>
                </c:pt>
                <c:pt idx="4203">
                  <c:v>64.8</c:v>
                </c:pt>
                <c:pt idx="4204">
                  <c:v>65.3</c:v>
                </c:pt>
                <c:pt idx="4205">
                  <c:v>65.3</c:v>
                </c:pt>
                <c:pt idx="4206">
                  <c:v>65.3</c:v>
                </c:pt>
                <c:pt idx="4207">
                  <c:v>65.7</c:v>
                </c:pt>
                <c:pt idx="4208">
                  <c:v>65.8</c:v>
                </c:pt>
                <c:pt idx="4209">
                  <c:v>66.400000000000006</c:v>
                </c:pt>
                <c:pt idx="4210">
                  <c:v>66.599999999999994</c:v>
                </c:pt>
                <c:pt idx="4211">
                  <c:v>68.2</c:v>
                </c:pt>
                <c:pt idx="4212">
                  <c:v>70.5</c:v>
                </c:pt>
                <c:pt idx="4213">
                  <c:v>70.7</c:v>
                </c:pt>
                <c:pt idx="4214">
                  <c:v>69.599999999999994</c:v>
                </c:pt>
                <c:pt idx="4215">
                  <c:v>70.5</c:v>
                </c:pt>
                <c:pt idx="4216">
                  <c:v>70.900000000000006</c:v>
                </c:pt>
                <c:pt idx="4217">
                  <c:v>73.900000000000006</c:v>
                </c:pt>
                <c:pt idx="4218">
                  <c:v>71.8</c:v>
                </c:pt>
                <c:pt idx="4219">
                  <c:v>71.599999999999994</c:v>
                </c:pt>
                <c:pt idx="4220">
                  <c:v>73</c:v>
                </c:pt>
                <c:pt idx="4221">
                  <c:v>72.900000000000006</c:v>
                </c:pt>
                <c:pt idx="4222">
                  <c:v>73</c:v>
                </c:pt>
                <c:pt idx="4223">
                  <c:v>73.900000000000006</c:v>
                </c:pt>
                <c:pt idx="4224">
                  <c:v>74.099999999999994</c:v>
                </c:pt>
                <c:pt idx="4225">
                  <c:v>73.8</c:v>
                </c:pt>
                <c:pt idx="4226">
                  <c:v>73.8</c:v>
                </c:pt>
                <c:pt idx="4227">
                  <c:v>72.900000000000006</c:v>
                </c:pt>
                <c:pt idx="4228">
                  <c:v>73</c:v>
                </c:pt>
                <c:pt idx="4229">
                  <c:v>73</c:v>
                </c:pt>
                <c:pt idx="4230">
                  <c:v>72.5</c:v>
                </c:pt>
                <c:pt idx="4231">
                  <c:v>72.7</c:v>
                </c:pt>
                <c:pt idx="4232">
                  <c:v>72.7</c:v>
                </c:pt>
                <c:pt idx="4233">
                  <c:v>72.099999999999994</c:v>
                </c:pt>
                <c:pt idx="4234">
                  <c:v>71.2</c:v>
                </c:pt>
                <c:pt idx="4235">
                  <c:v>72.5</c:v>
                </c:pt>
                <c:pt idx="4236">
                  <c:v>72.3</c:v>
                </c:pt>
                <c:pt idx="4237">
                  <c:v>73.2</c:v>
                </c:pt>
                <c:pt idx="4238">
                  <c:v>73.2</c:v>
                </c:pt>
                <c:pt idx="4239">
                  <c:v>72.7</c:v>
                </c:pt>
                <c:pt idx="4240">
                  <c:v>72.7</c:v>
                </c:pt>
                <c:pt idx="4241">
                  <c:v>73.8</c:v>
                </c:pt>
                <c:pt idx="4242">
                  <c:v>74.8</c:v>
                </c:pt>
                <c:pt idx="4243">
                  <c:v>73.8</c:v>
                </c:pt>
                <c:pt idx="4244">
                  <c:v>75.2</c:v>
                </c:pt>
                <c:pt idx="4245">
                  <c:v>73.599999999999994</c:v>
                </c:pt>
                <c:pt idx="4246">
                  <c:v>72.7</c:v>
                </c:pt>
                <c:pt idx="4247">
                  <c:v>72</c:v>
                </c:pt>
                <c:pt idx="4248">
                  <c:v>71.2</c:v>
                </c:pt>
                <c:pt idx="4249">
                  <c:v>70.7</c:v>
                </c:pt>
                <c:pt idx="4250">
                  <c:v>69.400000000000006</c:v>
                </c:pt>
                <c:pt idx="4251">
                  <c:v>69.3</c:v>
                </c:pt>
                <c:pt idx="4252">
                  <c:v>69.3</c:v>
                </c:pt>
                <c:pt idx="4253">
                  <c:v>68.900000000000006</c:v>
                </c:pt>
                <c:pt idx="4254">
                  <c:v>68.7</c:v>
                </c:pt>
                <c:pt idx="4255">
                  <c:v>68.400000000000006</c:v>
                </c:pt>
                <c:pt idx="4256">
                  <c:v>67.8</c:v>
                </c:pt>
                <c:pt idx="4257">
                  <c:v>67.099999999999994</c:v>
                </c:pt>
                <c:pt idx="4258">
                  <c:v>66.2</c:v>
                </c:pt>
                <c:pt idx="4259">
                  <c:v>65.7</c:v>
                </c:pt>
                <c:pt idx="4260">
                  <c:v>65.7</c:v>
                </c:pt>
                <c:pt idx="4261">
                  <c:v>65.7</c:v>
                </c:pt>
                <c:pt idx="4262">
                  <c:v>65.7</c:v>
                </c:pt>
                <c:pt idx="4263">
                  <c:v>65.7</c:v>
                </c:pt>
                <c:pt idx="4264">
                  <c:v>65.7</c:v>
                </c:pt>
                <c:pt idx="4265">
                  <c:v>65.7</c:v>
                </c:pt>
                <c:pt idx="4266">
                  <c:v>65.7</c:v>
                </c:pt>
                <c:pt idx="4267">
                  <c:v>65.7</c:v>
                </c:pt>
                <c:pt idx="4268">
                  <c:v>65.7</c:v>
                </c:pt>
                <c:pt idx="4269">
                  <c:v>65.7</c:v>
                </c:pt>
                <c:pt idx="4270">
                  <c:v>65.7</c:v>
                </c:pt>
                <c:pt idx="4271">
                  <c:v>65.7</c:v>
                </c:pt>
                <c:pt idx="4272">
                  <c:v>65.7</c:v>
                </c:pt>
                <c:pt idx="4273">
                  <c:v>65.7</c:v>
                </c:pt>
                <c:pt idx="4274">
                  <c:v>65.7</c:v>
                </c:pt>
                <c:pt idx="4275">
                  <c:v>65.5</c:v>
                </c:pt>
                <c:pt idx="4276">
                  <c:v>65.099999999999994</c:v>
                </c:pt>
                <c:pt idx="4277">
                  <c:v>64.900000000000006</c:v>
                </c:pt>
                <c:pt idx="4278">
                  <c:v>65.099999999999994</c:v>
                </c:pt>
                <c:pt idx="4279">
                  <c:v>65.8</c:v>
                </c:pt>
                <c:pt idx="4280">
                  <c:v>65.099999999999994</c:v>
                </c:pt>
                <c:pt idx="4281">
                  <c:v>65.099999999999994</c:v>
                </c:pt>
                <c:pt idx="4282">
                  <c:v>65.099999999999994</c:v>
                </c:pt>
                <c:pt idx="4283">
                  <c:v>65.7</c:v>
                </c:pt>
                <c:pt idx="4284">
                  <c:v>66.400000000000006</c:v>
                </c:pt>
                <c:pt idx="4285">
                  <c:v>66.400000000000006</c:v>
                </c:pt>
                <c:pt idx="4286">
                  <c:v>66</c:v>
                </c:pt>
                <c:pt idx="4287">
                  <c:v>66</c:v>
                </c:pt>
                <c:pt idx="4288">
                  <c:v>65.8</c:v>
                </c:pt>
                <c:pt idx="4289">
                  <c:v>66.2</c:v>
                </c:pt>
                <c:pt idx="4290">
                  <c:v>66.599999999999994</c:v>
                </c:pt>
                <c:pt idx="4291">
                  <c:v>66.599999999999994</c:v>
                </c:pt>
                <c:pt idx="4292">
                  <c:v>66.400000000000006</c:v>
                </c:pt>
                <c:pt idx="4293">
                  <c:v>66.400000000000006</c:v>
                </c:pt>
                <c:pt idx="4294">
                  <c:v>65.8</c:v>
                </c:pt>
                <c:pt idx="4295">
                  <c:v>66.400000000000006</c:v>
                </c:pt>
                <c:pt idx="4296">
                  <c:v>66.2</c:v>
                </c:pt>
                <c:pt idx="4297">
                  <c:v>66.2</c:v>
                </c:pt>
                <c:pt idx="4298">
                  <c:v>66.2</c:v>
                </c:pt>
                <c:pt idx="4299">
                  <c:v>66.2</c:v>
                </c:pt>
                <c:pt idx="4300">
                  <c:v>66.2</c:v>
                </c:pt>
                <c:pt idx="4301">
                  <c:v>66.2</c:v>
                </c:pt>
                <c:pt idx="4302">
                  <c:v>66.2</c:v>
                </c:pt>
                <c:pt idx="4303">
                  <c:v>66.2</c:v>
                </c:pt>
                <c:pt idx="4304">
                  <c:v>75.7</c:v>
                </c:pt>
                <c:pt idx="4305">
                  <c:v>78.3</c:v>
                </c:pt>
                <c:pt idx="4306">
                  <c:v>77.400000000000006</c:v>
                </c:pt>
                <c:pt idx="4307">
                  <c:v>76.8</c:v>
                </c:pt>
                <c:pt idx="4308">
                  <c:v>77.7</c:v>
                </c:pt>
                <c:pt idx="4309">
                  <c:v>78.3</c:v>
                </c:pt>
                <c:pt idx="4310">
                  <c:v>78.8</c:v>
                </c:pt>
                <c:pt idx="4311">
                  <c:v>79.2</c:v>
                </c:pt>
                <c:pt idx="4312">
                  <c:v>77.7</c:v>
                </c:pt>
                <c:pt idx="4313">
                  <c:v>80.8</c:v>
                </c:pt>
                <c:pt idx="4314">
                  <c:v>81.3</c:v>
                </c:pt>
                <c:pt idx="4315">
                  <c:v>81.7</c:v>
                </c:pt>
                <c:pt idx="4316">
                  <c:v>83.8</c:v>
                </c:pt>
                <c:pt idx="4317">
                  <c:v>82</c:v>
                </c:pt>
                <c:pt idx="4318">
                  <c:v>84.9</c:v>
                </c:pt>
                <c:pt idx="4319">
                  <c:v>84.4</c:v>
                </c:pt>
                <c:pt idx="4320">
                  <c:v>82.9</c:v>
                </c:pt>
                <c:pt idx="4321">
                  <c:v>83.3</c:v>
                </c:pt>
                <c:pt idx="4322">
                  <c:v>84.7</c:v>
                </c:pt>
                <c:pt idx="4323">
                  <c:v>83.8</c:v>
                </c:pt>
                <c:pt idx="4324">
                  <c:v>84.2</c:v>
                </c:pt>
                <c:pt idx="4325">
                  <c:v>84.4</c:v>
                </c:pt>
                <c:pt idx="4326">
                  <c:v>85.3</c:v>
                </c:pt>
                <c:pt idx="4327">
                  <c:v>85.8</c:v>
                </c:pt>
                <c:pt idx="4328">
                  <c:v>82</c:v>
                </c:pt>
                <c:pt idx="4329">
                  <c:v>81.900000000000006</c:v>
                </c:pt>
                <c:pt idx="4330">
                  <c:v>86.2</c:v>
                </c:pt>
                <c:pt idx="4331">
                  <c:v>82</c:v>
                </c:pt>
                <c:pt idx="4332">
                  <c:v>83.3</c:v>
                </c:pt>
                <c:pt idx="4333">
                  <c:v>82</c:v>
                </c:pt>
                <c:pt idx="4334">
                  <c:v>84.9</c:v>
                </c:pt>
                <c:pt idx="4335">
                  <c:v>83.7</c:v>
                </c:pt>
                <c:pt idx="4336">
                  <c:v>83.7</c:v>
                </c:pt>
                <c:pt idx="4337">
                  <c:v>84.4</c:v>
                </c:pt>
                <c:pt idx="4338">
                  <c:v>82.9</c:v>
                </c:pt>
                <c:pt idx="4339">
                  <c:v>83.5</c:v>
                </c:pt>
                <c:pt idx="4340">
                  <c:v>83.7</c:v>
                </c:pt>
                <c:pt idx="4341">
                  <c:v>82.9</c:v>
                </c:pt>
                <c:pt idx="4342">
                  <c:v>82.4</c:v>
                </c:pt>
                <c:pt idx="4343">
                  <c:v>81.5</c:v>
                </c:pt>
                <c:pt idx="4344">
                  <c:v>80.099999999999994</c:v>
                </c:pt>
                <c:pt idx="4345">
                  <c:v>79</c:v>
                </c:pt>
                <c:pt idx="4346">
                  <c:v>77.2</c:v>
                </c:pt>
                <c:pt idx="4347">
                  <c:v>75.900000000000006</c:v>
                </c:pt>
                <c:pt idx="4348">
                  <c:v>74.7</c:v>
                </c:pt>
                <c:pt idx="4349">
                  <c:v>73</c:v>
                </c:pt>
                <c:pt idx="4350">
                  <c:v>72</c:v>
                </c:pt>
                <c:pt idx="4351">
                  <c:v>70.900000000000006</c:v>
                </c:pt>
                <c:pt idx="4352">
                  <c:v>70.7</c:v>
                </c:pt>
                <c:pt idx="4353">
                  <c:v>70.5</c:v>
                </c:pt>
                <c:pt idx="4354">
                  <c:v>70.3</c:v>
                </c:pt>
                <c:pt idx="4355">
                  <c:v>70</c:v>
                </c:pt>
                <c:pt idx="4356">
                  <c:v>70.2</c:v>
                </c:pt>
                <c:pt idx="4357">
                  <c:v>70.3</c:v>
                </c:pt>
                <c:pt idx="4358">
                  <c:v>70.3</c:v>
                </c:pt>
                <c:pt idx="4359">
                  <c:v>70.3</c:v>
                </c:pt>
                <c:pt idx="4360">
                  <c:v>70.3</c:v>
                </c:pt>
                <c:pt idx="4361">
                  <c:v>70.3</c:v>
                </c:pt>
                <c:pt idx="4362">
                  <c:v>70.3</c:v>
                </c:pt>
                <c:pt idx="4363">
                  <c:v>70.3</c:v>
                </c:pt>
                <c:pt idx="4364">
                  <c:v>70.3</c:v>
                </c:pt>
                <c:pt idx="4365">
                  <c:v>70.3</c:v>
                </c:pt>
                <c:pt idx="4366">
                  <c:v>70.3</c:v>
                </c:pt>
                <c:pt idx="4367">
                  <c:v>70.3</c:v>
                </c:pt>
                <c:pt idx="4368">
                  <c:v>70.3</c:v>
                </c:pt>
                <c:pt idx="4369">
                  <c:v>70.3</c:v>
                </c:pt>
                <c:pt idx="4370">
                  <c:v>70.3</c:v>
                </c:pt>
                <c:pt idx="4371">
                  <c:v>70.3</c:v>
                </c:pt>
                <c:pt idx="4372">
                  <c:v>70.3</c:v>
                </c:pt>
                <c:pt idx="4373">
                  <c:v>68</c:v>
                </c:pt>
                <c:pt idx="4374">
                  <c:v>67.8</c:v>
                </c:pt>
                <c:pt idx="4375">
                  <c:v>68.400000000000006</c:v>
                </c:pt>
                <c:pt idx="4376">
                  <c:v>68.400000000000006</c:v>
                </c:pt>
                <c:pt idx="4377">
                  <c:v>67.099999999999994</c:v>
                </c:pt>
                <c:pt idx="4378">
                  <c:v>66.900000000000006</c:v>
                </c:pt>
                <c:pt idx="4379">
                  <c:v>66.400000000000006</c:v>
                </c:pt>
                <c:pt idx="4380">
                  <c:v>65.7</c:v>
                </c:pt>
                <c:pt idx="4381">
                  <c:v>65.7</c:v>
                </c:pt>
                <c:pt idx="4382">
                  <c:v>64.900000000000006</c:v>
                </c:pt>
                <c:pt idx="4383">
                  <c:v>65.7</c:v>
                </c:pt>
                <c:pt idx="4384">
                  <c:v>64.400000000000006</c:v>
                </c:pt>
                <c:pt idx="4385">
                  <c:v>63.5</c:v>
                </c:pt>
                <c:pt idx="4386">
                  <c:v>63.1</c:v>
                </c:pt>
                <c:pt idx="4387">
                  <c:v>62.4</c:v>
                </c:pt>
                <c:pt idx="4388">
                  <c:v>61.9</c:v>
                </c:pt>
                <c:pt idx="4389">
                  <c:v>61.5</c:v>
                </c:pt>
                <c:pt idx="4390">
                  <c:v>61.3</c:v>
                </c:pt>
                <c:pt idx="4391">
                  <c:v>62.8</c:v>
                </c:pt>
                <c:pt idx="4392">
                  <c:v>65.8</c:v>
                </c:pt>
                <c:pt idx="4393">
                  <c:v>66</c:v>
                </c:pt>
                <c:pt idx="4394">
                  <c:v>66</c:v>
                </c:pt>
                <c:pt idx="4395">
                  <c:v>66</c:v>
                </c:pt>
                <c:pt idx="4396">
                  <c:v>66</c:v>
                </c:pt>
                <c:pt idx="4397">
                  <c:v>66</c:v>
                </c:pt>
                <c:pt idx="4398">
                  <c:v>66</c:v>
                </c:pt>
                <c:pt idx="4399">
                  <c:v>72.099999999999994</c:v>
                </c:pt>
                <c:pt idx="4400">
                  <c:v>76.3</c:v>
                </c:pt>
                <c:pt idx="4401">
                  <c:v>75.599999999999994</c:v>
                </c:pt>
                <c:pt idx="4402">
                  <c:v>76.3</c:v>
                </c:pt>
                <c:pt idx="4403">
                  <c:v>76.8</c:v>
                </c:pt>
                <c:pt idx="4404">
                  <c:v>76.8</c:v>
                </c:pt>
                <c:pt idx="4405">
                  <c:v>78.099999999999994</c:v>
                </c:pt>
                <c:pt idx="4406">
                  <c:v>77</c:v>
                </c:pt>
                <c:pt idx="4407">
                  <c:v>78.3</c:v>
                </c:pt>
                <c:pt idx="4408">
                  <c:v>66</c:v>
                </c:pt>
                <c:pt idx="4409">
                  <c:v>80.599999999999994</c:v>
                </c:pt>
                <c:pt idx="4410">
                  <c:v>81</c:v>
                </c:pt>
                <c:pt idx="4411">
                  <c:v>79</c:v>
                </c:pt>
                <c:pt idx="4412">
                  <c:v>79.7</c:v>
                </c:pt>
                <c:pt idx="4413">
                  <c:v>80.599999999999994</c:v>
                </c:pt>
                <c:pt idx="4414">
                  <c:v>81.3</c:v>
                </c:pt>
                <c:pt idx="4415">
                  <c:v>79.3</c:v>
                </c:pt>
                <c:pt idx="4416">
                  <c:v>82.2</c:v>
                </c:pt>
                <c:pt idx="4417">
                  <c:v>83.5</c:v>
                </c:pt>
                <c:pt idx="4418">
                  <c:v>83.3</c:v>
                </c:pt>
                <c:pt idx="4419">
                  <c:v>83.8</c:v>
                </c:pt>
                <c:pt idx="4420">
                  <c:v>84</c:v>
                </c:pt>
                <c:pt idx="4421">
                  <c:v>84.6</c:v>
                </c:pt>
                <c:pt idx="4422">
                  <c:v>87.1</c:v>
                </c:pt>
                <c:pt idx="4423">
                  <c:v>86.5</c:v>
                </c:pt>
                <c:pt idx="4424">
                  <c:v>83.7</c:v>
                </c:pt>
                <c:pt idx="4425">
                  <c:v>85.6</c:v>
                </c:pt>
                <c:pt idx="4426">
                  <c:v>86.5</c:v>
                </c:pt>
                <c:pt idx="4427">
                  <c:v>88.3</c:v>
                </c:pt>
                <c:pt idx="4428">
                  <c:v>86.2</c:v>
                </c:pt>
                <c:pt idx="4429">
                  <c:v>88.7</c:v>
                </c:pt>
                <c:pt idx="4430">
                  <c:v>90</c:v>
                </c:pt>
                <c:pt idx="4431">
                  <c:v>90.5</c:v>
                </c:pt>
                <c:pt idx="4432">
                  <c:v>91.9</c:v>
                </c:pt>
                <c:pt idx="4433">
                  <c:v>89.6</c:v>
                </c:pt>
                <c:pt idx="4434">
                  <c:v>86.7</c:v>
                </c:pt>
                <c:pt idx="4435">
                  <c:v>86</c:v>
                </c:pt>
                <c:pt idx="4436">
                  <c:v>84.7</c:v>
                </c:pt>
                <c:pt idx="4437">
                  <c:v>83.7</c:v>
                </c:pt>
                <c:pt idx="4438">
                  <c:v>84</c:v>
                </c:pt>
                <c:pt idx="4439">
                  <c:v>82.6</c:v>
                </c:pt>
                <c:pt idx="4440">
                  <c:v>81.3</c:v>
                </c:pt>
                <c:pt idx="4441">
                  <c:v>79.900000000000006</c:v>
                </c:pt>
                <c:pt idx="4442">
                  <c:v>77.900000000000006</c:v>
                </c:pt>
                <c:pt idx="4443">
                  <c:v>76.099999999999994</c:v>
                </c:pt>
                <c:pt idx="4444">
                  <c:v>75.400000000000006</c:v>
                </c:pt>
                <c:pt idx="4445">
                  <c:v>74.3</c:v>
                </c:pt>
                <c:pt idx="4446">
                  <c:v>73.2</c:v>
                </c:pt>
                <c:pt idx="4447">
                  <c:v>72.7</c:v>
                </c:pt>
                <c:pt idx="4448">
                  <c:v>72.099999999999994</c:v>
                </c:pt>
                <c:pt idx="4449">
                  <c:v>71.599999999999994</c:v>
                </c:pt>
                <c:pt idx="4450">
                  <c:v>70.900000000000006</c:v>
                </c:pt>
                <c:pt idx="4451">
                  <c:v>70.7</c:v>
                </c:pt>
                <c:pt idx="4452">
                  <c:v>69.8</c:v>
                </c:pt>
                <c:pt idx="4453">
                  <c:v>69.400000000000006</c:v>
                </c:pt>
                <c:pt idx="4454">
                  <c:v>69.400000000000006</c:v>
                </c:pt>
                <c:pt idx="4455">
                  <c:v>69.400000000000006</c:v>
                </c:pt>
                <c:pt idx="4456">
                  <c:v>69.400000000000006</c:v>
                </c:pt>
                <c:pt idx="4457">
                  <c:v>69.400000000000006</c:v>
                </c:pt>
                <c:pt idx="4458">
                  <c:v>69.400000000000006</c:v>
                </c:pt>
                <c:pt idx="4459">
                  <c:v>69.400000000000006</c:v>
                </c:pt>
                <c:pt idx="4460">
                  <c:v>69.400000000000006</c:v>
                </c:pt>
                <c:pt idx="4461">
                  <c:v>69.400000000000006</c:v>
                </c:pt>
                <c:pt idx="4462">
                  <c:v>69.400000000000006</c:v>
                </c:pt>
                <c:pt idx="4463">
                  <c:v>69.400000000000006</c:v>
                </c:pt>
                <c:pt idx="4464">
                  <c:v>69.400000000000006</c:v>
                </c:pt>
                <c:pt idx="4465">
                  <c:v>69.400000000000006</c:v>
                </c:pt>
                <c:pt idx="4466">
                  <c:v>69.400000000000006</c:v>
                </c:pt>
                <c:pt idx="4467">
                  <c:v>69.400000000000006</c:v>
                </c:pt>
                <c:pt idx="4468">
                  <c:v>69.400000000000006</c:v>
                </c:pt>
                <c:pt idx="4469">
                  <c:v>67.5</c:v>
                </c:pt>
                <c:pt idx="4470">
                  <c:v>67.599999999999994</c:v>
                </c:pt>
                <c:pt idx="4471">
                  <c:v>68</c:v>
                </c:pt>
                <c:pt idx="4472">
                  <c:v>67.5</c:v>
                </c:pt>
                <c:pt idx="4473">
                  <c:v>67.3</c:v>
                </c:pt>
                <c:pt idx="4474">
                  <c:v>67.3</c:v>
                </c:pt>
                <c:pt idx="4475">
                  <c:v>67.5</c:v>
                </c:pt>
                <c:pt idx="4476">
                  <c:v>67.5</c:v>
                </c:pt>
                <c:pt idx="4477">
                  <c:v>67.599999999999994</c:v>
                </c:pt>
                <c:pt idx="4478">
                  <c:v>67.8</c:v>
                </c:pt>
                <c:pt idx="4479">
                  <c:v>67.599999999999994</c:v>
                </c:pt>
                <c:pt idx="4480">
                  <c:v>67.5</c:v>
                </c:pt>
                <c:pt idx="4481">
                  <c:v>67.5</c:v>
                </c:pt>
                <c:pt idx="4482">
                  <c:v>67.3</c:v>
                </c:pt>
                <c:pt idx="4483">
                  <c:v>67.099999999999994</c:v>
                </c:pt>
                <c:pt idx="4484">
                  <c:v>67.099999999999994</c:v>
                </c:pt>
                <c:pt idx="4485">
                  <c:v>67.099999999999994</c:v>
                </c:pt>
                <c:pt idx="4486">
                  <c:v>67.099999999999994</c:v>
                </c:pt>
                <c:pt idx="4487">
                  <c:v>66.599999999999994</c:v>
                </c:pt>
                <c:pt idx="4488">
                  <c:v>69.400000000000006</c:v>
                </c:pt>
                <c:pt idx="4489">
                  <c:v>69.8</c:v>
                </c:pt>
                <c:pt idx="4490">
                  <c:v>69.8</c:v>
                </c:pt>
                <c:pt idx="4491">
                  <c:v>69.8</c:v>
                </c:pt>
                <c:pt idx="4492">
                  <c:v>69.8</c:v>
                </c:pt>
                <c:pt idx="4493">
                  <c:v>69.8</c:v>
                </c:pt>
                <c:pt idx="4494">
                  <c:v>69.8</c:v>
                </c:pt>
                <c:pt idx="4495">
                  <c:v>69.8</c:v>
                </c:pt>
                <c:pt idx="4496">
                  <c:v>81.099999999999994</c:v>
                </c:pt>
                <c:pt idx="4497">
                  <c:v>81</c:v>
                </c:pt>
                <c:pt idx="4498">
                  <c:v>82.8</c:v>
                </c:pt>
                <c:pt idx="4499">
                  <c:v>83.1</c:v>
                </c:pt>
                <c:pt idx="4500">
                  <c:v>83.1</c:v>
                </c:pt>
                <c:pt idx="4501">
                  <c:v>82.6</c:v>
                </c:pt>
                <c:pt idx="4502">
                  <c:v>82.2</c:v>
                </c:pt>
                <c:pt idx="4503">
                  <c:v>83.1</c:v>
                </c:pt>
                <c:pt idx="4504">
                  <c:v>84.7</c:v>
                </c:pt>
                <c:pt idx="4505">
                  <c:v>82.9</c:v>
                </c:pt>
                <c:pt idx="4506">
                  <c:v>84.6</c:v>
                </c:pt>
                <c:pt idx="4507">
                  <c:v>83.5</c:v>
                </c:pt>
                <c:pt idx="4508">
                  <c:v>83.3</c:v>
                </c:pt>
                <c:pt idx="4509">
                  <c:v>84</c:v>
                </c:pt>
                <c:pt idx="4510">
                  <c:v>82.9</c:v>
                </c:pt>
                <c:pt idx="4511">
                  <c:v>83.7</c:v>
                </c:pt>
                <c:pt idx="4512">
                  <c:v>85.1</c:v>
                </c:pt>
                <c:pt idx="4513">
                  <c:v>84.6</c:v>
                </c:pt>
                <c:pt idx="4514">
                  <c:v>84.7</c:v>
                </c:pt>
                <c:pt idx="4515">
                  <c:v>84.6</c:v>
                </c:pt>
                <c:pt idx="4516">
                  <c:v>84.6</c:v>
                </c:pt>
                <c:pt idx="4517">
                  <c:v>86.5</c:v>
                </c:pt>
                <c:pt idx="4518">
                  <c:v>86.9</c:v>
                </c:pt>
                <c:pt idx="4519">
                  <c:v>86.5</c:v>
                </c:pt>
                <c:pt idx="4520">
                  <c:v>87.6</c:v>
                </c:pt>
                <c:pt idx="4521">
                  <c:v>86.4</c:v>
                </c:pt>
                <c:pt idx="4522">
                  <c:v>86.4</c:v>
                </c:pt>
                <c:pt idx="4523">
                  <c:v>88.5</c:v>
                </c:pt>
                <c:pt idx="4524">
                  <c:v>86.5</c:v>
                </c:pt>
                <c:pt idx="4525">
                  <c:v>86</c:v>
                </c:pt>
                <c:pt idx="4526">
                  <c:v>85.1</c:v>
                </c:pt>
                <c:pt idx="4527">
                  <c:v>84.6</c:v>
                </c:pt>
                <c:pt idx="4528">
                  <c:v>84.6</c:v>
                </c:pt>
                <c:pt idx="4529">
                  <c:v>86</c:v>
                </c:pt>
                <c:pt idx="4530">
                  <c:v>87.1</c:v>
                </c:pt>
                <c:pt idx="4531">
                  <c:v>87.1</c:v>
                </c:pt>
                <c:pt idx="4532">
                  <c:v>84.9</c:v>
                </c:pt>
                <c:pt idx="4533">
                  <c:v>84</c:v>
                </c:pt>
                <c:pt idx="4534">
                  <c:v>82.8</c:v>
                </c:pt>
                <c:pt idx="4535">
                  <c:v>82</c:v>
                </c:pt>
                <c:pt idx="4536">
                  <c:v>81.3</c:v>
                </c:pt>
                <c:pt idx="4537">
                  <c:v>79.5</c:v>
                </c:pt>
                <c:pt idx="4538">
                  <c:v>79</c:v>
                </c:pt>
                <c:pt idx="4539">
                  <c:v>76.3</c:v>
                </c:pt>
                <c:pt idx="4540">
                  <c:v>73.8</c:v>
                </c:pt>
                <c:pt idx="4541">
                  <c:v>71.8</c:v>
                </c:pt>
                <c:pt idx="4542">
                  <c:v>70.7</c:v>
                </c:pt>
                <c:pt idx="4543">
                  <c:v>67.599999999999994</c:v>
                </c:pt>
                <c:pt idx="4544">
                  <c:v>67.3</c:v>
                </c:pt>
                <c:pt idx="4545">
                  <c:v>66.900000000000006</c:v>
                </c:pt>
                <c:pt idx="4546">
                  <c:v>66.7</c:v>
                </c:pt>
                <c:pt idx="4547">
                  <c:v>66.7</c:v>
                </c:pt>
                <c:pt idx="4548">
                  <c:v>66.7</c:v>
                </c:pt>
                <c:pt idx="4549">
                  <c:v>66.7</c:v>
                </c:pt>
                <c:pt idx="4550">
                  <c:v>66.7</c:v>
                </c:pt>
                <c:pt idx="4551">
                  <c:v>66.7</c:v>
                </c:pt>
                <c:pt idx="4552">
                  <c:v>66.7</c:v>
                </c:pt>
                <c:pt idx="4553">
                  <c:v>66.7</c:v>
                </c:pt>
                <c:pt idx="4554">
                  <c:v>66.7</c:v>
                </c:pt>
                <c:pt idx="4555">
                  <c:v>66.7</c:v>
                </c:pt>
                <c:pt idx="4556">
                  <c:v>66.7</c:v>
                </c:pt>
                <c:pt idx="4557">
                  <c:v>66.7</c:v>
                </c:pt>
                <c:pt idx="4558">
                  <c:v>66.7</c:v>
                </c:pt>
                <c:pt idx="4559">
                  <c:v>66.7</c:v>
                </c:pt>
                <c:pt idx="4560">
                  <c:v>66.7</c:v>
                </c:pt>
                <c:pt idx="4561">
                  <c:v>64.2</c:v>
                </c:pt>
                <c:pt idx="4562">
                  <c:v>63.9</c:v>
                </c:pt>
                <c:pt idx="4563">
                  <c:v>63.9</c:v>
                </c:pt>
                <c:pt idx="4564">
                  <c:v>63.5</c:v>
                </c:pt>
                <c:pt idx="4565">
                  <c:v>62.8</c:v>
                </c:pt>
                <c:pt idx="4566">
                  <c:v>63</c:v>
                </c:pt>
                <c:pt idx="4567">
                  <c:v>64</c:v>
                </c:pt>
                <c:pt idx="4568">
                  <c:v>64.2</c:v>
                </c:pt>
                <c:pt idx="4569">
                  <c:v>64.2</c:v>
                </c:pt>
                <c:pt idx="4570">
                  <c:v>64.400000000000006</c:v>
                </c:pt>
                <c:pt idx="4571">
                  <c:v>64.400000000000006</c:v>
                </c:pt>
                <c:pt idx="4572">
                  <c:v>64.599999999999994</c:v>
                </c:pt>
                <c:pt idx="4573">
                  <c:v>64.599999999999994</c:v>
                </c:pt>
                <c:pt idx="4574">
                  <c:v>64.599999999999994</c:v>
                </c:pt>
                <c:pt idx="4575">
                  <c:v>64.400000000000006</c:v>
                </c:pt>
                <c:pt idx="4576">
                  <c:v>64</c:v>
                </c:pt>
                <c:pt idx="4577">
                  <c:v>63.9</c:v>
                </c:pt>
                <c:pt idx="4578">
                  <c:v>63.9</c:v>
                </c:pt>
                <c:pt idx="4579">
                  <c:v>64</c:v>
                </c:pt>
                <c:pt idx="4580">
                  <c:v>64.400000000000006</c:v>
                </c:pt>
                <c:pt idx="4581">
                  <c:v>64.8</c:v>
                </c:pt>
                <c:pt idx="4582">
                  <c:v>64.900000000000006</c:v>
                </c:pt>
                <c:pt idx="4583">
                  <c:v>66.400000000000006</c:v>
                </c:pt>
                <c:pt idx="4584">
                  <c:v>68.900000000000006</c:v>
                </c:pt>
                <c:pt idx="4585">
                  <c:v>70.2</c:v>
                </c:pt>
                <c:pt idx="4586">
                  <c:v>66.400000000000006</c:v>
                </c:pt>
                <c:pt idx="4587">
                  <c:v>66.599999999999994</c:v>
                </c:pt>
                <c:pt idx="4588">
                  <c:v>66.7</c:v>
                </c:pt>
                <c:pt idx="4589">
                  <c:v>67.099999999999994</c:v>
                </c:pt>
                <c:pt idx="4590">
                  <c:v>67.5</c:v>
                </c:pt>
                <c:pt idx="4591">
                  <c:v>68</c:v>
                </c:pt>
                <c:pt idx="4592">
                  <c:v>68.5</c:v>
                </c:pt>
                <c:pt idx="4593">
                  <c:v>69.400000000000006</c:v>
                </c:pt>
                <c:pt idx="4594">
                  <c:v>70.2</c:v>
                </c:pt>
                <c:pt idx="4595">
                  <c:v>71.2</c:v>
                </c:pt>
                <c:pt idx="4596">
                  <c:v>72.099999999999994</c:v>
                </c:pt>
                <c:pt idx="4597">
                  <c:v>73.2</c:v>
                </c:pt>
                <c:pt idx="4598">
                  <c:v>74.099999999999994</c:v>
                </c:pt>
                <c:pt idx="4599">
                  <c:v>74.8</c:v>
                </c:pt>
                <c:pt idx="4600">
                  <c:v>76.5</c:v>
                </c:pt>
                <c:pt idx="4601">
                  <c:v>79</c:v>
                </c:pt>
                <c:pt idx="4602">
                  <c:v>77.2</c:v>
                </c:pt>
                <c:pt idx="4603">
                  <c:v>78.400000000000006</c:v>
                </c:pt>
                <c:pt idx="4604">
                  <c:v>78.8</c:v>
                </c:pt>
                <c:pt idx="4605">
                  <c:v>78.099999999999994</c:v>
                </c:pt>
                <c:pt idx="4606">
                  <c:v>79.5</c:v>
                </c:pt>
                <c:pt idx="4607">
                  <c:v>80.400000000000006</c:v>
                </c:pt>
                <c:pt idx="4608">
                  <c:v>78.3</c:v>
                </c:pt>
                <c:pt idx="4609">
                  <c:v>79.5</c:v>
                </c:pt>
                <c:pt idx="4610">
                  <c:v>81.900000000000006</c:v>
                </c:pt>
                <c:pt idx="4611">
                  <c:v>80.599999999999994</c:v>
                </c:pt>
                <c:pt idx="4612">
                  <c:v>81.099999999999994</c:v>
                </c:pt>
                <c:pt idx="4613">
                  <c:v>82.4</c:v>
                </c:pt>
                <c:pt idx="4614">
                  <c:v>80.400000000000006</c:v>
                </c:pt>
                <c:pt idx="4615">
                  <c:v>80.400000000000006</c:v>
                </c:pt>
                <c:pt idx="4616">
                  <c:v>82.9</c:v>
                </c:pt>
                <c:pt idx="4617">
                  <c:v>81.099999999999994</c:v>
                </c:pt>
                <c:pt idx="4618">
                  <c:v>81.099999999999994</c:v>
                </c:pt>
                <c:pt idx="4619">
                  <c:v>81.3</c:v>
                </c:pt>
                <c:pt idx="4620">
                  <c:v>80.8</c:v>
                </c:pt>
                <c:pt idx="4621">
                  <c:v>81.900000000000006</c:v>
                </c:pt>
                <c:pt idx="4622">
                  <c:v>83.1</c:v>
                </c:pt>
                <c:pt idx="4623">
                  <c:v>83.8</c:v>
                </c:pt>
                <c:pt idx="4624">
                  <c:v>79.5</c:v>
                </c:pt>
                <c:pt idx="4625">
                  <c:v>77.7</c:v>
                </c:pt>
                <c:pt idx="4626">
                  <c:v>75.900000000000006</c:v>
                </c:pt>
                <c:pt idx="4627">
                  <c:v>74.5</c:v>
                </c:pt>
                <c:pt idx="4628">
                  <c:v>72.900000000000006</c:v>
                </c:pt>
                <c:pt idx="4629">
                  <c:v>70</c:v>
                </c:pt>
                <c:pt idx="4630">
                  <c:v>68</c:v>
                </c:pt>
                <c:pt idx="4631">
                  <c:v>65.7</c:v>
                </c:pt>
                <c:pt idx="4632">
                  <c:v>63.7</c:v>
                </c:pt>
                <c:pt idx="4633">
                  <c:v>62.1</c:v>
                </c:pt>
                <c:pt idx="4634">
                  <c:v>60.4</c:v>
                </c:pt>
                <c:pt idx="4635">
                  <c:v>58.6</c:v>
                </c:pt>
                <c:pt idx="4636">
                  <c:v>57.7</c:v>
                </c:pt>
                <c:pt idx="4637">
                  <c:v>56.8</c:v>
                </c:pt>
                <c:pt idx="4638">
                  <c:v>60.6</c:v>
                </c:pt>
                <c:pt idx="4639">
                  <c:v>59.5</c:v>
                </c:pt>
                <c:pt idx="4640">
                  <c:v>59.2</c:v>
                </c:pt>
                <c:pt idx="4641">
                  <c:v>58.3</c:v>
                </c:pt>
                <c:pt idx="4642">
                  <c:v>57.4</c:v>
                </c:pt>
                <c:pt idx="4643">
                  <c:v>57.2</c:v>
                </c:pt>
                <c:pt idx="4644">
                  <c:v>54.7</c:v>
                </c:pt>
                <c:pt idx="4645">
                  <c:v>54.7</c:v>
                </c:pt>
                <c:pt idx="4646">
                  <c:v>54.7</c:v>
                </c:pt>
                <c:pt idx="4647">
                  <c:v>54.7</c:v>
                </c:pt>
                <c:pt idx="4648">
                  <c:v>54.7</c:v>
                </c:pt>
                <c:pt idx="4649">
                  <c:v>54.7</c:v>
                </c:pt>
                <c:pt idx="4650">
                  <c:v>54.7</c:v>
                </c:pt>
                <c:pt idx="4651">
                  <c:v>71.2</c:v>
                </c:pt>
                <c:pt idx="4652">
                  <c:v>71.2</c:v>
                </c:pt>
                <c:pt idx="4653">
                  <c:v>71.2</c:v>
                </c:pt>
                <c:pt idx="4654">
                  <c:v>71.2</c:v>
                </c:pt>
                <c:pt idx="4655">
                  <c:v>71.2</c:v>
                </c:pt>
                <c:pt idx="4656">
                  <c:v>71.2</c:v>
                </c:pt>
                <c:pt idx="4657">
                  <c:v>71.2</c:v>
                </c:pt>
                <c:pt idx="4658">
                  <c:v>71.2</c:v>
                </c:pt>
                <c:pt idx="4659">
                  <c:v>71.2</c:v>
                </c:pt>
                <c:pt idx="4660">
                  <c:v>71.2</c:v>
                </c:pt>
                <c:pt idx="4661">
                  <c:v>71.2</c:v>
                </c:pt>
                <c:pt idx="4662">
                  <c:v>71.2</c:v>
                </c:pt>
                <c:pt idx="4663">
                  <c:v>71.2</c:v>
                </c:pt>
                <c:pt idx="4664">
                  <c:v>71.2</c:v>
                </c:pt>
                <c:pt idx="4665">
                  <c:v>79.7</c:v>
                </c:pt>
                <c:pt idx="4666">
                  <c:v>79.7</c:v>
                </c:pt>
                <c:pt idx="4667">
                  <c:v>80.2</c:v>
                </c:pt>
                <c:pt idx="4668">
                  <c:v>81.099999999999994</c:v>
                </c:pt>
                <c:pt idx="4669">
                  <c:v>81.7</c:v>
                </c:pt>
                <c:pt idx="4670">
                  <c:v>82</c:v>
                </c:pt>
                <c:pt idx="4671">
                  <c:v>80.2</c:v>
                </c:pt>
                <c:pt idx="4672">
                  <c:v>81</c:v>
                </c:pt>
                <c:pt idx="4673">
                  <c:v>81</c:v>
                </c:pt>
                <c:pt idx="4674">
                  <c:v>83.5</c:v>
                </c:pt>
                <c:pt idx="4675">
                  <c:v>83.1</c:v>
                </c:pt>
                <c:pt idx="4676">
                  <c:v>82.2</c:v>
                </c:pt>
                <c:pt idx="4677">
                  <c:v>82.8</c:v>
                </c:pt>
                <c:pt idx="4678">
                  <c:v>84.6</c:v>
                </c:pt>
                <c:pt idx="4679">
                  <c:v>84.4</c:v>
                </c:pt>
                <c:pt idx="4680">
                  <c:v>84.2</c:v>
                </c:pt>
                <c:pt idx="4681">
                  <c:v>83.8</c:v>
                </c:pt>
                <c:pt idx="4682">
                  <c:v>83.5</c:v>
                </c:pt>
                <c:pt idx="4683">
                  <c:v>82.2</c:v>
                </c:pt>
                <c:pt idx="4684">
                  <c:v>82</c:v>
                </c:pt>
                <c:pt idx="4685">
                  <c:v>82.6</c:v>
                </c:pt>
                <c:pt idx="4686">
                  <c:v>80.2</c:v>
                </c:pt>
                <c:pt idx="4687">
                  <c:v>80.099999999999994</c:v>
                </c:pt>
                <c:pt idx="4688">
                  <c:v>78.8</c:v>
                </c:pt>
                <c:pt idx="4689">
                  <c:v>78.3</c:v>
                </c:pt>
                <c:pt idx="4690">
                  <c:v>77.400000000000006</c:v>
                </c:pt>
                <c:pt idx="4691">
                  <c:v>76.3</c:v>
                </c:pt>
                <c:pt idx="4692">
                  <c:v>75.2</c:v>
                </c:pt>
                <c:pt idx="4693">
                  <c:v>74.5</c:v>
                </c:pt>
                <c:pt idx="4694">
                  <c:v>72.7</c:v>
                </c:pt>
                <c:pt idx="4695">
                  <c:v>71.099999999999994</c:v>
                </c:pt>
                <c:pt idx="4696">
                  <c:v>69.8</c:v>
                </c:pt>
                <c:pt idx="4697">
                  <c:v>68.7</c:v>
                </c:pt>
                <c:pt idx="4698">
                  <c:v>67.599999999999994</c:v>
                </c:pt>
                <c:pt idx="4699">
                  <c:v>66.400000000000006</c:v>
                </c:pt>
                <c:pt idx="4700">
                  <c:v>65.3</c:v>
                </c:pt>
                <c:pt idx="4701">
                  <c:v>65.099999999999994</c:v>
                </c:pt>
                <c:pt idx="4702">
                  <c:v>64.2</c:v>
                </c:pt>
                <c:pt idx="4703">
                  <c:v>63.7</c:v>
                </c:pt>
                <c:pt idx="4704">
                  <c:v>63.3</c:v>
                </c:pt>
                <c:pt idx="4705">
                  <c:v>61.7</c:v>
                </c:pt>
                <c:pt idx="4706">
                  <c:v>60.4</c:v>
                </c:pt>
                <c:pt idx="4707">
                  <c:v>59.2</c:v>
                </c:pt>
                <c:pt idx="4708">
                  <c:v>59.2</c:v>
                </c:pt>
                <c:pt idx="4709">
                  <c:v>59.2</c:v>
                </c:pt>
                <c:pt idx="4710">
                  <c:v>59.2</c:v>
                </c:pt>
                <c:pt idx="4711">
                  <c:v>59.2</c:v>
                </c:pt>
                <c:pt idx="4712">
                  <c:v>59.2</c:v>
                </c:pt>
                <c:pt idx="4713">
                  <c:v>59.2</c:v>
                </c:pt>
                <c:pt idx="4714">
                  <c:v>59.2</c:v>
                </c:pt>
                <c:pt idx="4715">
                  <c:v>59.2</c:v>
                </c:pt>
                <c:pt idx="4716">
                  <c:v>59.2</c:v>
                </c:pt>
                <c:pt idx="4717">
                  <c:v>59.2</c:v>
                </c:pt>
                <c:pt idx="4718">
                  <c:v>59.2</c:v>
                </c:pt>
                <c:pt idx="4719">
                  <c:v>65.8</c:v>
                </c:pt>
                <c:pt idx="4720">
                  <c:v>66</c:v>
                </c:pt>
                <c:pt idx="4721">
                  <c:v>66</c:v>
                </c:pt>
                <c:pt idx="4722">
                  <c:v>66.7</c:v>
                </c:pt>
                <c:pt idx="4723">
                  <c:v>68.900000000000006</c:v>
                </c:pt>
                <c:pt idx="4724">
                  <c:v>66.900000000000006</c:v>
                </c:pt>
                <c:pt idx="4725">
                  <c:v>70.3</c:v>
                </c:pt>
                <c:pt idx="4726">
                  <c:v>68.5</c:v>
                </c:pt>
                <c:pt idx="4727">
                  <c:v>72</c:v>
                </c:pt>
                <c:pt idx="4728">
                  <c:v>70.7</c:v>
                </c:pt>
                <c:pt idx="4729">
                  <c:v>73.2</c:v>
                </c:pt>
                <c:pt idx="4730">
                  <c:v>73.8</c:v>
                </c:pt>
                <c:pt idx="4731">
                  <c:v>71.8</c:v>
                </c:pt>
                <c:pt idx="4732">
                  <c:v>74.8</c:v>
                </c:pt>
                <c:pt idx="4733">
                  <c:v>74.099999999999994</c:v>
                </c:pt>
                <c:pt idx="4734">
                  <c:v>74.099999999999994</c:v>
                </c:pt>
                <c:pt idx="4735">
                  <c:v>75.400000000000006</c:v>
                </c:pt>
                <c:pt idx="4736">
                  <c:v>76.5</c:v>
                </c:pt>
                <c:pt idx="4737">
                  <c:v>76.5</c:v>
                </c:pt>
                <c:pt idx="4738">
                  <c:v>73.900000000000006</c:v>
                </c:pt>
                <c:pt idx="4739">
                  <c:v>74.3</c:v>
                </c:pt>
                <c:pt idx="4740">
                  <c:v>75.7</c:v>
                </c:pt>
                <c:pt idx="4741">
                  <c:v>75</c:v>
                </c:pt>
                <c:pt idx="4742">
                  <c:v>74.5</c:v>
                </c:pt>
                <c:pt idx="4743">
                  <c:v>73.599999999999994</c:v>
                </c:pt>
                <c:pt idx="4744">
                  <c:v>73.900000000000006</c:v>
                </c:pt>
                <c:pt idx="4745">
                  <c:v>75.400000000000006</c:v>
                </c:pt>
                <c:pt idx="4746">
                  <c:v>76.099999999999994</c:v>
                </c:pt>
                <c:pt idx="4747">
                  <c:v>76.5</c:v>
                </c:pt>
                <c:pt idx="4748">
                  <c:v>79.900000000000006</c:v>
                </c:pt>
                <c:pt idx="4749">
                  <c:v>77</c:v>
                </c:pt>
                <c:pt idx="4750">
                  <c:v>73.8</c:v>
                </c:pt>
                <c:pt idx="4751">
                  <c:v>71.8</c:v>
                </c:pt>
                <c:pt idx="4752">
                  <c:v>69.8</c:v>
                </c:pt>
                <c:pt idx="4753">
                  <c:v>67.5</c:v>
                </c:pt>
                <c:pt idx="4754">
                  <c:v>65.3</c:v>
                </c:pt>
                <c:pt idx="4755">
                  <c:v>62.2</c:v>
                </c:pt>
                <c:pt idx="4756">
                  <c:v>59.4</c:v>
                </c:pt>
                <c:pt idx="4757">
                  <c:v>57.7</c:v>
                </c:pt>
                <c:pt idx="4758">
                  <c:v>57.7</c:v>
                </c:pt>
                <c:pt idx="4759">
                  <c:v>57.7</c:v>
                </c:pt>
                <c:pt idx="4760">
                  <c:v>57.7</c:v>
                </c:pt>
                <c:pt idx="4761">
                  <c:v>57.7</c:v>
                </c:pt>
                <c:pt idx="4762">
                  <c:v>57.7</c:v>
                </c:pt>
                <c:pt idx="4763">
                  <c:v>57.7</c:v>
                </c:pt>
                <c:pt idx="4764">
                  <c:v>57.7</c:v>
                </c:pt>
                <c:pt idx="4765">
                  <c:v>57.7</c:v>
                </c:pt>
                <c:pt idx="4766">
                  <c:v>57.7</c:v>
                </c:pt>
                <c:pt idx="4767">
                  <c:v>55.6</c:v>
                </c:pt>
                <c:pt idx="4768">
                  <c:v>55.6</c:v>
                </c:pt>
                <c:pt idx="4769">
                  <c:v>67.5</c:v>
                </c:pt>
                <c:pt idx="4770">
                  <c:v>69.099999999999994</c:v>
                </c:pt>
                <c:pt idx="4771">
                  <c:v>72.099999999999994</c:v>
                </c:pt>
                <c:pt idx="4772">
                  <c:v>71.599999999999994</c:v>
                </c:pt>
                <c:pt idx="4773">
                  <c:v>72.7</c:v>
                </c:pt>
                <c:pt idx="4774">
                  <c:v>77.5</c:v>
                </c:pt>
                <c:pt idx="4775">
                  <c:v>77.5</c:v>
                </c:pt>
                <c:pt idx="4776">
                  <c:v>77.400000000000006</c:v>
                </c:pt>
                <c:pt idx="4777">
                  <c:v>77.5</c:v>
                </c:pt>
                <c:pt idx="4778">
                  <c:v>77.900000000000006</c:v>
                </c:pt>
                <c:pt idx="4779">
                  <c:v>72.7</c:v>
                </c:pt>
                <c:pt idx="4780">
                  <c:v>73</c:v>
                </c:pt>
                <c:pt idx="4781">
                  <c:v>74.099999999999994</c:v>
                </c:pt>
                <c:pt idx="4782">
                  <c:v>75.400000000000006</c:v>
                </c:pt>
                <c:pt idx="4783">
                  <c:v>75.400000000000006</c:v>
                </c:pt>
                <c:pt idx="4784">
                  <c:v>73.599999999999994</c:v>
                </c:pt>
                <c:pt idx="4785">
                  <c:v>79.3</c:v>
                </c:pt>
                <c:pt idx="4786">
                  <c:v>79.3</c:v>
                </c:pt>
                <c:pt idx="4787">
                  <c:v>78.099999999999994</c:v>
                </c:pt>
                <c:pt idx="4788">
                  <c:v>79.2</c:v>
                </c:pt>
                <c:pt idx="4789">
                  <c:v>78.8</c:v>
                </c:pt>
                <c:pt idx="4790">
                  <c:v>77.400000000000006</c:v>
                </c:pt>
                <c:pt idx="4791">
                  <c:v>75.900000000000006</c:v>
                </c:pt>
                <c:pt idx="4792">
                  <c:v>73.900000000000006</c:v>
                </c:pt>
                <c:pt idx="4793">
                  <c:v>73.599999999999994</c:v>
                </c:pt>
                <c:pt idx="4794">
                  <c:v>74.7</c:v>
                </c:pt>
                <c:pt idx="4795">
                  <c:v>72.7</c:v>
                </c:pt>
                <c:pt idx="4796">
                  <c:v>71.2</c:v>
                </c:pt>
                <c:pt idx="4797">
                  <c:v>69.3</c:v>
                </c:pt>
                <c:pt idx="4798">
                  <c:v>66.599999999999994</c:v>
                </c:pt>
                <c:pt idx="4799">
                  <c:v>66</c:v>
                </c:pt>
                <c:pt idx="4800">
                  <c:v>63.7</c:v>
                </c:pt>
                <c:pt idx="4801">
                  <c:v>63.3</c:v>
                </c:pt>
                <c:pt idx="4802">
                  <c:v>63.3</c:v>
                </c:pt>
                <c:pt idx="4803">
                  <c:v>63.3</c:v>
                </c:pt>
                <c:pt idx="4804">
                  <c:v>63.3</c:v>
                </c:pt>
                <c:pt idx="4805">
                  <c:v>63.3</c:v>
                </c:pt>
                <c:pt idx="4806">
                  <c:v>63.3</c:v>
                </c:pt>
                <c:pt idx="4807">
                  <c:v>63.3</c:v>
                </c:pt>
                <c:pt idx="4808">
                  <c:v>63.3</c:v>
                </c:pt>
                <c:pt idx="4809">
                  <c:v>63.3</c:v>
                </c:pt>
                <c:pt idx="4810">
                  <c:v>63.3</c:v>
                </c:pt>
                <c:pt idx="4811">
                  <c:v>63.3</c:v>
                </c:pt>
                <c:pt idx="4812">
                  <c:v>63.7</c:v>
                </c:pt>
                <c:pt idx="4813">
                  <c:v>64.2</c:v>
                </c:pt>
                <c:pt idx="4814">
                  <c:v>63.9</c:v>
                </c:pt>
                <c:pt idx="4815">
                  <c:v>63.9</c:v>
                </c:pt>
                <c:pt idx="4816">
                  <c:v>63.9</c:v>
                </c:pt>
                <c:pt idx="4817">
                  <c:v>63.9</c:v>
                </c:pt>
                <c:pt idx="4818">
                  <c:v>64.2</c:v>
                </c:pt>
                <c:pt idx="4819">
                  <c:v>62.6</c:v>
                </c:pt>
                <c:pt idx="4820">
                  <c:v>62.1</c:v>
                </c:pt>
                <c:pt idx="4821">
                  <c:v>61.9</c:v>
                </c:pt>
                <c:pt idx="4822">
                  <c:v>61.5</c:v>
                </c:pt>
                <c:pt idx="4823">
                  <c:v>61.3</c:v>
                </c:pt>
                <c:pt idx="4824">
                  <c:v>61.3</c:v>
                </c:pt>
                <c:pt idx="4825">
                  <c:v>61.3</c:v>
                </c:pt>
                <c:pt idx="4826">
                  <c:v>61.2</c:v>
                </c:pt>
                <c:pt idx="4827">
                  <c:v>61.3</c:v>
                </c:pt>
                <c:pt idx="4828">
                  <c:v>61.3</c:v>
                </c:pt>
                <c:pt idx="4829">
                  <c:v>61.2</c:v>
                </c:pt>
                <c:pt idx="4830">
                  <c:v>62.2</c:v>
                </c:pt>
                <c:pt idx="4831">
                  <c:v>61.9</c:v>
                </c:pt>
                <c:pt idx="4832">
                  <c:v>62.1</c:v>
                </c:pt>
                <c:pt idx="4833">
                  <c:v>62.6</c:v>
                </c:pt>
                <c:pt idx="4834">
                  <c:v>63.3</c:v>
                </c:pt>
                <c:pt idx="4835">
                  <c:v>63.7</c:v>
                </c:pt>
                <c:pt idx="4836">
                  <c:v>64.400000000000006</c:v>
                </c:pt>
                <c:pt idx="4837">
                  <c:v>65.099999999999994</c:v>
                </c:pt>
                <c:pt idx="4838">
                  <c:v>66</c:v>
                </c:pt>
                <c:pt idx="4839">
                  <c:v>68.400000000000006</c:v>
                </c:pt>
                <c:pt idx="4840">
                  <c:v>69.599999999999994</c:v>
                </c:pt>
                <c:pt idx="4841">
                  <c:v>70.3</c:v>
                </c:pt>
                <c:pt idx="4842">
                  <c:v>74.099999999999994</c:v>
                </c:pt>
                <c:pt idx="4843">
                  <c:v>77</c:v>
                </c:pt>
                <c:pt idx="4844">
                  <c:v>77.7</c:v>
                </c:pt>
                <c:pt idx="4845">
                  <c:v>80.2</c:v>
                </c:pt>
                <c:pt idx="4846">
                  <c:v>78.3</c:v>
                </c:pt>
                <c:pt idx="4847">
                  <c:v>82</c:v>
                </c:pt>
                <c:pt idx="4848">
                  <c:v>80.2</c:v>
                </c:pt>
                <c:pt idx="4849">
                  <c:v>80.099999999999994</c:v>
                </c:pt>
                <c:pt idx="4850">
                  <c:v>80.2</c:v>
                </c:pt>
                <c:pt idx="4851">
                  <c:v>81.5</c:v>
                </c:pt>
                <c:pt idx="4852">
                  <c:v>79.7</c:v>
                </c:pt>
                <c:pt idx="4853">
                  <c:v>80.099999999999994</c:v>
                </c:pt>
                <c:pt idx="4854">
                  <c:v>80.599999999999994</c:v>
                </c:pt>
                <c:pt idx="4855">
                  <c:v>82</c:v>
                </c:pt>
                <c:pt idx="4856">
                  <c:v>81.099999999999994</c:v>
                </c:pt>
                <c:pt idx="4857">
                  <c:v>79.5</c:v>
                </c:pt>
                <c:pt idx="4858">
                  <c:v>78.8</c:v>
                </c:pt>
                <c:pt idx="4859">
                  <c:v>79.900000000000006</c:v>
                </c:pt>
                <c:pt idx="4860">
                  <c:v>79.900000000000006</c:v>
                </c:pt>
                <c:pt idx="4861">
                  <c:v>80.2</c:v>
                </c:pt>
                <c:pt idx="4862">
                  <c:v>79.7</c:v>
                </c:pt>
                <c:pt idx="4863">
                  <c:v>78.599999999999994</c:v>
                </c:pt>
                <c:pt idx="4864">
                  <c:v>78.3</c:v>
                </c:pt>
                <c:pt idx="4865">
                  <c:v>76.8</c:v>
                </c:pt>
                <c:pt idx="4866">
                  <c:v>76.3</c:v>
                </c:pt>
                <c:pt idx="4867">
                  <c:v>75.7</c:v>
                </c:pt>
                <c:pt idx="4868">
                  <c:v>75.599999999999994</c:v>
                </c:pt>
                <c:pt idx="4869">
                  <c:v>74.7</c:v>
                </c:pt>
                <c:pt idx="4870">
                  <c:v>74.5</c:v>
                </c:pt>
                <c:pt idx="4871">
                  <c:v>73.900000000000006</c:v>
                </c:pt>
                <c:pt idx="4872">
                  <c:v>71.099999999999994</c:v>
                </c:pt>
                <c:pt idx="4873">
                  <c:v>69.8</c:v>
                </c:pt>
                <c:pt idx="4874">
                  <c:v>69.599999999999994</c:v>
                </c:pt>
                <c:pt idx="4875">
                  <c:v>69.400000000000006</c:v>
                </c:pt>
                <c:pt idx="4876">
                  <c:v>68.400000000000006</c:v>
                </c:pt>
                <c:pt idx="4877">
                  <c:v>68.2</c:v>
                </c:pt>
                <c:pt idx="4878">
                  <c:v>68.7</c:v>
                </c:pt>
                <c:pt idx="4879">
                  <c:v>66.7</c:v>
                </c:pt>
                <c:pt idx="4880">
                  <c:v>66.7</c:v>
                </c:pt>
                <c:pt idx="4881">
                  <c:v>66.7</c:v>
                </c:pt>
                <c:pt idx="4882">
                  <c:v>66.900000000000006</c:v>
                </c:pt>
                <c:pt idx="4883">
                  <c:v>66.900000000000006</c:v>
                </c:pt>
                <c:pt idx="4884">
                  <c:v>66.7</c:v>
                </c:pt>
                <c:pt idx="4885">
                  <c:v>66.7</c:v>
                </c:pt>
                <c:pt idx="4886">
                  <c:v>67.5</c:v>
                </c:pt>
                <c:pt idx="4887">
                  <c:v>69.599999999999994</c:v>
                </c:pt>
                <c:pt idx="4888">
                  <c:v>72</c:v>
                </c:pt>
                <c:pt idx="4889">
                  <c:v>81.5</c:v>
                </c:pt>
                <c:pt idx="4890">
                  <c:v>81</c:v>
                </c:pt>
                <c:pt idx="4891">
                  <c:v>81.5</c:v>
                </c:pt>
                <c:pt idx="4892">
                  <c:v>84.4</c:v>
                </c:pt>
                <c:pt idx="4893">
                  <c:v>84.4</c:v>
                </c:pt>
                <c:pt idx="4894">
                  <c:v>82</c:v>
                </c:pt>
                <c:pt idx="4895">
                  <c:v>81</c:v>
                </c:pt>
                <c:pt idx="4896">
                  <c:v>81</c:v>
                </c:pt>
                <c:pt idx="4897">
                  <c:v>81</c:v>
                </c:pt>
                <c:pt idx="4898">
                  <c:v>81.099999999999994</c:v>
                </c:pt>
                <c:pt idx="4899">
                  <c:v>81.099999999999994</c:v>
                </c:pt>
                <c:pt idx="4900">
                  <c:v>80.599999999999994</c:v>
                </c:pt>
                <c:pt idx="4901">
                  <c:v>80.099999999999994</c:v>
                </c:pt>
                <c:pt idx="4902">
                  <c:v>83.3</c:v>
                </c:pt>
                <c:pt idx="4903">
                  <c:v>80.8</c:v>
                </c:pt>
                <c:pt idx="4904">
                  <c:v>81.900000000000006</c:v>
                </c:pt>
                <c:pt idx="4905">
                  <c:v>79.2</c:v>
                </c:pt>
                <c:pt idx="4906">
                  <c:v>77.2</c:v>
                </c:pt>
                <c:pt idx="4907">
                  <c:v>75.7</c:v>
                </c:pt>
                <c:pt idx="4908">
                  <c:v>75.7</c:v>
                </c:pt>
                <c:pt idx="4909">
                  <c:v>75.400000000000006</c:v>
                </c:pt>
                <c:pt idx="4910">
                  <c:v>74.7</c:v>
                </c:pt>
                <c:pt idx="4911">
                  <c:v>73.599999999999994</c:v>
                </c:pt>
                <c:pt idx="4912">
                  <c:v>74.3</c:v>
                </c:pt>
                <c:pt idx="4913">
                  <c:v>74.099999999999994</c:v>
                </c:pt>
                <c:pt idx="4914">
                  <c:v>73.2</c:v>
                </c:pt>
                <c:pt idx="4915">
                  <c:v>73.2</c:v>
                </c:pt>
                <c:pt idx="4916">
                  <c:v>73</c:v>
                </c:pt>
                <c:pt idx="4917">
                  <c:v>71.2</c:v>
                </c:pt>
                <c:pt idx="4918">
                  <c:v>70.5</c:v>
                </c:pt>
                <c:pt idx="4919">
                  <c:v>70.2</c:v>
                </c:pt>
                <c:pt idx="4920">
                  <c:v>69.599999999999994</c:v>
                </c:pt>
                <c:pt idx="4921">
                  <c:v>69.3</c:v>
                </c:pt>
                <c:pt idx="4922">
                  <c:v>68.900000000000006</c:v>
                </c:pt>
                <c:pt idx="4923">
                  <c:v>68.900000000000006</c:v>
                </c:pt>
                <c:pt idx="4924">
                  <c:v>67.599999999999994</c:v>
                </c:pt>
                <c:pt idx="4925">
                  <c:v>66.900000000000006</c:v>
                </c:pt>
                <c:pt idx="4926">
                  <c:v>66.599999999999994</c:v>
                </c:pt>
                <c:pt idx="4927">
                  <c:v>66</c:v>
                </c:pt>
                <c:pt idx="4928">
                  <c:v>65.7</c:v>
                </c:pt>
                <c:pt idx="4929">
                  <c:v>65.3</c:v>
                </c:pt>
                <c:pt idx="4930">
                  <c:v>64.2</c:v>
                </c:pt>
                <c:pt idx="4931">
                  <c:v>63.3</c:v>
                </c:pt>
                <c:pt idx="4932">
                  <c:v>63</c:v>
                </c:pt>
                <c:pt idx="4933">
                  <c:v>63.7</c:v>
                </c:pt>
                <c:pt idx="4934">
                  <c:v>63.5</c:v>
                </c:pt>
                <c:pt idx="4935">
                  <c:v>62.4</c:v>
                </c:pt>
                <c:pt idx="4936">
                  <c:v>61.9</c:v>
                </c:pt>
                <c:pt idx="4937">
                  <c:v>61.7</c:v>
                </c:pt>
                <c:pt idx="4938">
                  <c:v>61.5</c:v>
                </c:pt>
                <c:pt idx="4939">
                  <c:v>61.5</c:v>
                </c:pt>
                <c:pt idx="4940">
                  <c:v>61.5</c:v>
                </c:pt>
                <c:pt idx="4941">
                  <c:v>61.3</c:v>
                </c:pt>
                <c:pt idx="4942">
                  <c:v>61.2</c:v>
                </c:pt>
                <c:pt idx="4943">
                  <c:v>60.6</c:v>
                </c:pt>
                <c:pt idx="4944">
                  <c:v>60.3</c:v>
                </c:pt>
                <c:pt idx="4945">
                  <c:v>62.2</c:v>
                </c:pt>
                <c:pt idx="4946">
                  <c:v>60.4</c:v>
                </c:pt>
                <c:pt idx="4947">
                  <c:v>59.9</c:v>
                </c:pt>
                <c:pt idx="4948">
                  <c:v>59.5</c:v>
                </c:pt>
                <c:pt idx="4949">
                  <c:v>59.2</c:v>
                </c:pt>
                <c:pt idx="4950">
                  <c:v>59.2</c:v>
                </c:pt>
                <c:pt idx="4951">
                  <c:v>59.2</c:v>
                </c:pt>
                <c:pt idx="4952">
                  <c:v>59.2</c:v>
                </c:pt>
                <c:pt idx="4953">
                  <c:v>59.4</c:v>
                </c:pt>
                <c:pt idx="4954">
                  <c:v>59.5</c:v>
                </c:pt>
                <c:pt idx="4955">
                  <c:v>61.9</c:v>
                </c:pt>
                <c:pt idx="4956">
                  <c:v>61.9</c:v>
                </c:pt>
                <c:pt idx="4957">
                  <c:v>61.9</c:v>
                </c:pt>
                <c:pt idx="4958">
                  <c:v>61.9</c:v>
                </c:pt>
                <c:pt idx="4959">
                  <c:v>61.9</c:v>
                </c:pt>
                <c:pt idx="4960">
                  <c:v>61.9</c:v>
                </c:pt>
                <c:pt idx="4961">
                  <c:v>61.9</c:v>
                </c:pt>
                <c:pt idx="4962">
                  <c:v>61.9</c:v>
                </c:pt>
                <c:pt idx="4963">
                  <c:v>61.9</c:v>
                </c:pt>
                <c:pt idx="4964">
                  <c:v>61.9</c:v>
                </c:pt>
                <c:pt idx="4965">
                  <c:v>61.9</c:v>
                </c:pt>
                <c:pt idx="4966">
                  <c:v>61.9</c:v>
                </c:pt>
                <c:pt idx="4967">
                  <c:v>61.9</c:v>
                </c:pt>
                <c:pt idx="4968">
                  <c:v>61.9</c:v>
                </c:pt>
                <c:pt idx="4969">
                  <c:v>61.9</c:v>
                </c:pt>
                <c:pt idx="4970">
                  <c:v>61.9</c:v>
                </c:pt>
                <c:pt idx="4971">
                  <c:v>73</c:v>
                </c:pt>
                <c:pt idx="4972">
                  <c:v>74.5</c:v>
                </c:pt>
                <c:pt idx="4973">
                  <c:v>75.599999999999994</c:v>
                </c:pt>
                <c:pt idx="4974">
                  <c:v>76.5</c:v>
                </c:pt>
                <c:pt idx="4975">
                  <c:v>77.7</c:v>
                </c:pt>
                <c:pt idx="4976">
                  <c:v>79</c:v>
                </c:pt>
                <c:pt idx="4977">
                  <c:v>79.5</c:v>
                </c:pt>
                <c:pt idx="4978">
                  <c:v>86.4</c:v>
                </c:pt>
                <c:pt idx="4979">
                  <c:v>80.400000000000006</c:v>
                </c:pt>
                <c:pt idx="4980">
                  <c:v>81.7</c:v>
                </c:pt>
                <c:pt idx="4981">
                  <c:v>82.8</c:v>
                </c:pt>
                <c:pt idx="4982">
                  <c:v>83.7</c:v>
                </c:pt>
                <c:pt idx="4983">
                  <c:v>83.1</c:v>
                </c:pt>
                <c:pt idx="4984">
                  <c:v>83.1</c:v>
                </c:pt>
                <c:pt idx="4985">
                  <c:v>83.7</c:v>
                </c:pt>
                <c:pt idx="4986">
                  <c:v>82.6</c:v>
                </c:pt>
                <c:pt idx="4987">
                  <c:v>83.1</c:v>
                </c:pt>
                <c:pt idx="4988">
                  <c:v>84</c:v>
                </c:pt>
                <c:pt idx="4989">
                  <c:v>84.7</c:v>
                </c:pt>
                <c:pt idx="4990">
                  <c:v>84.6</c:v>
                </c:pt>
                <c:pt idx="4991">
                  <c:v>84.6</c:v>
                </c:pt>
                <c:pt idx="4992">
                  <c:v>86</c:v>
                </c:pt>
                <c:pt idx="4993">
                  <c:v>86.5</c:v>
                </c:pt>
                <c:pt idx="4994">
                  <c:v>86.5</c:v>
                </c:pt>
                <c:pt idx="4995">
                  <c:v>85.5</c:v>
                </c:pt>
                <c:pt idx="4996">
                  <c:v>86.5</c:v>
                </c:pt>
                <c:pt idx="4997">
                  <c:v>88.3</c:v>
                </c:pt>
                <c:pt idx="4998">
                  <c:v>89.4</c:v>
                </c:pt>
                <c:pt idx="4999">
                  <c:v>84</c:v>
                </c:pt>
                <c:pt idx="5000">
                  <c:v>85.6</c:v>
                </c:pt>
                <c:pt idx="5001">
                  <c:v>83.1</c:v>
                </c:pt>
                <c:pt idx="5002">
                  <c:v>83.7</c:v>
                </c:pt>
                <c:pt idx="5003">
                  <c:v>81.099999999999994</c:v>
                </c:pt>
                <c:pt idx="5004">
                  <c:v>79.3</c:v>
                </c:pt>
                <c:pt idx="5005">
                  <c:v>78.3</c:v>
                </c:pt>
                <c:pt idx="5006">
                  <c:v>75.400000000000006</c:v>
                </c:pt>
                <c:pt idx="5007">
                  <c:v>74.7</c:v>
                </c:pt>
                <c:pt idx="5008">
                  <c:v>73.8</c:v>
                </c:pt>
                <c:pt idx="5009">
                  <c:v>72</c:v>
                </c:pt>
                <c:pt idx="5010">
                  <c:v>72</c:v>
                </c:pt>
                <c:pt idx="5011">
                  <c:v>72.099999999999994</c:v>
                </c:pt>
                <c:pt idx="5012">
                  <c:v>72</c:v>
                </c:pt>
                <c:pt idx="5013">
                  <c:v>70</c:v>
                </c:pt>
                <c:pt idx="5014">
                  <c:v>64.400000000000006</c:v>
                </c:pt>
                <c:pt idx="5015">
                  <c:v>64.2</c:v>
                </c:pt>
                <c:pt idx="5016">
                  <c:v>64</c:v>
                </c:pt>
                <c:pt idx="5017">
                  <c:v>64</c:v>
                </c:pt>
                <c:pt idx="5018">
                  <c:v>64</c:v>
                </c:pt>
                <c:pt idx="5019">
                  <c:v>64</c:v>
                </c:pt>
                <c:pt idx="5020">
                  <c:v>64</c:v>
                </c:pt>
                <c:pt idx="5021">
                  <c:v>64</c:v>
                </c:pt>
                <c:pt idx="5022">
                  <c:v>64</c:v>
                </c:pt>
                <c:pt idx="5023">
                  <c:v>64</c:v>
                </c:pt>
                <c:pt idx="5024">
                  <c:v>64</c:v>
                </c:pt>
                <c:pt idx="5025">
                  <c:v>64</c:v>
                </c:pt>
                <c:pt idx="5026">
                  <c:v>64</c:v>
                </c:pt>
                <c:pt idx="5027">
                  <c:v>64</c:v>
                </c:pt>
                <c:pt idx="5028">
                  <c:v>64</c:v>
                </c:pt>
                <c:pt idx="5029">
                  <c:v>64</c:v>
                </c:pt>
                <c:pt idx="5030">
                  <c:v>64</c:v>
                </c:pt>
                <c:pt idx="5031">
                  <c:v>64</c:v>
                </c:pt>
                <c:pt idx="5032">
                  <c:v>66</c:v>
                </c:pt>
                <c:pt idx="5033">
                  <c:v>66.599999999999994</c:v>
                </c:pt>
                <c:pt idx="5034">
                  <c:v>66.900000000000006</c:v>
                </c:pt>
                <c:pt idx="5035">
                  <c:v>67.099999999999994</c:v>
                </c:pt>
                <c:pt idx="5036">
                  <c:v>67.3</c:v>
                </c:pt>
                <c:pt idx="5037">
                  <c:v>67.599999999999994</c:v>
                </c:pt>
                <c:pt idx="5038">
                  <c:v>68</c:v>
                </c:pt>
                <c:pt idx="5039">
                  <c:v>68</c:v>
                </c:pt>
                <c:pt idx="5040">
                  <c:v>68.7</c:v>
                </c:pt>
                <c:pt idx="5041">
                  <c:v>68.7</c:v>
                </c:pt>
                <c:pt idx="5042">
                  <c:v>68.900000000000006</c:v>
                </c:pt>
                <c:pt idx="5043">
                  <c:v>68.900000000000006</c:v>
                </c:pt>
                <c:pt idx="5044">
                  <c:v>69.099999999999994</c:v>
                </c:pt>
                <c:pt idx="5045">
                  <c:v>69.099999999999994</c:v>
                </c:pt>
                <c:pt idx="5046">
                  <c:v>69.3</c:v>
                </c:pt>
                <c:pt idx="5047">
                  <c:v>68.900000000000006</c:v>
                </c:pt>
                <c:pt idx="5048">
                  <c:v>68.7</c:v>
                </c:pt>
                <c:pt idx="5049">
                  <c:v>68.400000000000006</c:v>
                </c:pt>
                <c:pt idx="5050">
                  <c:v>68.2</c:v>
                </c:pt>
                <c:pt idx="5051">
                  <c:v>68.2</c:v>
                </c:pt>
                <c:pt idx="5052">
                  <c:v>68.2</c:v>
                </c:pt>
                <c:pt idx="5053">
                  <c:v>68.2</c:v>
                </c:pt>
                <c:pt idx="5054">
                  <c:v>68.2</c:v>
                </c:pt>
                <c:pt idx="5055">
                  <c:v>68.2</c:v>
                </c:pt>
                <c:pt idx="5056">
                  <c:v>68.2</c:v>
                </c:pt>
                <c:pt idx="5057">
                  <c:v>68.2</c:v>
                </c:pt>
                <c:pt idx="5058">
                  <c:v>68.2</c:v>
                </c:pt>
                <c:pt idx="5059">
                  <c:v>68.2</c:v>
                </c:pt>
                <c:pt idx="5060">
                  <c:v>68.2</c:v>
                </c:pt>
                <c:pt idx="5061">
                  <c:v>68.2</c:v>
                </c:pt>
                <c:pt idx="5062">
                  <c:v>68.2</c:v>
                </c:pt>
                <c:pt idx="5063">
                  <c:v>68.2</c:v>
                </c:pt>
                <c:pt idx="5064">
                  <c:v>68.2</c:v>
                </c:pt>
                <c:pt idx="5065">
                  <c:v>68.2</c:v>
                </c:pt>
                <c:pt idx="5066">
                  <c:v>68.2</c:v>
                </c:pt>
                <c:pt idx="5067">
                  <c:v>68.2</c:v>
                </c:pt>
                <c:pt idx="5068">
                  <c:v>71.8</c:v>
                </c:pt>
                <c:pt idx="5069">
                  <c:v>72.7</c:v>
                </c:pt>
                <c:pt idx="5070">
                  <c:v>71.2</c:v>
                </c:pt>
                <c:pt idx="5071">
                  <c:v>71.599999999999994</c:v>
                </c:pt>
                <c:pt idx="5072">
                  <c:v>73.2</c:v>
                </c:pt>
                <c:pt idx="5073">
                  <c:v>73.2</c:v>
                </c:pt>
                <c:pt idx="5074">
                  <c:v>72.5</c:v>
                </c:pt>
                <c:pt idx="5075">
                  <c:v>73.400000000000006</c:v>
                </c:pt>
                <c:pt idx="5076">
                  <c:v>72.3</c:v>
                </c:pt>
                <c:pt idx="5077">
                  <c:v>72.7</c:v>
                </c:pt>
                <c:pt idx="5078">
                  <c:v>73.8</c:v>
                </c:pt>
                <c:pt idx="5079">
                  <c:v>73</c:v>
                </c:pt>
                <c:pt idx="5080">
                  <c:v>72.900000000000006</c:v>
                </c:pt>
                <c:pt idx="5081">
                  <c:v>72.3</c:v>
                </c:pt>
                <c:pt idx="5082">
                  <c:v>74.7</c:v>
                </c:pt>
                <c:pt idx="5083">
                  <c:v>74.8</c:v>
                </c:pt>
                <c:pt idx="5084">
                  <c:v>75.400000000000006</c:v>
                </c:pt>
                <c:pt idx="5085">
                  <c:v>77</c:v>
                </c:pt>
                <c:pt idx="5086">
                  <c:v>77</c:v>
                </c:pt>
                <c:pt idx="5087">
                  <c:v>80.099999999999994</c:v>
                </c:pt>
                <c:pt idx="5088">
                  <c:v>78.8</c:v>
                </c:pt>
                <c:pt idx="5089">
                  <c:v>77.5</c:v>
                </c:pt>
                <c:pt idx="5090">
                  <c:v>79.2</c:v>
                </c:pt>
                <c:pt idx="5091">
                  <c:v>79.7</c:v>
                </c:pt>
                <c:pt idx="5092">
                  <c:v>77</c:v>
                </c:pt>
                <c:pt idx="5093">
                  <c:v>78.599999999999994</c:v>
                </c:pt>
                <c:pt idx="5094">
                  <c:v>77.7</c:v>
                </c:pt>
                <c:pt idx="5095">
                  <c:v>79.2</c:v>
                </c:pt>
                <c:pt idx="5096">
                  <c:v>79.3</c:v>
                </c:pt>
                <c:pt idx="5097">
                  <c:v>80.400000000000006</c:v>
                </c:pt>
                <c:pt idx="5098">
                  <c:v>81.900000000000006</c:v>
                </c:pt>
                <c:pt idx="5099">
                  <c:v>81</c:v>
                </c:pt>
                <c:pt idx="5100">
                  <c:v>80.400000000000006</c:v>
                </c:pt>
                <c:pt idx="5101">
                  <c:v>81</c:v>
                </c:pt>
                <c:pt idx="5102">
                  <c:v>82.6</c:v>
                </c:pt>
                <c:pt idx="5103">
                  <c:v>82.4</c:v>
                </c:pt>
                <c:pt idx="5104">
                  <c:v>83.5</c:v>
                </c:pt>
                <c:pt idx="5105">
                  <c:v>83.8</c:v>
                </c:pt>
                <c:pt idx="5106">
                  <c:v>81.5</c:v>
                </c:pt>
                <c:pt idx="5107">
                  <c:v>82</c:v>
                </c:pt>
                <c:pt idx="5108">
                  <c:v>82.4</c:v>
                </c:pt>
                <c:pt idx="5109">
                  <c:v>81.3</c:v>
                </c:pt>
                <c:pt idx="5110">
                  <c:v>81.900000000000006</c:v>
                </c:pt>
                <c:pt idx="5111">
                  <c:v>81.900000000000006</c:v>
                </c:pt>
                <c:pt idx="5112">
                  <c:v>80.599999999999994</c:v>
                </c:pt>
                <c:pt idx="5113">
                  <c:v>82</c:v>
                </c:pt>
                <c:pt idx="5114">
                  <c:v>81.5</c:v>
                </c:pt>
                <c:pt idx="5115">
                  <c:v>82.8</c:v>
                </c:pt>
                <c:pt idx="5116">
                  <c:v>82.2</c:v>
                </c:pt>
                <c:pt idx="5117">
                  <c:v>82.4</c:v>
                </c:pt>
                <c:pt idx="5118">
                  <c:v>82.2</c:v>
                </c:pt>
                <c:pt idx="5119">
                  <c:v>80.400000000000006</c:v>
                </c:pt>
                <c:pt idx="5120">
                  <c:v>79</c:v>
                </c:pt>
                <c:pt idx="5121">
                  <c:v>77.5</c:v>
                </c:pt>
                <c:pt idx="5122">
                  <c:v>76.5</c:v>
                </c:pt>
                <c:pt idx="5123">
                  <c:v>75</c:v>
                </c:pt>
                <c:pt idx="5124">
                  <c:v>73.400000000000006</c:v>
                </c:pt>
                <c:pt idx="5125">
                  <c:v>70.900000000000006</c:v>
                </c:pt>
                <c:pt idx="5126">
                  <c:v>68.7</c:v>
                </c:pt>
                <c:pt idx="5127">
                  <c:v>66.599999999999994</c:v>
                </c:pt>
                <c:pt idx="5128">
                  <c:v>64.400000000000006</c:v>
                </c:pt>
                <c:pt idx="5129">
                  <c:v>62.8</c:v>
                </c:pt>
                <c:pt idx="5130">
                  <c:v>61.2</c:v>
                </c:pt>
                <c:pt idx="5131">
                  <c:v>59.7</c:v>
                </c:pt>
                <c:pt idx="5132">
                  <c:v>58.8</c:v>
                </c:pt>
                <c:pt idx="5133">
                  <c:v>57.6</c:v>
                </c:pt>
                <c:pt idx="5134">
                  <c:v>62.2</c:v>
                </c:pt>
                <c:pt idx="5135">
                  <c:v>61.9</c:v>
                </c:pt>
                <c:pt idx="5136">
                  <c:v>60.4</c:v>
                </c:pt>
                <c:pt idx="5137">
                  <c:v>60.3</c:v>
                </c:pt>
                <c:pt idx="5138">
                  <c:v>59.9</c:v>
                </c:pt>
                <c:pt idx="5139">
                  <c:v>58.3</c:v>
                </c:pt>
                <c:pt idx="5140">
                  <c:v>58.5</c:v>
                </c:pt>
                <c:pt idx="5141">
                  <c:v>57.9</c:v>
                </c:pt>
                <c:pt idx="5142">
                  <c:v>58.5</c:v>
                </c:pt>
                <c:pt idx="5143">
                  <c:v>57.2</c:v>
                </c:pt>
                <c:pt idx="5144">
                  <c:v>55.8</c:v>
                </c:pt>
                <c:pt idx="5145">
                  <c:v>55.6</c:v>
                </c:pt>
                <c:pt idx="5146">
                  <c:v>55.6</c:v>
                </c:pt>
                <c:pt idx="5147">
                  <c:v>55.6</c:v>
                </c:pt>
                <c:pt idx="5148">
                  <c:v>55.6</c:v>
                </c:pt>
                <c:pt idx="5149">
                  <c:v>57.2</c:v>
                </c:pt>
                <c:pt idx="5150">
                  <c:v>57.2</c:v>
                </c:pt>
                <c:pt idx="5151">
                  <c:v>57.2</c:v>
                </c:pt>
                <c:pt idx="5152">
                  <c:v>57.2</c:v>
                </c:pt>
                <c:pt idx="5153">
                  <c:v>57.2</c:v>
                </c:pt>
                <c:pt idx="5154">
                  <c:v>57.2</c:v>
                </c:pt>
                <c:pt idx="5155">
                  <c:v>57.2</c:v>
                </c:pt>
                <c:pt idx="5156">
                  <c:v>57.2</c:v>
                </c:pt>
                <c:pt idx="5157">
                  <c:v>57.2</c:v>
                </c:pt>
                <c:pt idx="5158">
                  <c:v>57.2</c:v>
                </c:pt>
                <c:pt idx="5159">
                  <c:v>76.099999999999994</c:v>
                </c:pt>
                <c:pt idx="5160">
                  <c:v>77.7</c:v>
                </c:pt>
                <c:pt idx="5161">
                  <c:v>79.5</c:v>
                </c:pt>
                <c:pt idx="5162">
                  <c:v>81.099999999999994</c:v>
                </c:pt>
                <c:pt idx="5163">
                  <c:v>82</c:v>
                </c:pt>
                <c:pt idx="5164">
                  <c:v>83.1</c:v>
                </c:pt>
                <c:pt idx="5165">
                  <c:v>83.3</c:v>
                </c:pt>
                <c:pt idx="5166">
                  <c:v>83.3</c:v>
                </c:pt>
                <c:pt idx="5167">
                  <c:v>92.1</c:v>
                </c:pt>
                <c:pt idx="5168">
                  <c:v>91.2</c:v>
                </c:pt>
                <c:pt idx="5169">
                  <c:v>90.9</c:v>
                </c:pt>
                <c:pt idx="5170">
                  <c:v>88.5</c:v>
                </c:pt>
                <c:pt idx="5171">
                  <c:v>91.4</c:v>
                </c:pt>
                <c:pt idx="5172">
                  <c:v>86.5</c:v>
                </c:pt>
                <c:pt idx="5173">
                  <c:v>84.7</c:v>
                </c:pt>
                <c:pt idx="5174">
                  <c:v>84.7</c:v>
                </c:pt>
                <c:pt idx="5175">
                  <c:v>86</c:v>
                </c:pt>
                <c:pt idx="5176">
                  <c:v>81.900000000000006</c:v>
                </c:pt>
                <c:pt idx="5177">
                  <c:v>81.900000000000006</c:v>
                </c:pt>
                <c:pt idx="5178">
                  <c:v>82.6</c:v>
                </c:pt>
                <c:pt idx="5179">
                  <c:v>82.9</c:v>
                </c:pt>
                <c:pt idx="5180">
                  <c:v>86.9</c:v>
                </c:pt>
                <c:pt idx="5181">
                  <c:v>86.5</c:v>
                </c:pt>
                <c:pt idx="5182">
                  <c:v>86.9</c:v>
                </c:pt>
                <c:pt idx="5183">
                  <c:v>86.5</c:v>
                </c:pt>
                <c:pt idx="5184">
                  <c:v>86.9</c:v>
                </c:pt>
                <c:pt idx="5185">
                  <c:v>84.9</c:v>
                </c:pt>
                <c:pt idx="5186">
                  <c:v>87.1</c:v>
                </c:pt>
                <c:pt idx="5187">
                  <c:v>84</c:v>
                </c:pt>
                <c:pt idx="5188">
                  <c:v>82.9</c:v>
                </c:pt>
                <c:pt idx="5189">
                  <c:v>80.8</c:v>
                </c:pt>
                <c:pt idx="5190">
                  <c:v>78.599999999999994</c:v>
                </c:pt>
                <c:pt idx="5191">
                  <c:v>75.7</c:v>
                </c:pt>
                <c:pt idx="5192">
                  <c:v>74.099999999999994</c:v>
                </c:pt>
                <c:pt idx="5193">
                  <c:v>72</c:v>
                </c:pt>
                <c:pt idx="5194">
                  <c:v>70</c:v>
                </c:pt>
                <c:pt idx="5195">
                  <c:v>67.8</c:v>
                </c:pt>
                <c:pt idx="5196">
                  <c:v>66.2</c:v>
                </c:pt>
                <c:pt idx="5197">
                  <c:v>64.599999999999994</c:v>
                </c:pt>
                <c:pt idx="5198">
                  <c:v>63.1</c:v>
                </c:pt>
                <c:pt idx="5199">
                  <c:v>62.2</c:v>
                </c:pt>
                <c:pt idx="5200">
                  <c:v>67.5</c:v>
                </c:pt>
                <c:pt idx="5201">
                  <c:v>66</c:v>
                </c:pt>
                <c:pt idx="5202">
                  <c:v>64.900000000000006</c:v>
                </c:pt>
                <c:pt idx="5203">
                  <c:v>63.7</c:v>
                </c:pt>
                <c:pt idx="5204">
                  <c:v>63.7</c:v>
                </c:pt>
                <c:pt idx="5205">
                  <c:v>62.8</c:v>
                </c:pt>
                <c:pt idx="5206">
                  <c:v>62.4</c:v>
                </c:pt>
                <c:pt idx="5207">
                  <c:v>62.4</c:v>
                </c:pt>
                <c:pt idx="5208">
                  <c:v>61.2</c:v>
                </c:pt>
                <c:pt idx="5209">
                  <c:v>61.2</c:v>
                </c:pt>
                <c:pt idx="5210">
                  <c:v>61.2</c:v>
                </c:pt>
                <c:pt idx="5211">
                  <c:v>61.2</c:v>
                </c:pt>
                <c:pt idx="5212">
                  <c:v>61.2</c:v>
                </c:pt>
                <c:pt idx="5213">
                  <c:v>61.2</c:v>
                </c:pt>
                <c:pt idx="5214">
                  <c:v>61.2</c:v>
                </c:pt>
                <c:pt idx="5215">
                  <c:v>61.2</c:v>
                </c:pt>
                <c:pt idx="5216">
                  <c:v>61.2</c:v>
                </c:pt>
                <c:pt idx="5217">
                  <c:v>57.6</c:v>
                </c:pt>
                <c:pt idx="5218">
                  <c:v>58.1</c:v>
                </c:pt>
                <c:pt idx="5219">
                  <c:v>57.9</c:v>
                </c:pt>
                <c:pt idx="5220">
                  <c:v>57</c:v>
                </c:pt>
                <c:pt idx="5221">
                  <c:v>57</c:v>
                </c:pt>
                <c:pt idx="5222">
                  <c:v>56.8</c:v>
                </c:pt>
                <c:pt idx="5223">
                  <c:v>57</c:v>
                </c:pt>
                <c:pt idx="5224">
                  <c:v>56.5</c:v>
                </c:pt>
                <c:pt idx="5225">
                  <c:v>56.5</c:v>
                </c:pt>
                <c:pt idx="5226">
                  <c:v>56.5</c:v>
                </c:pt>
                <c:pt idx="5227">
                  <c:v>56.1</c:v>
                </c:pt>
                <c:pt idx="5228">
                  <c:v>63.9</c:v>
                </c:pt>
                <c:pt idx="5229">
                  <c:v>66.400000000000006</c:v>
                </c:pt>
                <c:pt idx="5230">
                  <c:v>69.8</c:v>
                </c:pt>
                <c:pt idx="5231">
                  <c:v>75.599999999999994</c:v>
                </c:pt>
                <c:pt idx="5232">
                  <c:v>73.2</c:v>
                </c:pt>
                <c:pt idx="5233">
                  <c:v>78.099999999999994</c:v>
                </c:pt>
                <c:pt idx="5234">
                  <c:v>70.900000000000006</c:v>
                </c:pt>
                <c:pt idx="5235">
                  <c:v>72.5</c:v>
                </c:pt>
                <c:pt idx="5236">
                  <c:v>73.599999999999994</c:v>
                </c:pt>
                <c:pt idx="5237">
                  <c:v>74.5</c:v>
                </c:pt>
                <c:pt idx="5238">
                  <c:v>75.900000000000006</c:v>
                </c:pt>
                <c:pt idx="5239">
                  <c:v>77.2</c:v>
                </c:pt>
                <c:pt idx="5240">
                  <c:v>78.099999999999994</c:v>
                </c:pt>
                <c:pt idx="5241">
                  <c:v>78.8</c:v>
                </c:pt>
                <c:pt idx="5242">
                  <c:v>79.5</c:v>
                </c:pt>
                <c:pt idx="5243">
                  <c:v>81</c:v>
                </c:pt>
                <c:pt idx="5244">
                  <c:v>82.6</c:v>
                </c:pt>
                <c:pt idx="5245">
                  <c:v>83.5</c:v>
                </c:pt>
                <c:pt idx="5246">
                  <c:v>84.7</c:v>
                </c:pt>
                <c:pt idx="5247">
                  <c:v>85.8</c:v>
                </c:pt>
                <c:pt idx="5248">
                  <c:v>86</c:v>
                </c:pt>
                <c:pt idx="5249">
                  <c:v>86.7</c:v>
                </c:pt>
                <c:pt idx="5250">
                  <c:v>87.6</c:v>
                </c:pt>
                <c:pt idx="5251">
                  <c:v>88</c:v>
                </c:pt>
                <c:pt idx="5252">
                  <c:v>87.8</c:v>
                </c:pt>
                <c:pt idx="5253">
                  <c:v>88.2</c:v>
                </c:pt>
                <c:pt idx="5254">
                  <c:v>89.2</c:v>
                </c:pt>
                <c:pt idx="5255">
                  <c:v>90.5</c:v>
                </c:pt>
                <c:pt idx="5256">
                  <c:v>91.6</c:v>
                </c:pt>
                <c:pt idx="5257">
                  <c:v>92.1</c:v>
                </c:pt>
                <c:pt idx="5258">
                  <c:v>92.5</c:v>
                </c:pt>
                <c:pt idx="5259">
                  <c:v>92.5</c:v>
                </c:pt>
                <c:pt idx="5260">
                  <c:v>91.9</c:v>
                </c:pt>
                <c:pt idx="5261">
                  <c:v>91.8</c:v>
                </c:pt>
                <c:pt idx="5262">
                  <c:v>92.7</c:v>
                </c:pt>
                <c:pt idx="5263">
                  <c:v>90.5</c:v>
                </c:pt>
                <c:pt idx="5264">
                  <c:v>91</c:v>
                </c:pt>
                <c:pt idx="5265">
                  <c:v>89.8</c:v>
                </c:pt>
                <c:pt idx="5266">
                  <c:v>89.8</c:v>
                </c:pt>
                <c:pt idx="5267">
                  <c:v>88.7</c:v>
                </c:pt>
                <c:pt idx="5268">
                  <c:v>89.8</c:v>
                </c:pt>
                <c:pt idx="5269">
                  <c:v>91.6</c:v>
                </c:pt>
                <c:pt idx="5270">
                  <c:v>89.1</c:v>
                </c:pt>
                <c:pt idx="5271">
                  <c:v>86.9</c:v>
                </c:pt>
                <c:pt idx="5272">
                  <c:v>84.4</c:v>
                </c:pt>
                <c:pt idx="5273">
                  <c:v>83.3</c:v>
                </c:pt>
                <c:pt idx="5274">
                  <c:v>81</c:v>
                </c:pt>
                <c:pt idx="5275">
                  <c:v>78.599999999999994</c:v>
                </c:pt>
                <c:pt idx="5276">
                  <c:v>76.5</c:v>
                </c:pt>
                <c:pt idx="5277">
                  <c:v>73.900000000000006</c:v>
                </c:pt>
                <c:pt idx="5278">
                  <c:v>71.8</c:v>
                </c:pt>
                <c:pt idx="5279">
                  <c:v>70.3</c:v>
                </c:pt>
                <c:pt idx="5280">
                  <c:v>68.7</c:v>
                </c:pt>
                <c:pt idx="5281">
                  <c:v>67.3</c:v>
                </c:pt>
                <c:pt idx="5282">
                  <c:v>66</c:v>
                </c:pt>
                <c:pt idx="5283">
                  <c:v>64.900000000000006</c:v>
                </c:pt>
                <c:pt idx="5284">
                  <c:v>70</c:v>
                </c:pt>
                <c:pt idx="5285">
                  <c:v>68.7</c:v>
                </c:pt>
                <c:pt idx="5286">
                  <c:v>68.5</c:v>
                </c:pt>
                <c:pt idx="5287">
                  <c:v>67.8</c:v>
                </c:pt>
                <c:pt idx="5288">
                  <c:v>66.900000000000006</c:v>
                </c:pt>
                <c:pt idx="5289">
                  <c:v>66</c:v>
                </c:pt>
                <c:pt idx="5290">
                  <c:v>65.3</c:v>
                </c:pt>
                <c:pt idx="5291">
                  <c:v>65.3</c:v>
                </c:pt>
                <c:pt idx="5292">
                  <c:v>65.3</c:v>
                </c:pt>
                <c:pt idx="5293">
                  <c:v>66.400000000000006</c:v>
                </c:pt>
                <c:pt idx="5294">
                  <c:v>64.400000000000006</c:v>
                </c:pt>
                <c:pt idx="5295">
                  <c:v>62.4</c:v>
                </c:pt>
                <c:pt idx="5296">
                  <c:v>62.4</c:v>
                </c:pt>
                <c:pt idx="5297">
                  <c:v>62.4</c:v>
                </c:pt>
                <c:pt idx="5298">
                  <c:v>62.4</c:v>
                </c:pt>
                <c:pt idx="5299">
                  <c:v>62.4</c:v>
                </c:pt>
                <c:pt idx="5300">
                  <c:v>62.4</c:v>
                </c:pt>
                <c:pt idx="5301">
                  <c:v>62.4</c:v>
                </c:pt>
                <c:pt idx="5302">
                  <c:v>62.4</c:v>
                </c:pt>
                <c:pt idx="5303">
                  <c:v>60.4</c:v>
                </c:pt>
                <c:pt idx="5304">
                  <c:v>60.4</c:v>
                </c:pt>
                <c:pt idx="5305">
                  <c:v>62.1</c:v>
                </c:pt>
                <c:pt idx="5306">
                  <c:v>60.4</c:v>
                </c:pt>
                <c:pt idx="5307">
                  <c:v>59.7</c:v>
                </c:pt>
                <c:pt idx="5308">
                  <c:v>59.7</c:v>
                </c:pt>
                <c:pt idx="5309">
                  <c:v>59.4</c:v>
                </c:pt>
                <c:pt idx="5310">
                  <c:v>59.2</c:v>
                </c:pt>
                <c:pt idx="5311">
                  <c:v>59.2</c:v>
                </c:pt>
                <c:pt idx="5312">
                  <c:v>59</c:v>
                </c:pt>
                <c:pt idx="5313">
                  <c:v>59</c:v>
                </c:pt>
                <c:pt idx="5314">
                  <c:v>58.6</c:v>
                </c:pt>
                <c:pt idx="5315">
                  <c:v>59</c:v>
                </c:pt>
                <c:pt idx="5316">
                  <c:v>58.3</c:v>
                </c:pt>
                <c:pt idx="5317">
                  <c:v>58.5</c:v>
                </c:pt>
                <c:pt idx="5318">
                  <c:v>58.5</c:v>
                </c:pt>
                <c:pt idx="5319">
                  <c:v>58.5</c:v>
                </c:pt>
                <c:pt idx="5320">
                  <c:v>59.9</c:v>
                </c:pt>
                <c:pt idx="5321">
                  <c:v>61.3</c:v>
                </c:pt>
                <c:pt idx="5322">
                  <c:v>64.900000000000006</c:v>
                </c:pt>
                <c:pt idx="5323">
                  <c:v>68.5</c:v>
                </c:pt>
                <c:pt idx="5324">
                  <c:v>69.099999999999994</c:v>
                </c:pt>
                <c:pt idx="5325">
                  <c:v>74.099999999999994</c:v>
                </c:pt>
                <c:pt idx="5326">
                  <c:v>77.900000000000006</c:v>
                </c:pt>
                <c:pt idx="5327">
                  <c:v>77.900000000000006</c:v>
                </c:pt>
                <c:pt idx="5328">
                  <c:v>79.7</c:v>
                </c:pt>
                <c:pt idx="5329">
                  <c:v>82.6</c:v>
                </c:pt>
                <c:pt idx="5330">
                  <c:v>71.400000000000006</c:v>
                </c:pt>
                <c:pt idx="5331">
                  <c:v>72.7</c:v>
                </c:pt>
                <c:pt idx="5332">
                  <c:v>74.3</c:v>
                </c:pt>
                <c:pt idx="5333">
                  <c:v>76.099999999999994</c:v>
                </c:pt>
                <c:pt idx="5334">
                  <c:v>77.7</c:v>
                </c:pt>
                <c:pt idx="5335">
                  <c:v>79.2</c:v>
                </c:pt>
                <c:pt idx="5336">
                  <c:v>80.2</c:v>
                </c:pt>
                <c:pt idx="5337">
                  <c:v>81.3</c:v>
                </c:pt>
                <c:pt idx="5338">
                  <c:v>82.4</c:v>
                </c:pt>
                <c:pt idx="5339">
                  <c:v>84.6</c:v>
                </c:pt>
                <c:pt idx="5340">
                  <c:v>85.5</c:v>
                </c:pt>
                <c:pt idx="5341">
                  <c:v>87.4</c:v>
                </c:pt>
                <c:pt idx="5342">
                  <c:v>88</c:v>
                </c:pt>
                <c:pt idx="5343">
                  <c:v>86.5</c:v>
                </c:pt>
                <c:pt idx="5344">
                  <c:v>89.6</c:v>
                </c:pt>
                <c:pt idx="5345">
                  <c:v>87.4</c:v>
                </c:pt>
                <c:pt idx="5346">
                  <c:v>90</c:v>
                </c:pt>
                <c:pt idx="5347">
                  <c:v>88</c:v>
                </c:pt>
                <c:pt idx="5348">
                  <c:v>90</c:v>
                </c:pt>
                <c:pt idx="5349">
                  <c:v>88.9</c:v>
                </c:pt>
                <c:pt idx="5350">
                  <c:v>89.8</c:v>
                </c:pt>
                <c:pt idx="5351">
                  <c:v>90</c:v>
                </c:pt>
                <c:pt idx="5352">
                  <c:v>89.1</c:v>
                </c:pt>
                <c:pt idx="5353">
                  <c:v>88.2</c:v>
                </c:pt>
                <c:pt idx="5354">
                  <c:v>87.4</c:v>
                </c:pt>
                <c:pt idx="5355">
                  <c:v>89.1</c:v>
                </c:pt>
                <c:pt idx="5356">
                  <c:v>89.1</c:v>
                </c:pt>
                <c:pt idx="5357">
                  <c:v>88.3</c:v>
                </c:pt>
                <c:pt idx="5358">
                  <c:v>89.4</c:v>
                </c:pt>
                <c:pt idx="5359">
                  <c:v>90.3</c:v>
                </c:pt>
                <c:pt idx="5360">
                  <c:v>88.2</c:v>
                </c:pt>
                <c:pt idx="5361">
                  <c:v>90</c:v>
                </c:pt>
                <c:pt idx="5362">
                  <c:v>89.2</c:v>
                </c:pt>
                <c:pt idx="5363">
                  <c:v>86.5</c:v>
                </c:pt>
                <c:pt idx="5364">
                  <c:v>84.6</c:v>
                </c:pt>
                <c:pt idx="5365">
                  <c:v>85.5</c:v>
                </c:pt>
                <c:pt idx="5366">
                  <c:v>85.5</c:v>
                </c:pt>
                <c:pt idx="5367">
                  <c:v>84.7</c:v>
                </c:pt>
                <c:pt idx="5368">
                  <c:v>84.6</c:v>
                </c:pt>
                <c:pt idx="5369">
                  <c:v>83.7</c:v>
                </c:pt>
                <c:pt idx="5370">
                  <c:v>83.8</c:v>
                </c:pt>
                <c:pt idx="5371">
                  <c:v>81.900000000000006</c:v>
                </c:pt>
                <c:pt idx="5372">
                  <c:v>80.2</c:v>
                </c:pt>
                <c:pt idx="5373">
                  <c:v>78.599999999999994</c:v>
                </c:pt>
                <c:pt idx="5374">
                  <c:v>76.599999999999994</c:v>
                </c:pt>
                <c:pt idx="5375">
                  <c:v>75.599999999999994</c:v>
                </c:pt>
                <c:pt idx="5376">
                  <c:v>74.099999999999994</c:v>
                </c:pt>
                <c:pt idx="5377">
                  <c:v>73.599999999999994</c:v>
                </c:pt>
                <c:pt idx="5378">
                  <c:v>72.7</c:v>
                </c:pt>
                <c:pt idx="5379">
                  <c:v>72.7</c:v>
                </c:pt>
                <c:pt idx="5380">
                  <c:v>71.599999999999994</c:v>
                </c:pt>
                <c:pt idx="5381">
                  <c:v>70.5</c:v>
                </c:pt>
                <c:pt idx="5382">
                  <c:v>69.8</c:v>
                </c:pt>
                <c:pt idx="5383">
                  <c:v>68.5</c:v>
                </c:pt>
                <c:pt idx="5384">
                  <c:v>67.8</c:v>
                </c:pt>
                <c:pt idx="5385">
                  <c:v>67.5</c:v>
                </c:pt>
                <c:pt idx="5386">
                  <c:v>67.5</c:v>
                </c:pt>
                <c:pt idx="5387">
                  <c:v>66.2</c:v>
                </c:pt>
                <c:pt idx="5388">
                  <c:v>65.8</c:v>
                </c:pt>
                <c:pt idx="5389">
                  <c:v>65.099999999999994</c:v>
                </c:pt>
                <c:pt idx="5390">
                  <c:v>64.2</c:v>
                </c:pt>
                <c:pt idx="5391">
                  <c:v>63.7</c:v>
                </c:pt>
                <c:pt idx="5392">
                  <c:v>63.5</c:v>
                </c:pt>
                <c:pt idx="5393">
                  <c:v>62.8</c:v>
                </c:pt>
                <c:pt idx="5394">
                  <c:v>62.8</c:v>
                </c:pt>
                <c:pt idx="5395">
                  <c:v>63.1</c:v>
                </c:pt>
                <c:pt idx="5396">
                  <c:v>63</c:v>
                </c:pt>
                <c:pt idx="5397">
                  <c:v>62.2</c:v>
                </c:pt>
                <c:pt idx="5398">
                  <c:v>62.6</c:v>
                </c:pt>
                <c:pt idx="5399">
                  <c:v>62.2</c:v>
                </c:pt>
                <c:pt idx="5400">
                  <c:v>61.5</c:v>
                </c:pt>
                <c:pt idx="5401">
                  <c:v>61.3</c:v>
                </c:pt>
                <c:pt idx="5402">
                  <c:v>61.9</c:v>
                </c:pt>
                <c:pt idx="5403">
                  <c:v>61.9</c:v>
                </c:pt>
                <c:pt idx="5404">
                  <c:v>61.9</c:v>
                </c:pt>
                <c:pt idx="5405">
                  <c:v>61.5</c:v>
                </c:pt>
                <c:pt idx="5406">
                  <c:v>61.3</c:v>
                </c:pt>
                <c:pt idx="5407">
                  <c:v>61.3</c:v>
                </c:pt>
                <c:pt idx="5408">
                  <c:v>61.5</c:v>
                </c:pt>
                <c:pt idx="5409">
                  <c:v>61.5</c:v>
                </c:pt>
                <c:pt idx="5410">
                  <c:v>61.2</c:v>
                </c:pt>
                <c:pt idx="5411">
                  <c:v>91.4</c:v>
                </c:pt>
                <c:pt idx="5412">
                  <c:v>92.3</c:v>
                </c:pt>
                <c:pt idx="5413">
                  <c:v>92.8</c:v>
                </c:pt>
                <c:pt idx="5414">
                  <c:v>92.8</c:v>
                </c:pt>
                <c:pt idx="5415">
                  <c:v>91.6</c:v>
                </c:pt>
                <c:pt idx="5416">
                  <c:v>91.2</c:v>
                </c:pt>
                <c:pt idx="5417">
                  <c:v>90.1</c:v>
                </c:pt>
                <c:pt idx="5418">
                  <c:v>89.1</c:v>
                </c:pt>
                <c:pt idx="5419">
                  <c:v>89.2</c:v>
                </c:pt>
                <c:pt idx="5420">
                  <c:v>88.3</c:v>
                </c:pt>
                <c:pt idx="5421">
                  <c:v>89.1</c:v>
                </c:pt>
                <c:pt idx="5422">
                  <c:v>89.6</c:v>
                </c:pt>
                <c:pt idx="5423">
                  <c:v>88.7</c:v>
                </c:pt>
                <c:pt idx="5424">
                  <c:v>88.7</c:v>
                </c:pt>
                <c:pt idx="5425">
                  <c:v>87.3</c:v>
                </c:pt>
                <c:pt idx="5426">
                  <c:v>86.4</c:v>
                </c:pt>
                <c:pt idx="5427">
                  <c:v>85.6</c:v>
                </c:pt>
                <c:pt idx="5428">
                  <c:v>84.4</c:v>
                </c:pt>
                <c:pt idx="5429">
                  <c:v>82.8</c:v>
                </c:pt>
                <c:pt idx="5430">
                  <c:v>81.3</c:v>
                </c:pt>
                <c:pt idx="5431">
                  <c:v>79.7</c:v>
                </c:pt>
                <c:pt idx="5432">
                  <c:v>77.400000000000006</c:v>
                </c:pt>
                <c:pt idx="5433">
                  <c:v>74.8</c:v>
                </c:pt>
                <c:pt idx="5434">
                  <c:v>73</c:v>
                </c:pt>
                <c:pt idx="5435">
                  <c:v>71.400000000000006</c:v>
                </c:pt>
                <c:pt idx="5436">
                  <c:v>69.8</c:v>
                </c:pt>
                <c:pt idx="5437">
                  <c:v>75.2</c:v>
                </c:pt>
                <c:pt idx="5438">
                  <c:v>73.599999999999994</c:v>
                </c:pt>
                <c:pt idx="5439">
                  <c:v>73</c:v>
                </c:pt>
                <c:pt idx="5440">
                  <c:v>72.3</c:v>
                </c:pt>
                <c:pt idx="5441">
                  <c:v>72.099999999999994</c:v>
                </c:pt>
                <c:pt idx="5442">
                  <c:v>71.8</c:v>
                </c:pt>
                <c:pt idx="5443">
                  <c:v>71.2</c:v>
                </c:pt>
                <c:pt idx="5444">
                  <c:v>71.099999999999994</c:v>
                </c:pt>
                <c:pt idx="5445">
                  <c:v>70.7</c:v>
                </c:pt>
                <c:pt idx="5446">
                  <c:v>71.2</c:v>
                </c:pt>
                <c:pt idx="5447">
                  <c:v>71.400000000000006</c:v>
                </c:pt>
                <c:pt idx="5448">
                  <c:v>70.7</c:v>
                </c:pt>
                <c:pt idx="5449">
                  <c:v>70.2</c:v>
                </c:pt>
                <c:pt idx="5450">
                  <c:v>70.2</c:v>
                </c:pt>
                <c:pt idx="5451">
                  <c:v>68.5</c:v>
                </c:pt>
                <c:pt idx="5452">
                  <c:v>68.400000000000006</c:v>
                </c:pt>
                <c:pt idx="5453">
                  <c:v>69.8</c:v>
                </c:pt>
                <c:pt idx="5454">
                  <c:v>68.400000000000006</c:v>
                </c:pt>
                <c:pt idx="5455">
                  <c:v>65.8</c:v>
                </c:pt>
                <c:pt idx="5456">
                  <c:v>65.8</c:v>
                </c:pt>
                <c:pt idx="5457">
                  <c:v>65.8</c:v>
                </c:pt>
                <c:pt idx="5458">
                  <c:v>65.8</c:v>
                </c:pt>
                <c:pt idx="5459">
                  <c:v>68.400000000000006</c:v>
                </c:pt>
                <c:pt idx="5460">
                  <c:v>67.599999999999994</c:v>
                </c:pt>
                <c:pt idx="5461">
                  <c:v>67.099999999999994</c:v>
                </c:pt>
                <c:pt idx="5462">
                  <c:v>66.7</c:v>
                </c:pt>
                <c:pt idx="5463">
                  <c:v>66.2</c:v>
                </c:pt>
                <c:pt idx="5464">
                  <c:v>66</c:v>
                </c:pt>
                <c:pt idx="5465">
                  <c:v>65.5</c:v>
                </c:pt>
                <c:pt idx="5466">
                  <c:v>65.3</c:v>
                </c:pt>
                <c:pt idx="5467">
                  <c:v>65.099999999999994</c:v>
                </c:pt>
                <c:pt idx="5468">
                  <c:v>64.8</c:v>
                </c:pt>
                <c:pt idx="5469">
                  <c:v>64.400000000000006</c:v>
                </c:pt>
                <c:pt idx="5470">
                  <c:v>64.2</c:v>
                </c:pt>
                <c:pt idx="5471">
                  <c:v>66.2</c:v>
                </c:pt>
                <c:pt idx="5472">
                  <c:v>64.900000000000006</c:v>
                </c:pt>
                <c:pt idx="5473">
                  <c:v>64.599999999999994</c:v>
                </c:pt>
                <c:pt idx="5474">
                  <c:v>64.599999999999994</c:v>
                </c:pt>
                <c:pt idx="5475">
                  <c:v>64.400000000000006</c:v>
                </c:pt>
                <c:pt idx="5476">
                  <c:v>65.3</c:v>
                </c:pt>
                <c:pt idx="5477">
                  <c:v>66.900000000000006</c:v>
                </c:pt>
                <c:pt idx="5478">
                  <c:v>67.099999999999994</c:v>
                </c:pt>
                <c:pt idx="5479">
                  <c:v>67.099999999999994</c:v>
                </c:pt>
                <c:pt idx="5480">
                  <c:v>67.099999999999994</c:v>
                </c:pt>
                <c:pt idx="5481">
                  <c:v>67.099999999999994</c:v>
                </c:pt>
                <c:pt idx="5482">
                  <c:v>67.099999999999994</c:v>
                </c:pt>
                <c:pt idx="5483">
                  <c:v>67.099999999999994</c:v>
                </c:pt>
                <c:pt idx="5484">
                  <c:v>67.099999999999994</c:v>
                </c:pt>
                <c:pt idx="5485">
                  <c:v>67.099999999999994</c:v>
                </c:pt>
                <c:pt idx="5486">
                  <c:v>77.400000000000006</c:v>
                </c:pt>
                <c:pt idx="5487">
                  <c:v>78.099999999999994</c:v>
                </c:pt>
                <c:pt idx="5488">
                  <c:v>78.8</c:v>
                </c:pt>
                <c:pt idx="5489">
                  <c:v>79.7</c:v>
                </c:pt>
                <c:pt idx="5490">
                  <c:v>80.599999999999994</c:v>
                </c:pt>
                <c:pt idx="5491">
                  <c:v>81.7</c:v>
                </c:pt>
                <c:pt idx="5492">
                  <c:v>83.1</c:v>
                </c:pt>
                <c:pt idx="5493">
                  <c:v>67.099999999999994</c:v>
                </c:pt>
                <c:pt idx="5494">
                  <c:v>83.7</c:v>
                </c:pt>
                <c:pt idx="5495">
                  <c:v>85.1</c:v>
                </c:pt>
                <c:pt idx="5496">
                  <c:v>88</c:v>
                </c:pt>
                <c:pt idx="5497">
                  <c:v>86.5</c:v>
                </c:pt>
                <c:pt idx="5498">
                  <c:v>85.3</c:v>
                </c:pt>
                <c:pt idx="5499">
                  <c:v>88.7</c:v>
                </c:pt>
                <c:pt idx="5500">
                  <c:v>87.4</c:v>
                </c:pt>
                <c:pt idx="5501">
                  <c:v>87.4</c:v>
                </c:pt>
                <c:pt idx="5502">
                  <c:v>87.4</c:v>
                </c:pt>
                <c:pt idx="5503">
                  <c:v>90.1</c:v>
                </c:pt>
                <c:pt idx="5504">
                  <c:v>90.1</c:v>
                </c:pt>
                <c:pt idx="5505">
                  <c:v>90.1</c:v>
                </c:pt>
                <c:pt idx="5506">
                  <c:v>84.2</c:v>
                </c:pt>
                <c:pt idx="5507">
                  <c:v>84.9</c:v>
                </c:pt>
                <c:pt idx="5508">
                  <c:v>86</c:v>
                </c:pt>
                <c:pt idx="5509">
                  <c:v>86</c:v>
                </c:pt>
                <c:pt idx="5510">
                  <c:v>88.3</c:v>
                </c:pt>
                <c:pt idx="5511">
                  <c:v>88.2</c:v>
                </c:pt>
                <c:pt idx="5512">
                  <c:v>88.2</c:v>
                </c:pt>
                <c:pt idx="5513">
                  <c:v>88.2</c:v>
                </c:pt>
                <c:pt idx="5514">
                  <c:v>86.4</c:v>
                </c:pt>
                <c:pt idx="5515">
                  <c:v>86.4</c:v>
                </c:pt>
                <c:pt idx="5516">
                  <c:v>86.2</c:v>
                </c:pt>
                <c:pt idx="5517">
                  <c:v>84</c:v>
                </c:pt>
                <c:pt idx="5518">
                  <c:v>83.5</c:v>
                </c:pt>
                <c:pt idx="5519">
                  <c:v>83.8</c:v>
                </c:pt>
                <c:pt idx="5520">
                  <c:v>83.8</c:v>
                </c:pt>
                <c:pt idx="5521">
                  <c:v>84.4</c:v>
                </c:pt>
                <c:pt idx="5522">
                  <c:v>84.7</c:v>
                </c:pt>
                <c:pt idx="5523">
                  <c:v>84.7</c:v>
                </c:pt>
                <c:pt idx="5524">
                  <c:v>83.5</c:v>
                </c:pt>
                <c:pt idx="5525">
                  <c:v>82.2</c:v>
                </c:pt>
                <c:pt idx="5526">
                  <c:v>81</c:v>
                </c:pt>
                <c:pt idx="5527">
                  <c:v>79.2</c:v>
                </c:pt>
                <c:pt idx="5528">
                  <c:v>78.3</c:v>
                </c:pt>
                <c:pt idx="5529">
                  <c:v>77</c:v>
                </c:pt>
                <c:pt idx="5530">
                  <c:v>76.099999999999994</c:v>
                </c:pt>
                <c:pt idx="5531">
                  <c:v>74.8</c:v>
                </c:pt>
                <c:pt idx="5532">
                  <c:v>73.8</c:v>
                </c:pt>
                <c:pt idx="5533">
                  <c:v>73</c:v>
                </c:pt>
                <c:pt idx="5534">
                  <c:v>72.7</c:v>
                </c:pt>
                <c:pt idx="5535">
                  <c:v>72</c:v>
                </c:pt>
                <c:pt idx="5536">
                  <c:v>71.400000000000006</c:v>
                </c:pt>
                <c:pt idx="5537">
                  <c:v>70.900000000000006</c:v>
                </c:pt>
                <c:pt idx="5538">
                  <c:v>70.3</c:v>
                </c:pt>
                <c:pt idx="5539">
                  <c:v>70</c:v>
                </c:pt>
                <c:pt idx="5540">
                  <c:v>69.3</c:v>
                </c:pt>
                <c:pt idx="5541">
                  <c:v>68.400000000000006</c:v>
                </c:pt>
                <c:pt idx="5542">
                  <c:v>67.599999999999994</c:v>
                </c:pt>
                <c:pt idx="5543">
                  <c:v>72.900000000000006</c:v>
                </c:pt>
                <c:pt idx="5544">
                  <c:v>71.400000000000006</c:v>
                </c:pt>
                <c:pt idx="5545">
                  <c:v>70.7</c:v>
                </c:pt>
                <c:pt idx="5546">
                  <c:v>70</c:v>
                </c:pt>
                <c:pt idx="5547">
                  <c:v>69.400000000000006</c:v>
                </c:pt>
                <c:pt idx="5548">
                  <c:v>68.900000000000006</c:v>
                </c:pt>
                <c:pt idx="5549">
                  <c:v>68.400000000000006</c:v>
                </c:pt>
                <c:pt idx="5550">
                  <c:v>68</c:v>
                </c:pt>
                <c:pt idx="5551">
                  <c:v>67.3</c:v>
                </c:pt>
                <c:pt idx="5552">
                  <c:v>67.3</c:v>
                </c:pt>
                <c:pt idx="5553">
                  <c:v>67.3</c:v>
                </c:pt>
                <c:pt idx="5554">
                  <c:v>67.3</c:v>
                </c:pt>
                <c:pt idx="5555">
                  <c:v>67.3</c:v>
                </c:pt>
                <c:pt idx="5556">
                  <c:v>67.3</c:v>
                </c:pt>
                <c:pt idx="5557">
                  <c:v>67.3</c:v>
                </c:pt>
                <c:pt idx="5558">
                  <c:v>67.3</c:v>
                </c:pt>
                <c:pt idx="5559">
                  <c:v>67.599999999999994</c:v>
                </c:pt>
                <c:pt idx="5560">
                  <c:v>69.400000000000006</c:v>
                </c:pt>
                <c:pt idx="5561">
                  <c:v>68.2</c:v>
                </c:pt>
                <c:pt idx="5562">
                  <c:v>67.599999999999994</c:v>
                </c:pt>
                <c:pt idx="5563">
                  <c:v>67.3</c:v>
                </c:pt>
                <c:pt idx="5564">
                  <c:v>67.099999999999994</c:v>
                </c:pt>
                <c:pt idx="5565">
                  <c:v>66.900000000000006</c:v>
                </c:pt>
                <c:pt idx="5566">
                  <c:v>66.7</c:v>
                </c:pt>
                <c:pt idx="5567">
                  <c:v>66.900000000000006</c:v>
                </c:pt>
                <c:pt idx="5568">
                  <c:v>67.099999999999994</c:v>
                </c:pt>
                <c:pt idx="5569">
                  <c:v>68.900000000000006</c:v>
                </c:pt>
                <c:pt idx="5570">
                  <c:v>68.2</c:v>
                </c:pt>
                <c:pt idx="5571">
                  <c:v>68.2</c:v>
                </c:pt>
                <c:pt idx="5572">
                  <c:v>68.400000000000006</c:v>
                </c:pt>
                <c:pt idx="5573">
                  <c:v>69.099999999999994</c:v>
                </c:pt>
                <c:pt idx="5574">
                  <c:v>69.599999999999994</c:v>
                </c:pt>
                <c:pt idx="5575">
                  <c:v>69.099999999999994</c:v>
                </c:pt>
                <c:pt idx="5576">
                  <c:v>69.3</c:v>
                </c:pt>
                <c:pt idx="5577">
                  <c:v>70.2</c:v>
                </c:pt>
                <c:pt idx="5578">
                  <c:v>71.2</c:v>
                </c:pt>
                <c:pt idx="5579">
                  <c:v>72.3</c:v>
                </c:pt>
                <c:pt idx="5580">
                  <c:v>73</c:v>
                </c:pt>
                <c:pt idx="5581">
                  <c:v>73.8</c:v>
                </c:pt>
                <c:pt idx="5582">
                  <c:v>75.400000000000006</c:v>
                </c:pt>
                <c:pt idx="5583">
                  <c:v>77</c:v>
                </c:pt>
                <c:pt idx="5584">
                  <c:v>76.099999999999994</c:v>
                </c:pt>
                <c:pt idx="5585">
                  <c:v>76.099999999999994</c:v>
                </c:pt>
                <c:pt idx="5586">
                  <c:v>76.099999999999994</c:v>
                </c:pt>
                <c:pt idx="5587">
                  <c:v>76.099999999999994</c:v>
                </c:pt>
                <c:pt idx="5588">
                  <c:v>76.099999999999994</c:v>
                </c:pt>
                <c:pt idx="5589">
                  <c:v>76.099999999999994</c:v>
                </c:pt>
                <c:pt idx="5590">
                  <c:v>76.099999999999994</c:v>
                </c:pt>
                <c:pt idx="5591">
                  <c:v>76.099999999999994</c:v>
                </c:pt>
                <c:pt idx="5592">
                  <c:v>76.099999999999994</c:v>
                </c:pt>
                <c:pt idx="5593">
                  <c:v>76.099999999999994</c:v>
                </c:pt>
                <c:pt idx="5594">
                  <c:v>76.099999999999994</c:v>
                </c:pt>
                <c:pt idx="5595">
                  <c:v>76.099999999999994</c:v>
                </c:pt>
                <c:pt idx="5596">
                  <c:v>76.099999999999994</c:v>
                </c:pt>
                <c:pt idx="5597">
                  <c:v>79</c:v>
                </c:pt>
                <c:pt idx="5598">
                  <c:v>79</c:v>
                </c:pt>
                <c:pt idx="5599">
                  <c:v>80.2</c:v>
                </c:pt>
                <c:pt idx="5600">
                  <c:v>79.5</c:v>
                </c:pt>
                <c:pt idx="5601">
                  <c:v>80.2</c:v>
                </c:pt>
                <c:pt idx="5602">
                  <c:v>80.2</c:v>
                </c:pt>
                <c:pt idx="5603">
                  <c:v>82.2</c:v>
                </c:pt>
                <c:pt idx="5604">
                  <c:v>85.6</c:v>
                </c:pt>
                <c:pt idx="5605">
                  <c:v>82.9</c:v>
                </c:pt>
                <c:pt idx="5606">
                  <c:v>83.5</c:v>
                </c:pt>
                <c:pt idx="5607">
                  <c:v>83.5</c:v>
                </c:pt>
                <c:pt idx="5608">
                  <c:v>86.9</c:v>
                </c:pt>
                <c:pt idx="5609">
                  <c:v>85.8</c:v>
                </c:pt>
                <c:pt idx="5610">
                  <c:v>87.4</c:v>
                </c:pt>
                <c:pt idx="5611">
                  <c:v>85.3</c:v>
                </c:pt>
                <c:pt idx="5612">
                  <c:v>86.4</c:v>
                </c:pt>
                <c:pt idx="5613">
                  <c:v>84.7</c:v>
                </c:pt>
                <c:pt idx="5614">
                  <c:v>82.8</c:v>
                </c:pt>
                <c:pt idx="5615">
                  <c:v>83.1</c:v>
                </c:pt>
                <c:pt idx="5616">
                  <c:v>84.2</c:v>
                </c:pt>
                <c:pt idx="5617">
                  <c:v>84.7</c:v>
                </c:pt>
                <c:pt idx="5618">
                  <c:v>83.3</c:v>
                </c:pt>
                <c:pt idx="5619">
                  <c:v>83.1</c:v>
                </c:pt>
                <c:pt idx="5620">
                  <c:v>81.7</c:v>
                </c:pt>
                <c:pt idx="5621">
                  <c:v>79.900000000000006</c:v>
                </c:pt>
                <c:pt idx="5622">
                  <c:v>78.3</c:v>
                </c:pt>
                <c:pt idx="5623">
                  <c:v>76.599999999999994</c:v>
                </c:pt>
                <c:pt idx="5624">
                  <c:v>75.2</c:v>
                </c:pt>
                <c:pt idx="5625">
                  <c:v>73.599999999999994</c:v>
                </c:pt>
                <c:pt idx="5626">
                  <c:v>72.3</c:v>
                </c:pt>
                <c:pt idx="5627">
                  <c:v>71.599999999999994</c:v>
                </c:pt>
                <c:pt idx="5628">
                  <c:v>71.099999999999994</c:v>
                </c:pt>
                <c:pt idx="5629">
                  <c:v>70.5</c:v>
                </c:pt>
                <c:pt idx="5630">
                  <c:v>70</c:v>
                </c:pt>
                <c:pt idx="5631">
                  <c:v>69.3</c:v>
                </c:pt>
                <c:pt idx="5632">
                  <c:v>68.900000000000006</c:v>
                </c:pt>
                <c:pt idx="5633">
                  <c:v>68.2</c:v>
                </c:pt>
                <c:pt idx="5634">
                  <c:v>68</c:v>
                </c:pt>
                <c:pt idx="5635">
                  <c:v>68</c:v>
                </c:pt>
                <c:pt idx="5636">
                  <c:v>68</c:v>
                </c:pt>
                <c:pt idx="5637">
                  <c:v>68</c:v>
                </c:pt>
                <c:pt idx="5638">
                  <c:v>68</c:v>
                </c:pt>
                <c:pt idx="5639">
                  <c:v>68</c:v>
                </c:pt>
                <c:pt idx="5640">
                  <c:v>68</c:v>
                </c:pt>
                <c:pt idx="5641">
                  <c:v>68</c:v>
                </c:pt>
                <c:pt idx="5642">
                  <c:v>68</c:v>
                </c:pt>
                <c:pt idx="5643">
                  <c:v>68</c:v>
                </c:pt>
                <c:pt idx="5644">
                  <c:v>68</c:v>
                </c:pt>
                <c:pt idx="5645">
                  <c:v>68</c:v>
                </c:pt>
                <c:pt idx="5646">
                  <c:v>68</c:v>
                </c:pt>
                <c:pt idx="5647">
                  <c:v>68</c:v>
                </c:pt>
                <c:pt idx="5648">
                  <c:v>68</c:v>
                </c:pt>
                <c:pt idx="5649">
                  <c:v>68</c:v>
                </c:pt>
                <c:pt idx="5650">
                  <c:v>65.8</c:v>
                </c:pt>
                <c:pt idx="5651">
                  <c:v>65.5</c:v>
                </c:pt>
                <c:pt idx="5652">
                  <c:v>65.3</c:v>
                </c:pt>
                <c:pt idx="5653">
                  <c:v>65.3</c:v>
                </c:pt>
                <c:pt idx="5654">
                  <c:v>65.5</c:v>
                </c:pt>
                <c:pt idx="5655">
                  <c:v>65.7</c:v>
                </c:pt>
                <c:pt idx="5656">
                  <c:v>65.5</c:v>
                </c:pt>
                <c:pt idx="5657">
                  <c:v>65.7</c:v>
                </c:pt>
                <c:pt idx="5658">
                  <c:v>66.2</c:v>
                </c:pt>
                <c:pt idx="5659">
                  <c:v>66.7</c:v>
                </c:pt>
                <c:pt idx="5660">
                  <c:v>65.5</c:v>
                </c:pt>
                <c:pt idx="5661">
                  <c:v>65.099999999999994</c:v>
                </c:pt>
                <c:pt idx="5662">
                  <c:v>64.8</c:v>
                </c:pt>
                <c:pt idx="5663">
                  <c:v>64.599999999999994</c:v>
                </c:pt>
                <c:pt idx="5664">
                  <c:v>64.599999999999994</c:v>
                </c:pt>
                <c:pt idx="5665">
                  <c:v>64.8</c:v>
                </c:pt>
                <c:pt idx="5666">
                  <c:v>63</c:v>
                </c:pt>
                <c:pt idx="5667">
                  <c:v>63.5</c:v>
                </c:pt>
                <c:pt idx="5668">
                  <c:v>68</c:v>
                </c:pt>
                <c:pt idx="5669">
                  <c:v>70.2</c:v>
                </c:pt>
                <c:pt idx="5670">
                  <c:v>70.3</c:v>
                </c:pt>
                <c:pt idx="5671">
                  <c:v>70.7</c:v>
                </c:pt>
                <c:pt idx="5672">
                  <c:v>70.7</c:v>
                </c:pt>
                <c:pt idx="5673">
                  <c:v>70.7</c:v>
                </c:pt>
                <c:pt idx="5674">
                  <c:v>70.7</c:v>
                </c:pt>
                <c:pt idx="5675">
                  <c:v>70.7</c:v>
                </c:pt>
                <c:pt idx="5676">
                  <c:v>70.7</c:v>
                </c:pt>
                <c:pt idx="5677">
                  <c:v>70.7</c:v>
                </c:pt>
                <c:pt idx="5678">
                  <c:v>83.5</c:v>
                </c:pt>
                <c:pt idx="5679">
                  <c:v>85.3</c:v>
                </c:pt>
                <c:pt idx="5680">
                  <c:v>85.5</c:v>
                </c:pt>
                <c:pt idx="5681">
                  <c:v>87.3</c:v>
                </c:pt>
                <c:pt idx="5682">
                  <c:v>88</c:v>
                </c:pt>
                <c:pt idx="5683">
                  <c:v>88.7</c:v>
                </c:pt>
                <c:pt idx="5684">
                  <c:v>88.7</c:v>
                </c:pt>
                <c:pt idx="5685">
                  <c:v>90.5</c:v>
                </c:pt>
                <c:pt idx="5686">
                  <c:v>90.1</c:v>
                </c:pt>
                <c:pt idx="5687">
                  <c:v>88.3</c:v>
                </c:pt>
                <c:pt idx="5688">
                  <c:v>89.2</c:v>
                </c:pt>
                <c:pt idx="5689">
                  <c:v>91.6</c:v>
                </c:pt>
                <c:pt idx="5690">
                  <c:v>88.9</c:v>
                </c:pt>
                <c:pt idx="5691">
                  <c:v>92.5</c:v>
                </c:pt>
                <c:pt idx="5692">
                  <c:v>90.5</c:v>
                </c:pt>
                <c:pt idx="5693">
                  <c:v>88.3</c:v>
                </c:pt>
                <c:pt idx="5694">
                  <c:v>91.2</c:v>
                </c:pt>
                <c:pt idx="5695">
                  <c:v>92.8</c:v>
                </c:pt>
                <c:pt idx="5696">
                  <c:v>92.3</c:v>
                </c:pt>
                <c:pt idx="5697">
                  <c:v>91.4</c:v>
                </c:pt>
                <c:pt idx="5698">
                  <c:v>93</c:v>
                </c:pt>
                <c:pt idx="5699">
                  <c:v>93.9</c:v>
                </c:pt>
                <c:pt idx="5700">
                  <c:v>94.3</c:v>
                </c:pt>
                <c:pt idx="5701">
                  <c:v>92.8</c:v>
                </c:pt>
                <c:pt idx="5702">
                  <c:v>93</c:v>
                </c:pt>
                <c:pt idx="5703">
                  <c:v>93</c:v>
                </c:pt>
                <c:pt idx="5704">
                  <c:v>89.8</c:v>
                </c:pt>
                <c:pt idx="5705">
                  <c:v>88.7</c:v>
                </c:pt>
                <c:pt idx="5706">
                  <c:v>88.5</c:v>
                </c:pt>
                <c:pt idx="5707">
                  <c:v>91.2</c:v>
                </c:pt>
                <c:pt idx="5708">
                  <c:v>90.1</c:v>
                </c:pt>
                <c:pt idx="5709">
                  <c:v>90.9</c:v>
                </c:pt>
                <c:pt idx="5710">
                  <c:v>90.5</c:v>
                </c:pt>
                <c:pt idx="5711">
                  <c:v>91.8</c:v>
                </c:pt>
                <c:pt idx="5712">
                  <c:v>90.1</c:v>
                </c:pt>
                <c:pt idx="5713">
                  <c:v>88.3</c:v>
                </c:pt>
                <c:pt idx="5714">
                  <c:v>88</c:v>
                </c:pt>
                <c:pt idx="5715">
                  <c:v>87.1</c:v>
                </c:pt>
                <c:pt idx="5716">
                  <c:v>85.8</c:v>
                </c:pt>
                <c:pt idx="5717">
                  <c:v>85.3</c:v>
                </c:pt>
                <c:pt idx="5718">
                  <c:v>83.5</c:v>
                </c:pt>
                <c:pt idx="5719">
                  <c:v>81.099999999999994</c:v>
                </c:pt>
                <c:pt idx="5720">
                  <c:v>79.2</c:v>
                </c:pt>
                <c:pt idx="5721">
                  <c:v>77.2</c:v>
                </c:pt>
                <c:pt idx="5722">
                  <c:v>75.7</c:v>
                </c:pt>
                <c:pt idx="5723">
                  <c:v>74.3</c:v>
                </c:pt>
                <c:pt idx="5724">
                  <c:v>73.400000000000006</c:v>
                </c:pt>
                <c:pt idx="5725">
                  <c:v>72.099999999999994</c:v>
                </c:pt>
                <c:pt idx="5726">
                  <c:v>71.400000000000006</c:v>
                </c:pt>
                <c:pt idx="5727">
                  <c:v>70.5</c:v>
                </c:pt>
                <c:pt idx="5728">
                  <c:v>69.400000000000006</c:v>
                </c:pt>
                <c:pt idx="5729">
                  <c:v>69.400000000000006</c:v>
                </c:pt>
                <c:pt idx="5730">
                  <c:v>69.400000000000006</c:v>
                </c:pt>
                <c:pt idx="5731">
                  <c:v>69.400000000000006</c:v>
                </c:pt>
                <c:pt idx="5732">
                  <c:v>69.400000000000006</c:v>
                </c:pt>
                <c:pt idx="5733">
                  <c:v>69.400000000000006</c:v>
                </c:pt>
                <c:pt idx="5734">
                  <c:v>69.400000000000006</c:v>
                </c:pt>
                <c:pt idx="5735">
                  <c:v>69.400000000000006</c:v>
                </c:pt>
                <c:pt idx="5736">
                  <c:v>69.400000000000006</c:v>
                </c:pt>
                <c:pt idx="5737">
                  <c:v>69.400000000000006</c:v>
                </c:pt>
                <c:pt idx="5738">
                  <c:v>69.400000000000006</c:v>
                </c:pt>
                <c:pt idx="5739">
                  <c:v>69.400000000000006</c:v>
                </c:pt>
                <c:pt idx="5740">
                  <c:v>69.400000000000006</c:v>
                </c:pt>
                <c:pt idx="5741">
                  <c:v>69.400000000000006</c:v>
                </c:pt>
                <c:pt idx="5742">
                  <c:v>69.400000000000006</c:v>
                </c:pt>
                <c:pt idx="5743">
                  <c:v>69.400000000000006</c:v>
                </c:pt>
                <c:pt idx="5744">
                  <c:v>68.7</c:v>
                </c:pt>
                <c:pt idx="5745">
                  <c:v>67.599999999999994</c:v>
                </c:pt>
                <c:pt idx="5746">
                  <c:v>67.099999999999994</c:v>
                </c:pt>
                <c:pt idx="5747">
                  <c:v>66.7</c:v>
                </c:pt>
                <c:pt idx="5748">
                  <c:v>66.400000000000006</c:v>
                </c:pt>
                <c:pt idx="5749">
                  <c:v>67.099999999999994</c:v>
                </c:pt>
                <c:pt idx="5750">
                  <c:v>67.3</c:v>
                </c:pt>
                <c:pt idx="5751">
                  <c:v>66</c:v>
                </c:pt>
                <c:pt idx="5752">
                  <c:v>65.7</c:v>
                </c:pt>
                <c:pt idx="5753">
                  <c:v>65.5</c:v>
                </c:pt>
                <c:pt idx="5754">
                  <c:v>65.099999999999994</c:v>
                </c:pt>
                <c:pt idx="5755">
                  <c:v>65.099999999999994</c:v>
                </c:pt>
                <c:pt idx="5756">
                  <c:v>64.8</c:v>
                </c:pt>
                <c:pt idx="5757">
                  <c:v>64.599999999999994</c:v>
                </c:pt>
                <c:pt idx="5758">
                  <c:v>64.2</c:v>
                </c:pt>
                <c:pt idx="5759">
                  <c:v>64.2</c:v>
                </c:pt>
                <c:pt idx="5760">
                  <c:v>63.9</c:v>
                </c:pt>
                <c:pt idx="5761">
                  <c:v>63.9</c:v>
                </c:pt>
                <c:pt idx="5762">
                  <c:v>64.900000000000006</c:v>
                </c:pt>
                <c:pt idx="5763">
                  <c:v>67.099999999999994</c:v>
                </c:pt>
                <c:pt idx="5764">
                  <c:v>71.099999999999994</c:v>
                </c:pt>
                <c:pt idx="5765">
                  <c:v>75.7</c:v>
                </c:pt>
                <c:pt idx="5766">
                  <c:v>66.7</c:v>
                </c:pt>
                <c:pt idx="5767">
                  <c:v>80.599999999999994</c:v>
                </c:pt>
                <c:pt idx="5768">
                  <c:v>82.8</c:v>
                </c:pt>
                <c:pt idx="5769">
                  <c:v>85.3</c:v>
                </c:pt>
                <c:pt idx="5770">
                  <c:v>89.8</c:v>
                </c:pt>
                <c:pt idx="5771">
                  <c:v>92.8</c:v>
                </c:pt>
                <c:pt idx="5772">
                  <c:v>86.2</c:v>
                </c:pt>
                <c:pt idx="5773">
                  <c:v>85.8</c:v>
                </c:pt>
                <c:pt idx="5774">
                  <c:v>87.3</c:v>
                </c:pt>
                <c:pt idx="5775">
                  <c:v>88.5</c:v>
                </c:pt>
                <c:pt idx="5776">
                  <c:v>87.3</c:v>
                </c:pt>
                <c:pt idx="5777">
                  <c:v>88.3</c:v>
                </c:pt>
                <c:pt idx="5778">
                  <c:v>88.7</c:v>
                </c:pt>
                <c:pt idx="5779">
                  <c:v>89.2</c:v>
                </c:pt>
                <c:pt idx="5780">
                  <c:v>91.6</c:v>
                </c:pt>
                <c:pt idx="5781">
                  <c:v>92.8</c:v>
                </c:pt>
                <c:pt idx="5782">
                  <c:v>91.4</c:v>
                </c:pt>
                <c:pt idx="5783">
                  <c:v>89.8</c:v>
                </c:pt>
                <c:pt idx="5784">
                  <c:v>93.6</c:v>
                </c:pt>
                <c:pt idx="5785">
                  <c:v>93.7</c:v>
                </c:pt>
                <c:pt idx="5786">
                  <c:v>93.7</c:v>
                </c:pt>
                <c:pt idx="5787">
                  <c:v>93.7</c:v>
                </c:pt>
                <c:pt idx="5788">
                  <c:v>93.7</c:v>
                </c:pt>
                <c:pt idx="5789">
                  <c:v>93.7</c:v>
                </c:pt>
                <c:pt idx="5790">
                  <c:v>93.7</c:v>
                </c:pt>
                <c:pt idx="5791">
                  <c:v>93.7</c:v>
                </c:pt>
                <c:pt idx="5792">
                  <c:v>93.7</c:v>
                </c:pt>
                <c:pt idx="5793">
                  <c:v>93.7</c:v>
                </c:pt>
                <c:pt idx="5794">
                  <c:v>93.7</c:v>
                </c:pt>
                <c:pt idx="5795">
                  <c:v>91.2</c:v>
                </c:pt>
                <c:pt idx="5796">
                  <c:v>79.7</c:v>
                </c:pt>
                <c:pt idx="5797">
                  <c:v>78.8</c:v>
                </c:pt>
                <c:pt idx="5798">
                  <c:v>82.8</c:v>
                </c:pt>
                <c:pt idx="5799">
                  <c:v>88.2</c:v>
                </c:pt>
                <c:pt idx="5800">
                  <c:v>91.4</c:v>
                </c:pt>
                <c:pt idx="5801">
                  <c:v>90.7</c:v>
                </c:pt>
                <c:pt idx="5802">
                  <c:v>92.5</c:v>
                </c:pt>
                <c:pt idx="5803">
                  <c:v>91.8</c:v>
                </c:pt>
                <c:pt idx="5804">
                  <c:v>92.1</c:v>
                </c:pt>
                <c:pt idx="5805">
                  <c:v>90.5</c:v>
                </c:pt>
                <c:pt idx="5806">
                  <c:v>92.3</c:v>
                </c:pt>
                <c:pt idx="5807">
                  <c:v>95.9</c:v>
                </c:pt>
                <c:pt idx="5808">
                  <c:v>92.8</c:v>
                </c:pt>
                <c:pt idx="5809">
                  <c:v>90.5</c:v>
                </c:pt>
                <c:pt idx="5810">
                  <c:v>88.5</c:v>
                </c:pt>
                <c:pt idx="5811">
                  <c:v>85.8</c:v>
                </c:pt>
                <c:pt idx="5812">
                  <c:v>83.3</c:v>
                </c:pt>
                <c:pt idx="5813">
                  <c:v>82.2</c:v>
                </c:pt>
                <c:pt idx="5814">
                  <c:v>80.599999999999994</c:v>
                </c:pt>
                <c:pt idx="5815">
                  <c:v>78.599999999999994</c:v>
                </c:pt>
                <c:pt idx="5816">
                  <c:v>76.8</c:v>
                </c:pt>
                <c:pt idx="5817">
                  <c:v>75.2</c:v>
                </c:pt>
                <c:pt idx="5818">
                  <c:v>73.8</c:v>
                </c:pt>
                <c:pt idx="5819">
                  <c:v>72.3</c:v>
                </c:pt>
                <c:pt idx="5820">
                  <c:v>71.400000000000006</c:v>
                </c:pt>
                <c:pt idx="5821">
                  <c:v>70.5</c:v>
                </c:pt>
                <c:pt idx="5822">
                  <c:v>69.8</c:v>
                </c:pt>
                <c:pt idx="5823">
                  <c:v>69.3</c:v>
                </c:pt>
                <c:pt idx="5824">
                  <c:v>72.7</c:v>
                </c:pt>
                <c:pt idx="5825">
                  <c:v>72.099999999999994</c:v>
                </c:pt>
                <c:pt idx="5826">
                  <c:v>71.400000000000006</c:v>
                </c:pt>
                <c:pt idx="5827">
                  <c:v>73.2</c:v>
                </c:pt>
                <c:pt idx="5828">
                  <c:v>70.5</c:v>
                </c:pt>
                <c:pt idx="5829">
                  <c:v>70.5</c:v>
                </c:pt>
                <c:pt idx="5830">
                  <c:v>70.2</c:v>
                </c:pt>
                <c:pt idx="5831">
                  <c:v>69.599999999999994</c:v>
                </c:pt>
                <c:pt idx="5832">
                  <c:v>69.3</c:v>
                </c:pt>
                <c:pt idx="5833">
                  <c:v>67.8</c:v>
                </c:pt>
                <c:pt idx="5834">
                  <c:v>67.8</c:v>
                </c:pt>
                <c:pt idx="5835">
                  <c:v>67.8</c:v>
                </c:pt>
                <c:pt idx="5836">
                  <c:v>67.8</c:v>
                </c:pt>
                <c:pt idx="5837">
                  <c:v>67.8</c:v>
                </c:pt>
                <c:pt idx="5838">
                  <c:v>67.8</c:v>
                </c:pt>
                <c:pt idx="5839">
                  <c:v>67.8</c:v>
                </c:pt>
                <c:pt idx="5840">
                  <c:v>67.8</c:v>
                </c:pt>
                <c:pt idx="5841">
                  <c:v>67.8</c:v>
                </c:pt>
                <c:pt idx="5842">
                  <c:v>66.7</c:v>
                </c:pt>
                <c:pt idx="5843">
                  <c:v>66</c:v>
                </c:pt>
                <c:pt idx="5844">
                  <c:v>66</c:v>
                </c:pt>
                <c:pt idx="5845">
                  <c:v>65.8</c:v>
                </c:pt>
                <c:pt idx="5846">
                  <c:v>65.3</c:v>
                </c:pt>
                <c:pt idx="5847">
                  <c:v>65.7</c:v>
                </c:pt>
                <c:pt idx="5848">
                  <c:v>65.3</c:v>
                </c:pt>
                <c:pt idx="5849">
                  <c:v>65.099999999999994</c:v>
                </c:pt>
                <c:pt idx="5850">
                  <c:v>64.900000000000006</c:v>
                </c:pt>
                <c:pt idx="5851">
                  <c:v>64.900000000000006</c:v>
                </c:pt>
                <c:pt idx="5852">
                  <c:v>65.099999999999994</c:v>
                </c:pt>
                <c:pt idx="5853">
                  <c:v>64.8</c:v>
                </c:pt>
                <c:pt idx="5854">
                  <c:v>64.400000000000006</c:v>
                </c:pt>
                <c:pt idx="5855">
                  <c:v>64.599999999999994</c:v>
                </c:pt>
                <c:pt idx="5856">
                  <c:v>64.900000000000006</c:v>
                </c:pt>
                <c:pt idx="5857">
                  <c:v>66.400000000000006</c:v>
                </c:pt>
                <c:pt idx="5858">
                  <c:v>67.5</c:v>
                </c:pt>
                <c:pt idx="5859">
                  <c:v>71.2</c:v>
                </c:pt>
                <c:pt idx="5860">
                  <c:v>74.5</c:v>
                </c:pt>
                <c:pt idx="5861">
                  <c:v>74.5</c:v>
                </c:pt>
                <c:pt idx="5862">
                  <c:v>74.5</c:v>
                </c:pt>
                <c:pt idx="5863">
                  <c:v>74.5</c:v>
                </c:pt>
                <c:pt idx="5864">
                  <c:v>74.5</c:v>
                </c:pt>
                <c:pt idx="5865">
                  <c:v>74.5</c:v>
                </c:pt>
                <c:pt idx="5866">
                  <c:v>74.5</c:v>
                </c:pt>
                <c:pt idx="5867">
                  <c:v>74.5</c:v>
                </c:pt>
                <c:pt idx="5868">
                  <c:v>74.5</c:v>
                </c:pt>
                <c:pt idx="5869">
                  <c:v>74.5</c:v>
                </c:pt>
                <c:pt idx="5870">
                  <c:v>74.5</c:v>
                </c:pt>
                <c:pt idx="5871">
                  <c:v>74.5</c:v>
                </c:pt>
                <c:pt idx="5872">
                  <c:v>74.5</c:v>
                </c:pt>
                <c:pt idx="5873">
                  <c:v>74.5</c:v>
                </c:pt>
                <c:pt idx="5874">
                  <c:v>74.5</c:v>
                </c:pt>
                <c:pt idx="5875">
                  <c:v>74.5</c:v>
                </c:pt>
                <c:pt idx="5876">
                  <c:v>87.3</c:v>
                </c:pt>
                <c:pt idx="5877">
                  <c:v>88.2</c:v>
                </c:pt>
                <c:pt idx="5878">
                  <c:v>89.4</c:v>
                </c:pt>
                <c:pt idx="5879">
                  <c:v>93.4</c:v>
                </c:pt>
                <c:pt idx="5880">
                  <c:v>91.6</c:v>
                </c:pt>
                <c:pt idx="5881">
                  <c:v>90.1</c:v>
                </c:pt>
                <c:pt idx="5882">
                  <c:v>92.1</c:v>
                </c:pt>
                <c:pt idx="5883">
                  <c:v>97.5</c:v>
                </c:pt>
                <c:pt idx="5884">
                  <c:v>95.5</c:v>
                </c:pt>
                <c:pt idx="5885">
                  <c:v>94.5</c:v>
                </c:pt>
                <c:pt idx="5886">
                  <c:v>100.2</c:v>
                </c:pt>
                <c:pt idx="5887">
                  <c:v>97</c:v>
                </c:pt>
                <c:pt idx="5888">
                  <c:v>97</c:v>
                </c:pt>
                <c:pt idx="5889">
                  <c:v>99.5</c:v>
                </c:pt>
                <c:pt idx="5890">
                  <c:v>95.5</c:v>
                </c:pt>
                <c:pt idx="5891">
                  <c:v>96.1</c:v>
                </c:pt>
                <c:pt idx="5892">
                  <c:v>99</c:v>
                </c:pt>
                <c:pt idx="5893">
                  <c:v>102.9</c:v>
                </c:pt>
                <c:pt idx="5894">
                  <c:v>97.2</c:v>
                </c:pt>
                <c:pt idx="5895">
                  <c:v>92.1</c:v>
                </c:pt>
                <c:pt idx="5896">
                  <c:v>87.1</c:v>
                </c:pt>
                <c:pt idx="5897">
                  <c:v>84.4</c:v>
                </c:pt>
                <c:pt idx="5898">
                  <c:v>83.5</c:v>
                </c:pt>
                <c:pt idx="5899">
                  <c:v>82.9</c:v>
                </c:pt>
                <c:pt idx="5900">
                  <c:v>82.6</c:v>
                </c:pt>
                <c:pt idx="5901">
                  <c:v>83.1</c:v>
                </c:pt>
                <c:pt idx="5902">
                  <c:v>84.2</c:v>
                </c:pt>
                <c:pt idx="5903">
                  <c:v>83.7</c:v>
                </c:pt>
                <c:pt idx="5904">
                  <c:v>83.7</c:v>
                </c:pt>
                <c:pt idx="5905">
                  <c:v>82.9</c:v>
                </c:pt>
                <c:pt idx="5906">
                  <c:v>81.5</c:v>
                </c:pt>
                <c:pt idx="5907">
                  <c:v>81.099999999999994</c:v>
                </c:pt>
                <c:pt idx="5908">
                  <c:v>80.599999999999994</c:v>
                </c:pt>
                <c:pt idx="5909">
                  <c:v>79</c:v>
                </c:pt>
                <c:pt idx="5910">
                  <c:v>78.400000000000006</c:v>
                </c:pt>
                <c:pt idx="5911">
                  <c:v>76.5</c:v>
                </c:pt>
                <c:pt idx="5912">
                  <c:v>75.400000000000006</c:v>
                </c:pt>
                <c:pt idx="5913">
                  <c:v>74.099999999999994</c:v>
                </c:pt>
                <c:pt idx="5914">
                  <c:v>73.400000000000006</c:v>
                </c:pt>
                <c:pt idx="5915">
                  <c:v>72.7</c:v>
                </c:pt>
                <c:pt idx="5916">
                  <c:v>71.599999999999994</c:v>
                </c:pt>
                <c:pt idx="5917">
                  <c:v>71.099999999999994</c:v>
                </c:pt>
                <c:pt idx="5918">
                  <c:v>70.5</c:v>
                </c:pt>
                <c:pt idx="5919">
                  <c:v>70.2</c:v>
                </c:pt>
                <c:pt idx="5920">
                  <c:v>70.2</c:v>
                </c:pt>
                <c:pt idx="5921">
                  <c:v>70.2</c:v>
                </c:pt>
                <c:pt idx="5922">
                  <c:v>70.2</c:v>
                </c:pt>
                <c:pt idx="5923">
                  <c:v>70.2</c:v>
                </c:pt>
                <c:pt idx="5924">
                  <c:v>70.2</c:v>
                </c:pt>
                <c:pt idx="5925">
                  <c:v>70.2</c:v>
                </c:pt>
                <c:pt idx="5926">
                  <c:v>70.2</c:v>
                </c:pt>
                <c:pt idx="5927">
                  <c:v>70.2</c:v>
                </c:pt>
                <c:pt idx="5928">
                  <c:v>70.2</c:v>
                </c:pt>
                <c:pt idx="5929">
                  <c:v>70.2</c:v>
                </c:pt>
                <c:pt idx="5930">
                  <c:v>70.2</c:v>
                </c:pt>
                <c:pt idx="5931">
                  <c:v>70.2</c:v>
                </c:pt>
                <c:pt idx="5932">
                  <c:v>70.2</c:v>
                </c:pt>
                <c:pt idx="5933">
                  <c:v>70.2</c:v>
                </c:pt>
                <c:pt idx="5934">
                  <c:v>70.2</c:v>
                </c:pt>
                <c:pt idx="5935">
                  <c:v>70.2</c:v>
                </c:pt>
                <c:pt idx="5936">
                  <c:v>67.3</c:v>
                </c:pt>
                <c:pt idx="5937">
                  <c:v>67.099999999999994</c:v>
                </c:pt>
                <c:pt idx="5938">
                  <c:v>66.7</c:v>
                </c:pt>
                <c:pt idx="5939">
                  <c:v>66.7</c:v>
                </c:pt>
                <c:pt idx="5940">
                  <c:v>66.2</c:v>
                </c:pt>
                <c:pt idx="5941">
                  <c:v>66.2</c:v>
                </c:pt>
                <c:pt idx="5942">
                  <c:v>66</c:v>
                </c:pt>
                <c:pt idx="5943">
                  <c:v>65.7</c:v>
                </c:pt>
                <c:pt idx="5944">
                  <c:v>65.7</c:v>
                </c:pt>
                <c:pt idx="5945">
                  <c:v>65.3</c:v>
                </c:pt>
                <c:pt idx="5946">
                  <c:v>65.8</c:v>
                </c:pt>
                <c:pt idx="5947">
                  <c:v>65.3</c:v>
                </c:pt>
                <c:pt idx="5948">
                  <c:v>64.900000000000006</c:v>
                </c:pt>
                <c:pt idx="5949">
                  <c:v>64.400000000000006</c:v>
                </c:pt>
                <c:pt idx="5950">
                  <c:v>64.400000000000006</c:v>
                </c:pt>
                <c:pt idx="5951">
                  <c:v>64.2</c:v>
                </c:pt>
                <c:pt idx="5952">
                  <c:v>64.900000000000006</c:v>
                </c:pt>
                <c:pt idx="5953">
                  <c:v>65.3</c:v>
                </c:pt>
                <c:pt idx="5954">
                  <c:v>66.400000000000006</c:v>
                </c:pt>
                <c:pt idx="5955">
                  <c:v>69.099999999999994</c:v>
                </c:pt>
                <c:pt idx="5956">
                  <c:v>70.900000000000006</c:v>
                </c:pt>
                <c:pt idx="5957">
                  <c:v>74.7</c:v>
                </c:pt>
                <c:pt idx="5958">
                  <c:v>78.3</c:v>
                </c:pt>
                <c:pt idx="5959">
                  <c:v>72.900000000000006</c:v>
                </c:pt>
                <c:pt idx="5960">
                  <c:v>74.3</c:v>
                </c:pt>
                <c:pt idx="5961">
                  <c:v>75.2</c:v>
                </c:pt>
                <c:pt idx="5962">
                  <c:v>76.099999999999994</c:v>
                </c:pt>
                <c:pt idx="5963">
                  <c:v>77</c:v>
                </c:pt>
                <c:pt idx="5964">
                  <c:v>78.099999999999994</c:v>
                </c:pt>
                <c:pt idx="5965">
                  <c:v>79.2</c:v>
                </c:pt>
                <c:pt idx="5966">
                  <c:v>79.900000000000006</c:v>
                </c:pt>
                <c:pt idx="5967">
                  <c:v>80.8</c:v>
                </c:pt>
                <c:pt idx="5968">
                  <c:v>81.900000000000006</c:v>
                </c:pt>
                <c:pt idx="5969">
                  <c:v>82.9</c:v>
                </c:pt>
                <c:pt idx="5970">
                  <c:v>84</c:v>
                </c:pt>
                <c:pt idx="5971">
                  <c:v>84.9</c:v>
                </c:pt>
                <c:pt idx="5972">
                  <c:v>86.2</c:v>
                </c:pt>
                <c:pt idx="5973">
                  <c:v>88</c:v>
                </c:pt>
                <c:pt idx="5974">
                  <c:v>89.6</c:v>
                </c:pt>
                <c:pt idx="5975">
                  <c:v>90.7</c:v>
                </c:pt>
                <c:pt idx="5976">
                  <c:v>92.3</c:v>
                </c:pt>
                <c:pt idx="5977">
                  <c:v>93.4</c:v>
                </c:pt>
                <c:pt idx="5978">
                  <c:v>93.7</c:v>
                </c:pt>
                <c:pt idx="5979">
                  <c:v>93.4</c:v>
                </c:pt>
                <c:pt idx="5980">
                  <c:v>93.7</c:v>
                </c:pt>
                <c:pt idx="5981">
                  <c:v>97</c:v>
                </c:pt>
                <c:pt idx="5982">
                  <c:v>93.7</c:v>
                </c:pt>
                <c:pt idx="5983">
                  <c:v>97</c:v>
                </c:pt>
                <c:pt idx="5984">
                  <c:v>96.6</c:v>
                </c:pt>
                <c:pt idx="5985">
                  <c:v>93.7</c:v>
                </c:pt>
                <c:pt idx="5986">
                  <c:v>94.5</c:v>
                </c:pt>
                <c:pt idx="5987">
                  <c:v>95.4</c:v>
                </c:pt>
                <c:pt idx="5988">
                  <c:v>91.8</c:v>
                </c:pt>
                <c:pt idx="5989">
                  <c:v>95.4</c:v>
                </c:pt>
                <c:pt idx="5990">
                  <c:v>93.2</c:v>
                </c:pt>
                <c:pt idx="5991">
                  <c:v>92.5</c:v>
                </c:pt>
                <c:pt idx="5992">
                  <c:v>91.8</c:v>
                </c:pt>
                <c:pt idx="5993">
                  <c:v>91</c:v>
                </c:pt>
                <c:pt idx="5994">
                  <c:v>90.9</c:v>
                </c:pt>
                <c:pt idx="5995">
                  <c:v>90.7</c:v>
                </c:pt>
                <c:pt idx="5996">
                  <c:v>90.3</c:v>
                </c:pt>
                <c:pt idx="5997">
                  <c:v>89.6</c:v>
                </c:pt>
                <c:pt idx="5998">
                  <c:v>89.1</c:v>
                </c:pt>
                <c:pt idx="5999">
                  <c:v>88.3</c:v>
                </c:pt>
                <c:pt idx="6000">
                  <c:v>88</c:v>
                </c:pt>
                <c:pt idx="6001">
                  <c:v>88.2</c:v>
                </c:pt>
                <c:pt idx="6002">
                  <c:v>87.1</c:v>
                </c:pt>
                <c:pt idx="6003">
                  <c:v>86.4</c:v>
                </c:pt>
                <c:pt idx="6004">
                  <c:v>85.8</c:v>
                </c:pt>
                <c:pt idx="6005">
                  <c:v>84.7</c:v>
                </c:pt>
                <c:pt idx="6006">
                  <c:v>83.3</c:v>
                </c:pt>
                <c:pt idx="6007">
                  <c:v>81.5</c:v>
                </c:pt>
                <c:pt idx="6008">
                  <c:v>81</c:v>
                </c:pt>
                <c:pt idx="6009">
                  <c:v>80.099999999999994</c:v>
                </c:pt>
                <c:pt idx="6010">
                  <c:v>78.599999999999994</c:v>
                </c:pt>
                <c:pt idx="6011">
                  <c:v>77.400000000000006</c:v>
                </c:pt>
                <c:pt idx="6012">
                  <c:v>76.5</c:v>
                </c:pt>
                <c:pt idx="6013">
                  <c:v>75.400000000000006</c:v>
                </c:pt>
                <c:pt idx="6014">
                  <c:v>74.5</c:v>
                </c:pt>
                <c:pt idx="6015">
                  <c:v>73.8</c:v>
                </c:pt>
                <c:pt idx="6016">
                  <c:v>72.900000000000006</c:v>
                </c:pt>
                <c:pt idx="6017">
                  <c:v>72.099999999999994</c:v>
                </c:pt>
                <c:pt idx="6018">
                  <c:v>72.099999999999994</c:v>
                </c:pt>
                <c:pt idx="6019">
                  <c:v>72.099999999999994</c:v>
                </c:pt>
                <c:pt idx="6020">
                  <c:v>72.099999999999994</c:v>
                </c:pt>
                <c:pt idx="6021">
                  <c:v>72.099999999999994</c:v>
                </c:pt>
                <c:pt idx="6022">
                  <c:v>72.099999999999994</c:v>
                </c:pt>
                <c:pt idx="6023">
                  <c:v>72.099999999999994</c:v>
                </c:pt>
                <c:pt idx="6024">
                  <c:v>72.099999999999994</c:v>
                </c:pt>
                <c:pt idx="6025">
                  <c:v>72.099999999999994</c:v>
                </c:pt>
                <c:pt idx="6026">
                  <c:v>72.099999999999994</c:v>
                </c:pt>
                <c:pt idx="6027">
                  <c:v>72.099999999999994</c:v>
                </c:pt>
                <c:pt idx="6028">
                  <c:v>72.099999999999994</c:v>
                </c:pt>
                <c:pt idx="6029">
                  <c:v>72.099999999999994</c:v>
                </c:pt>
                <c:pt idx="6030">
                  <c:v>72.099999999999994</c:v>
                </c:pt>
                <c:pt idx="6031">
                  <c:v>72.099999999999994</c:v>
                </c:pt>
                <c:pt idx="6032">
                  <c:v>72.099999999999994</c:v>
                </c:pt>
                <c:pt idx="6033">
                  <c:v>70.5</c:v>
                </c:pt>
                <c:pt idx="6034">
                  <c:v>72.5</c:v>
                </c:pt>
                <c:pt idx="6035">
                  <c:v>70.5</c:v>
                </c:pt>
                <c:pt idx="6036">
                  <c:v>69.8</c:v>
                </c:pt>
                <c:pt idx="6037">
                  <c:v>69.400000000000006</c:v>
                </c:pt>
                <c:pt idx="6038">
                  <c:v>69.599999999999994</c:v>
                </c:pt>
                <c:pt idx="6039">
                  <c:v>70</c:v>
                </c:pt>
                <c:pt idx="6040">
                  <c:v>71.2</c:v>
                </c:pt>
                <c:pt idx="6041">
                  <c:v>70.3</c:v>
                </c:pt>
                <c:pt idx="6042">
                  <c:v>70.3</c:v>
                </c:pt>
                <c:pt idx="6043">
                  <c:v>70</c:v>
                </c:pt>
                <c:pt idx="6044">
                  <c:v>69.400000000000006</c:v>
                </c:pt>
                <c:pt idx="6045">
                  <c:v>69.3</c:v>
                </c:pt>
                <c:pt idx="6046">
                  <c:v>69.8</c:v>
                </c:pt>
                <c:pt idx="6047">
                  <c:v>69.099999999999994</c:v>
                </c:pt>
                <c:pt idx="6048">
                  <c:v>68.900000000000006</c:v>
                </c:pt>
                <c:pt idx="6049">
                  <c:v>69.099999999999994</c:v>
                </c:pt>
                <c:pt idx="6050">
                  <c:v>67.5</c:v>
                </c:pt>
                <c:pt idx="6051">
                  <c:v>70</c:v>
                </c:pt>
                <c:pt idx="6052">
                  <c:v>71.400000000000006</c:v>
                </c:pt>
                <c:pt idx="6053">
                  <c:v>72.5</c:v>
                </c:pt>
                <c:pt idx="6054">
                  <c:v>74.3</c:v>
                </c:pt>
                <c:pt idx="6055">
                  <c:v>75.599999999999994</c:v>
                </c:pt>
                <c:pt idx="6056">
                  <c:v>76.599999999999994</c:v>
                </c:pt>
                <c:pt idx="6057">
                  <c:v>77.5</c:v>
                </c:pt>
                <c:pt idx="6058">
                  <c:v>77.5</c:v>
                </c:pt>
                <c:pt idx="6059">
                  <c:v>80.099999999999994</c:v>
                </c:pt>
                <c:pt idx="6060">
                  <c:v>80.599999999999994</c:v>
                </c:pt>
                <c:pt idx="6061">
                  <c:v>83.5</c:v>
                </c:pt>
                <c:pt idx="6062">
                  <c:v>85.8</c:v>
                </c:pt>
                <c:pt idx="6063">
                  <c:v>87.8</c:v>
                </c:pt>
                <c:pt idx="6064">
                  <c:v>86.7</c:v>
                </c:pt>
                <c:pt idx="6065">
                  <c:v>84.4</c:v>
                </c:pt>
                <c:pt idx="6066">
                  <c:v>85.8</c:v>
                </c:pt>
                <c:pt idx="6067">
                  <c:v>86.7</c:v>
                </c:pt>
                <c:pt idx="6068">
                  <c:v>69.8</c:v>
                </c:pt>
                <c:pt idx="6069">
                  <c:v>89.4</c:v>
                </c:pt>
                <c:pt idx="6070">
                  <c:v>88.3</c:v>
                </c:pt>
                <c:pt idx="6071">
                  <c:v>90.5</c:v>
                </c:pt>
                <c:pt idx="6072">
                  <c:v>88.7</c:v>
                </c:pt>
                <c:pt idx="6073">
                  <c:v>92.1</c:v>
                </c:pt>
                <c:pt idx="6074">
                  <c:v>92.5</c:v>
                </c:pt>
                <c:pt idx="6075">
                  <c:v>89.8</c:v>
                </c:pt>
                <c:pt idx="6076">
                  <c:v>92.3</c:v>
                </c:pt>
                <c:pt idx="6077">
                  <c:v>93.6</c:v>
                </c:pt>
                <c:pt idx="6078">
                  <c:v>93.6</c:v>
                </c:pt>
                <c:pt idx="6079">
                  <c:v>92.1</c:v>
                </c:pt>
                <c:pt idx="6080">
                  <c:v>90.1</c:v>
                </c:pt>
                <c:pt idx="6081">
                  <c:v>88.9</c:v>
                </c:pt>
                <c:pt idx="6082">
                  <c:v>87.4</c:v>
                </c:pt>
                <c:pt idx="6083">
                  <c:v>90.7</c:v>
                </c:pt>
                <c:pt idx="6084">
                  <c:v>87.4</c:v>
                </c:pt>
                <c:pt idx="6085">
                  <c:v>85.5</c:v>
                </c:pt>
                <c:pt idx="6086">
                  <c:v>85.8</c:v>
                </c:pt>
                <c:pt idx="6087">
                  <c:v>89.1</c:v>
                </c:pt>
                <c:pt idx="6088">
                  <c:v>84.4</c:v>
                </c:pt>
                <c:pt idx="6089">
                  <c:v>88</c:v>
                </c:pt>
                <c:pt idx="6090">
                  <c:v>86.7</c:v>
                </c:pt>
                <c:pt idx="6091">
                  <c:v>90.9</c:v>
                </c:pt>
                <c:pt idx="6092">
                  <c:v>88.9</c:v>
                </c:pt>
                <c:pt idx="6093">
                  <c:v>93.6</c:v>
                </c:pt>
                <c:pt idx="6094">
                  <c:v>89.1</c:v>
                </c:pt>
                <c:pt idx="6095">
                  <c:v>90.9</c:v>
                </c:pt>
                <c:pt idx="6096">
                  <c:v>89.4</c:v>
                </c:pt>
                <c:pt idx="6097">
                  <c:v>88.3</c:v>
                </c:pt>
                <c:pt idx="6098">
                  <c:v>87.3</c:v>
                </c:pt>
                <c:pt idx="6099">
                  <c:v>84.4</c:v>
                </c:pt>
                <c:pt idx="6100">
                  <c:v>82.9</c:v>
                </c:pt>
                <c:pt idx="6101">
                  <c:v>81.099999999999994</c:v>
                </c:pt>
                <c:pt idx="6102">
                  <c:v>79.3</c:v>
                </c:pt>
                <c:pt idx="6103">
                  <c:v>77.900000000000006</c:v>
                </c:pt>
                <c:pt idx="6104">
                  <c:v>76.3</c:v>
                </c:pt>
                <c:pt idx="6105">
                  <c:v>75</c:v>
                </c:pt>
                <c:pt idx="6106">
                  <c:v>73.8</c:v>
                </c:pt>
                <c:pt idx="6107">
                  <c:v>73.2</c:v>
                </c:pt>
                <c:pt idx="6108">
                  <c:v>72.099999999999994</c:v>
                </c:pt>
                <c:pt idx="6109">
                  <c:v>71.8</c:v>
                </c:pt>
                <c:pt idx="6110">
                  <c:v>71.2</c:v>
                </c:pt>
                <c:pt idx="6111">
                  <c:v>70.900000000000006</c:v>
                </c:pt>
                <c:pt idx="6112">
                  <c:v>70.7</c:v>
                </c:pt>
                <c:pt idx="6113">
                  <c:v>70.7</c:v>
                </c:pt>
                <c:pt idx="6114">
                  <c:v>70.7</c:v>
                </c:pt>
                <c:pt idx="6115">
                  <c:v>70.7</c:v>
                </c:pt>
                <c:pt idx="6116">
                  <c:v>70.7</c:v>
                </c:pt>
                <c:pt idx="6117">
                  <c:v>70.7</c:v>
                </c:pt>
                <c:pt idx="6118">
                  <c:v>70.7</c:v>
                </c:pt>
                <c:pt idx="6119">
                  <c:v>70.7</c:v>
                </c:pt>
                <c:pt idx="6120">
                  <c:v>70.7</c:v>
                </c:pt>
                <c:pt idx="6121">
                  <c:v>70.7</c:v>
                </c:pt>
                <c:pt idx="6122">
                  <c:v>70.7</c:v>
                </c:pt>
                <c:pt idx="6123">
                  <c:v>70.7</c:v>
                </c:pt>
                <c:pt idx="6124">
                  <c:v>70.7</c:v>
                </c:pt>
                <c:pt idx="6125">
                  <c:v>70.7</c:v>
                </c:pt>
                <c:pt idx="6126">
                  <c:v>70.7</c:v>
                </c:pt>
                <c:pt idx="6127">
                  <c:v>70.7</c:v>
                </c:pt>
                <c:pt idx="6128">
                  <c:v>70.900000000000006</c:v>
                </c:pt>
                <c:pt idx="6129">
                  <c:v>70.3</c:v>
                </c:pt>
                <c:pt idx="6130">
                  <c:v>70.2</c:v>
                </c:pt>
                <c:pt idx="6131">
                  <c:v>70</c:v>
                </c:pt>
                <c:pt idx="6132">
                  <c:v>69.8</c:v>
                </c:pt>
                <c:pt idx="6133">
                  <c:v>69.599999999999994</c:v>
                </c:pt>
                <c:pt idx="6134">
                  <c:v>69.599999999999994</c:v>
                </c:pt>
                <c:pt idx="6135">
                  <c:v>70.3</c:v>
                </c:pt>
                <c:pt idx="6136">
                  <c:v>69.400000000000006</c:v>
                </c:pt>
                <c:pt idx="6137">
                  <c:v>69.3</c:v>
                </c:pt>
                <c:pt idx="6138">
                  <c:v>68.900000000000006</c:v>
                </c:pt>
                <c:pt idx="6139">
                  <c:v>68.5</c:v>
                </c:pt>
                <c:pt idx="6140">
                  <c:v>68.400000000000006</c:v>
                </c:pt>
                <c:pt idx="6141">
                  <c:v>68</c:v>
                </c:pt>
                <c:pt idx="6142">
                  <c:v>69.599999999999994</c:v>
                </c:pt>
                <c:pt idx="6143">
                  <c:v>67.8</c:v>
                </c:pt>
                <c:pt idx="6144">
                  <c:v>67.3</c:v>
                </c:pt>
                <c:pt idx="6145">
                  <c:v>67.3</c:v>
                </c:pt>
                <c:pt idx="6146">
                  <c:v>67.099999999999994</c:v>
                </c:pt>
                <c:pt idx="6147">
                  <c:v>69.400000000000006</c:v>
                </c:pt>
                <c:pt idx="6148">
                  <c:v>70.2</c:v>
                </c:pt>
                <c:pt idx="6149">
                  <c:v>70.2</c:v>
                </c:pt>
                <c:pt idx="6150">
                  <c:v>70.2</c:v>
                </c:pt>
                <c:pt idx="6151">
                  <c:v>70.2</c:v>
                </c:pt>
                <c:pt idx="6152">
                  <c:v>70.2</c:v>
                </c:pt>
                <c:pt idx="6153">
                  <c:v>70.2</c:v>
                </c:pt>
                <c:pt idx="6154">
                  <c:v>70.2</c:v>
                </c:pt>
                <c:pt idx="6155">
                  <c:v>70.2</c:v>
                </c:pt>
                <c:pt idx="6156">
                  <c:v>70.2</c:v>
                </c:pt>
                <c:pt idx="6157">
                  <c:v>70.2</c:v>
                </c:pt>
                <c:pt idx="6158">
                  <c:v>70.2</c:v>
                </c:pt>
                <c:pt idx="6159">
                  <c:v>70.2</c:v>
                </c:pt>
                <c:pt idx="6160">
                  <c:v>70.2</c:v>
                </c:pt>
                <c:pt idx="6161">
                  <c:v>70.2</c:v>
                </c:pt>
                <c:pt idx="6162">
                  <c:v>70.2</c:v>
                </c:pt>
                <c:pt idx="6163">
                  <c:v>70.2</c:v>
                </c:pt>
                <c:pt idx="6164">
                  <c:v>85.6</c:v>
                </c:pt>
                <c:pt idx="6165">
                  <c:v>86.9</c:v>
                </c:pt>
                <c:pt idx="6166">
                  <c:v>88.9</c:v>
                </c:pt>
                <c:pt idx="6167">
                  <c:v>90</c:v>
                </c:pt>
                <c:pt idx="6168">
                  <c:v>88</c:v>
                </c:pt>
                <c:pt idx="6169">
                  <c:v>87.8</c:v>
                </c:pt>
                <c:pt idx="6170">
                  <c:v>91</c:v>
                </c:pt>
                <c:pt idx="6171">
                  <c:v>93.2</c:v>
                </c:pt>
                <c:pt idx="6172">
                  <c:v>91.2</c:v>
                </c:pt>
                <c:pt idx="6173">
                  <c:v>92.8</c:v>
                </c:pt>
                <c:pt idx="6174">
                  <c:v>93.4</c:v>
                </c:pt>
                <c:pt idx="6175">
                  <c:v>92.8</c:v>
                </c:pt>
                <c:pt idx="6176">
                  <c:v>93.4</c:v>
                </c:pt>
                <c:pt idx="6177">
                  <c:v>96.3</c:v>
                </c:pt>
                <c:pt idx="6178">
                  <c:v>93.4</c:v>
                </c:pt>
                <c:pt idx="6179">
                  <c:v>95.2</c:v>
                </c:pt>
                <c:pt idx="6180">
                  <c:v>94.5</c:v>
                </c:pt>
                <c:pt idx="6181">
                  <c:v>94.6</c:v>
                </c:pt>
                <c:pt idx="6182">
                  <c:v>93.4</c:v>
                </c:pt>
                <c:pt idx="6183">
                  <c:v>94.3</c:v>
                </c:pt>
                <c:pt idx="6184">
                  <c:v>92.3</c:v>
                </c:pt>
                <c:pt idx="6185">
                  <c:v>92.3</c:v>
                </c:pt>
                <c:pt idx="6186">
                  <c:v>95</c:v>
                </c:pt>
                <c:pt idx="6187">
                  <c:v>94.1</c:v>
                </c:pt>
                <c:pt idx="6188">
                  <c:v>93</c:v>
                </c:pt>
                <c:pt idx="6189">
                  <c:v>93.7</c:v>
                </c:pt>
                <c:pt idx="6190">
                  <c:v>94.6</c:v>
                </c:pt>
                <c:pt idx="6191">
                  <c:v>96.3</c:v>
                </c:pt>
                <c:pt idx="6192">
                  <c:v>93.6</c:v>
                </c:pt>
                <c:pt idx="6193">
                  <c:v>91.4</c:v>
                </c:pt>
                <c:pt idx="6194">
                  <c:v>90.3</c:v>
                </c:pt>
                <c:pt idx="6195">
                  <c:v>89.4</c:v>
                </c:pt>
                <c:pt idx="6196">
                  <c:v>88</c:v>
                </c:pt>
                <c:pt idx="6197">
                  <c:v>86.4</c:v>
                </c:pt>
                <c:pt idx="6198">
                  <c:v>84</c:v>
                </c:pt>
                <c:pt idx="6199">
                  <c:v>81.900000000000006</c:v>
                </c:pt>
                <c:pt idx="6200">
                  <c:v>79.5</c:v>
                </c:pt>
                <c:pt idx="6201">
                  <c:v>77.900000000000006</c:v>
                </c:pt>
                <c:pt idx="6202">
                  <c:v>76.5</c:v>
                </c:pt>
                <c:pt idx="6203">
                  <c:v>75.2</c:v>
                </c:pt>
                <c:pt idx="6204">
                  <c:v>73.900000000000006</c:v>
                </c:pt>
                <c:pt idx="6205">
                  <c:v>73.2</c:v>
                </c:pt>
                <c:pt idx="6206">
                  <c:v>72.099999999999994</c:v>
                </c:pt>
                <c:pt idx="6207">
                  <c:v>71.8</c:v>
                </c:pt>
                <c:pt idx="6208">
                  <c:v>71.400000000000006</c:v>
                </c:pt>
                <c:pt idx="6209">
                  <c:v>71.400000000000006</c:v>
                </c:pt>
                <c:pt idx="6210">
                  <c:v>71.400000000000006</c:v>
                </c:pt>
                <c:pt idx="6211">
                  <c:v>71.400000000000006</c:v>
                </c:pt>
                <c:pt idx="6212">
                  <c:v>71.400000000000006</c:v>
                </c:pt>
                <c:pt idx="6213">
                  <c:v>71.400000000000006</c:v>
                </c:pt>
                <c:pt idx="6214">
                  <c:v>75</c:v>
                </c:pt>
                <c:pt idx="6215">
                  <c:v>75.7</c:v>
                </c:pt>
                <c:pt idx="6216">
                  <c:v>77.7</c:v>
                </c:pt>
                <c:pt idx="6217">
                  <c:v>76.599999999999994</c:v>
                </c:pt>
                <c:pt idx="6218">
                  <c:v>75.400000000000006</c:v>
                </c:pt>
                <c:pt idx="6219">
                  <c:v>73.8</c:v>
                </c:pt>
                <c:pt idx="6220">
                  <c:v>73.2</c:v>
                </c:pt>
                <c:pt idx="6221">
                  <c:v>72.7</c:v>
                </c:pt>
                <c:pt idx="6222">
                  <c:v>72.099999999999994</c:v>
                </c:pt>
                <c:pt idx="6223">
                  <c:v>71.599999999999994</c:v>
                </c:pt>
                <c:pt idx="6224">
                  <c:v>71.400000000000006</c:v>
                </c:pt>
                <c:pt idx="6225">
                  <c:v>73.400000000000006</c:v>
                </c:pt>
                <c:pt idx="6226">
                  <c:v>73.599999999999994</c:v>
                </c:pt>
                <c:pt idx="6227">
                  <c:v>72.3</c:v>
                </c:pt>
                <c:pt idx="6228">
                  <c:v>73</c:v>
                </c:pt>
                <c:pt idx="6229">
                  <c:v>72.7</c:v>
                </c:pt>
                <c:pt idx="6230">
                  <c:v>72.5</c:v>
                </c:pt>
                <c:pt idx="6231">
                  <c:v>72</c:v>
                </c:pt>
                <c:pt idx="6232">
                  <c:v>71.400000000000006</c:v>
                </c:pt>
                <c:pt idx="6233">
                  <c:v>71.099999999999994</c:v>
                </c:pt>
                <c:pt idx="6234">
                  <c:v>71.099999999999994</c:v>
                </c:pt>
                <c:pt idx="6235">
                  <c:v>70.7</c:v>
                </c:pt>
                <c:pt idx="6236">
                  <c:v>71.2</c:v>
                </c:pt>
                <c:pt idx="6237">
                  <c:v>71.400000000000006</c:v>
                </c:pt>
                <c:pt idx="6238">
                  <c:v>70.7</c:v>
                </c:pt>
                <c:pt idx="6239">
                  <c:v>70.2</c:v>
                </c:pt>
                <c:pt idx="6240">
                  <c:v>70</c:v>
                </c:pt>
                <c:pt idx="6241">
                  <c:v>69.8</c:v>
                </c:pt>
                <c:pt idx="6242">
                  <c:v>70</c:v>
                </c:pt>
                <c:pt idx="6243">
                  <c:v>70</c:v>
                </c:pt>
                <c:pt idx="6244">
                  <c:v>73.2</c:v>
                </c:pt>
                <c:pt idx="6245">
                  <c:v>73.400000000000006</c:v>
                </c:pt>
                <c:pt idx="6246">
                  <c:v>73.400000000000006</c:v>
                </c:pt>
                <c:pt idx="6247">
                  <c:v>73.8</c:v>
                </c:pt>
                <c:pt idx="6248">
                  <c:v>74.099999999999994</c:v>
                </c:pt>
                <c:pt idx="6249">
                  <c:v>74.7</c:v>
                </c:pt>
                <c:pt idx="6250">
                  <c:v>75.599999999999994</c:v>
                </c:pt>
                <c:pt idx="6251">
                  <c:v>76.5</c:v>
                </c:pt>
                <c:pt idx="6252">
                  <c:v>77.2</c:v>
                </c:pt>
                <c:pt idx="6253">
                  <c:v>78.400000000000006</c:v>
                </c:pt>
                <c:pt idx="6254">
                  <c:v>79.5</c:v>
                </c:pt>
                <c:pt idx="6255">
                  <c:v>78.8</c:v>
                </c:pt>
                <c:pt idx="6256">
                  <c:v>78.8</c:v>
                </c:pt>
                <c:pt idx="6257">
                  <c:v>78.8</c:v>
                </c:pt>
                <c:pt idx="6258">
                  <c:v>78.8</c:v>
                </c:pt>
                <c:pt idx="6259">
                  <c:v>78.8</c:v>
                </c:pt>
                <c:pt idx="6260">
                  <c:v>78.8</c:v>
                </c:pt>
                <c:pt idx="6261">
                  <c:v>78.8</c:v>
                </c:pt>
                <c:pt idx="6262">
                  <c:v>78.8</c:v>
                </c:pt>
                <c:pt idx="6263">
                  <c:v>78.8</c:v>
                </c:pt>
                <c:pt idx="6264">
                  <c:v>78.8</c:v>
                </c:pt>
                <c:pt idx="6265">
                  <c:v>78.8</c:v>
                </c:pt>
                <c:pt idx="6266">
                  <c:v>78.8</c:v>
                </c:pt>
                <c:pt idx="6267">
                  <c:v>78.8</c:v>
                </c:pt>
                <c:pt idx="6268">
                  <c:v>89.6</c:v>
                </c:pt>
                <c:pt idx="6269">
                  <c:v>88.2</c:v>
                </c:pt>
                <c:pt idx="6270">
                  <c:v>89.1</c:v>
                </c:pt>
                <c:pt idx="6271">
                  <c:v>86.7</c:v>
                </c:pt>
                <c:pt idx="6272">
                  <c:v>86.7</c:v>
                </c:pt>
                <c:pt idx="6273">
                  <c:v>86</c:v>
                </c:pt>
                <c:pt idx="6274">
                  <c:v>85.8</c:v>
                </c:pt>
                <c:pt idx="6275">
                  <c:v>85.8</c:v>
                </c:pt>
                <c:pt idx="6276">
                  <c:v>84.7</c:v>
                </c:pt>
                <c:pt idx="6277">
                  <c:v>85.8</c:v>
                </c:pt>
                <c:pt idx="6278">
                  <c:v>84.9</c:v>
                </c:pt>
                <c:pt idx="6279">
                  <c:v>86</c:v>
                </c:pt>
                <c:pt idx="6280">
                  <c:v>85.8</c:v>
                </c:pt>
                <c:pt idx="6281">
                  <c:v>84.9</c:v>
                </c:pt>
                <c:pt idx="6282">
                  <c:v>84.6</c:v>
                </c:pt>
                <c:pt idx="6283">
                  <c:v>87.1</c:v>
                </c:pt>
                <c:pt idx="6284">
                  <c:v>86.9</c:v>
                </c:pt>
                <c:pt idx="6285">
                  <c:v>86.9</c:v>
                </c:pt>
                <c:pt idx="6286">
                  <c:v>86.9</c:v>
                </c:pt>
                <c:pt idx="6287">
                  <c:v>86.9</c:v>
                </c:pt>
                <c:pt idx="6288">
                  <c:v>80.400000000000006</c:v>
                </c:pt>
                <c:pt idx="6289">
                  <c:v>78.099999999999994</c:v>
                </c:pt>
                <c:pt idx="6290">
                  <c:v>77</c:v>
                </c:pt>
                <c:pt idx="6291">
                  <c:v>76.3</c:v>
                </c:pt>
                <c:pt idx="6292">
                  <c:v>74.8</c:v>
                </c:pt>
                <c:pt idx="6293">
                  <c:v>73.900000000000006</c:v>
                </c:pt>
                <c:pt idx="6294">
                  <c:v>73</c:v>
                </c:pt>
                <c:pt idx="6295">
                  <c:v>72.099999999999994</c:v>
                </c:pt>
                <c:pt idx="6296">
                  <c:v>70.900000000000006</c:v>
                </c:pt>
                <c:pt idx="6297">
                  <c:v>70.7</c:v>
                </c:pt>
                <c:pt idx="6298">
                  <c:v>70.5</c:v>
                </c:pt>
                <c:pt idx="6299">
                  <c:v>70.5</c:v>
                </c:pt>
                <c:pt idx="6300">
                  <c:v>70.2</c:v>
                </c:pt>
                <c:pt idx="6301">
                  <c:v>70.2</c:v>
                </c:pt>
                <c:pt idx="6302">
                  <c:v>70.2</c:v>
                </c:pt>
                <c:pt idx="6303">
                  <c:v>70.2</c:v>
                </c:pt>
                <c:pt idx="6304">
                  <c:v>70.2</c:v>
                </c:pt>
                <c:pt idx="6305">
                  <c:v>70</c:v>
                </c:pt>
                <c:pt idx="6306">
                  <c:v>69.599999999999994</c:v>
                </c:pt>
                <c:pt idx="6307">
                  <c:v>69.3</c:v>
                </c:pt>
                <c:pt idx="6308">
                  <c:v>69.3</c:v>
                </c:pt>
                <c:pt idx="6309">
                  <c:v>69.3</c:v>
                </c:pt>
                <c:pt idx="6310">
                  <c:v>69.3</c:v>
                </c:pt>
                <c:pt idx="6311">
                  <c:v>69.3</c:v>
                </c:pt>
                <c:pt idx="6312">
                  <c:v>69.3</c:v>
                </c:pt>
                <c:pt idx="6313">
                  <c:v>69.3</c:v>
                </c:pt>
                <c:pt idx="6314">
                  <c:v>69.3</c:v>
                </c:pt>
                <c:pt idx="6315">
                  <c:v>69.3</c:v>
                </c:pt>
                <c:pt idx="6316">
                  <c:v>69.3</c:v>
                </c:pt>
                <c:pt idx="6317">
                  <c:v>69.3</c:v>
                </c:pt>
                <c:pt idx="6318">
                  <c:v>69.3</c:v>
                </c:pt>
                <c:pt idx="6319">
                  <c:v>69.3</c:v>
                </c:pt>
                <c:pt idx="6320">
                  <c:v>69.3</c:v>
                </c:pt>
                <c:pt idx="6321">
                  <c:v>69.3</c:v>
                </c:pt>
                <c:pt idx="6322">
                  <c:v>69.3</c:v>
                </c:pt>
                <c:pt idx="6323">
                  <c:v>69.3</c:v>
                </c:pt>
                <c:pt idx="6324">
                  <c:v>69.599999999999994</c:v>
                </c:pt>
                <c:pt idx="6325">
                  <c:v>69.599999999999994</c:v>
                </c:pt>
                <c:pt idx="6326">
                  <c:v>69.8</c:v>
                </c:pt>
                <c:pt idx="6327">
                  <c:v>70.5</c:v>
                </c:pt>
                <c:pt idx="6328">
                  <c:v>70.2</c:v>
                </c:pt>
                <c:pt idx="6329">
                  <c:v>70</c:v>
                </c:pt>
                <c:pt idx="6330">
                  <c:v>70.900000000000006</c:v>
                </c:pt>
                <c:pt idx="6331">
                  <c:v>70.3</c:v>
                </c:pt>
                <c:pt idx="6332">
                  <c:v>70.3</c:v>
                </c:pt>
                <c:pt idx="6333">
                  <c:v>70.3</c:v>
                </c:pt>
                <c:pt idx="6334">
                  <c:v>70.3</c:v>
                </c:pt>
                <c:pt idx="6335">
                  <c:v>70.5</c:v>
                </c:pt>
                <c:pt idx="6336">
                  <c:v>71.099999999999994</c:v>
                </c:pt>
                <c:pt idx="6337">
                  <c:v>70.900000000000006</c:v>
                </c:pt>
                <c:pt idx="6338">
                  <c:v>70.900000000000006</c:v>
                </c:pt>
                <c:pt idx="6339">
                  <c:v>71.099999999999994</c:v>
                </c:pt>
                <c:pt idx="6340">
                  <c:v>71.2</c:v>
                </c:pt>
                <c:pt idx="6341">
                  <c:v>71.400000000000006</c:v>
                </c:pt>
                <c:pt idx="6342">
                  <c:v>71.8</c:v>
                </c:pt>
                <c:pt idx="6343">
                  <c:v>72.3</c:v>
                </c:pt>
                <c:pt idx="6344">
                  <c:v>73</c:v>
                </c:pt>
                <c:pt idx="6345">
                  <c:v>73.8</c:v>
                </c:pt>
                <c:pt idx="6346">
                  <c:v>73.599999999999994</c:v>
                </c:pt>
                <c:pt idx="6347">
                  <c:v>74.099999999999994</c:v>
                </c:pt>
                <c:pt idx="6348">
                  <c:v>75</c:v>
                </c:pt>
                <c:pt idx="6349">
                  <c:v>76.599999999999994</c:v>
                </c:pt>
                <c:pt idx="6350">
                  <c:v>76.099999999999994</c:v>
                </c:pt>
                <c:pt idx="6351">
                  <c:v>75.599999999999994</c:v>
                </c:pt>
                <c:pt idx="6352">
                  <c:v>75.900000000000006</c:v>
                </c:pt>
                <c:pt idx="6353">
                  <c:v>76.3</c:v>
                </c:pt>
                <c:pt idx="6354">
                  <c:v>76.8</c:v>
                </c:pt>
                <c:pt idx="6355">
                  <c:v>77.5</c:v>
                </c:pt>
                <c:pt idx="6356">
                  <c:v>78.400000000000006</c:v>
                </c:pt>
                <c:pt idx="6357">
                  <c:v>78.599999999999994</c:v>
                </c:pt>
                <c:pt idx="6358">
                  <c:v>79.3</c:v>
                </c:pt>
                <c:pt idx="6359">
                  <c:v>80.8</c:v>
                </c:pt>
                <c:pt idx="6360">
                  <c:v>79.900000000000006</c:v>
                </c:pt>
                <c:pt idx="6361">
                  <c:v>81.3</c:v>
                </c:pt>
                <c:pt idx="6362">
                  <c:v>81</c:v>
                </c:pt>
                <c:pt idx="6363">
                  <c:v>81.900000000000006</c:v>
                </c:pt>
                <c:pt idx="6364">
                  <c:v>84.7</c:v>
                </c:pt>
                <c:pt idx="6365">
                  <c:v>84.7</c:v>
                </c:pt>
                <c:pt idx="6366">
                  <c:v>84.6</c:v>
                </c:pt>
                <c:pt idx="6367">
                  <c:v>84.4</c:v>
                </c:pt>
                <c:pt idx="6368">
                  <c:v>84.9</c:v>
                </c:pt>
                <c:pt idx="6369">
                  <c:v>85.3</c:v>
                </c:pt>
                <c:pt idx="6370">
                  <c:v>83.7</c:v>
                </c:pt>
                <c:pt idx="6371">
                  <c:v>85.8</c:v>
                </c:pt>
                <c:pt idx="6372">
                  <c:v>84.2</c:v>
                </c:pt>
                <c:pt idx="6373">
                  <c:v>83.5</c:v>
                </c:pt>
                <c:pt idx="6374">
                  <c:v>85.1</c:v>
                </c:pt>
                <c:pt idx="6375">
                  <c:v>84.6</c:v>
                </c:pt>
                <c:pt idx="6376">
                  <c:v>85.1</c:v>
                </c:pt>
                <c:pt idx="6377">
                  <c:v>85.5</c:v>
                </c:pt>
                <c:pt idx="6378">
                  <c:v>86.7</c:v>
                </c:pt>
                <c:pt idx="6379">
                  <c:v>85.8</c:v>
                </c:pt>
                <c:pt idx="6380">
                  <c:v>86.7</c:v>
                </c:pt>
                <c:pt idx="6381">
                  <c:v>84.2</c:v>
                </c:pt>
                <c:pt idx="6382">
                  <c:v>85.8</c:v>
                </c:pt>
                <c:pt idx="6383">
                  <c:v>87.1</c:v>
                </c:pt>
                <c:pt idx="6384">
                  <c:v>84.2</c:v>
                </c:pt>
                <c:pt idx="6385">
                  <c:v>83.1</c:v>
                </c:pt>
                <c:pt idx="6386">
                  <c:v>82.8</c:v>
                </c:pt>
                <c:pt idx="6387">
                  <c:v>82.2</c:v>
                </c:pt>
                <c:pt idx="6388">
                  <c:v>81.7</c:v>
                </c:pt>
                <c:pt idx="6389">
                  <c:v>80.8</c:v>
                </c:pt>
                <c:pt idx="6390">
                  <c:v>79.900000000000006</c:v>
                </c:pt>
                <c:pt idx="6391">
                  <c:v>77.900000000000006</c:v>
                </c:pt>
                <c:pt idx="6392">
                  <c:v>76.3</c:v>
                </c:pt>
                <c:pt idx="6393">
                  <c:v>75.599999999999994</c:v>
                </c:pt>
                <c:pt idx="6394">
                  <c:v>74.8</c:v>
                </c:pt>
                <c:pt idx="6395">
                  <c:v>73.8</c:v>
                </c:pt>
                <c:pt idx="6396">
                  <c:v>72.900000000000006</c:v>
                </c:pt>
                <c:pt idx="6397">
                  <c:v>71.8</c:v>
                </c:pt>
                <c:pt idx="6398">
                  <c:v>71.2</c:v>
                </c:pt>
                <c:pt idx="6399">
                  <c:v>70.7</c:v>
                </c:pt>
                <c:pt idx="6400">
                  <c:v>70.3</c:v>
                </c:pt>
                <c:pt idx="6401">
                  <c:v>69.8</c:v>
                </c:pt>
                <c:pt idx="6402">
                  <c:v>69.8</c:v>
                </c:pt>
                <c:pt idx="6403">
                  <c:v>69.8</c:v>
                </c:pt>
                <c:pt idx="6404">
                  <c:v>69.8</c:v>
                </c:pt>
                <c:pt idx="6405">
                  <c:v>69.8</c:v>
                </c:pt>
                <c:pt idx="6406">
                  <c:v>69.8</c:v>
                </c:pt>
                <c:pt idx="6407">
                  <c:v>69.8</c:v>
                </c:pt>
                <c:pt idx="6408">
                  <c:v>69.8</c:v>
                </c:pt>
                <c:pt idx="6409">
                  <c:v>69.8</c:v>
                </c:pt>
                <c:pt idx="6410">
                  <c:v>69.8</c:v>
                </c:pt>
                <c:pt idx="6411">
                  <c:v>69.8</c:v>
                </c:pt>
                <c:pt idx="6412">
                  <c:v>69.8</c:v>
                </c:pt>
                <c:pt idx="6413">
                  <c:v>69.8</c:v>
                </c:pt>
                <c:pt idx="6414">
                  <c:v>69.8</c:v>
                </c:pt>
                <c:pt idx="6415">
                  <c:v>69.8</c:v>
                </c:pt>
                <c:pt idx="6416">
                  <c:v>69.8</c:v>
                </c:pt>
                <c:pt idx="6417">
                  <c:v>69.8</c:v>
                </c:pt>
                <c:pt idx="6418">
                  <c:v>68.5</c:v>
                </c:pt>
                <c:pt idx="6419">
                  <c:v>69.099999999999994</c:v>
                </c:pt>
                <c:pt idx="6420">
                  <c:v>69.099999999999994</c:v>
                </c:pt>
                <c:pt idx="6421">
                  <c:v>69.3</c:v>
                </c:pt>
                <c:pt idx="6422">
                  <c:v>69.3</c:v>
                </c:pt>
                <c:pt idx="6423">
                  <c:v>69.3</c:v>
                </c:pt>
                <c:pt idx="6424">
                  <c:v>69.099999999999994</c:v>
                </c:pt>
                <c:pt idx="6425">
                  <c:v>68.7</c:v>
                </c:pt>
                <c:pt idx="6426">
                  <c:v>68.400000000000006</c:v>
                </c:pt>
                <c:pt idx="6427">
                  <c:v>68.400000000000006</c:v>
                </c:pt>
                <c:pt idx="6428">
                  <c:v>68</c:v>
                </c:pt>
                <c:pt idx="6429">
                  <c:v>68</c:v>
                </c:pt>
                <c:pt idx="6430">
                  <c:v>67.8</c:v>
                </c:pt>
                <c:pt idx="6431">
                  <c:v>67.599999999999994</c:v>
                </c:pt>
                <c:pt idx="6432">
                  <c:v>67.599999999999994</c:v>
                </c:pt>
                <c:pt idx="6433">
                  <c:v>68.2</c:v>
                </c:pt>
                <c:pt idx="6434">
                  <c:v>68.5</c:v>
                </c:pt>
                <c:pt idx="6435">
                  <c:v>69.099999999999994</c:v>
                </c:pt>
                <c:pt idx="6436">
                  <c:v>70.3</c:v>
                </c:pt>
                <c:pt idx="6437">
                  <c:v>72</c:v>
                </c:pt>
                <c:pt idx="6438">
                  <c:v>75.400000000000006</c:v>
                </c:pt>
                <c:pt idx="6439">
                  <c:v>76.5</c:v>
                </c:pt>
                <c:pt idx="6440">
                  <c:v>77.5</c:v>
                </c:pt>
                <c:pt idx="6441">
                  <c:v>77.5</c:v>
                </c:pt>
                <c:pt idx="6442">
                  <c:v>81.3</c:v>
                </c:pt>
                <c:pt idx="6443">
                  <c:v>76.5</c:v>
                </c:pt>
                <c:pt idx="6444">
                  <c:v>78.099999999999994</c:v>
                </c:pt>
                <c:pt idx="6445">
                  <c:v>78.400000000000006</c:v>
                </c:pt>
                <c:pt idx="6446">
                  <c:v>79.5</c:v>
                </c:pt>
                <c:pt idx="6447">
                  <c:v>81.099999999999994</c:v>
                </c:pt>
                <c:pt idx="6448">
                  <c:v>81.7</c:v>
                </c:pt>
                <c:pt idx="6449">
                  <c:v>81.099999999999994</c:v>
                </c:pt>
                <c:pt idx="6450">
                  <c:v>80.400000000000006</c:v>
                </c:pt>
                <c:pt idx="6451">
                  <c:v>79.900000000000006</c:v>
                </c:pt>
                <c:pt idx="6452">
                  <c:v>80.8</c:v>
                </c:pt>
                <c:pt idx="6453">
                  <c:v>82</c:v>
                </c:pt>
                <c:pt idx="6454">
                  <c:v>81.900000000000006</c:v>
                </c:pt>
                <c:pt idx="6455">
                  <c:v>82.4</c:v>
                </c:pt>
                <c:pt idx="6456">
                  <c:v>85.1</c:v>
                </c:pt>
                <c:pt idx="6457">
                  <c:v>86.7</c:v>
                </c:pt>
                <c:pt idx="6458">
                  <c:v>85.1</c:v>
                </c:pt>
                <c:pt idx="6459">
                  <c:v>86.5</c:v>
                </c:pt>
                <c:pt idx="6460">
                  <c:v>91.8</c:v>
                </c:pt>
                <c:pt idx="6461">
                  <c:v>86</c:v>
                </c:pt>
                <c:pt idx="6462">
                  <c:v>84.7</c:v>
                </c:pt>
                <c:pt idx="6463">
                  <c:v>84.2</c:v>
                </c:pt>
                <c:pt idx="6464">
                  <c:v>84.9</c:v>
                </c:pt>
                <c:pt idx="6465">
                  <c:v>86</c:v>
                </c:pt>
                <c:pt idx="6466">
                  <c:v>87.1</c:v>
                </c:pt>
                <c:pt idx="6467">
                  <c:v>87.6</c:v>
                </c:pt>
                <c:pt idx="6468">
                  <c:v>87.3</c:v>
                </c:pt>
                <c:pt idx="6469">
                  <c:v>84.4</c:v>
                </c:pt>
                <c:pt idx="6470">
                  <c:v>82.2</c:v>
                </c:pt>
                <c:pt idx="6471">
                  <c:v>83.5</c:v>
                </c:pt>
                <c:pt idx="6472">
                  <c:v>84.4</c:v>
                </c:pt>
                <c:pt idx="6473">
                  <c:v>83.7</c:v>
                </c:pt>
                <c:pt idx="6474">
                  <c:v>82.4</c:v>
                </c:pt>
                <c:pt idx="6475">
                  <c:v>81.099999999999994</c:v>
                </c:pt>
                <c:pt idx="6476">
                  <c:v>79.7</c:v>
                </c:pt>
                <c:pt idx="6477">
                  <c:v>76.8</c:v>
                </c:pt>
                <c:pt idx="6478">
                  <c:v>77.5</c:v>
                </c:pt>
                <c:pt idx="6479">
                  <c:v>76.599999999999994</c:v>
                </c:pt>
                <c:pt idx="6480">
                  <c:v>78.099999999999994</c:v>
                </c:pt>
                <c:pt idx="6481">
                  <c:v>77.7</c:v>
                </c:pt>
                <c:pt idx="6482">
                  <c:v>77.5</c:v>
                </c:pt>
                <c:pt idx="6483">
                  <c:v>77</c:v>
                </c:pt>
                <c:pt idx="6484">
                  <c:v>76.599999999999994</c:v>
                </c:pt>
                <c:pt idx="6485">
                  <c:v>75.599999999999994</c:v>
                </c:pt>
                <c:pt idx="6486">
                  <c:v>74.5</c:v>
                </c:pt>
                <c:pt idx="6487">
                  <c:v>73.2</c:v>
                </c:pt>
                <c:pt idx="6488">
                  <c:v>72.900000000000006</c:v>
                </c:pt>
                <c:pt idx="6489">
                  <c:v>72.099999999999994</c:v>
                </c:pt>
                <c:pt idx="6490">
                  <c:v>71.400000000000006</c:v>
                </c:pt>
                <c:pt idx="6491">
                  <c:v>71.099999999999994</c:v>
                </c:pt>
                <c:pt idx="6492">
                  <c:v>70.900000000000006</c:v>
                </c:pt>
                <c:pt idx="6493">
                  <c:v>70.900000000000006</c:v>
                </c:pt>
                <c:pt idx="6494">
                  <c:v>70.7</c:v>
                </c:pt>
                <c:pt idx="6495">
                  <c:v>70.7</c:v>
                </c:pt>
                <c:pt idx="6496">
                  <c:v>70.7</c:v>
                </c:pt>
                <c:pt idx="6497">
                  <c:v>70.7</c:v>
                </c:pt>
                <c:pt idx="6498">
                  <c:v>70.7</c:v>
                </c:pt>
                <c:pt idx="6499">
                  <c:v>70.7</c:v>
                </c:pt>
                <c:pt idx="6500">
                  <c:v>70.7</c:v>
                </c:pt>
                <c:pt idx="6501">
                  <c:v>70.7</c:v>
                </c:pt>
                <c:pt idx="6502">
                  <c:v>70.7</c:v>
                </c:pt>
                <c:pt idx="6503">
                  <c:v>70.7</c:v>
                </c:pt>
                <c:pt idx="6504">
                  <c:v>70.7</c:v>
                </c:pt>
                <c:pt idx="6505">
                  <c:v>70.7</c:v>
                </c:pt>
                <c:pt idx="6506">
                  <c:v>70.7</c:v>
                </c:pt>
                <c:pt idx="6507">
                  <c:v>70.7</c:v>
                </c:pt>
                <c:pt idx="6508">
                  <c:v>70.7</c:v>
                </c:pt>
                <c:pt idx="6509">
                  <c:v>70.7</c:v>
                </c:pt>
                <c:pt idx="6510">
                  <c:v>70.7</c:v>
                </c:pt>
                <c:pt idx="6511">
                  <c:v>68.7</c:v>
                </c:pt>
                <c:pt idx="6512">
                  <c:v>68.7</c:v>
                </c:pt>
                <c:pt idx="6513">
                  <c:v>68.2</c:v>
                </c:pt>
                <c:pt idx="6514">
                  <c:v>68</c:v>
                </c:pt>
                <c:pt idx="6515">
                  <c:v>69.099999999999994</c:v>
                </c:pt>
                <c:pt idx="6516">
                  <c:v>68.2</c:v>
                </c:pt>
                <c:pt idx="6517">
                  <c:v>67.5</c:v>
                </c:pt>
                <c:pt idx="6518">
                  <c:v>67.3</c:v>
                </c:pt>
                <c:pt idx="6519">
                  <c:v>67.3</c:v>
                </c:pt>
                <c:pt idx="6520">
                  <c:v>66.599999999999994</c:v>
                </c:pt>
                <c:pt idx="6521">
                  <c:v>66.400000000000006</c:v>
                </c:pt>
                <c:pt idx="6522">
                  <c:v>66.7</c:v>
                </c:pt>
                <c:pt idx="6523">
                  <c:v>66.7</c:v>
                </c:pt>
                <c:pt idx="6524">
                  <c:v>66.400000000000006</c:v>
                </c:pt>
                <c:pt idx="6525">
                  <c:v>66.599999999999994</c:v>
                </c:pt>
                <c:pt idx="6526">
                  <c:v>66.599999999999994</c:v>
                </c:pt>
                <c:pt idx="6527">
                  <c:v>66.400000000000006</c:v>
                </c:pt>
                <c:pt idx="6528">
                  <c:v>66.400000000000006</c:v>
                </c:pt>
                <c:pt idx="6529">
                  <c:v>66.400000000000006</c:v>
                </c:pt>
                <c:pt idx="6530">
                  <c:v>68.5</c:v>
                </c:pt>
                <c:pt idx="6531">
                  <c:v>70.2</c:v>
                </c:pt>
                <c:pt idx="6532">
                  <c:v>72.900000000000006</c:v>
                </c:pt>
                <c:pt idx="6533">
                  <c:v>72.900000000000006</c:v>
                </c:pt>
                <c:pt idx="6534">
                  <c:v>72.900000000000006</c:v>
                </c:pt>
                <c:pt idx="6535">
                  <c:v>72.900000000000006</c:v>
                </c:pt>
                <c:pt idx="6536">
                  <c:v>72.900000000000006</c:v>
                </c:pt>
                <c:pt idx="6537">
                  <c:v>72.900000000000006</c:v>
                </c:pt>
                <c:pt idx="6538">
                  <c:v>72.900000000000006</c:v>
                </c:pt>
                <c:pt idx="6539">
                  <c:v>72.900000000000006</c:v>
                </c:pt>
                <c:pt idx="6540">
                  <c:v>72.900000000000006</c:v>
                </c:pt>
                <c:pt idx="6541">
                  <c:v>72.900000000000006</c:v>
                </c:pt>
                <c:pt idx="6542">
                  <c:v>72.900000000000006</c:v>
                </c:pt>
                <c:pt idx="6543">
                  <c:v>72.900000000000006</c:v>
                </c:pt>
                <c:pt idx="6544">
                  <c:v>72.900000000000006</c:v>
                </c:pt>
                <c:pt idx="6545">
                  <c:v>72.900000000000006</c:v>
                </c:pt>
                <c:pt idx="6546">
                  <c:v>72.900000000000006</c:v>
                </c:pt>
                <c:pt idx="6547">
                  <c:v>72.900000000000006</c:v>
                </c:pt>
                <c:pt idx="6548">
                  <c:v>82.6</c:v>
                </c:pt>
                <c:pt idx="6549">
                  <c:v>84</c:v>
                </c:pt>
                <c:pt idx="6550">
                  <c:v>85.1</c:v>
                </c:pt>
                <c:pt idx="6551">
                  <c:v>86.2</c:v>
                </c:pt>
                <c:pt idx="6552">
                  <c:v>92.7</c:v>
                </c:pt>
                <c:pt idx="6553">
                  <c:v>94.1</c:v>
                </c:pt>
                <c:pt idx="6554">
                  <c:v>92.7</c:v>
                </c:pt>
                <c:pt idx="6555">
                  <c:v>89.1</c:v>
                </c:pt>
                <c:pt idx="6556">
                  <c:v>88.7</c:v>
                </c:pt>
                <c:pt idx="6557">
                  <c:v>89.1</c:v>
                </c:pt>
                <c:pt idx="6558">
                  <c:v>89.8</c:v>
                </c:pt>
                <c:pt idx="6559">
                  <c:v>89.6</c:v>
                </c:pt>
                <c:pt idx="6560">
                  <c:v>89.6</c:v>
                </c:pt>
                <c:pt idx="6561">
                  <c:v>90.9</c:v>
                </c:pt>
                <c:pt idx="6562">
                  <c:v>93.9</c:v>
                </c:pt>
                <c:pt idx="6563">
                  <c:v>93.9</c:v>
                </c:pt>
                <c:pt idx="6564">
                  <c:v>92.3</c:v>
                </c:pt>
                <c:pt idx="6565">
                  <c:v>93.7</c:v>
                </c:pt>
                <c:pt idx="6566">
                  <c:v>92.7</c:v>
                </c:pt>
                <c:pt idx="6567">
                  <c:v>91.8</c:v>
                </c:pt>
                <c:pt idx="6568">
                  <c:v>92.3</c:v>
                </c:pt>
                <c:pt idx="6569">
                  <c:v>94.6</c:v>
                </c:pt>
                <c:pt idx="6570">
                  <c:v>91.9</c:v>
                </c:pt>
                <c:pt idx="6571">
                  <c:v>92.8</c:v>
                </c:pt>
                <c:pt idx="6572">
                  <c:v>92.8</c:v>
                </c:pt>
                <c:pt idx="6573">
                  <c:v>97</c:v>
                </c:pt>
                <c:pt idx="6574">
                  <c:v>96.8</c:v>
                </c:pt>
                <c:pt idx="6575">
                  <c:v>93.9</c:v>
                </c:pt>
                <c:pt idx="6576">
                  <c:v>91.4</c:v>
                </c:pt>
                <c:pt idx="6577">
                  <c:v>90.1</c:v>
                </c:pt>
                <c:pt idx="6578">
                  <c:v>89.2</c:v>
                </c:pt>
                <c:pt idx="6579">
                  <c:v>88.5</c:v>
                </c:pt>
                <c:pt idx="6580">
                  <c:v>87.4</c:v>
                </c:pt>
                <c:pt idx="6581">
                  <c:v>86.4</c:v>
                </c:pt>
                <c:pt idx="6582">
                  <c:v>84.2</c:v>
                </c:pt>
                <c:pt idx="6583">
                  <c:v>81.900000000000006</c:v>
                </c:pt>
                <c:pt idx="6584">
                  <c:v>79.7</c:v>
                </c:pt>
                <c:pt idx="6585">
                  <c:v>77.5</c:v>
                </c:pt>
                <c:pt idx="6586">
                  <c:v>75.900000000000006</c:v>
                </c:pt>
                <c:pt idx="6587">
                  <c:v>74.5</c:v>
                </c:pt>
                <c:pt idx="6588">
                  <c:v>73</c:v>
                </c:pt>
                <c:pt idx="6589">
                  <c:v>72.099999999999994</c:v>
                </c:pt>
                <c:pt idx="6590">
                  <c:v>71.2</c:v>
                </c:pt>
                <c:pt idx="6591">
                  <c:v>70.2</c:v>
                </c:pt>
                <c:pt idx="6592">
                  <c:v>69.400000000000006</c:v>
                </c:pt>
                <c:pt idx="6593">
                  <c:v>69.400000000000006</c:v>
                </c:pt>
                <c:pt idx="6594">
                  <c:v>69.400000000000006</c:v>
                </c:pt>
                <c:pt idx="6595">
                  <c:v>69.400000000000006</c:v>
                </c:pt>
                <c:pt idx="6596">
                  <c:v>69.400000000000006</c:v>
                </c:pt>
                <c:pt idx="6597">
                  <c:v>69.400000000000006</c:v>
                </c:pt>
                <c:pt idx="6598">
                  <c:v>69.400000000000006</c:v>
                </c:pt>
                <c:pt idx="6599">
                  <c:v>69.400000000000006</c:v>
                </c:pt>
                <c:pt idx="6600">
                  <c:v>69.400000000000006</c:v>
                </c:pt>
                <c:pt idx="6601">
                  <c:v>69.400000000000006</c:v>
                </c:pt>
                <c:pt idx="6602">
                  <c:v>69.400000000000006</c:v>
                </c:pt>
                <c:pt idx="6603">
                  <c:v>69.400000000000006</c:v>
                </c:pt>
                <c:pt idx="6604">
                  <c:v>69.400000000000006</c:v>
                </c:pt>
                <c:pt idx="6605">
                  <c:v>69.400000000000006</c:v>
                </c:pt>
                <c:pt idx="6606">
                  <c:v>69.400000000000006</c:v>
                </c:pt>
                <c:pt idx="6607">
                  <c:v>69.400000000000006</c:v>
                </c:pt>
                <c:pt idx="6608">
                  <c:v>66.400000000000006</c:v>
                </c:pt>
                <c:pt idx="6609">
                  <c:v>66.400000000000006</c:v>
                </c:pt>
                <c:pt idx="6610">
                  <c:v>65.5</c:v>
                </c:pt>
                <c:pt idx="6611">
                  <c:v>65.099999999999994</c:v>
                </c:pt>
                <c:pt idx="6612">
                  <c:v>65.5</c:v>
                </c:pt>
                <c:pt idx="6613">
                  <c:v>65.3</c:v>
                </c:pt>
                <c:pt idx="6614">
                  <c:v>64.900000000000006</c:v>
                </c:pt>
                <c:pt idx="6615">
                  <c:v>64.400000000000006</c:v>
                </c:pt>
                <c:pt idx="6616">
                  <c:v>63.9</c:v>
                </c:pt>
                <c:pt idx="6617">
                  <c:v>63.1</c:v>
                </c:pt>
                <c:pt idx="6618">
                  <c:v>62.8</c:v>
                </c:pt>
                <c:pt idx="6619">
                  <c:v>62.1</c:v>
                </c:pt>
                <c:pt idx="6620">
                  <c:v>61.3</c:v>
                </c:pt>
                <c:pt idx="6621">
                  <c:v>61.7</c:v>
                </c:pt>
                <c:pt idx="6622">
                  <c:v>61.3</c:v>
                </c:pt>
                <c:pt idx="6623">
                  <c:v>61.2</c:v>
                </c:pt>
                <c:pt idx="6624">
                  <c:v>61.2</c:v>
                </c:pt>
                <c:pt idx="6625">
                  <c:v>64</c:v>
                </c:pt>
                <c:pt idx="6626">
                  <c:v>68.400000000000006</c:v>
                </c:pt>
                <c:pt idx="6627">
                  <c:v>70.7</c:v>
                </c:pt>
                <c:pt idx="6628">
                  <c:v>63</c:v>
                </c:pt>
                <c:pt idx="6629">
                  <c:v>63.7</c:v>
                </c:pt>
                <c:pt idx="6630">
                  <c:v>64.900000000000006</c:v>
                </c:pt>
                <c:pt idx="6631">
                  <c:v>66.599999999999994</c:v>
                </c:pt>
                <c:pt idx="6632">
                  <c:v>68.5</c:v>
                </c:pt>
                <c:pt idx="6633">
                  <c:v>70.5</c:v>
                </c:pt>
                <c:pt idx="6634">
                  <c:v>72.099999999999994</c:v>
                </c:pt>
                <c:pt idx="6635">
                  <c:v>72.900000000000006</c:v>
                </c:pt>
                <c:pt idx="6636">
                  <c:v>73.8</c:v>
                </c:pt>
                <c:pt idx="6637">
                  <c:v>74.5</c:v>
                </c:pt>
                <c:pt idx="6638">
                  <c:v>75.2</c:v>
                </c:pt>
                <c:pt idx="6639">
                  <c:v>76.099999999999994</c:v>
                </c:pt>
                <c:pt idx="6640">
                  <c:v>76.8</c:v>
                </c:pt>
                <c:pt idx="6641">
                  <c:v>77.400000000000006</c:v>
                </c:pt>
                <c:pt idx="6642">
                  <c:v>77.7</c:v>
                </c:pt>
                <c:pt idx="6643">
                  <c:v>78.400000000000006</c:v>
                </c:pt>
                <c:pt idx="6644">
                  <c:v>79.900000000000006</c:v>
                </c:pt>
                <c:pt idx="6645">
                  <c:v>81</c:v>
                </c:pt>
                <c:pt idx="6646">
                  <c:v>81.3</c:v>
                </c:pt>
                <c:pt idx="6647">
                  <c:v>82.4</c:v>
                </c:pt>
                <c:pt idx="6648">
                  <c:v>82.9</c:v>
                </c:pt>
                <c:pt idx="6649">
                  <c:v>83.1</c:v>
                </c:pt>
                <c:pt idx="6650">
                  <c:v>83.3</c:v>
                </c:pt>
                <c:pt idx="6651">
                  <c:v>88.7</c:v>
                </c:pt>
                <c:pt idx="6652">
                  <c:v>90</c:v>
                </c:pt>
                <c:pt idx="6653">
                  <c:v>92.5</c:v>
                </c:pt>
                <c:pt idx="6654">
                  <c:v>92.5</c:v>
                </c:pt>
                <c:pt idx="6655">
                  <c:v>86</c:v>
                </c:pt>
                <c:pt idx="6656">
                  <c:v>86.4</c:v>
                </c:pt>
                <c:pt idx="6657">
                  <c:v>86.7</c:v>
                </c:pt>
                <c:pt idx="6658">
                  <c:v>88</c:v>
                </c:pt>
                <c:pt idx="6659">
                  <c:v>88.9</c:v>
                </c:pt>
                <c:pt idx="6660">
                  <c:v>88.3</c:v>
                </c:pt>
                <c:pt idx="6661">
                  <c:v>87.8</c:v>
                </c:pt>
                <c:pt idx="6662">
                  <c:v>88.9</c:v>
                </c:pt>
                <c:pt idx="6663">
                  <c:v>89.6</c:v>
                </c:pt>
                <c:pt idx="6664">
                  <c:v>89.2</c:v>
                </c:pt>
                <c:pt idx="6665">
                  <c:v>89.6</c:v>
                </c:pt>
                <c:pt idx="6666">
                  <c:v>91</c:v>
                </c:pt>
                <c:pt idx="6667">
                  <c:v>90.5</c:v>
                </c:pt>
                <c:pt idx="6668">
                  <c:v>91.8</c:v>
                </c:pt>
                <c:pt idx="6669">
                  <c:v>92.1</c:v>
                </c:pt>
                <c:pt idx="6670">
                  <c:v>92.3</c:v>
                </c:pt>
                <c:pt idx="6671">
                  <c:v>89.2</c:v>
                </c:pt>
                <c:pt idx="6672">
                  <c:v>87.1</c:v>
                </c:pt>
                <c:pt idx="6673">
                  <c:v>85.1</c:v>
                </c:pt>
                <c:pt idx="6674">
                  <c:v>82.9</c:v>
                </c:pt>
                <c:pt idx="6675">
                  <c:v>81.099999999999994</c:v>
                </c:pt>
                <c:pt idx="6676">
                  <c:v>78.8</c:v>
                </c:pt>
                <c:pt idx="6677">
                  <c:v>76.5</c:v>
                </c:pt>
                <c:pt idx="6678">
                  <c:v>75.2</c:v>
                </c:pt>
                <c:pt idx="6679">
                  <c:v>73.599999999999994</c:v>
                </c:pt>
                <c:pt idx="6680">
                  <c:v>71.8</c:v>
                </c:pt>
                <c:pt idx="6681">
                  <c:v>70</c:v>
                </c:pt>
                <c:pt idx="6682">
                  <c:v>68.900000000000006</c:v>
                </c:pt>
                <c:pt idx="6683">
                  <c:v>73</c:v>
                </c:pt>
                <c:pt idx="6684">
                  <c:v>71.599999999999994</c:v>
                </c:pt>
                <c:pt idx="6685">
                  <c:v>70.7</c:v>
                </c:pt>
                <c:pt idx="6686">
                  <c:v>69.8</c:v>
                </c:pt>
                <c:pt idx="6687">
                  <c:v>68.7</c:v>
                </c:pt>
                <c:pt idx="6688">
                  <c:v>68.900000000000006</c:v>
                </c:pt>
                <c:pt idx="6689">
                  <c:v>68.2</c:v>
                </c:pt>
                <c:pt idx="6690">
                  <c:v>67.599999999999994</c:v>
                </c:pt>
                <c:pt idx="6691">
                  <c:v>66.900000000000006</c:v>
                </c:pt>
                <c:pt idx="6692">
                  <c:v>67.099999999999994</c:v>
                </c:pt>
                <c:pt idx="6693">
                  <c:v>66.400000000000006</c:v>
                </c:pt>
                <c:pt idx="6694">
                  <c:v>65.7</c:v>
                </c:pt>
                <c:pt idx="6695">
                  <c:v>66.7</c:v>
                </c:pt>
                <c:pt idx="6696">
                  <c:v>63.5</c:v>
                </c:pt>
                <c:pt idx="6697">
                  <c:v>63.5</c:v>
                </c:pt>
                <c:pt idx="6698">
                  <c:v>63.5</c:v>
                </c:pt>
                <c:pt idx="6699">
                  <c:v>63.5</c:v>
                </c:pt>
                <c:pt idx="6700">
                  <c:v>63.5</c:v>
                </c:pt>
                <c:pt idx="6701">
                  <c:v>63.5</c:v>
                </c:pt>
                <c:pt idx="6702">
                  <c:v>63.5</c:v>
                </c:pt>
                <c:pt idx="6703">
                  <c:v>63.5</c:v>
                </c:pt>
                <c:pt idx="6704">
                  <c:v>60.3</c:v>
                </c:pt>
                <c:pt idx="6705">
                  <c:v>59.9</c:v>
                </c:pt>
                <c:pt idx="6706">
                  <c:v>59.9</c:v>
                </c:pt>
                <c:pt idx="6707">
                  <c:v>59</c:v>
                </c:pt>
                <c:pt idx="6708">
                  <c:v>58.3</c:v>
                </c:pt>
                <c:pt idx="6709">
                  <c:v>57.9</c:v>
                </c:pt>
                <c:pt idx="6710">
                  <c:v>57.4</c:v>
                </c:pt>
                <c:pt idx="6711">
                  <c:v>57.2</c:v>
                </c:pt>
                <c:pt idx="6712">
                  <c:v>57.2</c:v>
                </c:pt>
                <c:pt idx="6713">
                  <c:v>57</c:v>
                </c:pt>
                <c:pt idx="6714">
                  <c:v>56.7</c:v>
                </c:pt>
                <c:pt idx="6715">
                  <c:v>56.8</c:v>
                </c:pt>
                <c:pt idx="6716">
                  <c:v>56.3</c:v>
                </c:pt>
                <c:pt idx="6717">
                  <c:v>55.9</c:v>
                </c:pt>
                <c:pt idx="6718">
                  <c:v>56.8</c:v>
                </c:pt>
                <c:pt idx="6719">
                  <c:v>57.7</c:v>
                </c:pt>
                <c:pt idx="6720">
                  <c:v>58.6</c:v>
                </c:pt>
                <c:pt idx="6721">
                  <c:v>57.2</c:v>
                </c:pt>
                <c:pt idx="6722">
                  <c:v>61.5</c:v>
                </c:pt>
                <c:pt idx="6723">
                  <c:v>65.3</c:v>
                </c:pt>
                <c:pt idx="6724">
                  <c:v>65.3</c:v>
                </c:pt>
                <c:pt idx="6725">
                  <c:v>65.3</c:v>
                </c:pt>
                <c:pt idx="6726">
                  <c:v>65.3</c:v>
                </c:pt>
                <c:pt idx="6727">
                  <c:v>65.3</c:v>
                </c:pt>
                <c:pt idx="6728">
                  <c:v>65.3</c:v>
                </c:pt>
                <c:pt idx="6729">
                  <c:v>65.3</c:v>
                </c:pt>
                <c:pt idx="6730">
                  <c:v>65.3</c:v>
                </c:pt>
                <c:pt idx="6731">
                  <c:v>65.3</c:v>
                </c:pt>
                <c:pt idx="6732">
                  <c:v>65.3</c:v>
                </c:pt>
                <c:pt idx="6733">
                  <c:v>65.3</c:v>
                </c:pt>
                <c:pt idx="6734">
                  <c:v>65.3</c:v>
                </c:pt>
                <c:pt idx="6735">
                  <c:v>65.3</c:v>
                </c:pt>
                <c:pt idx="6736">
                  <c:v>65.3</c:v>
                </c:pt>
                <c:pt idx="6737">
                  <c:v>65.3</c:v>
                </c:pt>
                <c:pt idx="6738">
                  <c:v>65.3</c:v>
                </c:pt>
                <c:pt idx="6739">
                  <c:v>80.2</c:v>
                </c:pt>
                <c:pt idx="6740">
                  <c:v>81</c:v>
                </c:pt>
                <c:pt idx="6741">
                  <c:v>82.2</c:v>
                </c:pt>
                <c:pt idx="6742">
                  <c:v>84.2</c:v>
                </c:pt>
                <c:pt idx="6743">
                  <c:v>86.7</c:v>
                </c:pt>
                <c:pt idx="6744">
                  <c:v>87.8</c:v>
                </c:pt>
                <c:pt idx="6745">
                  <c:v>87.4</c:v>
                </c:pt>
                <c:pt idx="6746">
                  <c:v>87.3</c:v>
                </c:pt>
                <c:pt idx="6747">
                  <c:v>87.6</c:v>
                </c:pt>
                <c:pt idx="6748">
                  <c:v>87.8</c:v>
                </c:pt>
                <c:pt idx="6749">
                  <c:v>95</c:v>
                </c:pt>
                <c:pt idx="6750">
                  <c:v>88.9</c:v>
                </c:pt>
                <c:pt idx="6751">
                  <c:v>90.1</c:v>
                </c:pt>
                <c:pt idx="6752">
                  <c:v>92.1</c:v>
                </c:pt>
                <c:pt idx="6753">
                  <c:v>93</c:v>
                </c:pt>
                <c:pt idx="6754">
                  <c:v>90.9</c:v>
                </c:pt>
                <c:pt idx="6755">
                  <c:v>89.6</c:v>
                </c:pt>
                <c:pt idx="6756">
                  <c:v>91.8</c:v>
                </c:pt>
                <c:pt idx="6757">
                  <c:v>93.6</c:v>
                </c:pt>
                <c:pt idx="6758">
                  <c:v>94.3</c:v>
                </c:pt>
                <c:pt idx="6759">
                  <c:v>92.7</c:v>
                </c:pt>
                <c:pt idx="6760">
                  <c:v>91.6</c:v>
                </c:pt>
                <c:pt idx="6761">
                  <c:v>93.2</c:v>
                </c:pt>
                <c:pt idx="6762">
                  <c:v>93.7</c:v>
                </c:pt>
                <c:pt idx="6763">
                  <c:v>90.1</c:v>
                </c:pt>
                <c:pt idx="6764">
                  <c:v>90</c:v>
                </c:pt>
                <c:pt idx="6765">
                  <c:v>89.4</c:v>
                </c:pt>
                <c:pt idx="6766">
                  <c:v>88.2</c:v>
                </c:pt>
                <c:pt idx="6767">
                  <c:v>87.1</c:v>
                </c:pt>
                <c:pt idx="6768">
                  <c:v>87.3</c:v>
                </c:pt>
                <c:pt idx="6769">
                  <c:v>87.6</c:v>
                </c:pt>
                <c:pt idx="6770">
                  <c:v>87.1</c:v>
                </c:pt>
                <c:pt idx="6771">
                  <c:v>86</c:v>
                </c:pt>
                <c:pt idx="6772">
                  <c:v>83.1</c:v>
                </c:pt>
                <c:pt idx="6773">
                  <c:v>81</c:v>
                </c:pt>
                <c:pt idx="6774">
                  <c:v>78.8</c:v>
                </c:pt>
                <c:pt idx="6775">
                  <c:v>76.8</c:v>
                </c:pt>
                <c:pt idx="6776">
                  <c:v>74.8</c:v>
                </c:pt>
                <c:pt idx="6777">
                  <c:v>73.2</c:v>
                </c:pt>
                <c:pt idx="6778">
                  <c:v>72</c:v>
                </c:pt>
                <c:pt idx="6779">
                  <c:v>70.7</c:v>
                </c:pt>
                <c:pt idx="6780">
                  <c:v>76.599999999999994</c:v>
                </c:pt>
                <c:pt idx="6781">
                  <c:v>75.599999999999994</c:v>
                </c:pt>
                <c:pt idx="6782">
                  <c:v>74.8</c:v>
                </c:pt>
                <c:pt idx="6783">
                  <c:v>72.900000000000006</c:v>
                </c:pt>
                <c:pt idx="6784">
                  <c:v>72</c:v>
                </c:pt>
                <c:pt idx="6785">
                  <c:v>72</c:v>
                </c:pt>
                <c:pt idx="6786">
                  <c:v>71.400000000000006</c:v>
                </c:pt>
                <c:pt idx="6787">
                  <c:v>71.400000000000006</c:v>
                </c:pt>
                <c:pt idx="6788">
                  <c:v>69.8</c:v>
                </c:pt>
                <c:pt idx="6789">
                  <c:v>69.8</c:v>
                </c:pt>
                <c:pt idx="6790">
                  <c:v>69.8</c:v>
                </c:pt>
                <c:pt idx="6791">
                  <c:v>69.8</c:v>
                </c:pt>
                <c:pt idx="6792">
                  <c:v>69.8</c:v>
                </c:pt>
                <c:pt idx="6793">
                  <c:v>69.8</c:v>
                </c:pt>
                <c:pt idx="6794">
                  <c:v>69.8</c:v>
                </c:pt>
                <c:pt idx="6795">
                  <c:v>69.8</c:v>
                </c:pt>
                <c:pt idx="6796">
                  <c:v>66.599999999999994</c:v>
                </c:pt>
                <c:pt idx="6797">
                  <c:v>66.2</c:v>
                </c:pt>
                <c:pt idx="6798">
                  <c:v>64.8</c:v>
                </c:pt>
                <c:pt idx="6799">
                  <c:v>63.9</c:v>
                </c:pt>
                <c:pt idx="6800">
                  <c:v>63.3</c:v>
                </c:pt>
                <c:pt idx="6801">
                  <c:v>62.8</c:v>
                </c:pt>
                <c:pt idx="6802">
                  <c:v>62.6</c:v>
                </c:pt>
                <c:pt idx="6803">
                  <c:v>62.1</c:v>
                </c:pt>
                <c:pt idx="6804">
                  <c:v>62.1</c:v>
                </c:pt>
                <c:pt idx="6805">
                  <c:v>61.5</c:v>
                </c:pt>
                <c:pt idx="6806">
                  <c:v>61.5</c:v>
                </c:pt>
                <c:pt idx="6807">
                  <c:v>63.1</c:v>
                </c:pt>
                <c:pt idx="6808">
                  <c:v>61.5</c:v>
                </c:pt>
                <c:pt idx="6809">
                  <c:v>61</c:v>
                </c:pt>
                <c:pt idx="6810">
                  <c:v>60.6</c:v>
                </c:pt>
                <c:pt idx="6811">
                  <c:v>60.1</c:v>
                </c:pt>
                <c:pt idx="6812">
                  <c:v>60.1</c:v>
                </c:pt>
                <c:pt idx="6813">
                  <c:v>61.5</c:v>
                </c:pt>
                <c:pt idx="6814">
                  <c:v>61</c:v>
                </c:pt>
                <c:pt idx="6815">
                  <c:v>60.3</c:v>
                </c:pt>
                <c:pt idx="6816">
                  <c:v>60.4</c:v>
                </c:pt>
                <c:pt idx="6817">
                  <c:v>61.3</c:v>
                </c:pt>
                <c:pt idx="6818">
                  <c:v>64</c:v>
                </c:pt>
                <c:pt idx="6819">
                  <c:v>64.900000000000006</c:v>
                </c:pt>
                <c:pt idx="6820">
                  <c:v>65.8</c:v>
                </c:pt>
                <c:pt idx="6821">
                  <c:v>67.5</c:v>
                </c:pt>
                <c:pt idx="6822">
                  <c:v>69.400000000000006</c:v>
                </c:pt>
                <c:pt idx="6823">
                  <c:v>72.900000000000006</c:v>
                </c:pt>
                <c:pt idx="6824">
                  <c:v>78.8</c:v>
                </c:pt>
                <c:pt idx="6825">
                  <c:v>82.9</c:v>
                </c:pt>
                <c:pt idx="6826">
                  <c:v>84</c:v>
                </c:pt>
                <c:pt idx="6827">
                  <c:v>72</c:v>
                </c:pt>
                <c:pt idx="6828">
                  <c:v>74.8</c:v>
                </c:pt>
                <c:pt idx="6829">
                  <c:v>77</c:v>
                </c:pt>
                <c:pt idx="6830">
                  <c:v>77.900000000000006</c:v>
                </c:pt>
                <c:pt idx="6831">
                  <c:v>79.3</c:v>
                </c:pt>
                <c:pt idx="6832">
                  <c:v>81.3</c:v>
                </c:pt>
                <c:pt idx="6833">
                  <c:v>82.8</c:v>
                </c:pt>
                <c:pt idx="6834">
                  <c:v>84.6</c:v>
                </c:pt>
                <c:pt idx="6835">
                  <c:v>86.4</c:v>
                </c:pt>
                <c:pt idx="6836">
                  <c:v>87.8</c:v>
                </c:pt>
                <c:pt idx="6837">
                  <c:v>89.4</c:v>
                </c:pt>
                <c:pt idx="6838">
                  <c:v>90.9</c:v>
                </c:pt>
                <c:pt idx="6839">
                  <c:v>92.5</c:v>
                </c:pt>
                <c:pt idx="6840">
                  <c:v>93.2</c:v>
                </c:pt>
                <c:pt idx="6841">
                  <c:v>92.8</c:v>
                </c:pt>
                <c:pt idx="6842">
                  <c:v>92.7</c:v>
                </c:pt>
                <c:pt idx="6843">
                  <c:v>93.6</c:v>
                </c:pt>
                <c:pt idx="6844">
                  <c:v>93.6</c:v>
                </c:pt>
                <c:pt idx="6845">
                  <c:v>94.1</c:v>
                </c:pt>
                <c:pt idx="6846">
                  <c:v>102</c:v>
                </c:pt>
                <c:pt idx="6847">
                  <c:v>95.7</c:v>
                </c:pt>
                <c:pt idx="6848">
                  <c:v>95.7</c:v>
                </c:pt>
                <c:pt idx="6849">
                  <c:v>99.1</c:v>
                </c:pt>
                <c:pt idx="6850">
                  <c:v>97.2</c:v>
                </c:pt>
                <c:pt idx="6851">
                  <c:v>100</c:v>
                </c:pt>
                <c:pt idx="6852">
                  <c:v>101.5</c:v>
                </c:pt>
                <c:pt idx="6853">
                  <c:v>99</c:v>
                </c:pt>
                <c:pt idx="6854">
                  <c:v>99.7</c:v>
                </c:pt>
                <c:pt idx="6855">
                  <c:v>102.2</c:v>
                </c:pt>
                <c:pt idx="6856">
                  <c:v>102.4</c:v>
                </c:pt>
                <c:pt idx="6857">
                  <c:v>95</c:v>
                </c:pt>
                <c:pt idx="6858">
                  <c:v>93.9</c:v>
                </c:pt>
                <c:pt idx="6859">
                  <c:v>93.9</c:v>
                </c:pt>
                <c:pt idx="6860">
                  <c:v>93.9</c:v>
                </c:pt>
                <c:pt idx="6861">
                  <c:v>93.6</c:v>
                </c:pt>
                <c:pt idx="6862">
                  <c:v>96.3</c:v>
                </c:pt>
                <c:pt idx="6863">
                  <c:v>94.5</c:v>
                </c:pt>
                <c:pt idx="6864">
                  <c:v>91.6</c:v>
                </c:pt>
                <c:pt idx="6865">
                  <c:v>90.1</c:v>
                </c:pt>
                <c:pt idx="6866">
                  <c:v>87.3</c:v>
                </c:pt>
                <c:pt idx="6867">
                  <c:v>85.5</c:v>
                </c:pt>
                <c:pt idx="6868">
                  <c:v>83.3</c:v>
                </c:pt>
                <c:pt idx="6869">
                  <c:v>81</c:v>
                </c:pt>
                <c:pt idx="6870">
                  <c:v>79</c:v>
                </c:pt>
                <c:pt idx="6871">
                  <c:v>77</c:v>
                </c:pt>
                <c:pt idx="6872">
                  <c:v>75.599999999999994</c:v>
                </c:pt>
                <c:pt idx="6873">
                  <c:v>74.099999999999994</c:v>
                </c:pt>
                <c:pt idx="6874">
                  <c:v>78.599999999999994</c:v>
                </c:pt>
                <c:pt idx="6875">
                  <c:v>77.5</c:v>
                </c:pt>
                <c:pt idx="6876">
                  <c:v>76.5</c:v>
                </c:pt>
                <c:pt idx="6877">
                  <c:v>75.7</c:v>
                </c:pt>
                <c:pt idx="6878">
                  <c:v>76.099999999999994</c:v>
                </c:pt>
                <c:pt idx="6879">
                  <c:v>74.7</c:v>
                </c:pt>
                <c:pt idx="6880">
                  <c:v>73.2</c:v>
                </c:pt>
                <c:pt idx="6881">
                  <c:v>72.7</c:v>
                </c:pt>
                <c:pt idx="6882">
                  <c:v>73.2</c:v>
                </c:pt>
                <c:pt idx="6883">
                  <c:v>72</c:v>
                </c:pt>
                <c:pt idx="6884">
                  <c:v>71.400000000000006</c:v>
                </c:pt>
                <c:pt idx="6885">
                  <c:v>70.900000000000006</c:v>
                </c:pt>
                <c:pt idx="6886">
                  <c:v>70.7</c:v>
                </c:pt>
                <c:pt idx="6887">
                  <c:v>71.099999999999994</c:v>
                </c:pt>
                <c:pt idx="6888">
                  <c:v>70.2</c:v>
                </c:pt>
                <c:pt idx="6889">
                  <c:v>69.599999999999994</c:v>
                </c:pt>
                <c:pt idx="6890">
                  <c:v>69.099999999999994</c:v>
                </c:pt>
                <c:pt idx="6891">
                  <c:v>68.5</c:v>
                </c:pt>
                <c:pt idx="6892">
                  <c:v>67.8</c:v>
                </c:pt>
                <c:pt idx="6893">
                  <c:v>67.8</c:v>
                </c:pt>
                <c:pt idx="6894">
                  <c:v>67.8</c:v>
                </c:pt>
                <c:pt idx="6895">
                  <c:v>67.8</c:v>
                </c:pt>
                <c:pt idx="6896">
                  <c:v>67.8</c:v>
                </c:pt>
                <c:pt idx="6897">
                  <c:v>68</c:v>
                </c:pt>
                <c:pt idx="6898">
                  <c:v>67.8</c:v>
                </c:pt>
                <c:pt idx="6899">
                  <c:v>67.599999999999994</c:v>
                </c:pt>
                <c:pt idx="6900">
                  <c:v>67.599999999999994</c:v>
                </c:pt>
                <c:pt idx="6901">
                  <c:v>67.599999999999994</c:v>
                </c:pt>
                <c:pt idx="6902">
                  <c:v>67.3</c:v>
                </c:pt>
                <c:pt idx="6903">
                  <c:v>67.3</c:v>
                </c:pt>
                <c:pt idx="6904">
                  <c:v>68</c:v>
                </c:pt>
                <c:pt idx="6905">
                  <c:v>68</c:v>
                </c:pt>
                <c:pt idx="6906">
                  <c:v>67.8</c:v>
                </c:pt>
                <c:pt idx="6907">
                  <c:v>68</c:v>
                </c:pt>
                <c:pt idx="6908">
                  <c:v>67.8</c:v>
                </c:pt>
                <c:pt idx="6909">
                  <c:v>67.8</c:v>
                </c:pt>
                <c:pt idx="6910">
                  <c:v>68.2</c:v>
                </c:pt>
                <c:pt idx="6911">
                  <c:v>68.7</c:v>
                </c:pt>
                <c:pt idx="6912">
                  <c:v>69.099999999999994</c:v>
                </c:pt>
                <c:pt idx="6913">
                  <c:v>70.3</c:v>
                </c:pt>
                <c:pt idx="6914">
                  <c:v>71.599999999999994</c:v>
                </c:pt>
                <c:pt idx="6915">
                  <c:v>74.3</c:v>
                </c:pt>
                <c:pt idx="6916">
                  <c:v>77.900000000000006</c:v>
                </c:pt>
                <c:pt idx="6917">
                  <c:v>80.599999999999994</c:v>
                </c:pt>
                <c:pt idx="6918">
                  <c:v>82</c:v>
                </c:pt>
                <c:pt idx="6919">
                  <c:v>83.5</c:v>
                </c:pt>
                <c:pt idx="6920">
                  <c:v>84.9</c:v>
                </c:pt>
                <c:pt idx="6921">
                  <c:v>87.3</c:v>
                </c:pt>
                <c:pt idx="6922">
                  <c:v>89.2</c:v>
                </c:pt>
                <c:pt idx="6923">
                  <c:v>93.4</c:v>
                </c:pt>
                <c:pt idx="6924">
                  <c:v>86.7</c:v>
                </c:pt>
                <c:pt idx="6925">
                  <c:v>86.9</c:v>
                </c:pt>
                <c:pt idx="6926">
                  <c:v>86.7</c:v>
                </c:pt>
                <c:pt idx="6927">
                  <c:v>86.7</c:v>
                </c:pt>
                <c:pt idx="6928">
                  <c:v>86.7</c:v>
                </c:pt>
                <c:pt idx="6929">
                  <c:v>86.7</c:v>
                </c:pt>
                <c:pt idx="6930">
                  <c:v>86.7</c:v>
                </c:pt>
                <c:pt idx="6931">
                  <c:v>86.7</c:v>
                </c:pt>
                <c:pt idx="6932">
                  <c:v>86.7</c:v>
                </c:pt>
                <c:pt idx="6933">
                  <c:v>86.7</c:v>
                </c:pt>
                <c:pt idx="6934">
                  <c:v>86.7</c:v>
                </c:pt>
                <c:pt idx="6935">
                  <c:v>86.7</c:v>
                </c:pt>
                <c:pt idx="6936">
                  <c:v>86.7</c:v>
                </c:pt>
                <c:pt idx="6937">
                  <c:v>86.7</c:v>
                </c:pt>
                <c:pt idx="6938">
                  <c:v>86.7</c:v>
                </c:pt>
                <c:pt idx="6939">
                  <c:v>93.7</c:v>
                </c:pt>
                <c:pt idx="6940">
                  <c:v>96.6</c:v>
                </c:pt>
                <c:pt idx="6941">
                  <c:v>96.1</c:v>
                </c:pt>
                <c:pt idx="6942">
                  <c:v>93.4</c:v>
                </c:pt>
                <c:pt idx="6943">
                  <c:v>95.9</c:v>
                </c:pt>
                <c:pt idx="6944">
                  <c:v>94.5</c:v>
                </c:pt>
                <c:pt idx="6945">
                  <c:v>94.6</c:v>
                </c:pt>
                <c:pt idx="6946">
                  <c:v>93.2</c:v>
                </c:pt>
                <c:pt idx="6947">
                  <c:v>92.1</c:v>
                </c:pt>
                <c:pt idx="6948">
                  <c:v>90.7</c:v>
                </c:pt>
                <c:pt idx="6949">
                  <c:v>93.2</c:v>
                </c:pt>
                <c:pt idx="6950">
                  <c:v>94.5</c:v>
                </c:pt>
                <c:pt idx="6951">
                  <c:v>94.3</c:v>
                </c:pt>
                <c:pt idx="6952">
                  <c:v>95.5</c:v>
                </c:pt>
                <c:pt idx="6953">
                  <c:v>94.6</c:v>
                </c:pt>
                <c:pt idx="6954">
                  <c:v>93.2</c:v>
                </c:pt>
                <c:pt idx="6955">
                  <c:v>92.7</c:v>
                </c:pt>
                <c:pt idx="6956">
                  <c:v>91.4</c:v>
                </c:pt>
                <c:pt idx="6957">
                  <c:v>91.4</c:v>
                </c:pt>
                <c:pt idx="6958">
                  <c:v>90</c:v>
                </c:pt>
                <c:pt idx="6959">
                  <c:v>90.3</c:v>
                </c:pt>
                <c:pt idx="6960">
                  <c:v>89.1</c:v>
                </c:pt>
                <c:pt idx="6961">
                  <c:v>87.4</c:v>
                </c:pt>
                <c:pt idx="6962">
                  <c:v>86</c:v>
                </c:pt>
                <c:pt idx="6963">
                  <c:v>83.3</c:v>
                </c:pt>
                <c:pt idx="6964">
                  <c:v>82.6</c:v>
                </c:pt>
                <c:pt idx="6965">
                  <c:v>81.3</c:v>
                </c:pt>
                <c:pt idx="6966">
                  <c:v>80.8</c:v>
                </c:pt>
                <c:pt idx="6967">
                  <c:v>79.5</c:v>
                </c:pt>
                <c:pt idx="6968">
                  <c:v>79</c:v>
                </c:pt>
                <c:pt idx="6969">
                  <c:v>78.3</c:v>
                </c:pt>
                <c:pt idx="6970">
                  <c:v>77.7</c:v>
                </c:pt>
                <c:pt idx="6971">
                  <c:v>77.400000000000006</c:v>
                </c:pt>
                <c:pt idx="6972">
                  <c:v>77.2</c:v>
                </c:pt>
                <c:pt idx="6973">
                  <c:v>76.3</c:v>
                </c:pt>
                <c:pt idx="6974">
                  <c:v>75.2</c:v>
                </c:pt>
                <c:pt idx="6975">
                  <c:v>74.3</c:v>
                </c:pt>
                <c:pt idx="6976">
                  <c:v>73.2</c:v>
                </c:pt>
                <c:pt idx="6977">
                  <c:v>72.5</c:v>
                </c:pt>
                <c:pt idx="6978">
                  <c:v>72.900000000000006</c:v>
                </c:pt>
                <c:pt idx="6979">
                  <c:v>73.2</c:v>
                </c:pt>
                <c:pt idx="6980">
                  <c:v>74.7</c:v>
                </c:pt>
                <c:pt idx="6981">
                  <c:v>74.5</c:v>
                </c:pt>
                <c:pt idx="6982">
                  <c:v>74.8</c:v>
                </c:pt>
                <c:pt idx="6983">
                  <c:v>74.8</c:v>
                </c:pt>
                <c:pt idx="6984">
                  <c:v>74.8</c:v>
                </c:pt>
                <c:pt idx="6985">
                  <c:v>74.8</c:v>
                </c:pt>
                <c:pt idx="6986">
                  <c:v>74.8</c:v>
                </c:pt>
                <c:pt idx="6987">
                  <c:v>74.8</c:v>
                </c:pt>
                <c:pt idx="6988">
                  <c:v>74.8</c:v>
                </c:pt>
                <c:pt idx="6989">
                  <c:v>74.8</c:v>
                </c:pt>
                <c:pt idx="6990">
                  <c:v>74.8</c:v>
                </c:pt>
                <c:pt idx="6991">
                  <c:v>74.8</c:v>
                </c:pt>
                <c:pt idx="6992">
                  <c:v>74.8</c:v>
                </c:pt>
                <c:pt idx="6993">
                  <c:v>74.8</c:v>
                </c:pt>
                <c:pt idx="6994">
                  <c:v>74.8</c:v>
                </c:pt>
                <c:pt idx="6995">
                  <c:v>74.8</c:v>
                </c:pt>
                <c:pt idx="6996">
                  <c:v>74.8</c:v>
                </c:pt>
                <c:pt idx="6997">
                  <c:v>73</c:v>
                </c:pt>
                <c:pt idx="6998">
                  <c:v>72</c:v>
                </c:pt>
                <c:pt idx="6999">
                  <c:v>70.900000000000006</c:v>
                </c:pt>
                <c:pt idx="7000">
                  <c:v>70.2</c:v>
                </c:pt>
                <c:pt idx="7001">
                  <c:v>69.8</c:v>
                </c:pt>
                <c:pt idx="7002">
                  <c:v>71.599999999999994</c:v>
                </c:pt>
                <c:pt idx="7003">
                  <c:v>70.2</c:v>
                </c:pt>
                <c:pt idx="7004">
                  <c:v>69.400000000000006</c:v>
                </c:pt>
                <c:pt idx="7005">
                  <c:v>68.900000000000006</c:v>
                </c:pt>
                <c:pt idx="7006">
                  <c:v>68.5</c:v>
                </c:pt>
                <c:pt idx="7007">
                  <c:v>68.5</c:v>
                </c:pt>
                <c:pt idx="7008">
                  <c:v>68.7</c:v>
                </c:pt>
                <c:pt idx="7009">
                  <c:v>69.599999999999994</c:v>
                </c:pt>
                <c:pt idx="7010">
                  <c:v>71.8</c:v>
                </c:pt>
                <c:pt idx="7011">
                  <c:v>70.3</c:v>
                </c:pt>
                <c:pt idx="7012">
                  <c:v>71.2</c:v>
                </c:pt>
                <c:pt idx="7013">
                  <c:v>79.5</c:v>
                </c:pt>
                <c:pt idx="7014">
                  <c:v>73.599999999999994</c:v>
                </c:pt>
                <c:pt idx="7015">
                  <c:v>75.400000000000006</c:v>
                </c:pt>
                <c:pt idx="7016">
                  <c:v>77</c:v>
                </c:pt>
                <c:pt idx="7017">
                  <c:v>77.400000000000006</c:v>
                </c:pt>
                <c:pt idx="7018">
                  <c:v>77.900000000000006</c:v>
                </c:pt>
                <c:pt idx="7019">
                  <c:v>83.3</c:v>
                </c:pt>
                <c:pt idx="7020">
                  <c:v>81.900000000000006</c:v>
                </c:pt>
                <c:pt idx="7021">
                  <c:v>83.3</c:v>
                </c:pt>
                <c:pt idx="7022">
                  <c:v>86.9</c:v>
                </c:pt>
                <c:pt idx="7023">
                  <c:v>89.6</c:v>
                </c:pt>
                <c:pt idx="7024">
                  <c:v>88.9</c:v>
                </c:pt>
                <c:pt idx="7025">
                  <c:v>87.1</c:v>
                </c:pt>
                <c:pt idx="7026">
                  <c:v>88.3</c:v>
                </c:pt>
                <c:pt idx="7027">
                  <c:v>88.9</c:v>
                </c:pt>
                <c:pt idx="7028">
                  <c:v>91.4</c:v>
                </c:pt>
                <c:pt idx="7029">
                  <c:v>91.2</c:v>
                </c:pt>
                <c:pt idx="7030">
                  <c:v>93.6</c:v>
                </c:pt>
                <c:pt idx="7031">
                  <c:v>92.8</c:v>
                </c:pt>
                <c:pt idx="7032">
                  <c:v>93.9</c:v>
                </c:pt>
                <c:pt idx="7033">
                  <c:v>93</c:v>
                </c:pt>
                <c:pt idx="7034">
                  <c:v>95.5</c:v>
                </c:pt>
                <c:pt idx="7035">
                  <c:v>90.5</c:v>
                </c:pt>
                <c:pt idx="7036">
                  <c:v>93.9</c:v>
                </c:pt>
                <c:pt idx="7037">
                  <c:v>93</c:v>
                </c:pt>
                <c:pt idx="7038">
                  <c:v>93.9</c:v>
                </c:pt>
                <c:pt idx="7039">
                  <c:v>92.1</c:v>
                </c:pt>
                <c:pt idx="7040">
                  <c:v>95.7</c:v>
                </c:pt>
                <c:pt idx="7041">
                  <c:v>95.5</c:v>
                </c:pt>
                <c:pt idx="7042">
                  <c:v>95</c:v>
                </c:pt>
                <c:pt idx="7043">
                  <c:v>95.7</c:v>
                </c:pt>
                <c:pt idx="7044">
                  <c:v>100.4</c:v>
                </c:pt>
                <c:pt idx="7045">
                  <c:v>92.8</c:v>
                </c:pt>
                <c:pt idx="7046">
                  <c:v>93</c:v>
                </c:pt>
                <c:pt idx="7047">
                  <c:v>96.8</c:v>
                </c:pt>
                <c:pt idx="7048">
                  <c:v>95.9</c:v>
                </c:pt>
                <c:pt idx="7049">
                  <c:v>96.1</c:v>
                </c:pt>
                <c:pt idx="7050">
                  <c:v>95.2</c:v>
                </c:pt>
                <c:pt idx="7051">
                  <c:v>95.2</c:v>
                </c:pt>
                <c:pt idx="7052">
                  <c:v>95.5</c:v>
                </c:pt>
                <c:pt idx="7053">
                  <c:v>97.3</c:v>
                </c:pt>
                <c:pt idx="7054">
                  <c:v>95.9</c:v>
                </c:pt>
                <c:pt idx="7055">
                  <c:v>93.4</c:v>
                </c:pt>
                <c:pt idx="7056">
                  <c:v>91.9</c:v>
                </c:pt>
                <c:pt idx="7057">
                  <c:v>88.7</c:v>
                </c:pt>
                <c:pt idx="7058">
                  <c:v>88</c:v>
                </c:pt>
                <c:pt idx="7059">
                  <c:v>86.7</c:v>
                </c:pt>
                <c:pt idx="7060">
                  <c:v>85.1</c:v>
                </c:pt>
                <c:pt idx="7061">
                  <c:v>83.7</c:v>
                </c:pt>
                <c:pt idx="7062">
                  <c:v>81.3</c:v>
                </c:pt>
                <c:pt idx="7063">
                  <c:v>80.599999999999994</c:v>
                </c:pt>
                <c:pt idx="7064">
                  <c:v>79.900000000000006</c:v>
                </c:pt>
                <c:pt idx="7065">
                  <c:v>79.3</c:v>
                </c:pt>
                <c:pt idx="7066">
                  <c:v>78.599999999999994</c:v>
                </c:pt>
                <c:pt idx="7067">
                  <c:v>77.7</c:v>
                </c:pt>
                <c:pt idx="7068">
                  <c:v>77.2</c:v>
                </c:pt>
                <c:pt idx="7069">
                  <c:v>76.5</c:v>
                </c:pt>
                <c:pt idx="7070">
                  <c:v>76.5</c:v>
                </c:pt>
                <c:pt idx="7071">
                  <c:v>76.5</c:v>
                </c:pt>
                <c:pt idx="7072">
                  <c:v>76.5</c:v>
                </c:pt>
                <c:pt idx="7073">
                  <c:v>76.5</c:v>
                </c:pt>
                <c:pt idx="7074">
                  <c:v>76.5</c:v>
                </c:pt>
                <c:pt idx="7075">
                  <c:v>76.5</c:v>
                </c:pt>
                <c:pt idx="7076">
                  <c:v>76.5</c:v>
                </c:pt>
                <c:pt idx="7077">
                  <c:v>76.5</c:v>
                </c:pt>
                <c:pt idx="7078">
                  <c:v>76.5</c:v>
                </c:pt>
                <c:pt idx="7079">
                  <c:v>76.5</c:v>
                </c:pt>
                <c:pt idx="7080">
                  <c:v>76.5</c:v>
                </c:pt>
                <c:pt idx="7081">
                  <c:v>76.5</c:v>
                </c:pt>
                <c:pt idx="7082">
                  <c:v>76.5</c:v>
                </c:pt>
                <c:pt idx="7083">
                  <c:v>76.5</c:v>
                </c:pt>
                <c:pt idx="7084">
                  <c:v>76.5</c:v>
                </c:pt>
                <c:pt idx="7085">
                  <c:v>73.900000000000006</c:v>
                </c:pt>
                <c:pt idx="7086">
                  <c:v>75.599999999999994</c:v>
                </c:pt>
                <c:pt idx="7087">
                  <c:v>75.599999999999994</c:v>
                </c:pt>
                <c:pt idx="7088">
                  <c:v>74.3</c:v>
                </c:pt>
                <c:pt idx="7089">
                  <c:v>73.8</c:v>
                </c:pt>
                <c:pt idx="7090">
                  <c:v>73.2</c:v>
                </c:pt>
                <c:pt idx="7091">
                  <c:v>72.7</c:v>
                </c:pt>
                <c:pt idx="7092">
                  <c:v>75</c:v>
                </c:pt>
                <c:pt idx="7093">
                  <c:v>73.599999999999994</c:v>
                </c:pt>
                <c:pt idx="7094">
                  <c:v>72.7</c:v>
                </c:pt>
                <c:pt idx="7095">
                  <c:v>72.5</c:v>
                </c:pt>
                <c:pt idx="7096">
                  <c:v>74.099999999999994</c:v>
                </c:pt>
                <c:pt idx="7097">
                  <c:v>73.2</c:v>
                </c:pt>
                <c:pt idx="7098">
                  <c:v>72.3</c:v>
                </c:pt>
                <c:pt idx="7099">
                  <c:v>72</c:v>
                </c:pt>
                <c:pt idx="7100">
                  <c:v>72.099999999999994</c:v>
                </c:pt>
                <c:pt idx="7101">
                  <c:v>72</c:v>
                </c:pt>
                <c:pt idx="7102">
                  <c:v>72.5</c:v>
                </c:pt>
                <c:pt idx="7103">
                  <c:v>74.7</c:v>
                </c:pt>
                <c:pt idx="7104">
                  <c:v>74.5</c:v>
                </c:pt>
                <c:pt idx="7105">
                  <c:v>77.2</c:v>
                </c:pt>
                <c:pt idx="7106">
                  <c:v>80.599999999999994</c:v>
                </c:pt>
                <c:pt idx="7107">
                  <c:v>73.900000000000006</c:v>
                </c:pt>
                <c:pt idx="7108">
                  <c:v>75.2</c:v>
                </c:pt>
                <c:pt idx="7109">
                  <c:v>76.099999999999994</c:v>
                </c:pt>
                <c:pt idx="7110">
                  <c:v>77.2</c:v>
                </c:pt>
                <c:pt idx="7111">
                  <c:v>78.400000000000006</c:v>
                </c:pt>
                <c:pt idx="7112">
                  <c:v>79.900000000000006</c:v>
                </c:pt>
                <c:pt idx="7113">
                  <c:v>81.099999999999994</c:v>
                </c:pt>
                <c:pt idx="7114">
                  <c:v>82</c:v>
                </c:pt>
                <c:pt idx="7115">
                  <c:v>83.3</c:v>
                </c:pt>
                <c:pt idx="7116">
                  <c:v>84.4</c:v>
                </c:pt>
                <c:pt idx="7117">
                  <c:v>85.5</c:v>
                </c:pt>
                <c:pt idx="7118">
                  <c:v>93.2</c:v>
                </c:pt>
                <c:pt idx="7119">
                  <c:v>94.1</c:v>
                </c:pt>
                <c:pt idx="7120">
                  <c:v>91.8</c:v>
                </c:pt>
                <c:pt idx="7121">
                  <c:v>92.1</c:v>
                </c:pt>
                <c:pt idx="7122">
                  <c:v>90.9</c:v>
                </c:pt>
                <c:pt idx="7123">
                  <c:v>92.1</c:v>
                </c:pt>
                <c:pt idx="7124">
                  <c:v>93.9</c:v>
                </c:pt>
                <c:pt idx="7125">
                  <c:v>94.8</c:v>
                </c:pt>
                <c:pt idx="7126">
                  <c:v>95.9</c:v>
                </c:pt>
                <c:pt idx="7127">
                  <c:v>94.5</c:v>
                </c:pt>
                <c:pt idx="7128">
                  <c:v>97</c:v>
                </c:pt>
                <c:pt idx="7129">
                  <c:v>96.6</c:v>
                </c:pt>
                <c:pt idx="7130">
                  <c:v>97</c:v>
                </c:pt>
                <c:pt idx="7131">
                  <c:v>97.5</c:v>
                </c:pt>
                <c:pt idx="7132">
                  <c:v>96.6</c:v>
                </c:pt>
                <c:pt idx="7133">
                  <c:v>99</c:v>
                </c:pt>
                <c:pt idx="7134">
                  <c:v>97.7</c:v>
                </c:pt>
                <c:pt idx="7135">
                  <c:v>96.4</c:v>
                </c:pt>
                <c:pt idx="7136">
                  <c:v>94.5</c:v>
                </c:pt>
                <c:pt idx="7137">
                  <c:v>96.6</c:v>
                </c:pt>
                <c:pt idx="7138">
                  <c:v>95.5</c:v>
                </c:pt>
                <c:pt idx="7139">
                  <c:v>96.4</c:v>
                </c:pt>
                <c:pt idx="7140">
                  <c:v>93.7</c:v>
                </c:pt>
                <c:pt idx="7141">
                  <c:v>93.9</c:v>
                </c:pt>
                <c:pt idx="7142">
                  <c:v>95.9</c:v>
                </c:pt>
                <c:pt idx="7143">
                  <c:v>96.1</c:v>
                </c:pt>
                <c:pt idx="7144">
                  <c:v>96.4</c:v>
                </c:pt>
                <c:pt idx="7145">
                  <c:v>85.1</c:v>
                </c:pt>
                <c:pt idx="7146">
                  <c:v>90.3</c:v>
                </c:pt>
                <c:pt idx="7147">
                  <c:v>88.2</c:v>
                </c:pt>
                <c:pt idx="7148">
                  <c:v>88.2</c:v>
                </c:pt>
                <c:pt idx="7149">
                  <c:v>86.5</c:v>
                </c:pt>
                <c:pt idx="7150">
                  <c:v>85.8</c:v>
                </c:pt>
                <c:pt idx="7151">
                  <c:v>84.6</c:v>
                </c:pt>
                <c:pt idx="7152">
                  <c:v>82.9</c:v>
                </c:pt>
                <c:pt idx="7153">
                  <c:v>82.4</c:v>
                </c:pt>
                <c:pt idx="7154">
                  <c:v>82</c:v>
                </c:pt>
                <c:pt idx="7155">
                  <c:v>82.4</c:v>
                </c:pt>
                <c:pt idx="7156">
                  <c:v>82</c:v>
                </c:pt>
                <c:pt idx="7157">
                  <c:v>80.8</c:v>
                </c:pt>
                <c:pt idx="7158">
                  <c:v>80.099999999999994</c:v>
                </c:pt>
                <c:pt idx="7159">
                  <c:v>81</c:v>
                </c:pt>
                <c:pt idx="7160">
                  <c:v>80.8</c:v>
                </c:pt>
                <c:pt idx="7161">
                  <c:v>79.5</c:v>
                </c:pt>
                <c:pt idx="7162">
                  <c:v>79</c:v>
                </c:pt>
                <c:pt idx="7163">
                  <c:v>79</c:v>
                </c:pt>
                <c:pt idx="7164">
                  <c:v>79</c:v>
                </c:pt>
                <c:pt idx="7165">
                  <c:v>79</c:v>
                </c:pt>
                <c:pt idx="7166">
                  <c:v>79</c:v>
                </c:pt>
                <c:pt idx="7167">
                  <c:v>79</c:v>
                </c:pt>
                <c:pt idx="7168">
                  <c:v>79</c:v>
                </c:pt>
                <c:pt idx="7169">
                  <c:v>74.099999999999994</c:v>
                </c:pt>
                <c:pt idx="7170">
                  <c:v>79</c:v>
                </c:pt>
                <c:pt idx="7171">
                  <c:v>79</c:v>
                </c:pt>
                <c:pt idx="7172">
                  <c:v>79</c:v>
                </c:pt>
                <c:pt idx="7173">
                  <c:v>79</c:v>
                </c:pt>
                <c:pt idx="7174">
                  <c:v>79</c:v>
                </c:pt>
                <c:pt idx="7175">
                  <c:v>79</c:v>
                </c:pt>
                <c:pt idx="7176">
                  <c:v>79</c:v>
                </c:pt>
                <c:pt idx="7177">
                  <c:v>79</c:v>
                </c:pt>
                <c:pt idx="7178">
                  <c:v>72.3</c:v>
                </c:pt>
                <c:pt idx="7179">
                  <c:v>72.099999999999994</c:v>
                </c:pt>
                <c:pt idx="7180">
                  <c:v>72.099999999999994</c:v>
                </c:pt>
                <c:pt idx="7181">
                  <c:v>74.3</c:v>
                </c:pt>
                <c:pt idx="7182">
                  <c:v>72.099999999999994</c:v>
                </c:pt>
                <c:pt idx="7183">
                  <c:v>71.8</c:v>
                </c:pt>
                <c:pt idx="7184">
                  <c:v>71.599999999999994</c:v>
                </c:pt>
                <c:pt idx="7185">
                  <c:v>71.599999999999994</c:v>
                </c:pt>
                <c:pt idx="7186">
                  <c:v>71.599999999999994</c:v>
                </c:pt>
                <c:pt idx="7187">
                  <c:v>73.900000000000006</c:v>
                </c:pt>
                <c:pt idx="7188">
                  <c:v>72.3</c:v>
                </c:pt>
                <c:pt idx="7189">
                  <c:v>71.599999999999994</c:v>
                </c:pt>
                <c:pt idx="7190">
                  <c:v>71.8</c:v>
                </c:pt>
                <c:pt idx="7191">
                  <c:v>72.099999999999994</c:v>
                </c:pt>
                <c:pt idx="7192">
                  <c:v>71.2</c:v>
                </c:pt>
                <c:pt idx="7193">
                  <c:v>71.400000000000006</c:v>
                </c:pt>
                <c:pt idx="7194">
                  <c:v>71.8</c:v>
                </c:pt>
                <c:pt idx="7195">
                  <c:v>70.900000000000006</c:v>
                </c:pt>
                <c:pt idx="7196">
                  <c:v>70.5</c:v>
                </c:pt>
                <c:pt idx="7197">
                  <c:v>70.5</c:v>
                </c:pt>
                <c:pt idx="7198">
                  <c:v>70.7</c:v>
                </c:pt>
                <c:pt idx="7199">
                  <c:v>70.7</c:v>
                </c:pt>
                <c:pt idx="7200">
                  <c:v>70.900000000000006</c:v>
                </c:pt>
                <c:pt idx="7201">
                  <c:v>70.900000000000006</c:v>
                </c:pt>
                <c:pt idx="7202">
                  <c:v>71.8</c:v>
                </c:pt>
                <c:pt idx="7203">
                  <c:v>72</c:v>
                </c:pt>
                <c:pt idx="7204">
                  <c:v>72</c:v>
                </c:pt>
                <c:pt idx="7205">
                  <c:v>73</c:v>
                </c:pt>
                <c:pt idx="7206">
                  <c:v>74.099999999999994</c:v>
                </c:pt>
                <c:pt idx="7207">
                  <c:v>75</c:v>
                </c:pt>
                <c:pt idx="7208">
                  <c:v>75.7</c:v>
                </c:pt>
                <c:pt idx="7209">
                  <c:v>77.2</c:v>
                </c:pt>
                <c:pt idx="7210">
                  <c:v>78.599999999999994</c:v>
                </c:pt>
                <c:pt idx="7211">
                  <c:v>79.5</c:v>
                </c:pt>
                <c:pt idx="7212">
                  <c:v>78.099999999999994</c:v>
                </c:pt>
                <c:pt idx="7213">
                  <c:v>79.7</c:v>
                </c:pt>
                <c:pt idx="7214">
                  <c:v>80.099999999999994</c:v>
                </c:pt>
                <c:pt idx="7215">
                  <c:v>83.8</c:v>
                </c:pt>
                <c:pt idx="7216">
                  <c:v>82.4</c:v>
                </c:pt>
                <c:pt idx="7217">
                  <c:v>85.6</c:v>
                </c:pt>
                <c:pt idx="7218">
                  <c:v>88.2</c:v>
                </c:pt>
                <c:pt idx="7219">
                  <c:v>90.9</c:v>
                </c:pt>
                <c:pt idx="7220">
                  <c:v>87.6</c:v>
                </c:pt>
                <c:pt idx="7221">
                  <c:v>88.5</c:v>
                </c:pt>
                <c:pt idx="7222">
                  <c:v>89.6</c:v>
                </c:pt>
                <c:pt idx="7223">
                  <c:v>90.5</c:v>
                </c:pt>
                <c:pt idx="7224">
                  <c:v>89.2</c:v>
                </c:pt>
                <c:pt idx="7225">
                  <c:v>90.1</c:v>
                </c:pt>
                <c:pt idx="7226">
                  <c:v>93.2</c:v>
                </c:pt>
                <c:pt idx="7227">
                  <c:v>90.3</c:v>
                </c:pt>
                <c:pt idx="7228">
                  <c:v>91.6</c:v>
                </c:pt>
                <c:pt idx="7229">
                  <c:v>92.1</c:v>
                </c:pt>
                <c:pt idx="7230">
                  <c:v>92.3</c:v>
                </c:pt>
                <c:pt idx="7231">
                  <c:v>91.9</c:v>
                </c:pt>
                <c:pt idx="7232">
                  <c:v>91</c:v>
                </c:pt>
                <c:pt idx="7233">
                  <c:v>91.8</c:v>
                </c:pt>
                <c:pt idx="7234">
                  <c:v>91.4</c:v>
                </c:pt>
                <c:pt idx="7235">
                  <c:v>91</c:v>
                </c:pt>
                <c:pt idx="7236">
                  <c:v>91</c:v>
                </c:pt>
                <c:pt idx="7237">
                  <c:v>91.2</c:v>
                </c:pt>
                <c:pt idx="7238">
                  <c:v>90.5</c:v>
                </c:pt>
                <c:pt idx="7239">
                  <c:v>92.5</c:v>
                </c:pt>
                <c:pt idx="7240">
                  <c:v>92.7</c:v>
                </c:pt>
                <c:pt idx="7241">
                  <c:v>92.7</c:v>
                </c:pt>
                <c:pt idx="7242">
                  <c:v>81.900000000000006</c:v>
                </c:pt>
                <c:pt idx="7243">
                  <c:v>78.599999999999994</c:v>
                </c:pt>
                <c:pt idx="7244">
                  <c:v>78.599999999999994</c:v>
                </c:pt>
                <c:pt idx="7245">
                  <c:v>78.099999999999994</c:v>
                </c:pt>
                <c:pt idx="7246">
                  <c:v>78.099999999999994</c:v>
                </c:pt>
                <c:pt idx="7247">
                  <c:v>77.5</c:v>
                </c:pt>
                <c:pt idx="7248">
                  <c:v>77.2</c:v>
                </c:pt>
                <c:pt idx="7249">
                  <c:v>77.2</c:v>
                </c:pt>
                <c:pt idx="7250">
                  <c:v>77.2</c:v>
                </c:pt>
                <c:pt idx="7251">
                  <c:v>77</c:v>
                </c:pt>
                <c:pt idx="7252">
                  <c:v>76.099999999999994</c:v>
                </c:pt>
                <c:pt idx="7253">
                  <c:v>75.599999999999994</c:v>
                </c:pt>
                <c:pt idx="7254">
                  <c:v>75</c:v>
                </c:pt>
                <c:pt idx="7255">
                  <c:v>74.3</c:v>
                </c:pt>
                <c:pt idx="7256">
                  <c:v>74.3</c:v>
                </c:pt>
                <c:pt idx="7257">
                  <c:v>73.900000000000006</c:v>
                </c:pt>
                <c:pt idx="7258">
                  <c:v>73.8</c:v>
                </c:pt>
                <c:pt idx="7259">
                  <c:v>73.8</c:v>
                </c:pt>
                <c:pt idx="7260">
                  <c:v>73.400000000000006</c:v>
                </c:pt>
                <c:pt idx="7261">
                  <c:v>73.2</c:v>
                </c:pt>
                <c:pt idx="7262">
                  <c:v>73.2</c:v>
                </c:pt>
                <c:pt idx="7263">
                  <c:v>73.2</c:v>
                </c:pt>
                <c:pt idx="7264">
                  <c:v>73.2</c:v>
                </c:pt>
                <c:pt idx="7265">
                  <c:v>73.2</c:v>
                </c:pt>
                <c:pt idx="7266">
                  <c:v>73.2</c:v>
                </c:pt>
                <c:pt idx="7267">
                  <c:v>73.2</c:v>
                </c:pt>
                <c:pt idx="7268">
                  <c:v>73.2</c:v>
                </c:pt>
                <c:pt idx="7269">
                  <c:v>73.2</c:v>
                </c:pt>
                <c:pt idx="7270">
                  <c:v>73.2</c:v>
                </c:pt>
                <c:pt idx="7271">
                  <c:v>73.2</c:v>
                </c:pt>
                <c:pt idx="7272">
                  <c:v>73.2</c:v>
                </c:pt>
                <c:pt idx="7273">
                  <c:v>73.2</c:v>
                </c:pt>
                <c:pt idx="7274">
                  <c:v>73.2</c:v>
                </c:pt>
                <c:pt idx="7275">
                  <c:v>73.2</c:v>
                </c:pt>
                <c:pt idx="7276">
                  <c:v>73.2</c:v>
                </c:pt>
                <c:pt idx="7277">
                  <c:v>73.400000000000006</c:v>
                </c:pt>
                <c:pt idx="7278">
                  <c:v>73</c:v>
                </c:pt>
                <c:pt idx="7279">
                  <c:v>72.900000000000006</c:v>
                </c:pt>
                <c:pt idx="7280">
                  <c:v>73.400000000000006</c:v>
                </c:pt>
                <c:pt idx="7281">
                  <c:v>73.400000000000006</c:v>
                </c:pt>
                <c:pt idx="7282">
                  <c:v>73.400000000000006</c:v>
                </c:pt>
                <c:pt idx="7283">
                  <c:v>73.400000000000006</c:v>
                </c:pt>
                <c:pt idx="7284">
                  <c:v>73.2</c:v>
                </c:pt>
                <c:pt idx="7285">
                  <c:v>74.099999999999994</c:v>
                </c:pt>
                <c:pt idx="7286">
                  <c:v>73</c:v>
                </c:pt>
                <c:pt idx="7287">
                  <c:v>72.7</c:v>
                </c:pt>
                <c:pt idx="7288">
                  <c:v>72.5</c:v>
                </c:pt>
                <c:pt idx="7289">
                  <c:v>73</c:v>
                </c:pt>
                <c:pt idx="7290">
                  <c:v>72.5</c:v>
                </c:pt>
                <c:pt idx="7291">
                  <c:v>72.5</c:v>
                </c:pt>
                <c:pt idx="7292">
                  <c:v>72.5</c:v>
                </c:pt>
                <c:pt idx="7293">
                  <c:v>72.5</c:v>
                </c:pt>
                <c:pt idx="7294">
                  <c:v>72.7</c:v>
                </c:pt>
                <c:pt idx="7295">
                  <c:v>72.900000000000006</c:v>
                </c:pt>
                <c:pt idx="7296">
                  <c:v>73</c:v>
                </c:pt>
                <c:pt idx="7297">
                  <c:v>73</c:v>
                </c:pt>
                <c:pt idx="7298">
                  <c:v>73</c:v>
                </c:pt>
                <c:pt idx="7299">
                  <c:v>73</c:v>
                </c:pt>
                <c:pt idx="7300">
                  <c:v>73</c:v>
                </c:pt>
                <c:pt idx="7301">
                  <c:v>73</c:v>
                </c:pt>
                <c:pt idx="7302">
                  <c:v>73</c:v>
                </c:pt>
                <c:pt idx="7303">
                  <c:v>73</c:v>
                </c:pt>
                <c:pt idx="7304">
                  <c:v>73</c:v>
                </c:pt>
                <c:pt idx="7305">
                  <c:v>73</c:v>
                </c:pt>
                <c:pt idx="7306">
                  <c:v>73</c:v>
                </c:pt>
                <c:pt idx="7307">
                  <c:v>73</c:v>
                </c:pt>
                <c:pt idx="7308">
                  <c:v>73</c:v>
                </c:pt>
                <c:pt idx="7309">
                  <c:v>73</c:v>
                </c:pt>
                <c:pt idx="7310">
                  <c:v>73</c:v>
                </c:pt>
                <c:pt idx="7311">
                  <c:v>73</c:v>
                </c:pt>
                <c:pt idx="7312">
                  <c:v>73</c:v>
                </c:pt>
                <c:pt idx="7313">
                  <c:v>73</c:v>
                </c:pt>
                <c:pt idx="7314">
                  <c:v>77.900000000000006</c:v>
                </c:pt>
                <c:pt idx="7315">
                  <c:v>78.8</c:v>
                </c:pt>
                <c:pt idx="7316">
                  <c:v>78.8</c:v>
                </c:pt>
                <c:pt idx="7317">
                  <c:v>77.5</c:v>
                </c:pt>
                <c:pt idx="7318">
                  <c:v>78.3</c:v>
                </c:pt>
                <c:pt idx="7319">
                  <c:v>77.5</c:v>
                </c:pt>
                <c:pt idx="7320">
                  <c:v>77.7</c:v>
                </c:pt>
                <c:pt idx="7321">
                  <c:v>78.099999999999994</c:v>
                </c:pt>
                <c:pt idx="7322">
                  <c:v>78.599999999999994</c:v>
                </c:pt>
                <c:pt idx="7323">
                  <c:v>78.599999999999994</c:v>
                </c:pt>
                <c:pt idx="7324">
                  <c:v>78.599999999999994</c:v>
                </c:pt>
                <c:pt idx="7325">
                  <c:v>80.599999999999994</c:v>
                </c:pt>
                <c:pt idx="7326">
                  <c:v>80.599999999999994</c:v>
                </c:pt>
                <c:pt idx="7327">
                  <c:v>80.599999999999994</c:v>
                </c:pt>
                <c:pt idx="7328">
                  <c:v>80.599999999999994</c:v>
                </c:pt>
                <c:pt idx="7329">
                  <c:v>80.099999999999994</c:v>
                </c:pt>
                <c:pt idx="7330">
                  <c:v>79.5</c:v>
                </c:pt>
                <c:pt idx="7331">
                  <c:v>80.099999999999994</c:v>
                </c:pt>
                <c:pt idx="7332">
                  <c:v>82.4</c:v>
                </c:pt>
                <c:pt idx="7333">
                  <c:v>82.2</c:v>
                </c:pt>
                <c:pt idx="7334">
                  <c:v>80.599999999999994</c:v>
                </c:pt>
                <c:pt idx="7335">
                  <c:v>79.900000000000006</c:v>
                </c:pt>
                <c:pt idx="7336">
                  <c:v>79</c:v>
                </c:pt>
                <c:pt idx="7337">
                  <c:v>78.3</c:v>
                </c:pt>
                <c:pt idx="7338">
                  <c:v>77.7</c:v>
                </c:pt>
                <c:pt idx="7339">
                  <c:v>77</c:v>
                </c:pt>
                <c:pt idx="7340">
                  <c:v>76.599999999999994</c:v>
                </c:pt>
                <c:pt idx="7341">
                  <c:v>76.5</c:v>
                </c:pt>
                <c:pt idx="7342">
                  <c:v>76.099999999999994</c:v>
                </c:pt>
                <c:pt idx="7343">
                  <c:v>75.900000000000006</c:v>
                </c:pt>
                <c:pt idx="7344">
                  <c:v>75.900000000000006</c:v>
                </c:pt>
                <c:pt idx="7345">
                  <c:v>75.900000000000006</c:v>
                </c:pt>
                <c:pt idx="7346">
                  <c:v>75.900000000000006</c:v>
                </c:pt>
                <c:pt idx="7347">
                  <c:v>75.900000000000006</c:v>
                </c:pt>
                <c:pt idx="7348">
                  <c:v>75.900000000000006</c:v>
                </c:pt>
                <c:pt idx="7349">
                  <c:v>75.900000000000006</c:v>
                </c:pt>
                <c:pt idx="7350">
                  <c:v>75.900000000000006</c:v>
                </c:pt>
                <c:pt idx="7351">
                  <c:v>75.900000000000006</c:v>
                </c:pt>
                <c:pt idx="7352">
                  <c:v>75.900000000000006</c:v>
                </c:pt>
                <c:pt idx="7353">
                  <c:v>75.900000000000006</c:v>
                </c:pt>
                <c:pt idx="7354">
                  <c:v>75.900000000000006</c:v>
                </c:pt>
                <c:pt idx="7355">
                  <c:v>75.900000000000006</c:v>
                </c:pt>
                <c:pt idx="7356">
                  <c:v>75.900000000000006</c:v>
                </c:pt>
                <c:pt idx="7357">
                  <c:v>75.900000000000006</c:v>
                </c:pt>
                <c:pt idx="7358">
                  <c:v>75.900000000000006</c:v>
                </c:pt>
                <c:pt idx="7359">
                  <c:v>71.400000000000006</c:v>
                </c:pt>
                <c:pt idx="7360">
                  <c:v>70.3</c:v>
                </c:pt>
                <c:pt idx="7361">
                  <c:v>69.599999999999994</c:v>
                </c:pt>
                <c:pt idx="7362">
                  <c:v>69.599999999999994</c:v>
                </c:pt>
                <c:pt idx="7363">
                  <c:v>69.599999999999994</c:v>
                </c:pt>
                <c:pt idx="7364">
                  <c:v>69.599999999999994</c:v>
                </c:pt>
                <c:pt idx="7365">
                  <c:v>70.3</c:v>
                </c:pt>
                <c:pt idx="7366">
                  <c:v>70.3</c:v>
                </c:pt>
                <c:pt idx="7367">
                  <c:v>69.400000000000006</c:v>
                </c:pt>
                <c:pt idx="7368">
                  <c:v>69.8</c:v>
                </c:pt>
                <c:pt idx="7369">
                  <c:v>69.8</c:v>
                </c:pt>
                <c:pt idx="7370">
                  <c:v>70</c:v>
                </c:pt>
                <c:pt idx="7371">
                  <c:v>69.599999999999994</c:v>
                </c:pt>
                <c:pt idx="7372">
                  <c:v>69.400000000000006</c:v>
                </c:pt>
                <c:pt idx="7373">
                  <c:v>70.5</c:v>
                </c:pt>
                <c:pt idx="7374">
                  <c:v>70.5</c:v>
                </c:pt>
                <c:pt idx="7375">
                  <c:v>69.3</c:v>
                </c:pt>
                <c:pt idx="7376">
                  <c:v>69.099999999999994</c:v>
                </c:pt>
                <c:pt idx="7377">
                  <c:v>69.099999999999994</c:v>
                </c:pt>
                <c:pt idx="7378">
                  <c:v>69.099999999999994</c:v>
                </c:pt>
                <c:pt idx="7379">
                  <c:v>69.599999999999994</c:v>
                </c:pt>
                <c:pt idx="7380">
                  <c:v>70.2</c:v>
                </c:pt>
                <c:pt idx="7381">
                  <c:v>70.900000000000006</c:v>
                </c:pt>
                <c:pt idx="7382">
                  <c:v>71.400000000000006</c:v>
                </c:pt>
                <c:pt idx="7383">
                  <c:v>71.400000000000006</c:v>
                </c:pt>
                <c:pt idx="7384">
                  <c:v>71.400000000000006</c:v>
                </c:pt>
                <c:pt idx="7385">
                  <c:v>71.400000000000006</c:v>
                </c:pt>
                <c:pt idx="7386">
                  <c:v>71.400000000000006</c:v>
                </c:pt>
                <c:pt idx="7387">
                  <c:v>71.400000000000006</c:v>
                </c:pt>
                <c:pt idx="7388">
                  <c:v>71.400000000000006</c:v>
                </c:pt>
                <c:pt idx="7389">
                  <c:v>71.400000000000006</c:v>
                </c:pt>
                <c:pt idx="7390">
                  <c:v>71.400000000000006</c:v>
                </c:pt>
                <c:pt idx="7391">
                  <c:v>71.400000000000006</c:v>
                </c:pt>
                <c:pt idx="7392">
                  <c:v>71.400000000000006</c:v>
                </c:pt>
                <c:pt idx="7393">
                  <c:v>71.400000000000006</c:v>
                </c:pt>
                <c:pt idx="7394">
                  <c:v>71.400000000000006</c:v>
                </c:pt>
                <c:pt idx="7395">
                  <c:v>71.400000000000006</c:v>
                </c:pt>
                <c:pt idx="7396">
                  <c:v>71.400000000000006</c:v>
                </c:pt>
                <c:pt idx="7397">
                  <c:v>71.400000000000006</c:v>
                </c:pt>
                <c:pt idx="7398">
                  <c:v>84.7</c:v>
                </c:pt>
                <c:pt idx="7399">
                  <c:v>86</c:v>
                </c:pt>
                <c:pt idx="7400">
                  <c:v>86.9</c:v>
                </c:pt>
                <c:pt idx="7401">
                  <c:v>90</c:v>
                </c:pt>
                <c:pt idx="7402">
                  <c:v>90</c:v>
                </c:pt>
                <c:pt idx="7403">
                  <c:v>91.4</c:v>
                </c:pt>
                <c:pt idx="7404">
                  <c:v>90.3</c:v>
                </c:pt>
                <c:pt idx="7405">
                  <c:v>93</c:v>
                </c:pt>
                <c:pt idx="7406">
                  <c:v>94.1</c:v>
                </c:pt>
                <c:pt idx="7407">
                  <c:v>92.5</c:v>
                </c:pt>
                <c:pt idx="7408">
                  <c:v>91.9</c:v>
                </c:pt>
                <c:pt idx="7409">
                  <c:v>92.5</c:v>
                </c:pt>
                <c:pt idx="7410">
                  <c:v>92.5</c:v>
                </c:pt>
                <c:pt idx="7411">
                  <c:v>93.6</c:v>
                </c:pt>
                <c:pt idx="7412">
                  <c:v>94.1</c:v>
                </c:pt>
                <c:pt idx="7413">
                  <c:v>93</c:v>
                </c:pt>
                <c:pt idx="7414">
                  <c:v>93.6</c:v>
                </c:pt>
                <c:pt idx="7415">
                  <c:v>94.8</c:v>
                </c:pt>
                <c:pt idx="7416">
                  <c:v>94.3</c:v>
                </c:pt>
                <c:pt idx="7417">
                  <c:v>95.5</c:v>
                </c:pt>
                <c:pt idx="7418">
                  <c:v>94.5</c:v>
                </c:pt>
                <c:pt idx="7419">
                  <c:v>96.6</c:v>
                </c:pt>
                <c:pt idx="7420">
                  <c:v>94.1</c:v>
                </c:pt>
                <c:pt idx="7421">
                  <c:v>96.1</c:v>
                </c:pt>
                <c:pt idx="7422">
                  <c:v>94.6</c:v>
                </c:pt>
                <c:pt idx="7423">
                  <c:v>99.5</c:v>
                </c:pt>
                <c:pt idx="7424">
                  <c:v>96.3</c:v>
                </c:pt>
                <c:pt idx="7425">
                  <c:v>93.7</c:v>
                </c:pt>
                <c:pt idx="7426">
                  <c:v>83.1</c:v>
                </c:pt>
                <c:pt idx="7427">
                  <c:v>74.5</c:v>
                </c:pt>
                <c:pt idx="7428">
                  <c:v>72</c:v>
                </c:pt>
                <c:pt idx="7429">
                  <c:v>72.099999999999994</c:v>
                </c:pt>
                <c:pt idx="7430">
                  <c:v>72.5</c:v>
                </c:pt>
                <c:pt idx="7431">
                  <c:v>73</c:v>
                </c:pt>
                <c:pt idx="7432">
                  <c:v>73</c:v>
                </c:pt>
                <c:pt idx="7433">
                  <c:v>72.5</c:v>
                </c:pt>
                <c:pt idx="7434">
                  <c:v>71.599999999999994</c:v>
                </c:pt>
                <c:pt idx="7435">
                  <c:v>70.7</c:v>
                </c:pt>
                <c:pt idx="7436">
                  <c:v>70.7</c:v>
                </c:pt>
                <c:pt idx="7437">
                  <c:v>70.2</c:v>
                </c:pt>
                <c:pt idx="7438">
                  <c:v>69.599999999999994</c:v>
                </c:pt>
                <c:pt idx="7439">
                  <c:v>69.400000000000006</c:v>
                </c:pt>
                <c:pt idx="7440">
                  <c:v>69.099999999999994</c:v>
                </c:pt>
                <c:pt idx="7441">
                  <c:v>69.3</c:v>
                </c:pt>
                <c:pt idx="7442">
                  <c:v>69.3</c:v>
                </c:pt>
                <c:pt idx="7443">
                  <c:v>69.3</c:v>
                </c:pt>
                <c:pt idx="7444">
                  <c:v>69.3</c:v>
                </c:pt>
                <c:pt idx="7445">
                  <c:v>69.3</c:v>
                </c:pt>
                <c:pt idx="7446">
                  <c:v>69.3</c:v>
                </c:pt>
                <c:pt idx="7447">
                  <c:v>69.3</c:v>
                </c:pt>
                <c:pt idx="7448">
                  <c:v>69.3</c:v>
                </c:pt>
                <c:pt idx="7449">
                  <c:v>69.3</c:v>
                </c:pt>
                <c:pt idx="7450">
                  <c:v>69.3</c:v>
                </c:pt>
                <c:pt idx="7451">
                  <c:v>69.3</c:v>
                </c:pt>
                <c:pt idx="7452">
                  <c:v>69.3</c:v>
                </c:pt>
                <c:pt idx="7453">
                  <c:v>69.3</c:v>
                </c:pt>
                <c:pt idx="7454">
                  <c:v>69.3</c:v>
                </c:pt>
                <c:pt idx="7455">
                  <c:v>69.3</c:v>
                </c:pt>
                <c:pt idx="7456">
                  <c:v>69.3</c:v>
                </c:pt>
                <c:pt idx="7457">
                  <c:v>69.3</c:v>
                </c:pt>
                <c:pt idx="7458">
                  <c:v>68.900000000000006</c:v>
                </c:pt>
                <c:pt idx="7459">
                  <c:v>68.900000000000006</c:v>
                </c:pt>
                <c:pt idx="7460">
                  <c:v>68.900000000000006</c:v>
                </c:pt>
                <c:pt idx="7461">
                  <c:v>68.7</c:v>
                </c:pt>
                <c:pt idx="7462">
                  <c:v>69.599999999999994</c:v>
                </c:pt>
                <c:pt idx="7463">
                  <c:v>68.7</c:v>
                </c:pt>
                <c:pt idx="7464">
                  <c:v>68.400000000000006</c:v>
                </c:pt>
                <c:pt idx="7465">
                  <c:v>68.2</c:v>
                </c:pt>
                <c:pt idx="7466">
                  <c:v>67.8</c:v>
                </c:pt>
                <c:pt idx="7467">
                  <c:v>68</c:v>
                </c:pt>
                <c:pt idx="7468">
                  <c:v>67.8</c:v>
                </c:pt>
                <c:pt idx="7469">
                  <c:v>67.8</c:v>
                </c:pt>
                <c:pt idx="7470">
                  <c:v>68.5</c:v>
                </c:pt>
                <c:pt idx="7471">
                  <c:v>70.7</c:v>
                </c:pt>
                <c:pt idx="7472">
                  <c:v>69.099999999999994</c:v>
                </c:pt>
                <c:pt idx="7473">
                  <c:v>68.400000000000006</c:v>
                </c:pt>
                <c:pt idx="7474">
                  <c:v>68.400000000000006</c:v>
                </c:pt>
                <c:pt idx="7475">
                  <c:v>69.400000000000006</c:v>
                </c:pt>
                <c:pt idx="7476">
                  <c:v>70.3</c:v>
                </c:pt>
                <c:pt idx="7477">
                  <c:v>73.599999999999994</c:v>
                </c:pt>
                <c:pt idx="7478">
                  <c:v>76.099999999999994</c:v>
                </c:pt>
                <c:pt idx="7479">
                  <c:v>79</c:v>
                </c:pt>
                <c:pt idx="7480">
                  <c:v>81.3</c:v>
                </c:pt>
                <c:pt idx="7481">
                  <c:v>74.5</c:v>
                </c:pt>
                <c:pt idx="7482">
                  <c:v>75.900000000000006</c:v>
                </c:pt>
                <c:pt idx="7483">
                  <c:v>77.2</c:v>
                </c:pt>
                <c:pt idx="7484">
                  <c:v>78.3</c:v>
                </c:pt>
                <c:pt idx="7485">
                  <c:v>79.3</c:v>
                </c:pt>
                <c:pt idx="7486">
                  <c:v>80.2</c:v>
                </c:pt>
                <c:pt idx="7487">
                  <c:v>81.3</c:v>
                </c:pt>
                <c:pt idx="7488">
                  <c:v>82.6</c:v>
                </c:pt>
                <c:pt idx="7489">
                  <c:v>84</c:v>
                </c:pt>
                <c:pt idx="7490">
                  <c:v>88.5</c:v>
                </c:pt>
                <c:pt idx="7491">
                  <c:v>87.6</c:v>
                </c:pt>
                <c:pt idx="7492">
                  <c:v>89.2</c:v>
                </c:pt>
                <c:pt idx="7493">
                  <c:v>89.4</c:v>
                </c:pt>
                <c:pt idx="7494">
                  <c:v>90.3</c:v>
                </c:pt>
                <c:pt idx="7495">
                  <c:v>91.4</c:v>
                </c:pt>
                <c:pt idx="7496">
                  <c:v>91.2</c:v>
                </c:pt>
                <c:pt idx="7497">
                  <c:v>92.5</c:v>
                </c:pt>
                <c:pt idx="7498">
                  <c:v>90.1</c:v>
                </c:pt>
                <c:pt idx="7499">
                  <c:v>94.1</c:v>
                </c:pt>
                <c:pt idx="7500">
                  <c:v>95.4</c:v>
                </c:pt>
                <c:pt idx="7501">
                  <c:v>95.7</c:v>
                </c:pt>
                <c:pt idx="7502">
                  <c:v>93</c:v>
                </c:pt>
                <c:pt idx="7503">
                  <c:v>96.3</c:v>
                </c:pt>
                <c:pt idx="7504">
                  <c:v>93.7</c:v>
                </c:pt>
                <c:pt idx="7505">
                  <c:v>95.9</c:v>
                </c:pt>
                <c:pt idx="7506">
                  <c:v>96.1</c:v>
                </c:pt>
                <c:pt idx="7507">
                  <c:v>93.9</c:v>
                </c:pt>
                <c:pt idx="7508">
                  <c:v>91.6</c:v>
                </c:pt>
                <c:pt idx="7509">
                  <c:v>91.9</c:v>
                </c:pt>
                <c:pt idx="7510">
                  <c:v>90.5</c:v>
                </c:pt>
                <c:pt idx="7511">
                  <c:v>83.7</c:v>
                </c:pt>
                <c:pt idx="7512">
                  <c:v>73.2</c:v>
                </c:pt>
                <c:pt idx="7513">
                  <c:v>84.2</c:v>
                </c:pt>
                <c:pt idx="7514">
                  <c:v>72.7</c:v>
                </c:pt>
                <c:pt idx="7515">
                  <c:v>69.599999999999994</c:v>
                </c:pt>
                <c:pt idx="7516">
                  <c:v>69.400000000000006</c:v>
                </c:pt>
                <c:pt idx="7517">
                  <c:v>69.400000000000006</c:v>
                </c:pt>
                <c:pt idx="7518">
                  <c:v>69.599999999999994</c:v>
                </c:pt>
                <c:pt idx="7519">
                  <c:v>69.8</c:v>
                </c:pt>
                <c:pt idx="7520">
                  <c:v>70</c:v>
                </c:pt>
                <c:pt idx="7521">
                  <c:v>69.3</c:v>
                </c:pt>
                <c:pt idx="7522">
                  <c:v>69.3</c:v>
                </c:pt>
                <c:pt idx="7523">
                  <c:v>69.3</c:v>
                </c:pt>
                <c:pt idx="7524">
                  <c:v>69.599999999999994</c:v>
                </c:pt>
                <c:pt idx="7525">
                  <c:v>69.8</c:v>
                </c:pt>
                <c:pt idx="7526">
                  <c:v>70.3</c:v>
                </c:pt>
                <c:pt idx="7527">
                  <c:v>70.3</c:v>
                </c:pt>
                <c:pt idx="7528">
                  <c:v>70.3</c:v>
                </c:pt>
                <c:pt idx="7529">
                  <c:v>70.2</c:v>
                </c:pt>
                <c:pt idx="7530">
                  <c:v>70.5</c:v>
                </c:pt>
                <c:pt idx="7531">
                  <c:v>70.2</c:v>
                </c:pt>
                <c:pt idx="7532">
                  <c:v>69.599999999999994</c:v>
                </c:pt>
                <c:pt idx="7533">
                  <c:v>69.3</c:v>
                </c:pt>
                <c:pt idx="7534">
                  <c:v>69.099999999999994</c:v>
                </c:pt>
                <c:pt idx="7535">
                  <c:v>69.099999999999994</c:v>
                </c:pt>
                <c:pt idx="7536">
                  <c:v>69.599999999999994</c:v>
                </c:pt>
                <c:pt idx="7537">
                  <c:v>69.599999999999994</c:v>
                </c:pt>
                <c:pt idx="7538">
                  <c:v>69.8</c:v>
                </c:pt>
                <c:pt idx="7539">
                  <c:v>69.599999999999994</c:v>
                </c:pt>
                <c:pt idx="7540">
                  <c:v>69.400000000000006</c:v>
                </c:pt>
                <c:pt idx="7541">
                  <c:v>69.3</c:v>
                </c:pt>
                <c:pt idx="7542">
                  <c:v>69.099999999999994</c:v>
                </c:pt>
                <c:pt idx="7543">
                  <c:v>68.7</c:v>
                </c:pt>
                <c:pt idx="7544">
                  <c:v>68.400000000000006</c:v>
                </c:pt>
                <c:pt idx="7545">
                  <c:v>68.900000000000006</c:v>
                </c:pt>
                <c:pt idx="7546">
                  <c:v>69.099999999999994</c:v>
                </c:pt>
                <c:pt idx="7547">
                  <c:v>68.7</c:v>
                </c:pt>
                <c:pt idx="7548">
                  <c:v>68.400000000000006</c:v>
                </c:pt>
                <c:pt idx="7549">
                  <c:v>68.400000000000006</c:v>
                </c:pt>
                <c:pt idx="7550">
                  <c:v>68.2</c:v>
                </c:pt>
                <c:pt idx="7551">
                  <c:v>68</c:v>
                </c:pt>
                <c:pt idx="7552">
                  <c:v>67.8</c:v>
                </c:pt>
                <c:pt idx="7553">
                  <c:v>67.599999999999994</c:v>
                </c:pt>
                <c:pt idx="7554">
                  <c:v>67.5</c:v>
                </c:pt>
                <c:pt idx="7555">
                  <c:v>67.8</c:v>
                </c:pt>
                <c:pt idx="7556">
                  <c:v>67.599999999999994</c:v>
                </c:pt>
                <c:pt idx="7557">
                  <c:v>67.5</c:v>
                </c:pt>
                <c:pt idx="7558">
                  <c:v>67.3</c:v>
                </c:pt>
                <c:pt idx="7559">
                  <c:v>67.099999999999994</c:v>
                </c:pt>
                <c:pt idx="7560">
                  <c:v>66.900000000000006</c:v>
                </c:pt>
                <c:pt idx="7561">
                  <c:v>66.7</c:v>
                </c:pt>
                <c:pt idx="7562">
                  <c:v>66.599999999999994</c:v>
                </c:pt>
                <c:pt idx="7563">
                  <c:v>66.400000000000006</c:v>
                </c:pt>
                <c:pt idx="7564">
                  <c:v>66.599999999999994</c:v>
                </c:pt>
                <c:pt idx="7565">
                  <c:v>66.7</c:v>
                </c:pt>
                <c:pt idx="7566">
                  <c:v>66.400000000000006</c:v>
                </c:pt>
                <c:pt idx="7567">
                  <c:v>66.2</c:v>
                </c:pt>
                <c:pt idx="7568">
                  <c:v>66.400000000000006</c:v>
                </c:pt>
                <c:pt idx="7569">
                  <c:v>66.900000000000006</c:v>
                </c:pt>
                <c:pt idx="7570">
                  <c:v>66.900000000000006</c:v>
                </c:pt>
                <c:pt idx="7571">
                  <c:v>67.099999999999994</c:v>
                </c:pt>
                <c:pt idx="7572">
                  <c:v>68.400000000000006</c:v>
                </c:pt>
                <c:pt idx="7573">
                  <c:v>70.900000000000006</c:v>
                </c:pt>
                <c:pt idx="7574">
                  <c:v>72.900000000000006</c:v>
                </c:pt>
                <c:pt idx="7575">
                  <c:v>70.7</c:v>
                </c:pt>
                <c:pt idx="7576">
                  <c:v>71.599999999999994</c:v>
                </c:pt>
                <c:pt idx="7577">
                  <c:v>72.3</c:v>
                </c:pt>
                <c:pt idx="7578">
                  <c:v>73</c:v>
                </c:pt>
                <c:pt idx="7579">
                  <c:v>73.599999999999994</c:v>
                </c:pt>
                <c:pt idx="7580">
                  <c:v>74.099999999999994</c:v>
                </c:pt>
                <c:pt idx="7581">
                  <c:v>74.5</c:v>
                </c:pt>
                <c:pt idx="7582">
                  <c:v>74.5</c:v>
                </c:pt>
                <c:pt idx="7583">
                  <c:v>74.099999999999994</c:v>
                </c:pt>
                <c:pt idx="7584">
                  <c:v>74.099999999999994</c:v>
                </c:pt>
                <c:pt idx="7585">
                  <c:v>74.8</c:v>
                </c:pt>
                <c:pt idx="7586">
                  <c:v>75.400000000000006</c:v>
                </c:pt>
                <c:pt idx="7587">
                  <c:v>77.400000000000006</c:v>
                </c:pt>
                <c:pt idx="7588">
                  <c:v>77.7</c:v>
                </c:pt>
                <c:pt idx="7589">
                  <c:v>78.3</c:v>
                </c:pt>
                <c:pt idx="7590">
                  <c:v>79</c:v>
                </c:pt>
                <c:pt idx="7591">
                  <c:v>79.2</c:v>
                </c:pt>
                <c:pt idx="7592">
                  <c:v>79.5</c:v>
                </c:pt>
                <c:pt idx="7593">
                  <c:v>78.599999999999994</c:v>
                </c:pt>
                <c:pt idx="7594">
                  <c:v>78.599999999999994</c:v>
                </c:pt>
                <c:pt idx="7595">
                  <c:v>80.400000000000006</c:v>
                </c:pt>
                <c:pt idx="7596">
                  <c:v>79</c:v>
                </c:pt>
                <c:pt idx="7597">
                  <c:v>80.400000000000006</c:v>
                </c:pt>
                <c:pt idx="7598">
                  <c:v>80.099999999999994</c:v>
                </c:pt>
                <c:pt idx="7599">
                  <c:v>78.099999999999994</c:v>
                </c:pt>
                <c:pt idx="7600">
                  <c:v>79.2</c:v>
                </c:pt>
                <c:pt idx="7601">
                  <c:v>79.3</c:v>
                </c:pt>
                <c:pt idx="7602">
                  <c:v>79.3</c:v>
                </c:pt>
                <c:pt idx="7603">
                  <c:v>81</c:v>
                </c:pt>
                <c:pt idx="7604">
                  <c:v>80.2</c:v>
                </c:pt>
                <c:pt idx="7605">
                  <c:v>79.900000000000006</c:v>
                </c:pt>
                <c:pt idx="7606">
                  <c:v>81.3</c:v>
                </c:pt>
                <c:pt idx="7607">
                  <c:v>82.4</c:v>
                </c:pt>
                <c:pt idx="7608">
                  <c:v>79.3</c:v>
                </c:pt>
                <c:pt idx="7609">
                  <c:v>80.599999999999994</c:v>
                </c:pt>
                <c:pt idx="7610">
                  <c:v>79.900000000000006</c:v>
                </c:pt>
                <c:pt idx="7611">
                  <c:v>79.5</c:v>
                </c:pt>
                <c:pt idx="7612">
                  <c:v>79.900000000000006</c:v>
                </c:pt>
                <c:pt idx="7613">
                  <c:v>79.900000000000006</c:v>
                </c:pt>
                <c:pt idx="7614">
                  <c:v>79.7</c:v>
                </c:pt>
                <c:pt idx="7615">
                  <c:v>78.8</c:v>
                </c:pt>
                <c:pt idx="7616">
                  <c:v>77.900000000000006</c:v>
                </c:pt>
                <c:pt idx="7617">
                  <c:v>77.400000000000006</c:v>
                </c:pt>
                <c:pt idx="7618">
                  <c:v>77</c:v>
                </c:pt>
                <c:pt idx="7619">
                  <c:v>76.599999999999994</c:v>
                </c:pt>
                <c:pt idx="7620">
                  <c:v>76.3</c:v>
                </c:pt>
                <c:pt idx="7621">
                  <c:v>76.099999999999994</c:v>
                </c:pt>
                <c:pt idx="7622">
                  <c:v>75.900000000000006</c:v>
                </c:pt>
                <c:pt idx="7623">
                  <c:v>75.7</c:v>
                </c:pt>
                <c:pt idx="7624">
                  <c:v>75.400000000000006</c:v>
                </c:pt>
                <c:pt idx="7625">
                  <c:v>75</c:v>
                </c:pt>
                <c:pt idx="7626">
                  <c:v>74.3</c:v>
                </c:pt>
                <c:pt idx="7627">
                  <c:v>73.8</c:v>
                </c:pt>
                <c:pt idx="7628">
                  <c:v>73.8</c:v>
                </c:pt>
                <c:pt idx="7629">
                  <c:v>73.8</c:v>
                </c:pt>
                <c:pt idx="7630">
                  <c:v>73.8</c:v>
                </c:pt>
                <c:pt idx="7631">
                  <c:v>73.8</c:v>
                </c:pt>
                <c:pt idx="7632">
                  <c:v>73.8</c:v>
                </c:pt>
                <c:pt idx="7633">
                  <c:v>73.8</c:v>
                </c:pt>
                <c:pt idx="7634">
                  <c:v>73.8</c:v>
                </c:pt>
                <c:pt idx="7635">
                  <c:v>73.8</c:v>
                </c:pt>
                <c:pt idx="7636">
                  <c:v>73.8</c:v>
                </c:pt>
                <c:pt idx="7637">
                  <c:v>73.8</c:v>
                </c:pt>
                <c:pt idx="7638">
                  <c:v>73.8</c:v>
                </c:pt>
                <c:pt idx="7639">
                  <c:v>73.8</c:v>
                </c:pt>
                <c:pt idx="7640">
                  <c:v>73.8</c:v>
                </c:pt>
                <c:pt idx="7641">
                  <c:v>70</c:v>
                </c:pt>
                <c:pt idx="7642">
                  <c:v>69.8</c:v>
                </c:pt>
                <c:pt idx="7643">
                  <c:v>70</c:v>
                </c:pt>
                <c:pt idx="7644">
                  <c:v>70</c:v>
                </c:pt>
                <c:pt idx="7645">
                  <c:v>70</c:v>
                </c:pt>
                <c:pt idx="7646">
                  <c:v>71.099999999999994</c:v>
                </c:pt>
                <c:pt idx="7647">
                  <c:v>70.5</c:v>
                </c:pt>
                <c:pt idx="7648">
                  <c:v>70.5</c:v>
                </c:pt>
                <c:pt idx="7649">
                  <c:v>70.900000000000006</c:v>
                </c:pt>
                <c:pt idx="7650">
                  <c:v>71.2</c:v>
                </c:pt>
                <c:pt idx="7651">
                  <c:v>71.599999999999994</c:v>
                </c:pt>
                <c:pt idx="7652">
                  <c:v>72</c:v>
                </c:pt>
                <c:pt idx="7653">
                  <c:v>72.099999999999994</c:v>
                </c:pt>
                <c:pt idx="7654">
                  <c:v>72.3</c:v>
                </c:pt>
                <c:pt idx="7655">
                  <c:v>72.5</c:v>
                </c:pt>
                <c:pt idx="7656">
                  <c:v>72.7</c:v>
                </c:pt>
                <c:pt idx="7657">
                  <c:v>72.5</c:v>
                </c:pt>
                <c:pt idx="7658">
                  <c:v>72.099999999999994</c:v>
                </c:pt>
                <c:pt idx="7659">
                  <c:v>72.3</c:v>
                </c:pt>
                <c:pt idx="7660">
                  <c:v>73</c:v>
                </c:pt>
                <c:pt idx="7661">
                  <c:v>73.599999999999994</c:v>
                </c:pt>
                <c:pt idx="7662">
                  <c:v>75.599999999999994</c:v>
                </c:pt>
                <c:pt idx="7663">
                  <c:v>76.3</c:v>
                </c:pt>
                <c:pt idx="7664">
                  <c:v>76.5</c:v>
                </c:pt>
                <c:pt idx="7665">
                  <c:v>77.7</c:v>
                </c:pt>
                <c:pt idx="7666">
                  <c:v>77.2</c:v>
                </c:pt>
                <c:pt idx="7667">
                  <c:v>79.7</c:v>
                </c:pt>
                <c:pt idx="7668">
                  <c:v>79.900000000000006</c:v>
                </c:pt>
                <c:pt idx="7669">
                  <c:v>80.2</c:v>
                </c:pt>
                <c:pt idx="7670">
                  <c:v>81.3</c:v>
                </c:pt>
                <c:pt idx="7671">
                  <c:v>81</c:v>
                </c:pt>
                <c:pt idx="7672">
                  <c:v>82</c:v>
                </c:pt>
                <c:pt idx="7673">
                  <c:v>83.1</c:v>
                </c:pt>
                <c:pt idx="7674">
                  <c:v>82.9</c:v>
                </c:pt>
                <c:pt idx="7675">
                  <c:v>83.1</c:v>
                </c:pt>
                <c:pt idx="7676">
                  <c:v>83.7</c:v>
                </c:pt>
                <c:pt idx="7677">
                  <c:v>85.3</c:v>
                </c:pt>
                <c:pt idx="7678">
                  <c:v>84.6</c:v>
                </c:pt>
                <c:pt idx="7679">
                  <c:v>85.8</c:v>
                </c:pt>
                <c:pt idx="7680">
                  <c:v>85.3</c:v>
                </c:pt>
                <c:pt idx="7681">
                  <c:v>84.9</c:v>
                </c:pt>
                <c:pt idx="7682">
                  <c:v>85.3</c:v>
                </c:pt>
                <c:pt idx="7683">
                  <c:v>82.9</c:v>
                </c:pt>
                <c:pt idx="7684">
                  <c:v>83.7</c:v>
                </c:pt>
                <c:pt idx="7685">
                  <c:v>83.5</c:v>
                </c:pt>
                <c:pt idx="7686">
                  <c:v>85.3</c:v>
                </c:pt>
                <c:pt idx="7687">
                  <c:v>84.6</c:v>
                </c:pt>
                <c:pt idx="7688">
                  <c:v>86</c:v>
                </c:pt>
                <c:pt idx="7689">
                  <c:v>85.5</c:v>
                </c:pt>
                <c:pt idx="7690">
                  <c:v>86.7</c:v>
                </c:pt>
                <c:pt idx="7691">
                  <c:v>87.1</c:v>
                </c:pt>
                <c:pt idx="7692">
                  <c:v>86.2</c:v>
                </c:pt>
                <c:pt idx="7693">
                  <c:v>86.7</c:v>
                </c:pt>
                <c:pt idx="7694">
                  <c:v>87.3</c:v>
                </c:pt>
                <c:pt idx="7695">
                  <c:v>86.7</c:v>
                </c:pt>
                <c:pt idx="7696">
                  <c:v>86.9</c:v>
                </c:pt>
                <c:pt idx="7697">
                  <c:v>86.5</c:v>
                </c:pt>
                <c:pt idx="7698">
                  <c:v>87.1</c:v>
                </c:pt>
                <c:pt idx="7699">
                  <c:v>86.5</c:v>
                </c:pt>
                <c:pt idx="7700">
                  <c:v>86.5</c:v>
                </c:pt>
                <c:pt idx="7701">
                  <c:v>86.7</c:v>
                </c:pt>
                <c:pt idx="7702">
                  <c:v>86.7</c:v>
                </c:pt>
                <c:pt idx="7703">
                  <c:v>84.7</c:v>
                </c:pt>
                <c:pt idx="7704">
                  <c:v>84.6</c:v>
                </c:pt>
                <c:pt idx="7705">
                  <c:v>83.3</c:v>
                </c:pt>
                <c:pt idx="7706">
                  <c:v>82.2</c:v>
                </c:pt>
                <c:pt idx="7707">
                  <c:v>81</c:v>
                </c:pt>
                <c:pt idx="7708">
                  <c:v>79.7</c:v>
                </c:pt>
                <c:pt idx="7709">
                  <c:v>78.3</c:v>
                </c:pt>
                <c:pt idx="7710">
                  <c:v>76.5</c:v>
                </c:pt>
                <c:pt idx="7711">
                  <c:v>74.8</c:v>
                </c:pt>
                <c:pt idx="7712">
                  <c:v>73.400000000000006</c:v>
                </c:pt>
                <c:pt idx="7713">
                  <c:v>72</c:v>
                </c:pt>
                <c:pt idx="7714">
                  <c:v>70.900000000000006</c:v>
                </c:pt>
                <c:pt idx="7715">
                  <c:v>70</c:v>
                </c:pt>
                <c:pt idx="7716">
                  <c:v>73.8</c:v>
                </c:pt>
                <c:pt idx="7717">
                  <c:v>73.400000000000006</c:v>
                </c:pt>
                <c:pt idx="7718">
                  <c:v>73.8</c:v>
                </c:pt>
                <c:pt idx="7719">
                  <c:v>72.7</c:v>
                </c:pt>
                <c:pt idx="7720">
                  <c:v>71.8</c:v>
                </c:pt>
                <c:pt idx="7721">
                  <c:v>70.900000000000006</c:v>
                </c:pt>
                <c:pt idx="7722">
                  <c:v>70</c:v>
                </c:pt>
                <c:pt idx="7723">
                  <c:v>69.3</c:v>
                </c:pt>
                <c:pt idx="7724">
                  <c:v>68.400000000000006</c:v>
                </c:pt>
                <c:pt idx="7725">
                  <c:v>67.599999999999994</c:v>
                </c:pt>
                <c:pt idx="7726">
                  <c:v>68</c:v>
                </c:pt>
                <c:pt idx="7727">
                  <c:v>67.5</c:v>
                </c:pt>
                <c:pt idx="7728">
                  <c:v>66.7</c:v>
                </c:pt>
                <c:pt idx="7729">
                  <c:v>66.7</c:v>
                </c:pt>
                <c:pt idx="7730">
                  <c:v>66.7</c:v>
                </c:pt>
                <c:pt idx="7731">
                  <c:v>66.7</c:v>
                </c:pt>
                <c:pt idx="7732">
                  <c:v>66.7</c:v>
                </c:pt>
                <c:pt idx="7733">
                  <c:v>66.7</c:v>
                </c:pt>
                <c:pt idx="7734">
                  <c:v>66.7</c:v>
                </c:pt>
                <c:pt idx="7735">
                  <c:v>66.7</c:v>
                </c:pt>
                <c:pt idx="7736">
                  <c:v>64</c:v>
                </c:pt>
                <c:pt idx="7737">
                  <c:v>63.5</c:v>
                </c:pt>
                <c:pt idx="7738">
                  <c:v>63.5</c:v>
                </c:pt>
                <c:pt idx="7739">
                  <c:v>63.7</c:v>
                </c:pt>
                <c:pt idx="7740">
                  <c:v>63.7</c:v>
                </c:pt>
                <c:pt idx="7741">
                  <c:v>63.3</c:v>
                </c:pt>
                <c:pt idx="7742">
                  <c:v>62.8</c:v>
                </c:pt>
                <c:pt idx="7743">
                  <c:v>62.4</c:v>
                </c:pt>
                <c:pt idx="7744">
                  <c:v>62.6</c:v>
                </c:pt>
                <c:pt idx="7745">
                  <c:v>62.6</c:v>
                </c:pt>
                <c:pt idx="7746">
                  <c:v>62.2</c:v>
                </c:pt>
                <c:pt idx="7747">
                  <c:v>61.7</c:v>
                </c:pt>
                <c:pt idx="7748">
                  <c:v>62.1</c:v>
                </c:pt>
                <c:pt idx="7749">
                  <c:v>61.2</c:v>
                </c:pt>
                <c:pt idx="7750">
                  <c:v>61.5</c:v>
                </c:pt>
                <c:pt idx="7751">
                  <c:v>61.2</c:v>
                </c:pt>
                <c:pt idx="7752">
                  <c:v>61.9</c:v>
                </c:pt>
                <c:pt idx="7753">
                  <c:v>63.3</c:v>
                </c:pt>
                <c:pt idx="7754">
                  <c:v>64.599999999999994</c:v>
                </c:pt>
                <c:pt idx="7755">
                  <c:v>67.5</c:v>
                </c:pt>
                <c:pt idx="7756">
                  <c:v>68.2</c:v>
                </c:pt>
                <c:pt idx="7757">
                  <c:v>68.2</c:v>
                </c:pt>
                <c:pt idx="7758">
                  <c:v>68.2</c:v>
                </c:pt>
                <c:pt idx="7759">
                  <c:v>68.2</c:v>
                </c:pt>
                <c:pt idx="7760">
                  <c:v>68.2</c:v>
                </c:pt>
                <c:pt idx="7761">
                  <c:v>68.2</c:v>
                </c:pt>
                <c:pt idx="7762">
                  <c:v>68.2</c:v>
                </c:pt>
                <c:pt idx="7763">
                  <c:v>68.2</c:v>
                </c:pt>
                <c:pt idx="7764">
                  <c:v>68.2</c:v>
                </c:pt>
                <c:pt idx="7765">
                  <c:v>68.2</c:v>
                </c:pt>
                <c:pt idx="7766">
                  <c:v>68.2</c:v>
                </c:pt>
                <c:pt idx="7767">
                  <c:v>68.2</c:v>
                </c:pt>
                <c:pt idx="7768">
                  <c:v>68.2</c:v>
                </c:pt>
                <c:pt idx="7769">
                  <c:v>68.2</c:v>
                </c:pt>
                <c:pt idx="7770">
                  <c:v>68.2</c:v>
                </c:pt>
                <c:pt idx="7771">
                  <c:v>68.2</c:v>
                </c:pt>
                <c:pt idx="7772">
                  <c:v>90.1</c:v>
                </c:pt>
                <c:pt idx="7773">
                  <c:v>88.5</c:v>
                </c:pt>
                <c:pt idx="7774">
                  <c:v>91.2</c:v>
                </c:pt>
                <c:pt idx="7775">
                  <c:v>90.3</c:v>
                </c:pt>
                <c:pt idx="7776">
                  <c:v>92.8</c:v>
                </c:pt>
                <c:pt idx="7777">
                  <c:v>90</c:v>
                </c:pt>
                <c:pt idx="7778">
                  <c:v>95.5</c:v>
                </c:pt>
                <c:pt idx="7779">
                  <c:v>91.6</c:v>
                </c:pt>
                <c:pt idx="7780">
                  <c:v>94.5</c:v>
                </c:pt>
                <c:pt idx="7781">
                  <c:v>87.4</c:v>
                </c:pt>
                <c:pt idx="7782">
                  <c:v>88.7</c:v>
                </c:pt>
                <c:pt idx="7783">
                  <c:v>89.6</c:v>
                </c:pt>
                <c:pt idx="7784">
                  <c:v>89.8</c:v>
                </c:pt>
                <c:pt idx="7785">
                  <c:v>94.1</c:v>
                </c:pt>
                <c:pt idx="7786">
                  <c:v>92.1</c:v>
                </c:pt>
                <c:pt idx="7787">
                  <c:v>66.2</c:v>
                </c:pt>
                <c:pt idx="7788">
                  <c:v>66.2</c:v>
                </c:pt>
                <c:pt idx="7789">
                  <c:v>66.2</c:v>
                </c:pt>
                <c:pt idx="7790">
                  <c:v>66.2</c:v>
                </c:pt>
                <c:pt idx="7791">
                  <c:v>64.900000000000006</c:v>
                </c:pt>
                <c:pt idx="7792">
                  <c:v>64.8</c:v>
                </c:pt>
                <c:pt idx="7793">
                  <c:v>64.400000000000006</c:v>
                </c:pt>
                <c:pt idx="7794">
                  <c:v>64.2</c:v>
                </c:pt>
                <c:pt idx="7795">
                  <c:v>63.9</c:v>
                </c:pt>
                <c:pt idx="7796">
                  <c:v>63.9</c:v>
                </c:pt>
                <c:pt idx="7797">
                  <c:v>64.400000000000006</c:v>
                </c:pt>
                <c:pt idx="7798">
                  <c:v>64</c:v>
                </c:pt>
                <c:pt idx="7799">
                  <c:v>63.3</c:v>
                </c:pt>
                <c:pt idx="7800">
                  <c:v>63.1</c:v>
                </c:pt>
                <c:pt idx="7801">
                  <c:v>62.8</c:v>
                </c:pt>
                <c:pt idx="7802">
                  <c:v>63.1</c:v>
                </c:pt>
                <c:pt idx="7803">
                  <c:v>62.8</c:v>
                </c:pt>
                <c:pt idx="7804">
                  <c:v>62.8</c:v>
                </c:pt>
                <c:pt idx="7805">
                  <c:v>62.8</c:v>
                </c:pt>
                <c:pt idx="7806">
                  <c:v>62.2</c:v>
                </c:pt>
                <c:pt idx="7807">
                  <c:v>62.4</c:v>
                </c:pt>
                <c:pt idx="7808">
                  <c:v>63.1</c:v>
                </c:pt>
                <c:pt idx="7809">
                  <c:v>63.9</c:v>
                </c:pt>
                <c:pt idx="7810">
                  <c:v>65.8</c:v>
                </c:pt>
                <c:pt idx="7811">
                  <c:v>69.099999999999994</c:v>
                </c:pt>
                <c:pt idx="7812">
                  <c:v>64.599999999999994</c:v>
                </c:pt>
                <c:pt idx="7813">
                  <c:v>65.099999999999994</c:v>
                </c:pt>
                <c:pt idx="7814">
                  <c:v>66.400000000000006</c:v>
                </c:pt>
                <c:pt idx="7815">
                  <c:v>68</c:v>
                </c:pt>
                <c:pt idx="7816">
                  <c:v>69.599999999999994</c:v>
                </c:pt>
                <c:pt idx="7817">
                  <c:v>71.2</c:v>
                </c:pt>
                <c:pt idx="7818">
                  <c:v>72.900000000000006</c:v>
                </c:pt>
                <c:pt idx="7819">
                  <c:v>74.5</c:v>
                </c:pt>
                <c:pt idx="7820">
                  <c:v>82.4</c:v>
                </c:pt>
                <c:pt idx="7821">
                  <c:v>82.9</c:v>
                </c:pt>
                <c:pt idx="7822">
                  <c:v>84.6</c:v>
                </c:pt>
                <c:pt idx="7823">
                  <c:v>85.6</c:v>
                </c:pt>
                <c:pt idx="7824">
                  <c:v>85.8</c:v>
                </c:pt>
                <c:pt idx="7825">
                  <c:v>85.8</c:v>
                </c:pt>
                <c:pt idx="7826">
                  <c:v>89.6</c:v>
                </c:pt>
                <c:pt idx="7827">
                  <c:v>89.6</c:v>
                </c:pt>
                <c:pt idx="7828">
                  <c:v>83.7</c:v>
                </c:pt>
                <c:pt idx="7829">
                  <c:v>85.8</c:v>
                </c:pt>
                <c:pt idx="7830">
                  <c:v>87.3</c:v>
                </c:pt>
                <c:pt idx="7831">
                  <c:v>87.4</c:v>
                </c:pt>
                <c:pt idx="7832">
                  <c:v>87.1</c:v>
                </c:pt>
                <c:pt idx="7833">
                  <c:v>87.3</c:v>
                </c:pt>
                <c:pt idx="7834">
                  <c:v>88</c:v>
                </c:pt>
                <c:pt idx="7835">
                  <c:v>88.5</c:v>
                </c:pt>
                <c:pt idx="7836">
                  <c:v>95.5</c:v>
                </c:pt>
                <c:pt idx="7837">
                  <c:v>100.2</c:v>
                </c:pt>
                <c:pt idx="7838">
                  <c:v>91.9</c:v>
                </c:pt>
                <c:pt idx="7839">
                  <c:v>90.3</c:v>
                </c:pt>
                <c:pt idx="7840">
                  <c:v>88.2</c:v>
                </c:pt>
                <c:pt idx="7841">
                  <c:v>90.1</c:v>
                </c:pt>
                <c:pt idx="7842">
                  <c:v>92.3</c:v>
                </c:pt>
                <c:pt idx="7843">
                  <c:v>91.9</c:v>
                </c:pt>
                <c:pt idx="7844">
                  <c:v>93.6</c:v>
                </c:pt>
                <c:pt idx="7845">
                  <c:v>94.1</c:v>
                </c:pt>
                <c:pt idx="7846">
                  <c:v>93.9</c:v>
                </c:pt>
                <c:pt idx="7847">
                  <c:v>93.4</c:v>
                </c:pt>
                <c:pt idx="7848">
                  <c:v>91.8</c:v>
                </c:pt>
                <c:pt idx="7849">
                  <c:v>90.7</c:v>
                </c:pt>
                <c:pt idx="7850">
                  <c:v>91.2</c:v>
                </c:pt>
                <c:pt idx="7851">
                  <c:v>90.9</c:v>
                </c:pt>
                <c:pt idx="7852">
                  <c:v>91.6</c:v>
                </c:pt>
                <c:pt idx="7853">
                  <c:v>91.4</c:v>
                </c:pt>
                <c:pt idx="7854">
                  <c:v>91.9</c:v>
                </c:pt>
                <c:pt idx="7855">
                  <c:v>90.9</c:v>
                </c:pt>
                <c:pt idx="7856">
                  <c:v>88.3</c:v>
                </c:pt>
                <c:pt idx="7857">
                  <c:v>87.3</c:v>
                </c:pt>
                <c:pt idx="7858">
                  <c:v>86.4</c:v>
                </c:pt>
                <c:pt idx="7859">
                  <c:v>85.8</c:v>
                </c:pt>
                <c:pt idx="7860">
                  <c:v>84.4</c:v>
                </c:pt>
                <c:pt idx="7861">
                  <c:v>82.8</c:v>
                </c:pt>
                <c:pt idx="7862">
                  <c:v>81.099999999999994</c:v>
                </c:pt>
                <c:pt idx="7863">
                  <c:v>79.3</c:v>
                </c:pt>
                <c:pt idx="7864">
                  <c:v>77.7</c:v>
                </c:pt>
                <c:pt idx="7865">
                  <c:v>76.599999999999994</c:v>
                </c:pt>
                <c:pt idx="7866">
                  <c:v>75.900000000000006</c:v>
                </c:pt>
                <c:pt idx="7867">
                  <c:v>75</c:v>
                </c:pt>
                <c:pt idx="7868">
                  <c:v>73.8</c:v>
                </c:pt>
                <c:pt idx="7869">
                  <c:v>72.7</c:v>
                </c:pt>
                <c:pt idx="7870">
                  <c:v>71.8</c:v>
                </c:pt>
                <c:pt idx="7871">
                  <c:v>70.7</c:v>
                </c:pt>
                <c:pt idx="7872">
                  <c:v>70.7</c:v>
                </c:pt>
                <c:pt idx="7873">
                  <c:v>70.7</c:v>
                </c:pt>
                <c:pt idx="7874">
                  <c:v>70.7</c:v>
                </c:pt>
                <c:pt idx="7875">
                  <c:v>70.7</c:v>
                </c:pt>
                <c:pt idx="7876">
                  <c:v>70.7</c:v>
                </c:pt>
                <c:pt idx="7877">
                  <c:v>70.7</c:v>
                </c:pt>
                <c:pt idx="7878">
                  <c:v>70.7</c:v>
                </c:pt>
                <c:pt idx="7879">
                  <c:v>70.7</c:v>
                </c:pt>
                <c:pt idx="7880">
                  <c:v>70.7</c:v>
                </c:pt>
                <c:pt idx="7881">
                  <c:v>70.7</c:v>
                </c:pt>
                <c:pt idx="7882">
                  <c:v>70.7</c:v>
                </c:pt>
                <c:pt idx="7883">
                  <c:v>70.7</c:v>
                </c:pt>
                <c:pt idx="7884">
                  <c:v>70.7</c:v>
                </c:pt>
                <c:pt idx="7885">
                  <c:v>70.7</c:v>
                </c:pt>
                <c:pt idx="7886">
                  <c:v>70.7</c:v>
                </c:pt>
                <c:pt idx="7887">
                  <c:v>71.400000000000006</c:v>
                </c:pt>
                <c:pt idx="7888">
                  <c:v>71.400000000000006</c:v>
                </c:pt>
                <c:pt idx="7889">
                  <c:v>69.599999999999994</c:v>
                </c:pt>
                <c:pt idx="7890">
                  <c:v>69.099999999999994</c:v>
                </c:pt>
                <c:pt idx="7891">
                  <c:v>69.3</c:v>
                </c:pt>
                <c:pt idx="7892">
                  <c:v>70.7</c:v>
                </c:pt>
                <c:pt idx="7893">
                  <c:v>69.3</c:v>
                </c:pt>
                <c:pt idx="7894">
                  <c:v>68.5</c:v>
                </c:pt>
                <c:pt idx="7895">
                  <c:v>68</c:v>
                </c:pt>
                <c:pt idx="7896">
                  <c:v>67.599999999999994</c:v>
                </c:pt>
                <c:pt idx="7897">
                  <c:v>68.7</c:v>
                </c:pt>
                <c:pt idx="7898">
                  <c:v>68.2</c:v>
                </c:pt>
                <c:pt idx="7899">
                  <c:v>67.3</c:v>
                </c:pt>
                <c:pt idx="7900">
                  <c:v>67.099999999999994</c:v>
                </c:pt>
                <c:pt idx="7901">
                  <c:v>68.900000000000006</c:v>
                </c:pt>
                <c:pt idx="7902">
                  <c:v>68.7</c:v>
                </c:pt>
                <c:pt idx="7903">
                  <c:v>68.7</c:v>
                </c:pt>
                <c:pt idx="7904">
                  <c:v>68.5</c:v>
                </c:pt>
                <c:pt idx="7905">
                  <c:v>68.900000000000006</c:v>
                </c:pt>
                <c:pt idx="7906">
                  <c:v>69.400000000000006</c:v>
                </c:pt>
                <c:pt idx="7907">
                  <c:v>70</c:v>
                </c:pt>
                <c:pt idx="7908">
                  <c:v>71.099999999999994</c:v>
                </c:pt>
                <c:pt idx="7909">
                  <c:v>72.5</c:v>
                </c:pt>
                <c:pt idx="7910">
                  <c:v>74.099999999999994</c:v>
                </c:pt>
                <c:pt idx="7911">
                  <c:v>74.099999999999994</c:v>
                </c:pt>
                <c:pt idx="7912">
                  <c:v>74.3</c:v>
                </c:pt>
                <c:pt idx="7913">
                  <c:v>74.8</c:v>
                </c:pt>
                <c:pt idx="7914">
                  <c:v>74.5</c:v>
                </c:pt>
                <c:pt idx="7915">
                  <c:v>74.5</c:v>
                </c:pt>
                <c:pt idx="7916">
                  <c:v>75.900000000000006</c:v>
                </c:pt>
                <c:pt idx="7917">
                  <c:v>77</c:v>
                </c:pt>
                <c:pt idx="7918">
                  <c:v>77.5</c:v>
                </c:pt>
                <c:pt idx="7919">
                  <c:v>79.3</c:v>
                </c:pt>
                <c:pt idx="7920">
                  <c:v>82.6</c:v>
                </c:pt>
                <c:pt idx="7921">
                  <c:v>85.3</c:v>
                </c:pt>
                <c:pt idx="7922">
                  <c:v>85.5</c:v>
                </c:pt>
                <c:pt idx="7923">
                  <c:v>86</c:v>
                </c:pt>
                <c:pt idx="7924">
                  <c:v>88.2</c:v>
                </c:pt>
                <c:pt idx="7925">
                  <c:v>89.6</c:v>
                </c:pt>
                <c:pt idx="7926">
                  <c:v>89.4</c:v>
                </c:pt>
                <c:pt idx="7927">
                  <c:v>89.8</c:v>
                </c:pt>
                <c:pt idx="7928">
                  <c:v>90.9</c:v>
                </c:pt>
                <c:pt idx="7929">
                  <c:v>91.9</c:v>
                </c:pt>
                <c:pt idx="7930">
                  <c:v>92.5</c:v>
                </c:pt>
                <c:pt idx="7931">
                  <c:v>92.1</c:v>
                </c:pt>
                <c:pt idx="7932">
                  <c:v>95.5</c:v>
                </c:pt>
                <c:pt idx="7933">
                  <c:v>95.5</c:v>
                </c:pt>
                <c:pt idx="7934">
                  <c:v>94.1</c:v>
                </c:pt>
                <c:pt idx="7935">
                  <c:v>95.5</c:v>
                </c:pt>
                <c:pt idx="7936">
                  <c:v>98.1</c:v>
                </c:pt>
                <c:pt idx="7937">
                  <c:v>97</c:v>
                </c:pt>
                <c:pt idx="7938">
                  <c:v>96.1</c:v>
                </c:pt>
                <c:pt idx="7939">
                  <c:v>92.7</c:v>
                </c:pt>
                <c:pt idx="7940">
                  <c:v>94.3</c:v>
                </c:pt>
                <c:pt idx="7941">
                  <c:v>96.4</c:v>
                </c:pt>
                <c:pt idx="7942">
                  <c:v>90.7</c:v>
                </c:pt>
                <c:pt idx="7943">
                  <c:v>94.5</c:v>
                </c:pt>
                <c:pt idx="7944">
                  <c:v>97.5</c:v>
                </c:pt>
                <c:pt idx="7945">
                  <c:v>96.1</c:v>
                </c:pt>
                <c:pt idx="7946">
                  <c:v>96.6</c:v>
                </c:pt>
                <c:pt idx="7947">
                  <c:v>98.4</c:v>
                </c:pt>
                <c:pt idx="7948">
                  <c:v>98.4</c:v>
                </c:pt>
                <c:pt idx="7949">
                  <c:v>97.5</c:v>
                </c:pt>
                <c:pt idx="7950">
                  <c:v>94.1</c:v>
                </c:pt>
                <c:pt idx="7951">
                  <c:v>92.8</c:v>
                </c:pt>
                <c:pt idx="7952">
                  <c:v>92.1</c:v>
                </c:pt>
                <c:pt idx="7953">
                  <c:v>90.9</c:v>
                </c:pt>
                <c:pt idx="7954">
                  <c:v>89.2</c:v>
                </c:pt>
                <c:pt idx="7955">
                  <c:v>86.9</c:v>
                </c:pt>
                <c:pt idx="7956">
                  <c:v>85.8</c:v>
                </c:pt>
                <c:pt idx="7957">
                  <c:v>84.4</c:v>
                </c:pt>
                <c:pt idx="7958">
                  <c:v>83.8</c:v>
                </c:pt>
                <c:pt idx="7959">
                  <c:v>82.9</c:v>
                </c:pt>
                <c:pt idx="7960">
                  <c:v>81.7</c:v>
                </c:pt>
                <c:pt idx="7961">
                  <c:v>81.7</c:v>
                </c:pt>
                <c:pt idx="7962">
                  <c:v>81</c:v>
                </c:pt>
                <c:pt idx="7963">
                  <c:v>80.2</c:v>
                </c:pt>
                <c:pt idx="7964">
                  <c:v>79.2</c:v>
                </c:pt>
                <c:pt idx="7965">
                  <c:v>78.599999999999994</c:v>
                </c:pt>
                <c:pt idx="7966">
                  <c:v>77.5</c:v>
                </c:pt>
                <c:pt idx="7967">
                  <c:v>77</c:v>
                </c:pt>
                <c:pt idx="7968">
                  <c:v>76.5</c:v>
                </c:pt>
                <c:pt idx="7969">
                  <c:v>76.099999999999994</c:v>
                </c:pt>
                <c:pt idx="7970">
                  <c:v>75.900000000000006</c:v>
                </c:pt>
                <c:pt idx="7971">
                  <c:v>74.099999999999994</c:v>
                </c:pt>
                <c:pt idx="7972">
                  <c:v>73.2</c:v>
                </c:pt>
                <c:pt idx="7973">
                  <c:v>74.3</c:v>
                </c:pt>
                <c:pt idx="7974">
                  <c:v>75.7</c:v>
                </c:pt>
                <c:pt idx="7975">
                  <c:v>73</c:v>
                </c:pt>
                <c:pt idx="7976">
                  <c:v>71.8</c:v>
                </c:pt>
                <c:pt idx="7977">
                  <c:v>71.099999999999994</c:v>
                </c:pt>
                <c:pt idx="7978">
                  <c:v>72.7</c:v>
                </c:pt>
                <c:pt idx="7979">
                  <c:v>70.900000000000006</c:v>
                </c:pt>
                <c:pt idx="7980">
                  <c:v>70.900000000000006</c:v>
                </c:pt>
                <c:pt idx="7981">
                  <c:v>72.5</c:v>
                </c:pt>
                <c:pt idx="7982">
                  <c:v>71.400000000000006</c:v>
                </c:pt>
                <c:pt idx="7983">
                  <c:v>71.2</c:v>
                </c:pt>
                <c:pt idx="7984">
                  <c:v>70.7</c:v>
                </c:pt>
                <c:pt idx="7985">
                  <c:v>71.099999999999994</c:v>
                </c:pt>
                <c:pt idx="7986">
                  <c:v>71.099999999999994</c:v>
                </c:pt>
                <c:pt idx="7987">
                  <c:v>70.900000000000006</c:v>
                </c:pt>
                <c:pt idx="7988">
                  <c:v>70.7</c:v>
                </c:pt>
                <c:pt idx="7989">
                  <c:v>70.3</c:v>
                </c:pt>
                <c:pt idx="7990">
                  <c:v>70</c:v>
                </c:pt>
                <c:pt idx="7991">
                  <c:v>69.8</c:v>
                </c:pt>
                <c:pt idx="7992">
                  <c:v>69.400000000000006</c:v>
                </c:pt>
                <c:pt idx="7993">
                  <c:v>70.3</c:v>
                </c:pt>
                <c:pt idx="7994">
                  <c:v>69.8</c:v>
                </c:pt>
                <c:pt idx="7995">
                  <c:v>71.400000000000006</c:v>
                </c:pt>
                <c:pt idx="7996">
                  <c:v>70.3</c:v>
                </c:pt>
                <c:pt idx="7997">
                  <c:v>69.400000000000006</c:v>
                </c:pt>
                <c:pt idx="7998">
                  <c:v>68.7</c:v>
                </c:pt>
                <c:pt idx="7999">
                  <c:v>67.099999999999994</c:v>
                </c:pt>
                <c:pt idx="8000">
                  <c:v>70.5</c:v>
                </c:pt>
                <c:pt idx="8001">
                  <c:v>74.3</c:v>
                </c:pt>
                <c:pt idx="8002">
                  <c:v>74.8</c:v>
                </c:pt>
                <c:pt idx="8003">
                  <c:v>74.8</c:v>
                </c:pt>
                <c:pt idx="8004">
                  <c:v>74.8</c:v>
                </c:pt>
                <c:pt idx="8005">
                  <c:v>74.8</c:v>
                </c:pt>
                <c:pt idx="8006">
                  <c:v>74.8</c:v>
                </c:pt>
                <c:pt idx="8007">
                  <c:v>74.8</c:v>
                </c:pt>
                <c:pt idx="8008">
                  <c:v>74.8</c:v>
                </c:pt>
                <c:pt idx="8009">
                  <c:v>74.8</c:v>
                </c:pt>
                <c:pt idx="8010">
                  <c:v>74.8</c:v>
                </c:pt>
                <c:pt idx="8011">
                  <c:v>74.8</c:v>
                </c:pt>
                <c:pt idx="8012">
                  <c:v>74.8</c:v>
                </c:pt>
                <c:pt idx="8013">
                  <c:v>74.8</c:v>
                </c:pt>
                <c:pt idx="8014">
                  <c:v>74.8</c:v>
                </c:pt>
                <c:pt idx="8015">
                  <c:v>74.8</c:v>
                </c:pt>
                <c:pt idx="8016">
                  <c:v>74.8</c:v>
                </c:pt>
                <c:pt idx="8017">
                  <c:v>74.8</c:v>
                </c:pt>
                <c:pt idx="8018">
                  <c:v>87.1</c:v>
                </c:pt>
                <c:pt idx="8019">
                  <c:v>89.4</c:v>
                </c:pt>
                <c:pt idx="8020">
                  <c:v>88.3</c:v>
                </c:pt>
                <c:pt idx="8021">
                  <c:v>88.9</c:v>
                </c:pt>
                <c:pt idx="8022">
                  <c:v>88.9</c:v>
                </c:pt>
                <c:pt idx="8023">
                  <c:v>88.2</c:v>
                </c:pt>
                <c:pt idx="8024">
                  <c:v>90.9</c:v>
                </c:pt>
                <c:pt idx="8025">
                  <c:v>91.9</c:v>
                </c:pt>
                <c:pt idx="8026">
                  <c:v>92.3</c:v>
                </c:pt>
                <c:pt idx="8027">
                  <c:v>90</c:v>
                </c:pt>
                <c:pt idx="8028">
                  <c:v>89.6</c:v>
                </c:pt>
                <c:pt idx="8029">
                  <c:v>88.9</c:v>
                </c:pt>
                <c:pt idx="8030">
                  <c:v>88.9</c:v>
                </c:pt>
                <c:pt idx="8031">
                  <c:v>89.6</c:v>
                </c:pt>
                <c:pt idx="8032">
                  <c:v>91</c:v>
                </c:pt>
                <c:pt idx="8033">
                  <c:v>91.8</c:v>
                </c:pt>
                <c:pt idx="8034">
                  <c:v>91.9</c:v>
                </c:pt>
                <c:pt idx="8035">
                  <c:v>90.7</c:v>
                </c:pt>
                <c:pt idx="8036">
                  <c:v>92.3</c:v>
                </c:pt>
                <c:pt idx="8037">
                  <c:v>92.1</c:v>
                </c:pt>
                <c:pt idx="8038">
                  <c:v>90.9</c:v>
                </c:pt>
                <c:pt idx="8039">
                  <c:v>91.8</c:v>
                </c:pt>
                <c:pt idx="8040">
                  <c:v>92.7</c:v>
                </c:pt>
                <c:pt idx="8041">
                  <c:v>91.6</c:v>
                </c:pt>
                <c:pt idx="8042">
                  <c:v>91.6</c:v>
                </c:pt>
                <c:pt idx="8043">
                  <c:v>91.8</c:v>
                </c:pt>
                <c:pt idx="8044">
                  <c:v>91.8</c:v>
                </c:pt>
                <c:pt idx="8045">
                  <c:v>90.3</c:v>
                </c:pt>
                <c:pt idx="8046">
                  <c:v>88.9</c:v>
                </c:pt>
                <c:pt idx="8047">
                  <c:v>88.3</c:v>
                </c:pt>
                <c:pt idx="8048">
                  <c:v>87.6</c:v>
                </c:pt>
                <c:pt idx="8049">
                  <c:v>86.9</c:v>
                </c:pt>
                <c:pt idx="8050">
                  <c:v>86</c:v>
                </c:pt>
                <c:pt idx="8051">
                  <c:v>84.9</c:v>
                </c:pt>
                <c:pt idx="8052">
                  <c:v>83.5</c:v>
                </c:pt>
                <c:pt idx="8053">
                  <c:v>81.7</c:v>
                </c:pt>
                <c:pt idx="8054">
                  <c:v>79.900000000000006</c:v>
                </c:pt>
                <c:pt idx="8055">
                  <c:v>78.400000000000006</c:v>
                </c:pt>
                <c:pt idx="8056">
                  <c:v>77</c:v>
                </c:pt>
                <c:pt idx="8057">
                  <c:v>75.900000000000006</c:v>
                </c:pt>
                <c:pt idx="8058">
                  <c:v>74.8</c:v>
                </c:pt>
                <c:pt idx="8059">
                  <c:v>79.7</c:v>
                </c:pt>
                <c:pt idx="8060">
                  <c:v>78.3</c:v>
                </c:pt>
                <c:pt idx="8061">
                  <c:v>78.599999999999994</c:v>
                </c:pt>
                <c:pt idx="8062">
                  <c:v>77</c:v>
                </c:pt>
                <c:pt idx="8063">
                  <c:v>77</c:v>
                </c:pt>
                <c:pt idx="8064">
                  <c:v>77</c:v>
                </c:pt>
                <c:pt idx="8065">
                  <c:v>77</c:v>
                </c:pt>
                <c:pt idx="8066">
                  <c:v>76.099999999999994</c:v>
                </c:pt>
                <c:pt idx="8067">
                  <c:v>75.7</c:v>
                </c:pt>
                <c:pt idx="8068">
                  <c:v>74.5</c:v>
                </c:pt>
                <c:pt idx="8069">
                  <c:v>73.8</c:v>
                </c:pt>
                <c:pt idx="8070">
                  <c:v>73</c:v>
                </c:pt>
                <c:pt idx="8071">
                  <c:v>73</c:v>
                </c:pt>
                <c:pt idx="8072">
                  <c:v>73</c:v>
                </c:pt>
                <c:pt idx="8073">
                  <c:v>73</c:v>
                </c:pt>
                <c:pt idx="8074">
                  <c:v>73</c:v>
                </c:pt>
                <c:pt idx="8075">
                  <c:v>73</c:v>
                </c:pt>
                <c:pt idx="8076">
                  <c:v>73.599999999999994</c:v>
                </c:pt>
                <c:pt idx="8077">
                  <c:v>73.8</c:v>
                </c:pt>
                <c:pt idx="8078">
                  <c:v>73.2</c:v>
                </c:pt>
                <c:pt idx="8079">
                  <c:v>72.5</c:v>
                </c:pt>
                <c:pt idx="8080">
                  <c:v>72.7</c:v>
                </c:pt>
                <c:pt idx="8081">
                  <c:v>72.900000000000006</c:v>
                </c:pt>
                <c:pt idx="8082">
                  <c:v>72.3</c:v>
                </c:pt>
                <c:pt idx="8083">
                  <c:v>72.7</c:v>
                </c:pt>
                <c:pt idx="8084">
                  <c:v>71.8</c:v>
                </c:pt>
                <c:pt idx="8085">
                  <c:v>71.599999999999994</c:v>
                </c:pt>
                <c:pt idx="8086">
                  <c:v>72</c:v>
                </c:pt>
                <c:pt idx="8087">
                  <c:v>71.099999999999994</c:v>
                </c:pt>
                <c:pt idx="8088">
                  <c:v>71.2</c:v>
                </c:pt>
                <c:pt idx="8089">
                  <c:v>70.7</c:v>
                </c:pt>
                <c:pt idx="8090">
                  <c:v>71.400000000000006</c:v>
                </c:pt>
                <c:pt idx="8091">
                  <c:v>70.2</c:v>
                </c:pt>
                <c:pt idx="8092">
                  <c:v>69.599999999999994</c:v>
                </c:pt>
                <c:pt idx="8093">
                  <c:v>69.3</c:v>
                </c:pt>
                <c:pt idx="8094">
                  <c:v>69.099999999999994</c:v>
                </c:pt>
                <c:pt idx="8095">
                  <c:v>69.400000000000006</c:v>
                </c:pt>
                <c:pt idx="8096">
                  <c:v>73.2</c:v>
                </c:pt>
                <c:pt idx="8097">
                  <c:v>77</c:v>
                </c:pt>
                <c:pt idx="8098">
                  <c:v>78.099999999999994</c:v>
                </c:pt>
                <c:pt idx="8099">
                  <c:v>79.2</c:v>
                </c:pt>
                <c:pt idx="8100">
                  <c:v>79.3</c:v>
                </c:pt>
                <c:pt idx="8101">
                  <c:v>77.7</c:v>
                </c:pt>
                <c:pt idx="8102">
                  <c:v>77.400000000000006</c:v>
                </c:pt>
                <c:pt idx="8103">
                  <c:v>80.2</c:v>
                </c:pt>
                <c:pt idx="8104">
                  <c:v>84</c:v>
                </c:pt>
                <c:pt idx="8105">
                  <c:v>86.4</c:v>
                </c:pt>
                <c:pt idx="8106">
                  <c:v>88.2</c:v>
                </c:pt>
                <c:pt idx="8107">
                  <c:v>87.1</c:v>
                </c:pt>
                <c:pt idx="8108">
                  <c:v>87.8</c:v>
                </c:pt>
                <c:pt idx="8109">
                  <c:v>87.8</c:v>
                </c:pt>
                <c:pt idx="8110">
                  <c:v>87.8</c:v>
                </c:pt>
                <c:pt idx="8111">
                  <c:v>88.7</c:v>
                </c:pt>
                <c:pt idx="8112">
                  <c:v>88.5</c:v>
                </c:pt>
                <c:pt idx="8113">
                  <c:v>88.9</c:v>
                </c:pt>
                <c:pt idx="8114">
                  <c:v>90</c:v>
                </c:pt>
                <c:pt idx="8115">
                  <c:v>91.4</c:v>
                </c:pt>
                <c:pt idx="8116">
                  <c:v>91.2</c:v>
                </c:pt>
                <c:pt idx="8117">
                  <c:v>91.8</c:v>
                </c:pt>
                <c:pt idx="8118">
                  <c:v>92.8</c:v>
                </c:pt>
                <c:pt idx="8119">
                  <c:v>92.3</c:v>
                </c:pt>
                <c:pt idx="8120">
                  <c:v>92.8</c:v>
                </c:pt>
                <c:pt idx="8121">
                  <c:v>93.6</c:v>
                </c:pt>
                <c:pt idx="8122">
                  <c:v>91.6</c:v>
                </c:pt>
                <c:pt idx="8123">
                  <c:v>94.8</c:v>
                </c:pt>
                <c:pt idx="8124">
                  <c:v>92.3</c:v>
                </c:pt>
                <c:pt idx="8125">
                  <c:v>93.4</c:v>
                </c:pt>
                <c:pt idx="8126">
                  <c:v>91.8</c:v>
                </c:pt>
                <c:pt idx="8127">
                  <c:v>92.7</c:v>
                </c:pt>
                <c:pt idx="8128">
                  <c:v>94.8</c:v>
                </c:pt>
                <c:pt idx="8129">
                  <c:v>93.9</c:v>
                </c:pt>
                <c:pt idx="8130">
                  <c:v>98.2</c:v>
                </c:pt>
                <c:pt idx="8131">
                  <c:v>95</c:v>
                </c:pt>
                <c:pt idx="8132">
                  <c:v>95.9</c:v>
                </c:pt>
                <c:pt idx="8133">
                  <c:v>96.1</c:v>
                </c:pt>
                <c:pt idx="8134">
                  <c:v>97</c:v>
                </c:pt>
                <c:pt idx="8135">
                  <c:v>95.4</c:v>
                </c:pt>
                <c:pt idx="8136">
                  <c:v>95.9</c:v>
                </c:pt>
                <c:pt idx="8137">
                  <c:v>95.4</c:v>
                </c:pt>
                <c:pt idx="8138">
                  <c:v>95.4</c:v>
                </c:pt>
                <c:pt idx="8139">
                  <c:v>95.4</c:v>
                </c:pt>
                <c:pt idx="8140">
                  <c:v>98.2</c:v>
                </c:pt>
                <c:pt idx="8141">
                  <c:v>95.9</c:v>
                </c:pt>
                <c:pt idx="8142">
                  <c:v>94.1</c:v>
                </c:pt>
                <c:pt idx="8143">
                  <c:v>93.2</c:v>
                </c:pt>
                <c:pt idx="8144">
                  <c:v>92.1</c:v>
                </c:pt>
                <c:pt idx="8145">
                  <c:v>90.7</c:v>
                </c:pt>
                <c:pt idx="8146">
                  <c:v>88.9</c:v>
                </c:pt>
                <c:pt idx="8147">
                  <c:v>86.5</c:v>
                </c:pt>
                <c:pt idx="8148">
                  <c:v>84.7</c:v>
                </c:pt>
                <c:pt idx="8149">
                  <c:v>82.9</c:v>
                </c:pt>
                <c:pt idx="8150">
                  <c:v>81.099999999999994</c:v>
                </c:pt>
                <c:pt idx="8151">
                  <c:v>79.7</c:v>
                </c:pt>
                <c:pt idx="8152">
                  <c:v>78.599999999999994</c:v>
                </c:pt>
                <c:pt idx="8153">
                  <c:v>77.5</c:v>
                </c:pt>
                <c:pt idx="8154">
                  <c:v>76.5</c:v>
                </c:pt>
                <c:pt idx="8155">
                  <c:v>80.599999999999994</c:v>
                </c:pt>
                <c:pt idx="8156">
                  <c:v>79.900000000000006</c:v>
                </c:pt>
                <c:pt idx="8157">
                  <c:v>80.099999999999994</c:v>
                </c:pt>
                <c:pt idx="8158">
                  <c:v>79</c:v>
                </c:pt>
                <c:pt idx="8159">
                  <c:v>79.3</c:v>
                </c:pt>
                <c:pt idx="8160">
                  <c:v>78.400000000000006</c:v>
                </c:pt>
                <c:pt idx="8161">
                  <c:v>77.900000000000006</c:v>
                </c:pt>
                <c:pt idx="8162">
                  <c:v>77.5</c:v>
                </c:pt>
                <c:pt idx="8163">
                  <c:v>77.5</c:v>
                </c:pt>
                <c:pt idx="8164">
                  <c:v>75.900000000000006</c:v>
                </c:pt>
                <c:pt idx="8165">
                  <c:v>75.400000000000006</c:v>
                </c:pt>
                <c:pt idx="8166">
                  <c:v>74.8</c:v>
                </c:pt>
                <c:pt idx="8167">
                  <c:v>74.3</c:v>
                </c:pt>
                <c:pt idx="8168">
                  <c:v>73.900000000000006</c:v>
                </c:pt>
                <c:pt idx="8169">
                  <c:v>73.900000000000006</c:v>
                </c:pt>
                <c:pt idx="8170">
                  <c:v>73.900000000000006</c:v>
                </c:pt>
                <c:pt idx="8171">
                  <c:v>73.900000000000006</c:v>
                </c:pt>
                <c:pt idx="8172">
                  <c:v>73.900000000000006</c:v>
                </c:pt>
                <c:pt idx="8173">
                  <c:v>73.900000000000006</c:v>
                </c:pt>
                <c:pt idx="8174">
                  <c:v>73.900000000000006</c:v>
                </c:pt>
                <c:pt idx="8175">
                  <c:v>73.900000000000006</c:v>
                </c:pt>
                <c:pt idx="8176">
                  <c:v>73</c:v>
                </c:pt>
                <c:pt idx="8177">
                  <c:v>72.900000000000006</c:v>
                </c:pt>
                <c:pt idx="8178">
                  <c:v>74.8</c:v>
                </c:pt>
                <c:pt idx="8179">
                  <c:v>73.2</c:v>
                </c:pt>
                <c:pt idx="8180">
                  <c:v>72.7</c:v>
                </c:pt>
                <c:pt idx="8181">
                  <c:v>72.3</c:v>
                </c:pt>
                <c:pt idx="8182">
                  <c:v>73.900000000000006</c:v>
                </c:pt>
                <c:pt idx="8183">
                  <c:v>72.7</c:v>
                </c:pt>
                <c:pt idx="8184">
                  <c:v>72.3</c:v>
                </c:pt>
                <c:pt idx="8185">
                  <c:v>72.099999999999994</c:v>
                </c:pt>
                <c:pt idx="8186">
                  <c:v>72</c:v>
                </c:pt>
                <c:pt idx="8187">
                  <c:v>73.8</c:v>
                </c:pt>
                <c:pt idx="8188">
                  <c:v>72.5</c:v>
                </c:pt>
                <c:pt idx="8189">
                  <c:v>72.5</c:v>
                </c:pt>
                <c:pt idx="8190">
                  <c:v>72.5</c:v>
                </c:pt>
                <c:pt idx="8191">
                  <c:v>72.7</c:v>
                </c:pt>
                <c:pt idx="8192">
                  <c:v>74.8</c:v>
                </c:pt>
                <c:pt idx="8193">
                  <c:v>76.099999999999994</c:v>
                </c:pt>
                <c:pt idx="8194">
                  <c:v>79</c:v>
                </c:pt>
                <c:pt idx="8195">
                  <c:v>81.3</c:v>
                </c:pt>
                <c:pt idx="8196">
                  <c:v>83.7</c:v>
                </c:pt>
                <c:pt idx="8197">
                  <c:v>86</c:v>
                </c:pt>
                <c:pt idx="8198">
                  <c:v>86</c:v>
                </c:pt>
                <c:pt idx="8199">
                  <c:v>90</c:v>
                </c:pt>
                <c:pt idx="8200">
                  <c:v>91</c:v>
                </c:pt>
                <c:pt idx="8201">
                  <c:v>89.4</c:v>
                </c:pt>
                <c:pt idx="8202">
                  <c:v>92.8</c:v>
                </c:pt>
                <c:pt idx="8203">
                  <c:v>92.8</c:v>
                </c:pt>
                <c:pt idx="8204">
                  <c:v>95.4</c:v>
                </c:pt>
                <c:pt idx="8205">
                  <c:v>94.6</c:v>
                </c:pt>
                <c:pt idx="8206">
                  <c:v>92.7</c:v>
                </c:pt>
                <c:pt idx="8207">
                  <c:v>93.4</c:v>
                </c:pt>
                <c:pt idx="8208">
                  <c:v>97.5</c:v>
                </c:pt>
                <c:pt idx="8209">
                  <c:v>96.4</c:v>
                </c:pt>
                <c:pt idx="8210">
                  <c:v>97</c:v>
                </c:pt>
                <c:pt idx="8211">
                  <c:v>93.7</c:v>
                </c:pt>
                <c:pt idx="8212">
                  <c:v>97.2</c:v>
                </c:pt>
                <c:pt idx="8213">
                  <c:v>97</c:v>
                </c:pt>
                <c:pt idx="8214">
                  <c:v>101.5</c:v>
                </c:pt>
                <c:pt idx="8215">
                  <c:v>95.4</c:v>
                </c:pt>
                <c:pt idx="8216">
                  <c:v>97.3</c:v>
                </c:pt>
                <c:pt idx="8217">
                  <c:v>97.9</c:v>
                </c:pt>
                <c:pt idx="8218">
                  <c:v>96.4</c:v>
                </c:pt>
                <c:pt idx="8219">
                  <c:v>94.3</c:v>
                </c:pt>
                <c:pt idx="8220">
                  <c:v>95.5</c:v>
                </c:pt>
                <c:pt idx="8221">
                  <c:v>97.9</c:v>
                </c:pt>
                <c:pt idx="8222">
                  <c:v>98.6</c:v>
                </c:pt>
                <c:pt idx="8223">
                  <c:v>99</c:v>
                </c:pt>
                <c:pt idx="8224">
                  <c:v>98.2</c:v>
                </c:pt>
                <c:pt idx="8225">
                  <c:v>94.6</c:v>
                </c:pt>
                <c:pt idx="8226">
                  <c:v>93.2</c:v>
                </c:pt>
                <c:pt idx="8227">
                  <c:v>94.6</c:v>
                </c:pt>
                <c:pt idx="8228">
                  <c:v>86.4</c:v>
                </c:pt>
                <c:pt idx="8229">
                  <c:v>86.4</c:v>
                </c:pt>
                <c:pt idx="8230">
                  <c:v>86.2</c:v>
                </c:pt>
                <c:pt idx="8231">
                  <c:v>86.2</c:v>
                </c:pt>
                <c:pt idx="8232">
                  <c:v>86.2</c:v>
                </c:pt>
                <c:pt idx="8233">
                  <c:v>86.2</c:v>
                </c:pt>
                <c:pt idx="8234">
                  <c:v>86</c:v>
                </c:pt>
                <c:pt idx="8235">
                  <c:v>86</c:v>
                </c:pt>
                <c:pt idx="8236">
                  <c:v>85.8</c:v>
                </c:pt>
                <c:pt idx="8237">
                  <c:v>85.6</c:v>
                </c:pt>
                <c:pt idx="8238">
                  <c:v>85.6</c:v>
                </c:pt>
                <c:pt idx="8239">
                  <c:v>85.6</c:v>
                </c:pt>
                <c:pt idx="8240">
                  <c:v>85.5</c:v>
                </c:pt>
                <c:pt idx="8241">
                  <c:v>85.5</c:v>
                </c:pt>
                <c:pt idx="8242">
                  <c:v>85.3</c:v>
                </c:pt>
                <c:pt idx="8243">
                  <c:v>85.3</c:v>
                </c:pt>
                <c:pt idx="8244">
                  <c:v>85.3</c:v>
                </c:pt>
                <c:pt idx="8245">
                  <c:v>83.7</c:v>
                </c:pt>
                <c:pt idx="8246">
                  <c:v>83.3</c:v>
                </c:pt>
                <c:pt idx="8247">
                  <c:v>82.4</c:v>
                </c:pt>
                <c:pt idx="8248">
                  <c:v>81.7</c:v>
                </c:pt>
                <c:pt idx="8249">
                  <c:v>80.8</c:v>
                </c:pt>
                <c:pt idx="8250">
                  <c:v>80.2</c:v>
                </c:pt>
                <c:pt idx="8251">
                  <c:v>81.5</c:v>
                </c:pt>
                <c:pt idx="8252">
                  <c:v>81.7</c:v>
                </c:pt>
                <c:pt idx="8253">
                  <c:v>80.8</c:v>
                </c:pt>
                <c:pt idx="8254">
                  <c:v>79.7</c:v>
                </c:pt>
                <c:pt idx="8255">
                  <c:v>79.5</c:v>
                </c:pt>
                <c:pt idx="8256">
                  <c:v>78.400000000000006</c:v>
                </c:pt>
                <c:pt idx="8257">
                  <c:v>77.7</c:v>
                </c:pt>
                <c:pt idx="8258">
                  <c:v>77.400000000000006</c:v>
                </c:pt>
                <c:pt idx="8259">
                  <c:v>77</c:v>
                </c:pt>
                <c:pt idx="8260">
                  <c:v>77.400000000000006</c:v>
                </c:pt>
                <c:pt idx="8261">
                  <c:v>76.5</c:v>
                </c:pt>
                <c:pt idx="8262">
                  <c:v>76.3</c:v>
                </c:pt>
                <c:pt idx="8263">
                  <c:v>76.099999999999994</c:v>
                </c:pt>
                <c:pt idx="8264">
                  <c:v>75.7</c:v>
                </c:pt>
                <c:pt idx="8265">
                  <c:v>76.099999999999994</c:v>
                </c:pt>
                <c:pt idx="8266">
                  <c:v>75.599999999999994</c:v>
                </c:pt>
                <c:pt idx="8267">
                  <c:v>75.599999999999994</c:v>
                </c:pt>
                <c:pt idx="8268">
                  <c:v>75</c:v>
                </c:pt>
                <c:pt idx="8269">
                  <c:v>75.900000000000006</c:v>
                </c:pt>
                <c:pt idx="8270">
                  <c:v>74.8</c:v>
                </c:pt>
                <c:pt idx="8271">
                  <c:v>74.8</c:v>
                </c:pt>
                <c:pt idx="8272">
                  <c:v>74.5</c:v>
                </c:pt>
                <c:pt idx="8273">
                  <c:v>75.2</c:v>
                </c:pt>
                <c:pt idx="8274">
                  <c:v>74.7</c:v>
                </c:pt>
                <c:pt idx="8275">
                  <c:v>74.5</c:v>
                </c:pt>
                <c:pt idx="8276">
                  <c:v>74.7</c:v>
                </c:pt>
                <c:pt idx="8277">
                  <c:v>74.5</c:v>
                </c:pt>
                <c:pt idx="8278">
                  <c:v>73.900000000000006</c:v>
                </c:pt>
                <c:pt idx="8279">
                  <c:v>73.599999999999994</c:v>
                </c:pt>
                <c:pt idx="8280">
                  <c:v>74.8</c:v>
                </c:pt>
                <c:pt idx="8281">
                  <c:v>73.400000000000006</c:v>
                </c:pt>
                <c:pt idx="8282">
                  <c:v>73.400000000000006</c:v>
                </c:pt>
                <c:pt idx="8283">
                  <c:v>73.2</c:v>
                </c:pt>
                <c:pt idx="8284">
                  <c:v>74.8</c:v>
                </c:pt>
                <c:pt idx="8285">
                  <c:v>74.3</c:v>
                </c:pt>
                <c:pt idx="8286">
                  <c:v>74.099999999999994</c:v>
                </c:pt>
                <c:pt idx="8287">
                  <c:v>74.3</c:v>
                </c:pt>
                <c:pt idx="8288">
                  <c:v>72.7</c:v>
                </c:pt>
                <c:pt idx="8289">
                  <c:v>77.400000000000006</c:v>
                </c:pt>
                <c:pt idx="8290">
                  <c:v>82.4</c:v>
                </c:pt>
                <c:pt idx="8291">
                  <c:v>86.7</c:v>
                </c:pt>
                <c:pt idx="8292">
                  <c:v>90.5</c:v>
                </c:pt>
                <c:pt idx="8293">
                  <c:v>91.6</c:v>
                </c:pt>
                <c:pt idx="8294">
                  <c:v>90</c:v>
                </c:pt>
                <c:pt idx="8295">
                  <c:v>92.7</c:v>
                </c:pt>
                <c:pt idx="8296">
                  <c:v>89.4</c:v>
                </c:pt>
                <c:pt idx="8297">
                  <c:v>88.9</c:v>
                </c:pt>
                <c:pt idx="8298">
                  <c:v>88.9</c:v>
                </c:pt>
                <c:pt idx="8299">
                  <c:v>90</c:v>
                </c:pt>
                <c:pt idx="8300">
                  <c:v>92.1</c:v>
                </c:pt>
                <c:pt idx="8301">
                  <c:v>91.9</c:v>
                </c:pt>
                <c:pt idx="8302">
                  <c:v>93.9</c:v>
                </c:pt>
                <c:pt idx="8303">
                  <c:v>91.9</c:v>
                </c:pt>
                <c:pt idx="8304">
                  <c:v>93.4</c:v>
                </c:pt>
                <c:pt idx="8305">
                  <c:v>95.5</c:v>
                </c:pt>
                <c:pt idx="8306">
                  <c:v>95.5</c:v>
                </c:pt>
                <c:pt idx="8307">
                  <c:v>95.5</c:v>
                </c:pt>
                <c:pt idx="8308">
                  <c:v>95.5</c:v>
                </c:pt>
                <c:pt idx="8309">
                  <c:v>95.5</c:v>
                </c:pt>
                <c:pt idx="8310">
                  <c:v>95.5</c:v>
                </c:pt>
                <c:pt idx="8311">
                  <c:v>95.5</c:v>
                </c:pt>
                <c:pt idx="8312">
                  <c:v>95.5</c:v>
                </c:pt>
                <c:pt idx="8313">
                  <c:v>95.5</c:v>
                </c:pt>
                <c:pt idx="8314">
                  <c:v>95.5</c:v>
                </c:pt>
                <c:pt idx="8315">
                  <c:v>95.5</c:v>
                </c:pt>
                <c:pt idx="8316">
                  <c:v>95.5</c:v>
                </c:pt>
                <c:pt idx="8317">
                  <c:v>95.5</c:v>
                </c:pt>
                <c:pt idx="8318">
                  <c:v>95.5</c:v>
                </c:pt>
                <c:pt idx="8319">
                  <c:v>95.5</c:v>
                </c:pt>
                <c:pt idx="8320">
                  <c:v>95.5</c:v>
                </c:pt>
                <c:pt idx="8321">
                  <c:v>95.5</c:v>
                </c:pt>
                <c:pt idx="8322">
                  <c:v>96.4</c:v>
                </c:pt>
                <c:pt idx="8323">
                  <c:v>95.5</c:v>
                </c:pt>
                <c:pt idx="8324">
                  <c:v>91</c:v>
                </c:pt>
                <c:pt idx="8325">
                  <c:v>86.5</c:v>
                </c:pt>
                <c:pt idx="8326">
                  <c:v>82.9</c:v>
                </c:pt>
                <c:pt idx="8327">
                  <c:v>81</c:v>
                </c:pt>
                <c:pt idx="8328">
                  <c:v>79.5</c:v>
                </c:pt>
                <c:pt idx="8329">
                  <c:v>77</c:v>
                </c:pt>
                <c:pt idx="8330">
                  <c:v>76.599999999999994</c:v>
                </c:pt>
                <c:pt idx="8331">
                  <c:v>77.2</c:v>
                </c:pt>
                <c:pt idx="8332">
                  <c:v>78.099999999999994</c:v>
                </c:pt>
                <c:pt idx="8333">
                  <c:v>77.900000000000006</c:v>
                </c:pt>
                <c:pt idx="8334">
                  <c:v>77.2</c:v>
                </c:pt>
                <c:pt idx="8335">
                  <c:v>76.599999999999994</c:v>
                </c:pt>
                <c:pt idx="8336">
                  <c:v>76.8</c:v>
                </c:pt>
                <c:pt idx="8337">
                  <c:v>77</c:v>
                </c:pt>
                <c:pt idx="8338">
                  <c:v>76.599999999999994</c:v>
                </c:pt>
                <c:pt idx="8339">
                  <c:v>76.099999999999994</c:v>
                </c:pt>
                <c:pt idx="8340">
                  <c:v>76.8</c:v>
                </c:pt>
                <c:pt idx="8341">
                  <c:v>76.8</c:v>
                </c:pt>
                <c:pt idx="8342">
                  <c:v>76.8</c:v>
                </c:pt>
                <c:pt idx="8343">
                  <c:v>76.8</c:v>
                </c:pt>
                <c:pt idx="8344">
                  <c:v>76.099999999999994</c:v>
                </c:pt>
                <c:pt idx="8345">
                  <c:v>75.7</c:v>
                </c:pt>
                <c:pt idx="8346">
                  <c:v>76.099999999999994</c:v>
                </c:pt>
                <c:pt idx="8347">
                  <c:v>75.7</c:v>
                </c:pt>
                <c:pt idx="8348">
                  <c:v>74.7</c:v>
                </c:pt>
                <c:pt idx="8349">
                  <c:v>73.599999999999994</c:v>
                </c:pt>
                <c:pt idx="8350">
                  <c:v>74.7</c:v>
                </c:pt>
                <c:pt idx="8351">
                  <c:v>72.3</c:v>
                </c:pt>
                <c:pt idx="8352">
                  <c:v>73.400000000000006</c:v>
                </c:pt>
                <c:pt idx="8353">
                  <c:v>72.099999999999994</c:v>
                </c:pt>
                <c:pt idx="8354">
                  <c:v>71.599999999999994</c:v>
                </c:pt>
                <c:pt idx="8355">
                  <c:v>72</c:v>
                </c:pt>
                <c:pt idx="8356">
                  <c:v>72</c:v>
                </c:pt>
                <c:pt idx="8357">
                  <c:v>72</c:v>
                </c:pt>
                <c:pt idx="8358">
                  <c:v>71.8</c:v>
                </c:pt>
                <c:pt idx="8359">
                  <c:v>71.400000000000006</c:v>
                </c:pt>
                <c:pt idx="8360">
                  <c:v>71.099999999999994</c:v>
                </c:pt>
                <c:pt idx="8361">
                  <c:v>70.7</c:v>
                </c:pt>
                <c:pt idx="8362">
                  <c:v>70.5</c:v>
                </c:pt>
                <c:pt idx="8363">
                  <c:v>70.5</c:v>
                </c:pt>
                <c:pt idx="8364">
                  <c:v>70.5</c:v>
                </c:pt>
                <c:pt idx="8365">
                  <c:v>70.3</c:v>
                </c:pt>
                <c:pt idx="8366">
                  <c:v>70.2</c:v>
                </c:pt>
                <c:pt idx="8367">
                  <c:v>70</c:v>
                </c:pt>
                <c:pt idx="8368">
                  <c:v>69.599999999999994</c:v>
                </c:pt>
                <c:pt idx="8369">
                  <c:v>69.400000000000006</c:v>
                </c:pt>
                <c:pt idx="8370">
                  <c:v>69.400000000000006</c:v>
                </c:pt>
                <c:pt idx="8371">
                  <c:v>71.099999999999994</c:v>
                </c:pt>
                <c:pt idx="8372">
                  <c:v>70.3</c:v>
                </c:pt>
                <c:pt idx="8373">
                  <c:v>69.400000000000006</c:v>
                </c:pt>
                <c:pt idx="8374">
                  <c:v>69.3</c:v>
                </c:pt>
                <c:pt idx="8375">
                  <c:v>69.3</c:v>
                </c:pt>
                <c:pt idx="8376">
                  <c:v>69.099999999999994</c:v>
                </c:pt>
                <c:pt idx="8377">
                  <c:v>69.099999999999994</c:v>
                </c:pt>
                <c:pt idx="8378">
                  <c:v>69.099999999999994</c:v>
                </c:pt>
                <c:pt idx="8379">
                  <c:v>69.099999999999994</c:v>
                </c:pt>
                <c:pt idx="8380">
                  <c:v>69.599999999999994</c:v>
                </c:pt>
                <c:pt idx="8381">
                  <c:v>70</c:v>
                </c:pt>
                <c:pt idx="8382">
                  <c:v>71.599999999999994</c:v>
                </c:pt>
                <c:pt idx="8383">
                  <c:v>73.599999999999994</c:v>
                </c:pt>
                <c:pt idx="8384">
                  <c:v>73.8</c:v>
                </c:pt>
                <c:pt idx="8385">
                  <c:v>73.8</c:v>
                </c:pt>
                <c:pt idx="8386">
                  <c:v>73.8</c:v>
                </c:pt>
                <c:pt idx="8387">
                  <c:v>73.8</c:v>
                </c:pt>
                <c:pt idx="8388">
                  <c:v>73.8</c:v>
                </c:pt>
                <c:pt idx="8389">
                  <c:v>73.8</c:v>
                </c:pt>
                <c:pt idx="8390">
                  <c:v>73.8</c:v>
                </c:pt>
                <c:pt idx="8391">
                  <c:v>73.8</c:v>
                </c:pt>
                <c:pt idx="8392">
                  <c:v>73.8</c:v>
                </c:pt>
                <c:pt idx="8393">
                  <c:v>73.8</c:v>
                </c:pt>
                <c:pt idx="8394">
                  <c:v>73.8</c:v>
                </c:pt>
                <c:pt idx="8395">
                  <c:v>73.8</c:v>
                </c:pt>
                <c:pt idx="8396">
                  <c:v>73.8</c:v>
                </c:pt>
                <c:pt idx="8397">
                  <c:v>73.8</c:v>
                </c:pt>
                <c:pt idx="8398">
                  <c:v>73.8</c:v>
                </c:pt>
                <c:pt idx="8399">
                  <c:v>73.8</c:v>
                </c:pt>
                <c:pt idx="8400">
                  <c:v>86.4</c:v>
                </c:pt>
                <c:pt idx="8401">
                  <c:v>87.8</c:v>
                </c:pt>
                <c:pt idx="8402">
                  <c:v>88.9</c:v>
                </c:pt>
                <c:pt idx="8403">
                  <c:v>90.9</c:v>
                </c:pt>
                <c:pt idx="8404">
                  <c:v>92.1</c:v>
                </c:pt>
                <c:pt idx="8405">
                  <c:v>92.7</c:v>
                </c:pt>
                <c:pt idx="8406">
                  <c:v>93.2</c:v>
                </c:pt>
                <c:pt idx="8407">
                  <c:v>93.6</c:v>
                </c:pt>
                <c:pt idx="8408">
                  <c:v>93.7</c:v>
                </c:pt>
                <c:pt idx="8409">
                  <c:v>95</c:v>
                </c:pt>
                <c:pt idx="8410">
                  <c:v>95.5</c:v>
                </c:pt>
                <c:pt idx="8411">
                  <c:v>96.3</c:v>
                </c:pt>
                <c:pt idx="8412">
                  <c:v>97</c:v>
                </c:pt>
                <c:pt idx="8413">
                  <c:v>95.7</c:v>
                </c:pt>
                <c:pt idx="8414">
                  <c:v>94.8</c:v>
                </c:pt>
                <c:pt idx="8415">
                  <c:v>99</c:v>
                </c:pt>
                <c:pt idx="8416">
                  <c:v>95.9</c:v>
                </c:pt>
                <c:pt idx="8417">
                  <c:v>95.7</c:v>
                </c:pt>
                <c:pt idx="8418">
                  <c:v>98.2</c:v>
                </c:pt>
                <c:pt idx="8419">
                  <c:v>94.6</c:v>
                </c:pt>
                <c:pt idx="8420">
                  <c:v>92.3</c:v>
                </c:pt>
                <c:pt idx="8421">
                  <c:v>89.6</c:v>
                </c:pt>
                <c:pt idx="8422">
                  <c:v>89.6</c:v>
                </c:pt>
                <c:pt idx="8423">
                  <c:v>87.4</c:v>
                </c:pt>
                <c:pt idx="8424">
                  <c:v>90.9</c:v>
                </c:pt>
                <c:pt idx="8425">
                  <c:v>94.8</c:v>
                </c:pt>
                <c:pt idx="8426">
                  <c:v>92.7</c:v>
                </c:pt>
                <c:pt idx="8427">
                  <c:v>84.7</c:v>
                </c:pt>
                <c:pt idx="8428">
                  <c:v>80.8</c:v>
                </c:pt>
                <c:pt idx="8429">
                  <c:v>75.400000000000006</c:v>
                </c:pt>
                <c:pt idx="8430">
                  <c:v>74.7</c:v>
                </c:pt>
                <c:pt idx="8431">
                  <c:v>74.7</c:v>
                </c:pt>
                <c:pt idx="8432">
                  <c:v>74.7</c:v>
                </c:pt>
                <c:pt idx="8433">
                  <c:v>73.900000000000006</c:v>
                </c:pt>
                <c:pt idx="8434">
                  <c:v>73.900000000000006</c:v>
                </c:pt>
                <c:pt idx="8435">
                  <c:v>73.900000000000006</c:v>
                </c:pt>
                <c:pt idx="8436">
                  <c:v>73.2</c:v>
                </c:pt>
                <c:pt idx="8437">
                  <c:v>73.2</c:v>
                </c:pt>
                <c:pt idx="8438">
                  <c:v>73</c:v>
                </c:pt>
                <c:pt idx="8439">
                  <c:v>73</c:v>
                </c:pt>
                <c:pt idx="8440">
                  <c:v>73</c:v>
                </c:pt>
                <c:pt idx="8441">
                  <c:v>73</c:v>
                </c:pt>
                <c:pt idx="8442">
                  <c:v>73</c:v>
                </c:pt>
                <c:pt idx="8443">
                  <c:v>73</c:v>
                </c:pt>
                <c:pt idx="8444">
                  <c:v>73</c:v>
                </c:pt>
                <c:pt idx="8445">
                  <c:v>73</c:v>
                </c:pt>
                <c:pt idx="8446">
                  <c:v>73</c:v>
                </c:pt>
                <c:pt idx="8447">
                  <c:v>73</c:v>
                </c:pt>
                <c:pt idx="8448">
                  <c:v>73</c:v>
                </c:pt>
                <c:pt idx="8449">
                  <c:v>73</c:v>
                </c:pt>
                <c:pt idx="8450">
                  <c:v>73</c:v>
                </c:pt>
                <c:pt idx="8451">
                  <c:v>73</c:v>
                </c:pt>
                <c:pt idx="8452">
                  <c:v>73</c:v>
                </c:pt>
                <c:pt idx="8453">
                  <c:v>73</c:v>
                </c:pt>
                <c:pt idx="8454">
                  <c:v>73</c:v>
                </c:pt>
                <c:pt idx="8455">
                  <c:v>73</c:v>
                </c:pt>
                <c:pt idx="8456">
                  <c:v>73</c:v>
                </c:pt>
                <c:pt idx="8457">
                  <c:v>72.3</c:v>
                </c:pt>
                <c:pt idx="8458">
                  <c:v>72.099999999999994</c:v>
                </c:pt>
                <c:pt idx="8459">
                  <c:v>72.5</c:v>
                </c:pt>
                <c:pt idx="8460">
                  <c:v>72.900000000000006</c:v>
                </c:pt>
                <c:pt idx="8461">
                  <c:v>72.5</c:v>
                </c:pt>
                <c:pt idx="8462">
                  <c:v>72.3</c:v>
                </c:pt>
                <c:pt idx="8463">
                  <c:v>73.599999999999994</c:v>
                </c:pt>
                <c:pt idx="8464">
                  <c:v>73</c:v>
                </c:pt>
                <c:pt idx="8465">
                  <c:v>72.3</c:v>
                </c:pt>
                <c:pt idx="8466">
                  <c:v>72.099999999999994</c:v>
                </c:pt>
                <c:pt idx="8467">
                  <c:v>72</c:v>
                </c:pt>
                <c:pt idx="8468">
                  <c:v>73.900000000000006</c:v>
                </c:pt>
                <c:pt idx="8469">
                  <c:v>72.3</c:v>
                </c:pt>
                <c:pt idx="8470">
                  <c:v>72</c:v>
                </c:pt>
                <c:pt idx="8471">
                  <c:v>72.099999999999994</c:v>
                </c:pt>
                <c:pt idx="8472">
                  <c:v>72.099999999999994</c:v>
                </c:pt>
                <c:pt idx="8473">
                  <c:v>72.3</c:v>
                </c:pt>
                <c:pt idx="8474">
                  <c:v>72.3</c:v>
                </c:pt>
                <c:pt idx="8475">
                  <c:v>71.8</c:v>
                </c:pt>
                <c:pt idx="8476">
                  <c:v>71.8</c:v>
                </c:pt>
                <c:pt idx="8477">
                  <c:v>71.8</c:v>
                </c:pt>
                <c:pt idx="8478">
                  <c:v>71.8</c:v>
                </c:pt>
                <c:pt idx="8479">
                  <c:v>73.900000000000006</c:v>
                </c:pt>
                <c:pt idx="8480">
                  <c:v>72.5</c:v>
                </c:pt>
                <c:pt idx="8481">
                  <c:v>72.5</c:v>
                </c:pt>
                <c:pt idx="8482">
                  <c:v>73</c:v>
                </c:pt>
                <c:pt idx="8483">
                  <c:v>73.8</c:v>
                </c:pt>
                <c:pt idx="8484">
                  <c:v>75.599999999999994</c:v>
                </c:pt>
                <c:pt idx="8485">
                  <c:v>76.099999999999994</c:v>
                </c:pt>
                <c:pt idx="8486">
                  <c:v>77.7</c:v>
                </c:pt>
                <c:pt idx="8487">
                  <c:v>80.099999999999994</c:v>
                </c:pt>
                <c:pt idx="8488">
                  <c:v>80.099999999999994</c:v>
                </c:pt>
                <c:pt idx="8489">
                  <c:v>82.8</c:v>
                </c:pt>
                <c:pt idx="8490">
                  <c:v>77.900000000000006</c:v>
                </c:pt>
                <c:pt idx="8491">
                  <c:v>79.3</c:v>
                </c:pt>
                <c:pt idx="8492">
                  <c:v>79.2</c:v>
                </c:pt>
                <c:pt idx="8493">
                  <c:v>79.3</c:v>
                </c:pt>
                <c:pt idx="8494">
                  <c:v>80.2</c:v>
                </c:pt>
                <c:pt idx="8495">
                  <c:v>80.2</c:v>
                </c:pt>
                <c:pt idx="8496">
                  <c:v>80.400000000000006</c:v>
                </c:pt>
                <c:pt idx="8497">
                  <c:v>81.5</c:v>
                </c:pt>
                <c:pt idx="8498">
                  <c:v>86.9</c:v>
                </c:pt>
                <c:pt idx="8499">
                  <c:v>89.8</c:v>
                </c:pt>
                <c:pt idx="8500">
                  <c:v>86.5</c:v>
                </c:pt>
                <c:pt idx="8501">
                  <c:v>82.4</c:v>
                </c:pt>
                <c:pt idx="8502">
                  <c:v>82.9</c:v>
                </c:pt>
                <c:pt idx="8503">
                  <c:v>84.4</c:v>
                </c:pt>
                <c:pt idx="8504">
                  <c:v>84.6</c:v>
                </c:pt>
                <c:pt idx="8505">
                  <c:v>83.8</c:v>
                </c:pt>
                <c:pt idx="8506">
                  <c:v>83.8</c:v>
                </c:pt>
                <c:pt idx="8507">
                  <c:v>83.7</c:v>
                </c:pt>
                <c:pt idx="8508">
                  <c:v>83.1</c:v>
                </c:pt>
                <c:pt idx="8509">
                  <c:v>83.3</c:v>
                </c:pt>
                <c:pt idx="8510">
                  <c:v>81.900000000000006</c:v>
                </c:pt>
                <c:pt idx="8511">
                  <c:v>84</c:v>
                </c:pt>
                <c:pt idx="8512">
                  <c:v>83.7</c:v>
                </c:pt>
                <c:pt idx="8513">
                  <c:v>86.2</c:v>
                </c:pt>
                <c:pt idx="8514">
                  <c:v>86.7</c:v>
                </c:pt>
                <c:pt idx="8515">
                  <c:v>87.3</c:v>
                </c:pt>
                <c:pt idx="8516">
                  <c:v>87.4</c:v>
                </c:pt>
                <c:pt idx="8517">
                  <c:v>85.3</c:v>
                </c:pt>
                <c:pt idx="8518">
                  <c:v>85.8</c:v>
                </c:pt>
                <c:pt idx="8519">
                  <c:v>84.7</c:v>
                </c:pt>
                <c:pt idx="8520">
                  <c:v>86.5</c:v>
                </c:pt>
                <c:pt idx="8521">
                  <c:v>86.5</c:v>
                </c:pt>
                <c:pt idx="8522">
                  <c:v>85.3</c:v>
                </c:pt>
                <c:pt idx="8523">
                  <c:v>86.2</c:v>
                </c:pt>
                <c:pt idx="8524">
                  <c:v>86.5</c:v>
                </c:pt>
                <c:pt idx="8525">
                  <c:v>86.9</c:v>
                </c:pt>
                <c:pt idx="8526">
                  <c:v>86.4</c:v>
                </c:pt>
                <c:pt idx="8527">
                  <c:v>84.6</c:v>
                </c:pt>
                <c:pt idx="8528">
                  <c:v>83.7</c:v>
                </c:pt>
                <c:pt idx="8529">
                  <c:v>82.4</c:v>
                </c:pt>
                <c:pt idx="8530">
                  <c:v>81</c:v>
                </c:pt>
                <c:pt idx="8531">
                  <c:v>80.099999999999994</c:v>
                </c:pt>
                <c:pt idx="8532">
                  <c:v>79</c:v>
                </c:pt>
                <c:pt idx="8533">
                  <c:v>78.400000000000006</c:v>
                </c:pt>
                <c:pt idx="8534">
                  <c:v>77.7</c:v>
                </c:pt>
                <c:pt idx="8535">
                  <c:v>77.2</c:v>
                </c:pt>
                <c:pt idx="8536">
                  <c:v>76.8</c:v>
                </c:pt>
                <c:pt idx="8537">
                  <c:v>76.5</c:v>
                </c:pt>
                <c:pt idx="8538">
                  <c:v>76.5</c:v>
                </c:pt>
                <c:pt idx="8539">
                  <c:v>76.5</c:v>
                </c:pt>
                <c:pt idx="8540">
                  <c:v>76.5</c:v>
                </c:pt>
                <c:pt idx="8541">
                  <c:v>76.5</c:v>
                </c:pt>
                <c:pt idx="8542">
                  <c:v>76.5</c:v>
                </c:pt>
                <c:pt idx="8543">
                  <c:v>76.5</c:v>
                </c:pt>
                <c:pt idx="8544">
                  <c:v>76.5</c:v>
                </c:pt>
                <c:pt idx="8545">
                  <c:v>76.5</c:v>
                </c:pt>
                <c:pt idx="8546">
                  <c:v>76.5</c:v>
                </c:pt>
                <c:pt idx="8547">
                  <c:v>76.5</c:v>
                </c:pt>
                <c:pt idx="8548">
                  <c:v>76.5</c:v>
                </c:pt>
                <c:pt idx="8549">
                  <c:v>76.5</c:v>
                </c:pt>
                <c:pt idx="8550">
                  <c:v>76.5</c:v>
                </c:pt>
                <c:pt idx="8551">
                  <c:v>76.5</c:v>
                </c:pt>
                <c:pt idx="8552">
                  <c:v>76.5</c:v>
                </c:pt>
                <c:pt idx="8553">
                  <c:v>76.5</c:v>
                </c:pt>
                <c:pt idx="8554">
                  <c:v>76.5</c:v>
                </c:pt>
                <c:pt idx="8555">
                  <c:v>75.7</c:v>
                </c:pt>
                <c:pt idx="8556">
                  <c:v>75</c:v>
                </c:pt>
                <c:pt idx="8557">
                  <c:v>74.5</c:v>
                </c:pt>
                <c:pt idx="8558">
                  <c:v>73.900000000000006</c:v>
                </c:pt>
                <c:pt idx="8559">
                  <c:v>73.2</c:v>
                </c:pt>
                <c:pt idx="8560">
                  <c:v>74.8</c:v>
                </c:pt>
                <c:pt idx="8561">
                  <c:v>73.2</c:v>
                </c:pt>
                <c:pt idx="8562">
                  <c:v>72.7</c:v>
                </c:pt>
                <c:pt idx="8563">
                  <c:v>72.099999999999994</c:v>
                </c:pt>
                <c:pt idx="8564">
                  <c:v>71.8</c:v>
                </c:pt>
                <c:pt idx="8565">
                  <c:v>72.7</c:v>
                </c:pt>
                <c:pt idx="8566">
                  <c:v>71.8</c:v>
                </c:pt>
                <c:pt idx="8567">
                  <c:v>71.400000000000006</c:v>
                </c:pt>
                <c:pt idx="8568">
                  <c:v>71.2</c:v>
                </c:pt>
                <c:pt idx="8569">
                  <c:v>71.099999999999994</c:v>
                </c:pt>
                <c:pt idx="8570">
                  <c:v>70.5</c:v>
                </c:pt>
                <c:pt idx="8571">
                  <c:v>70.7</c:v>
                </c:pt>
                <c:pt idx="8572">
                  <c:v>71.2</c:v>
                </c:pt>
                <c:pt idx="8573">
                  <c:v>70</c:v>
                </c:pt>
                <c:pt idx="8574">
                  <c:v>71.400000000000006</c:v>
                </c:pt>
                <c:pt idx="8575">
                  <c:v>72.5</c:v>
                </c:pt>
                <c:pt idx="8576">
                  <c:v>72.7</c:v>
                </c:pt>
                <c:pt idx="8577">
                  <c:v>72.7</c:v>
                </c:pt>
                <c:pt idx="8578">
                  <c:v>72.7</c:v>
                </c:pt>
                <c:pt idx="8579">
                  <c:v>72.7</c:v>
                </c:pt>
                <c:pt idx="8580">
                  <c:v>72.7</c:v>
                </c:pt>
                <c:pt idx="8581">
                  <c:v>72.7</c:v>
                </c:pt>
                <c:pt idx="8582">
                  <c:v>72.7</c:v>
                </c:pt>
                <c:pt idx="8583">
                  <c:v>72.7</c:v>
                </c:pt>
                <c:pt idx="8584">
                  <c:v>72.7</c:v>
                </c:pt>
                <c:pt idx="8585">
                  <c:v>72.7</c:v>
                </c:pt>
                <c:pt idx="8586">
                  <c:v>72.7</c:v>
                </c:pt>
                <c:pt idx="8587">
                  <c:v>72.7</c:v>
                </c:pt>
                <c:pt idx="8588">
                  <c:v>72.7</c:v>
                </c:pt>
                <c:pt idx="8589">
                  <c:v>72.7</c:v>
                </c:pt>
                <c:pt idx="8590">
                  <c:v>72.7</c:v>
                </c:pt>
                <c:pt idx="8591">
                  <c:v>72.7</c:v>
                </c:pt>
                <c:pt idx="8592">
                  <c:v>87.3</c:v>
                </c:pt>
                <c:pt idx="8593">
                  <c:v>88.5</c:v>
                </c:pt>
                <c:pt idx="8594">
                  <c:v>89.4</c:v>
                </c:pt>
                <c:pt idx="8595">
                  <c:v>89.8</c:v>
                </c:pt>
                <c:pt idx="8596">
                  <c:v>90</c:v>
                </c:pt>
                <c:pt idx="8597">
                  <c:v>90.7</c:v>
                </c:pt>
                <c:pt idx="8598">
                  <c:v>91.4</c:v>
                </c:pt>
                <c:pt idx="8599">
                  <c:v>91.8</c:v>
                </c:pt>
                <c:pt idx="8600">
                  <c:v>92.1</c:v>
                </c:pt>
                <c:pt idx="8601">
                  <c:v>93.2</c:v>
                </c:pt>
                <c:pt idx="8602">
                  <c:v>93.7</c:v>
                </c:pt>
                <c:pt idx="8603">
                  <c:v>92.5</c:v>
                </c:pt>
                <c:pt idx="8604">
                  <c:v>91.8</c:v>
                </c:pt>
                <c:pt idx="8605">
                  <c:v>93.7</c:v>
                </c:pt>
                <c:pt idx="8606">
                  <c:v>95.7</c:v>
                </c:pt>
                <c:pt idx="8607">
                  <c:v>96.3</c:v>
                </c:pt>
                <c:pt idx="8608">
                  <c:v>95.4</c:v>
                </c:pt>
                <c:pt idx="8609">
                  <c:v>94.6</c:v>
                </c:pt>
                <c:pt idx="8610">
                  <c:v>96.3</c:v>
                </c:pt>
                <c:pt idx="8611">
                  <c:v>96.4</c:v>
                </c:pt>
                <c:pt idx="8612">
                  <c:v>97.3</c:v>
                </c:pt>
                <c:pt idx="8613">
                  <c:v>93.9</c:v>
                </c:pt>
                <c:pt idx="8614">
                  <c:v>94.3</c:v>
                </c:pt>
                <c:pt idx="8615">
                  <c:v>95.5</c:v>
                </c:pt>
                <c:pt idx="8616">
                  <c:v>95.5</c:v>
                </c:pt>
                <c:pt idx="8617">
                  <c:v>96.1</c:v>
                </c:pt>
                <c:pt idx="8618">
                  <c:v>96.4</c:v>
                </c:pt>
                <c:pt idx="8619">
                  <c:v>94.1</c:v>
                </c:pt>
                <c:pt idx="8620">
                  <c:v>91.9</c:v>
                </c:pt>
                <c:pt idx="8621">
                  <c:v>91</c:v>
                </c:pt>
                <c:pt idx="8622">
                  <c:v>89.8</c:v>
                </c:pt>
                <c:pt idx="8623">
                  <c:v>89.1</c:v>
                </c:pt>
                <c:pt idx="8624">
                  <c:v>87.6</c:v>
                </c:pt>
                <c:pt idx="8625">
                  <c:v>85.5</c:v>
                </c:pt>
                <c:pt idx="8626">
                  <c:v>84.2</c:v>
                </c:pt>
                <c:pt idx="8627">
                  <c:v>82.2</c:v>
                </c:pt>
                <c:pt idx="8628">
                  <c:v>80.400000000000006</c:v>
                </c:pt>
                <c:pt idx="8629">
                  <c:v>78.8</c:v>
                </c:pt>
                <c:pt idx="8630">
                  <c:v>79.3</c:v>
                </c:pt>
                <c:pt idx="8631">
                  <c:v>78.400000000000006</c:v>
                </c:pt>
                <c:pt idx="8632">
                  <c:v>77.5</c:v>
                </c:pt>
                <c:pt idx="8633">
                  <c:v>76.5</c:v>
                </c:pt>
                <c:pt idx="8634">
                  <c:v>76.099999999999994</c:v>
                </c:pt>
                <c:pt idx="8635">
                  <c:v>76.099999999999994</c:v>
                </c:pt>
                <c:pt idx="8636">
                  <c:v>76.099999999999994</c:v>
                </c:pt>
                <c:pt idx="8637">
                  <c:v>76.099999999999994</c:v>
                </c:pt>
                <c:pt idx="8638">
                  <c:v>76.099999999999994</c:v>
                </c:pt>
                <c:pt idx="8639">
                  <c:v>76.099999999999994</c:v>
                </c:pt>
                <c:pt idx="8640">
                  <c:v>76.099999999999994</c:v>
                </c:pt>
                <c:pt idx="8641">
                  <c:v>76.099999999999994</c:v>
                </c:pt>
                <c:pt idx="8642">
                  <c:v>76.099999999999994</c:v>
                </c:pt>
                <c:pt idx="8643">
                  <c:v>76.099999999999994</c:v>
                </c:pt>
                <c:pt idx="8644">
                  <c:v>76.099999999999994</c:v>
                </c:pt>
                <c:pt idx="8645">
                  <c:v>76.099999999999994</c:v>
                </c:pt>
                <c:pt idx="8646">
                  <c:v>76.099999999999994</c:v>
                </c:pt>
                <c:pt idx="8647">
                  <c:v>76.099999999999994</c:v>
                </c:pt>
                <c:pt idx="8648">
                  <c:v>76.099999999999994</c:v>
                </c:pt>
                <c:pt idx="8649">
                  <c:v>76.099999999999994</c:v>
                </c:pt>
                <c:pt idx="8650">
                  <c:v>71.099999999999994</c:v>
                </c:pt>
                <c:pt idx="8651">
                  <c:v>70.3</c:v>
                </c:pt>
                <c:pt idx="8652">
                  <c:v>70</c:v>
                </c:pt>
                <c:pt idx="8653">
                  <c:v>71.2</c:v>
                </c:pt>
                <c:pt idx="8654">
                  <c:v>70</c:v>
                </c:pt>
                <c:pt idx="8655">
                  <c:v>69.599999999999994</c:v>
                </c:pt>
                <c:pt idx="8656">
                  <c:v>69.099999999999994</c:v>
                </c:pt>
                <c:pt idx="8657">
                  <c:v>69.3</c:v>
                </c:pt>
                <c:pt idx="8658">
                  <c:v>70</c:v>
                </c:pt>
                <c:pt idx="8659">
                  <c:v>69.3</c:v>
                </c:pt>
                <c:pt idx="8660">
                  <c:v>68.7</c:v>
                </c:pt>
                <c:pt idx="8661">
                  <c:v>68.2</c:v>
                </c:pt>
                <c:pt idx="8662">
                  <c:v>68</c:v>
                </c:pt>
                <c:pt idx="8663">
                  <c:v>67.8</c:v>
                </c:pt>
                <c:pt idx="8664">
                  <c:v>68.400000000000006</c:v>
                </c:pt>
                <c:pt idx="8665">
                  <c:v>68.900000000000006</c:v>
                </c:pt>
                <c:pt idx="8666">
                  <c:v>67.599999999999994</c:v>
                </c:pt>
                <c:pt idx="8667">
                  <c:v>67.5</c:v>
                </c:pt>
                <c:pt idx="8668">
                  <c:v>67.5</c:v>
                </c:pt>
                <c:pt idx="8669">
                  <c:v>66.2</c:v>
                </c:pt>
                <c:pt idx="8670">
                  <c:v>69.400000000000006</c:v>
                </c:pt>
                <c:pt idx="8671">
                  <c:v>73.599999999999994</c:v>
                </c:pt>
                <c:pt idx="8672">
                  <c:v>76.3</c:v>
                </c:pt>
                <c:pt idx="8673">
                  <c:v>76.3</c:v>
                </c:pt>
                <c:pt idx="8674">
                  <c:v>76.3</c:v>
                </c:pt>
                <c:pt idx="8675">
                  <c:v>76.3</c:v>
                </c:pt>
                <c:pt idx="8676">
                  <c:v>76.3</c:v>
                </c:pt>
                <c:pt idx="8677">
                  <c:v>76.3</c:v>
                </c:pt>
                <c:pt idx="8678">
                  <c:v>76.3</c:v>
                </c:pt>
                <c:pt idx="8679">
                  <c:v>76.3</c:v>
                </c:pt>
                <c:pt idx="8680">
                  <c:v>76.3</c:v>
                </c:pt>
                <c:pt idx="8681">
                  <c:v>76.3</c:v>
                </c:pt>
                <c:pt idx="8682">
                  <c:v>76.3</c:v>
                </c:pt>
                <c:pt idx="8683">
                  <c:v>76.3</c:v>
                </c:pt>
                <c:pt idx="8684">
                  <c:v>76.3</c:v>
                </c:pt>
                <c:pt idx="8685">
                  <c:v>76.3</c:v>
                </c:pt>
                <c:pt idx="8686">
                  <c:v>76.3</c:v>
                </c:pt>
                <c:pt idx="8687">
                  <c:v>76.3</c:v>
                </c:pt>
                <c:pt idx="8688">
                  <c:v>84.4</c:v>
                </c:pt>
                <c:pt idx="8689">
                  <c:v>86</c:v>
                </c:pt>
                <c:pt idx="8690">
                  <c:v>86.7</c:v>
                </c:pt>
                <c:pt idx="8691">
                  <c:v>87.6</c:v>
                </c:pt>
                <c:pt idx="8692">
                  <c:v>89.2</c:v>
                </c:pt>
                <c:pt idx="8693">
                  <c:v>90.7</c:v>
                </c:pt>
                <c:pt idx="8694">
                  <c:v>90.5</c:v>
                </c:pt>
                <c:pt idx="8695">
                  <c:v>90.3</c:v>
                </c:pt>
                <c:pt idx="8696">
                  <c:v>90.5</c:v>
                </c:pt>
                <c:pt idx="8697">
                  <c:v>90</c:v>
                </c:pt>
                <c:pt idx="8698">
                  <c:v>90.3</c:v>
                </c:pt>
                <c:pt idx="8699">
                  <c:v>91.4</c:v>
                </c:pt>
                <c:pt idx="8700">
                  <c:v>91.8</c:v>
                </c:pt>
                <c:pt idx="8701">
                  <c:v>91.4</c:v>
                </c:pt>
                <c:pt idx="8702">
                  <c:v>93.4</c:v>
                </c:pt>
                <c:pt idx="8703">
                  <c:v>94.5</c:v>
                </c:pt>
                <c:pt idx="8704">
                  <c:v>94.1</c:v>
                </c:pt>
                <c:pt idx="8705">
                  <c:v>93.6</c:v>
                </c:pt>
                <c:pt idx="8706">
                  <c:v>94.5</c:v>
                </c:pt>
                <c:pt idx="8707">
                  <c:v>93.2</c:v>
                </c:pt>
                <c:pt idx="8708">
                  <c:v>94.5</c:v>
                </c:pt>
                <c:pt idx="8709">
                  <c:v>94.3</c:v>
                </c:pt>
                <c:pt idx="8710">
                  <c:v>95.5</c:v>
                </c:pt>
                <c:pt idx="8711">
                  <c:v>95</c:v>
                </c:pt>
                <c:pt idx="8712">
                  <c:v>93.9</c:v>
                </c:pt>
                <c:pt idx="8713">
                  <c:v>94.3</c:v>
                </c:pt>
                <c:pt idx="8714">
                  <c:v>93.2</c:v>
                </c:pt>
                <c:pt idx="8715">
                  <c:v>93.6</c:v>
                </c:pt>
                <c:pt idx="8716">
                  <c:v>92.1</c:v>
                </c:pt>
                <c:pt idx="8717">
                  <c:v>92.8</c:v>
                </c:pt>
                <c:pt idx="8718">
                  <c:v>91</c:v>
                </c:pt>
                <c:pt idx="8719">
                  <c:v>90.3</c:v>
                </c:pt>
                <c:pt idx="8720">
                  <c:v>87.8</c:v>
                </c:pt>
                <c:pt idx="8721">
                  <c:v>85.8</c:v>
                </c:pt>
                <c:pt idx="8722">
                  <c:v>84.7</c:v>
                </c:pt>
                <c:pt idx="8723">
                  <c:v>81.099999999999994</c:v>
                </c:pt>
                <c:pt idx="8724">
                  <c:v>78.599999999999994</c:v>
                </c:pt>
                <c:pt idx="8725">
                  <c:v>77</c:v>
                </c:pt>
                <c:pt idx="8726">
                  <c:v>75</c:v>
                </c:pt>
                <c:pt idx="8727">
                  <c:v>74.099999999999994</c:v>
                </c:pt>
                <c:pt idx="8728">
                  <c:v>72.5</c:v>
                </c:pt>
                <c:pt idx="8729">
                  <c:v>71.599999999999994</c:v>
                </c:pt>
                <c:pt idx="8730">
                  <c:v>71.8</c:v>
                </c:pt>
                <c:pt idx="8731">
                  <c:v>70.3</c:v>
                </c:pt>
                <c:pt idx="8732">
                  <c:v>69.599999999999994</c:v>
                </c:pt>
                <c:pt idx="8733">
                  <c:v>70.2</c:v>
                </c:pt>
                <c:pt idx="8734">
                  <c:v>68.7</c:v>
                </c:pt>
                <c:pt idx="8735">
                  <c:v>67.8</c:v>
                </c:pt>
                <c:pt idx="8736">
                  <c:v>66.7</c:v>
                </c:pt>
                <c:pt idx="8737">
                  <c:v>68.2</c:v>
                </c:pt>
                <c:pt idx="8738">
                  <c:v>66.900000000000006</c:v>
                </c:pt>
                <c:pt idx="8739">
                  <c:v>66.900000000000006</c:v>
                </c:pt>
                <c:pt idx="8740">
                  <c:v>65.7</c:v>
                </c:pt>
                <c:pt idx="8741">
                  <c:v>64.8</c:v>
                </c:pt>
                <c:pt idx="8742">
                  <c:v>65.8</c:v>
                </c:pt>
                <c:pt idx="8743">
                  <c:v>64.599999999999994</c:v>
                </c:pt>
                <c:pt idx="8744">
                  <c:v>64.2</c:v>
                </c:pt>
                <c:pt idx="8745">
                  <c:v>63.5</c:v>
                </c:pt>
                <c:pt idx="8746">
                  <c:v>63.1</c:v>
                </c:pt>
                <c:pt idx="8747">
                  <c:v>63</c:v>
                </c:pt>
                <c:pt idx="8748">
                  <c:v>62.4</c:v>
                </c:pt>
                <c:pt idx="8749">
                  <c:v>63.3</c:v>
                </c:pt>
                <c:pt idx="8750">
                  <c:v>63</c:v>
                </c:pt>
                <c:pt idx="8751">
                  <c:v>61.9</c:v>
                </c:pt>
                <c:pt idx="8752">
                  <c:v>61.5</c:v>
                </c:pt>
                <c:pt idx="8753">
                  <c:v>61.2</c:v>
                </c:pt>
                <c:pt idx="8754">
                  <c:v>61</c:v>
                </c:pt>
                <c:pt idx="8755">
                  <c:v>61</c:v>
                </c:pt>
                <c:pt idx="8756">
                  <c:v>62.6</c:v>
                </c:pt>
                <c:pt idx="8757">
                  <c:v>61.2</c:v>
                </c:pt>
                <c:pt idx="8758">
                  <c:v>60.4</c:v>
                </c:pt>
                <c:pt idx="8759">
                  <c:v>60.3</c:v>
                </c:pt>
                <c:pt idx="8760">
                  <c:v>60.1</c:v>
                </c:pt>
                <c:pt idx="8761">
                  <c:v>60.1</c:v>
                </c:pt>
                <c:pt idx="8762">
                  <c:v>60.1</c:v>
                </c:pt>
                <c:pt idx="8763">
                  <c:v>59.9</c:v>
                </c:pt>
                <c:pt idx="8764">
                  <c:v>59.5</c:v>
                </c:pt>
                <c:pt idx="8765">
                  <c:v>59.5</c:v>
                </c:pt>
                <c:pt idx="8766">
                  <c:v>63.3</c:v>
                </c:pt>
                <c:pt idx="8767">
                  <c:v>66.7</c:v>
                </c:pt>
                <c:pt idx="8768">
                  <c:v>67.099999999999994</c:v>
                </c:pt>
                <c:pt idx="8769">
                  <c:v>67.099999999999994</c:v>
                </c:pt>
                <c:pt idx="8770">
                  <c:v>67.099999999999994</c:v>
                </c:pt>
                <c:pt idx="8771">
                  <c:v>67.099999999999994</c:v>
                </c:pt>
                <c:pt idx="8772">
                  <c:v>67.099999999999994</c:v>
                </c:pt>
                <c:pt idx="8773">
                  <c:v>67.099999999999994</c:v>
                </c:pt>
                <c:pt idx="8774">
                  <c:v>67.099999999999994</c:v>
                </c:pt>
                <c:pt idx="8775">
                  <c:v>67.099999999999994</c:v>
                </c:pt>
                <c:pt idx="8776">
                  <c:v>67.099999999999994</c:v>
                </c:pt>
                <c:pt idx="8777">
                  <c:v>67.099999999999994</c:v>
                </c:pt>
                <c:pt idx="8778">
                  <c:v>67.099999999999994</c:v>
                </c:pt>
                <c:pt idx="8779">
                  <c:v>67.099999999999994</c:v>
                </c:pt>
                <c:pt idx="8780">
                  <c:v>67.099999999999994</c:v>
                </c:pt>
                <c:pt idx="8781">
                  <c:v>67.099999999999994</c:v>
                </c:pt>
                <c:pt idx="8782">
                  <c:v>67.099999999999994</c:v>
                </c:pt>
                <c:pt idx="8783">
                  <c:v>67.099999999999994</c:v>
                </c:pt>
                <c:pt idx="8784">
                  <c:v>86.7</c:v>
                </c:pt>
                <c:pt idx="8785">
                  <c:v>87.6</c:v>
                </c:pt>
                <c:pt idx="8786">
                  <c:v>88.5</c:v>
                </c:pt>
                <c:pt idx="8787">
                  <c:v>89.4</c:v>
                </c:pt>
                <c:pt idx="8788">
                  <c:v>90.3</c:v>
                </c:pt>
                <c:pt idx="8789">
                  <c:v>91.4</c:v>
                </c:pt>
                <c:pt idx="8790">
                  <c:v>91.8</c:v>
                </c:pt>
                <c:pt idx="8791">
                  <c:v>93</c:v>
                </c:pt>
                <c:pt idx="8792">
                  <c:v>94.1</c:v>
                </c:pt>
                <c:pt idx="8793">
                  <c:v>93.2</c:v>
                </c:pt>
                <c:pt idx="8794">
                  <c:v>93.6</c:v>
                </c:pt>
                <c:pt idx="8795">
                  <c:v>94.3</c:v>
                </c:pt>
                <c:pt idx="8796">
                  <c:v>95</c:v>
                </c:pt>
                <c:pt idx="8797">
                  <c:v>94.8</c:v>
                </c:pt>
                <c:pt idx="8798">
                  <c:v>94.8</c:v>
                </c:pt>
                <c:pt idx="8799">
                  <c:v>95</c:v>
                </c:pt>
                <c:pt idx="8800">
                  <c:v>94.8</c:v>
                </c:pt>
                <c:pt idx="8801">
                  <c:v>95</c:v>
                </c:pt>
                <c:pt idx="8802">
                  <c:v>96.3</c:v>
                </c:pt>
                <c:pt idx="8803">
                  <c:v>95.5</c:v>
                </c:pt>
                <c:pt idx="8804">
                  <c:v>95.9</c:v>
                </c:pt>
                <c:pt idx="8805">
                  <c:v>96.4</c:v>
                </c:pt>
                <c:pt idx="8806">
                  <c:v>96.1</c:v>
                </c:pt>
                <c:pt idx="8807">
                  <c:v>95.9</c:v>
                </c:pt>
                <c:pt idx="8808">
                  <c:v>96.3</c:v>
                </c:pt>
                <c:pt idx="8809">
                  <c:v>95.5</c:v>
                </c:pt>
                <c:pt idx="8810">
                  <c:v>95.9</c:v>
                </c:pt>
                <c:pt idx="8811">
                  <c:v>96.4</c:v>
                </c:pt>
                <c:pt idx="8812">
                  <c:v>96.1</c:v>
                </c:pt>
                <c:pt idx="8813">
                  <c:v>95</c:v>
                </c:pt>
                <c:pt idx="8814">
                  <c:v>91.2</c:v>
                </c:pt>
                <c:pt idx="8815">
                  <c:v>89.4</c:v>
                </c:pt>
                <c:pt idx="8816">
                  <c:v>87.6</c:v>
                </c:pt>
                <c:pt idx="8817">
                  <c:v>85.8</c:v>
                </c:pt>
                <c:pt idx="8818">
                  <c:v>84.4</c:v>
                </c:pt>
                <c:pt idx="8819">
                  <c:v>82.2</c:v>
                </c:pt>
                <c:pt idx="8820">
                  <c:v>81</c:v>
                </c:pt>
                <c:pt idx="8821">
                  <c:v>79.5</c:v>
                </c:pt>
                <c:pt idx="8822">
                  <c:v>78.099999999999994</c:v>
                </c:pt>
                <c:pt idx="8823">
                  <c:v>81.900000000000006</c:v>
                </c:pt>
                <c:pt idx="8824">
                  <c:v>80.099999999999994</c:v>
                </c:pt>
                <c:pt idx="8825">
                  <c:v>81.099999999999994</c:v>
                </c:pt>
                <c:pt idx="8826">
                  <c:v>79.2</c:v>
                </c:pt>
                <c:pt idx="8827">
                  <c:v>80.099999999999994</c:v>
                </c:pt>
                <c:pt idx="8828">
                  <c:v>78.099999999999994</c:v>
                </c:pt>
                <c:pt idx="8829">
                  <c:v>77.5</c:v>
                </c:pt>
                <c:pt idx="8830">
                  <c:v>76.8</c:v>
                </c:pt>
                <c:pt idx="8831">
                  <c:v>77</c:v>
                </c:pt>
                <c:pt idx="8832">
                  <c:v>75.599999999999994</c:v>
                </c:pt>
                <c:pt idx="8833">
                  <c:v>75</c:v>
                </c:pt>
                <c:pt idx="8834">
                  <c:v>75.900000000000006</c:v>
                </c:pt>
                <c:pt idx="8835">
                  <c:v>75.400000000000006</c:v>
                </c:pt>
                <c:pt idx="8836">
                  <c:v>74.7</c:v>
                </c:pt>
                <c:pt idx="8837">
                  <c:v>74.7</c:v>
                </c:pt>
                <c:pt idx="8838">
                  <c:v>74.7</c:v>
                </c:pt>
                <c:pt idx="8839">
                  <c:v>74.7</c:v>
                </c:pt>
                <c:pt idx="8840">
                  <c:v>74.7</c:v>
                </c:pt>
                <c:pt idx="8841">
                  <c:v>74.7</c:v>
                </c:pt>
                <c:pt idx="8842">
                  <c:v>73</c:v>
                </c:pt>
                <c:pt idx="8843">
                  <c:v>72.5</c:v>
                </c:pt>
                <c:pt idx="8844">
                  <c:v>73.400000000000006</c:v>
                </c:pt>
                <c:pt idx="8845">
                  <c:v>72.7</c:v>
                </c:pt>
                <c:pt idx="8846">
                  <c:v>71.400000000000006</c:v>
                </c:pt>
                <c:pt idx="8847">
                  <c:v>70.900000000000006</c:v>
                </c:pt>
                <c:pt idx="8848">
                  <c:v>73.599999999999994</c:v>
                </c:pt>
                <c:pt idx="8849">
                  <c:v>73.400000000000006</c:v>
                </c:pt>
                <c:pt idx="8850">
                  <c:v>71.8</c:v>
                </c:pt>
                <c:pt idx="8851">
                  <c:v>71.400000000000006</c:v>
                </c:pt>
                <c:pt idx="8852">
                  <c:v>70.7</c:v>
                </c:pt>
                <c:pt idx="8853">
                  <c:v>70.3</c:v>
                </c:pt>
                <c:pt idx="8854">
                  <c:v>70.2</c:v>
                </c:pt>
                <c:pt idx="8855">
                  <c:v>70</c:v>
                </c:pt>
                <c:pt idx="8856">
                  <c:v>69.400000000000006</c:v>
                </c:pt>
                <c:pt idx="8857">
                  <c:v>69.400000000000006</c:v>
                </c:pt>
                <c:pt idx="8858">
                  <c:v>69.099999999999994</c:v>
                </c:pt>
                <c:pt idx="8859">
                  <c:v>70.5</c:v>
                </c:pt>
                <c:pt idx="8860">
                  <c:v>70</c:v>
                </c:pt>
                <c:pt idx="8861">
                  <c:v>70.2</c:v>
                </c:pt>
                <c:pt idx="8862">
                  <c:v>72.7</c:v>
                </c:pt>
                <c:pt idx="8863">
                  <c:v>75.900000000000006</c:v>
                </c:pt>
                <c:pt idx="8864">
                  <c:v>77.7</c:v>
                </c:pt>
                <c:pt idx="8865">
                  <c:v>79.900000000000006</c:v>
                </c:pt>
                <c:pt idx="8866">
                  <c:v>72.3</c:v>
                </c:pt>
                <c:pt idx="8867">
                  <c:v>73.900000000000006</c:v>
                </c:pt>
                <c:pt idx="8868">
                  <c:v>75.599999999999994</c:v>
                </c:pt>
                <c:pt idx="8869">
                  <c:v>77.5</c:v>
                </c:pt>
                <c:pt idx="8870">
                  <c:v>79.3</c:v>
                </c:pt>
                <c:pt idx="8871">
                  <c:v>81.099999999999994</c:v>
                </c:pt>
                <c:pt idx="8872">
                  <c:v>82.6</c:v>
                </c:pt>
                <c:pt idx="8873">
                  <c:v>83.8</c:v>
                </c:pt>
                <c:pt idx="8874">
                  <c:v>85.1</c:v>
                </c:pt>
                <c:pt idx="8875">
                  <c:v>86.2</c:v>
                </c:pt>
                <c:pt idx="8876">
                  <c:v>87.1</c:v>
                </c:pt>
                <c:pt idx="8877">
                  <c:v>87.8</c:v>
                </c:pt>
                <c:pt idx="8878">
                  <c:v>95</c:v>
                </c:pt>
                <c:pt idx="8879">
                  <c:v>95.7</c:v>
                </c:pt>
                <c:pt idx="8880">
                  <c:v>96.3</c:v>
                </c:pt>
                <c:pt idx="8881">
                  <c:v>95.2</c:v>
                </c:pt>
                <c:pt idx="8882">
                  <c:v>95.5</c:v>
                </c:pt>
                <c:pt idx="8883">
                  <c:v>99.7</c:v>
                </c:pt>
                <c:pt idx="8884">
                  <c:v>98.4</c:v>
                </c:pt>
                <c:pt idx="8885">
                  <c:v>98.8</c:v>
                </c:pt>
                <c:pt idx="8886">
                  <c:v>99.3</c:v>
                </c:pt>
                <c:pt idx="8887">
                  <c:v>99.7</c:v>
                </c:pt>
                <c:pt idx="8888">
                  <c:v>100</c:v>
                </c:pt>
                <c:pt idx="8889">
                  <c:v>98.6</c:v>
                </c:pt>
                <c:pt idx="8890">
                  <c:v>99.9</c:v>
                </c:pt>
                <c:pt idx="8891">
                  <c:v>99.9</c:v>
                </c:pt>
                <c:pt idx="8892">
                  <c:v>99.9</c:v>
                </c:pt>
                <c:pt idx="8893">
                  <c:v>99.9</c:v>
                </c:pt>
                <c:pt idx="8894">
                  <c:v>99.9</c:v>
                </c:pt>
                <c:pt idx="8895">
                  <c:v>99.9</c:v>
                </c:pt>
                <c:pt idx="8896">
                  <c:v>99.9</c:v>
                </c:pt>
                <c:pt idx="8897">
                  <c:v>99.9</c:v>
                </c:pt>
                <c:pt idx="8898">
                  <c:v>99.9</c:v>
                </c:pt>
                <c:pt idx="8899">
                  <c:v>99.9</c:v>
                </c:pt>
                <c:pt idx="8900">
                  <c:v>82.2</c:v>
                </c:pt>
                <c:pt idx="8901">
                  <c:v>81.900000000000006</c:v>
                </c:pt>
                <c:pt idx="8902">
                  <c:v>80.8</c:v>
                </c:pt>
                <c:pt idx="8903">
                  <c:v>80.2</c:v>
                </c:pt>
                <c:pt idx="8904">
                  <c:v>79.900000000000006</c:v>
                </c:pt>
                <c:pt idx="8905">
                  <c:v>79</c:v>
                </c:pt>
                <c:pt idx="8906">
                  <c:v>78.599999999999994</c:v>
                </c:pt>
                <c:pt idx="8907">
                  <c:v>78.8</c:v>
                </c:pt>
                <c:pt idx="8908">
                  <c:v>77</c:v>
                </c:pt>
                <c:pt idx="8909">
                  <c:v>78.099999999999994</c:v>
                </c:pt>
                <c:pt idx="8910">
                  <c:v>77</c:v>
                </c:pt>
                <c:pt idx="8911">
                  <c:v>76.3</c:v>
                </c:pt>
                <c:pt idx="8912">
                  <c:v>75.599999999999994</c:v>
                </c:pt>
                <c:pt idx="8913">
                  <c:v>75.7</c:v>
                </c:pt>
                <c:pt idx="8914">
                  <c:v>75</c:v>
                </c:pt>
                <c:pt idx="8915">
                  <c:v>75.400000000000006</c:v>
                </c:pt>
                <c:pt idx="8916">
                  <c:v>74.8</c:v>
                </c:pt>
                <c:pt idx="8917">
                  <c:v>75.7</c:v>
                </c:pt>
                <c:pt idx="8918">
                  <c:v>73.900000000000006</c:v>
                </c:pt>
                <c:pt idx="8919">
                  <c:v>73.400000000000006</c:v>
                </c:pt>
                <c:pt idx="8920">
                  <c:v>72.900000000000006</c:v>
                </c:pt>
                <c:pt idx="8921">
                  <c:v>74.3</c:v>
                </c:pt>
                <c:pt idx="8922">
                  <c:v>73.2</c:v>
                </c:pt>
                <c:pt idx="8923">
                  <c:v>74.7</c:v>
                </c:pt>
                <c:pt idx="8924">
                  <c:v>72.7</c:v>
                </c:pt>
                <c:pt idx="8925">
                  <c:v>73.400000000000006</c:v>
                </c:pt>
                <c:pt idx="8926">
                  <c:v>72.099999999999994</c:v>
                </c:pt>
                <c:pt idx="8927">
                  <c:v>73.2</c:v>
                </c:pt>
                <c:pt idx="8928">
                  <c:v>71.8</c:v>
                </c:pt>
                <c:pt idx="8929">
                  <c:v>72.3</c:v>
                </c:pt>
                <c:pt idx="8930">
                  <c:v>72.099999999999994</c:v>
                </c:pt>
                <c:pt idx="8931">
                  <c:v>70.7</c:v>
                </c:pt>
                <c:pt idx="8932">
                  <c:v>72</c:v>
                </c:pt>
                <c:pt idx="8933">
                  <c:v>72</c:v>
                </c:pt>
                <c:pt idx="8934">
                  <c:v>71.2</c:v>
                </c:pt>
                <c:pt idx="8935">
                  <c:v>71.099999999999994</c:v>
                </c:pt>
                <c:pt idx="8936">
                  <c:v>71.099999999999994</c:v>
                </c:pt>
                <c:pt idx="8937">
                  <c:v>72.900000000000006</c:v>
                </c:pt>
                <c:pt idx="8938">
                  <c:v>74.099999999999994</c:v>
                </c:pt>
                <c:pt idx="8939">
                  <c:v>75.7</c:v>
                </c:pt>
                <c:pt idx="8940">
                  <c:v>80.8</c:v>
                </c:pt>
                <c:pt idx="8941">
                  <c:v>84.4</c:v>
                </c:pt>
                <c:pt idx="8942">
                  <c:v>87.4</c:v>
                </c:pt>
                <c:pt idx="8943">
                  <c:v>90</c:v>
                </c:pt>
                <c:pt idx="8944">
                  <c:v>90.3</c:v>
                </c:pt>
                <c:pt idx="8945">
                  <c:v>91.2</c:v>
                </c:pt>
                <c:pt idx="8946">
                  <c:v>92.3</c:v>
                </c:pt>
                <c:pt idx="8947">
                  <c:v>96.4</c:v>
                </c:pt>
                <c:pt idx="8948">
                  <c:v>90.7</c:v>
                </c:pt>
                <c:pt idx="8949">
                  <c:v>91.2</c:v>
                </c:pt>
                <c:pt idx="8950">
                  <c:v>91.2</c:v>
                </c:pt>
                <c:pt idx="8951">
                  <c:v>93</c:v>
                </c:pt>
                <c:pt idx="8952">
                  <c:v>92.1</c:v>
                </c:pt>
                <c:pt idx="8953">
                  <c:v>94.8</c:v>
                </c:pt>
                <c:pt idx="8954">
                  <c:v>95</c:v>
                </c:pt>
                <c:pt idx="8955">
                  <c:v>97</c:v>
                </c:pt>
                <c:pt idx="8956">
                  <c:v>97.5</c:v>
                </c:pt>
                <c:pt idx="8957">
                  <c:v>94.6</c:v>
                </c:pt>
                <c:pt idx="8958">
                  <c:v>98.2</c:v>
                </c:pt>
                <c:pt idx="8959">
                  <c:v>97.3</c:v>
                </c:pt>
                <c:pt idx="8960">
                  <c:v>95.7</c:v>
                </c:pt>
                <c:pt idx="8961">
                  <c:v>95.2</c:v>
                </c:pt>
                <c:pt idx="8962">
                  <c:v>97.2</c:v>
                </c:pt>
                <c:pt idx="8963">
                  <c:v>97.3</c:v>
                </c:pt>
                <c:pt idx="8964">
                  <c:v>93.2</c:v>
                </c:pt>
                <c:pt idx="8965">
                  <c:v>98.1</c:v>
                </c:pt>
                <c:pt idx="8966">
                  <c:v>94.5</c:v>
                </c:pt>
                <c:pt idx="8967">
                  <c:v>98.1</c:v>
                </c:pt>
                <c:pt idx="8968">
                  <c:v>96.1</c:v>
                </c:pt>
                <c:pt idx="8969">
                  <c:v>95.2</c:v>
                </c:pt>
                <c:pt idx="8970">
                  <c:v>94.3</c:v>
                </c:pt>
                <c:pt idx="8971">
                  <c:v>92.7</c:v>
                </c:pt>
                <c:pt idx="8972">
                  <c:v>96.1</c:v>
                </c:pt>
                <c:pt idx="8973">
                  <c:v>93.7</c:v>
                </c:pt>
                <c:pt idx="8974">
                  <c:v>97.9</c:v>
                </c:pt>
                <c:pt idx="8975">
                  <c:v>98.4</c:v>
                </c:pt>
                <c:pt idx="8976">
                  <c:v>98.6</c:v>
                </c:pt>
                <c:pt idx="8977">
                  <c:v>98.2</c:v>
                </c:pt>
                <c:pt idx="8978">
                  <c:v>97.3</c:v>
                </c:pt>
                <c:pt idx="8979">
                  <c:v>98.6</c:v>
                </c:pt>
                <c:pt idx="8980">
                  <c:v>96.3</c:v>
                </c:pt>
                <c:pt idx="8981">
                  <c:v>96.1</c:v>
                </c:pt>
                <c:pt idx="8982">
                  <c:v>96.3</c:v>
                </c:pt>
                <c:pt idx="8983">
                  <c:v>97</c:v>
                </c:pt>
                <c:pt idx="8984">
                  <c:v>94.6</c:v>
                </c:pt>
                <c:pt idx="8985">
                  <c:v>93.6</c:v>
                </c:pt>
                <c:pt idx="8986">
                  <c:v>92.1</c:v>
                </c:pt>
                <c:pt idx="8987">
                  <c:v>91.8</c:v>
                </c:pt>
                <c:pt idx="8988">
                  <c:v>90.7</c:v>
                </c:pt>
                <c:pt idx="8989">
                  <c:v>90</c:v>
                </c:pt>
                <c:pt idx="8990">
                  <c:v>88.2</c:v>
                </c:pt>
                <c:pt idx="8991">
                  <c:v>86.4</c:v>
                </c:pt>
                <c:pt idx="8992">
                  <c:v>84.7</c:v>
                </c:pt>
                <c:pt idx="8993">
                  <c:v>82.9</c:v>
                </c:pt>
                <c:pt idx="8994">
                  <c:v>81.5</c:v>
                </c:pt>
                <c:pt idx="8995">
                  <c:v>80.400000000000006</c:v>
                </c:pt>
                <c:pt idx="8996">
                  <c:v>79.2</c:v>
                </c:pt>
                <c:pt idx="8997">
                  <c:v>78.099999999999994</c:v>
                </c:pt>
                <c:pt idx="8998">
                  <c:v>77.400000000000006</c:v>
                </c:pt>
                <c:pt idx="8999">
                  <c:v>76.5</c:v>
                </c:pt>
                <c:pt idx="9000">
                  <c:v>76.5</c:v>
                </c:pt>
                <c:pt idx="9001">
                  <c:v>76.5</c:v>
                </c:pt>
                <c:pt idx="9002">
                  <c:v>76.5</c:v>
                </c:pt>
                <c:pt idx="9003">
                  <c:v>76.5</c:v>
                </c:pt>
                <c:pt idx="9004">
                  <c:v>76.5</c:v>
                </c:pt>
                <c:pt idx="9005">
                  <c:v>76.5</c:v>
                </c:pt>
                <c:pt idx="9006">
                  <c:v>76.5</c:v>
                </c:pt>
                <c:pt idx="9007">
                  <c:v>76.5</c:v>
                </c:pt>
                <c:pt idx="9008">
                  <c:v>76.5</c:v>
                </c:pt>
                <c:pt idx="9009">
                  <c:v>76.5</c:v>
                </c:pt>
                <c:pt idx="9010">
                  <c:v>76.5</c:v>
                </c:pt>
                <c:pt idx="9011">
                  <c:v>76.5</c:v>
                </c:pt>
                <c:pt idx="9012">
                  <c:v>76.5</c:v>
                </c:pt>
                <c:pt idx="9013">
                  <c:v>76.5</c:v>
                </c:pt>
                <c:pt idx="9014">
                  <c:v>76.5</c:v>
                </c:pt>
                <c:pt idx="9015">
                  <c:v>77.2</c:v>
                </c:pt>
                <c:pt idx="9016">
                  <c:v>78.099999999999994</c:v>
                </c:pt>
                <c:pt idx="9017">
                  <c:v>76.599999999999994</c:v>
                </c:pt>
                <c:pt idx="9018">
                  <c:v>77</c:v>
                </c:pt>
                <c:pt idx="9019">
                  <c:v>76.3</c:v>
                </c:pt>
                <c:pt idx="9020">
                  <c:v>76.5</c:v>
                </c:pt>
                <c:pt idx="9021">
                  <c:v>76.5</c:v>
                </c:pt>
                <c:pt idx="9022">
                  <c:v>76.3</c:v>
                </c:pt>
                <c:pt idx="9023">
                  <c:v>76.8</c:v>
                </c:pt>
                <c:pt idx="9024">
                  <c:v>76.099999999999994</c:v>
                </c:pt>
                <c:pt idx="9025">
                  <c:v>76.8</c:v>
                </c:pt>
                <c:pt idx="9026">
                  <c:v>76.3</c:v>
                </c:pt>
                <c:pt idx="9027">
                  <c:v>75.7</c:v>
                </c:pt>
                <c:pt idx="9028">
                  <c:v>75.400000000000006</c:v>
                </c:pt>
                <c:pt idx="9029">
                  <c:v>75.900000000000006</c:v>
                </c:pt>
                <c:pt idx="9030">
                  <c:v>75.900000000000006</c:v>
                </c:pt>
                <c:pt idx="9031">
                  <c:v>74.8</c:v>
                </c:pt>
                <c:pt idx="9032">
                  <c:v>74.7</c:v>
                </c:pt>
                <c:pt idx="9033">
                  <c:v>75</c:v>
                </c:pt>
                <c:pt idx="9034">
                  <c:v>76.3</c:v>
                </c:pt>
                <c:pt idx="9035">
                  <c:v>77.400000000000006</c:v>
                </c:pt>
                <c:pt idx="9036">
                  <c:v>78.599999999999994</c:v>
                </c:pt>
                <c:pt idx="9037">
                  <c:v>79.5</c:v>
                </c:pt>
                <c:pt idx="9038">
                  <c:v>80.2</c:v>
                </c:pt>
                <c:pt idx="9039">
                  <c:v>81.3</c:v>
                </c:pt>
                <c:pt idx="9040">
                  <c:v>81.900000000000006</c:v>
                </c:pt>
                <c:pt idx="9041">
                  <c:v>82.4</c:v>
                </c:pt>
                <c:pt idx="9042">
                  <c:v>83.3</c:v>
                </c:pt>
                <c:pt idx="9043">
                  <c:v>83.8</c:v>
                </c:pt>
                <c:pt idx="9044">
                  <c:v>84</c:v>
                </c:pt>
                <c:pt idx="9045">
                  <c:v>85.6</c:v>
                </c:pt>
                <c:pt idx="9046">
                  <c:v>85.5</c:v>
                </c:pt>
                <c:pt idx="9047">
                  <c:v>86.7</c:v>
                </c:pt>
                <c:pt idx="9048">
                  <c:v>86.5</c:v>
                </c:pt>
                <c:pt idx="9049">
                  <c:v>87.1</c:v>
                </c:pt>
                <c:pt idx="9050">
                  <c:v>87.1</c:v>
                </c:pt>
                <c:pt idx="9051">
                  <c:v>87.8</c:v>
                </c:pt>
                <c:pt idx="9052">
                  <c:v>89.2</c:v>
                </c:pt>
                <c:pt idx="9053">
                  <c:v>88.9</c:v>
                </c:pt>
                <c:pt idx="9054">
                  <c:v>89.8</c:v>
                </c:pt>
                <c:pt idx="9055">
                  <c:v>88.5</c:v>
                </c:pt>
                <c:pt idx="9056">
                  <c:v>90.3</c:v>
                </c:pt>
                <c:pt idx="9057">
                  <c:v>89.4</c:v>
                </c:pt>
                <c:pt idx="9058">
                  <c:v>91.6</c:v>
                </c:pt>
                <c:pt idx="9059">
                  <c:v>92.3</c:v>
                </c:pt>
                <c:pt idx="9060">
                  <c:v>92.8</c:v>
                </c:pt>
                <c:pt idx="9061">
                  <c:v>91.8</c:v>
                </c:pt>
                <c:pt idx="9062">
                  <c:v>93.9</c:v>
                </c:pt>
                <c:pt idx="9063">
                  <c:v>94.1</c:v>
                </c:pt>
                <c:pt idx="9064">
                  <c:v>93.4</c:v>
                </c:pt>
                <c:pt idx="9065">
                  <c:v>92.5</c:v>
                </c:pt>
                <c:pt idx="9066">
                  <c:v>93.9</c:v>
                </c:pt>
                <c:pt idx="9067">
                  <c:v>94.6</c:v>
                </c:pt>
                <c:pt idx="9068">
                  <c:v>96.1</c:v>
                </c:pt>
                <c:pt idx="9069">
                  <c:v>94.6</c:v>
                </c:pt>
                <c:pt idx="9070">
                  <c:v>94.5</c:v>
                </c:pt>
                <c:pt idx="9071">
                  <c:v>95.5</c:v>
                </c:pt>
                <c:pt idx="9072">
                  <c:v>97.5</c:v>
                </c:pt>
                <c:pt idx="9073">
                  <c:v>96.4</c:v>
                </c:pt>
                <c:pt idx="9074">
                  <c:v>97.7</c:v>
                </c:pt>
                <c:pt idx="9075">
                  <c:v>97.2</c:v>
                </c:pt>
                <c:pt idx="9076">
                  <c:v>98.2</c:v>
                </c:pt>
                <c:pt idx="9077">
                  <c:v>97.2</c:v>
                </c:pt>
                <c:pt idx="9078">
                  <c:v>95.2</c:v>
                </c:pt>
                <c:pt idx="9079">
                  <c:v>93.9</c:v>
                </c:pt>
                <c:pt idx="9080">
                  <c:v>92.8</c:v>
                </c:pt>
                <c:pt idx="9081">
                  <c:v>92.3</c:v>
                </c:pt>
                <c:pt idx="9082">
                  <c:v>91.8</c:v>
                </c:pt>
                <c:pt idx="9083">
                  <c:v>91.2</c:v>
                </c:pt>
                <c:pt idx="9084">
                  <c:v>90.5</c:v>
                </c:pt>
                <c:pt idx="9085">
                  <c:v>89.8</c:v>
                </c:pt>
                <c:pt idx="9086">
                  <c:v>88.9</c:v>
                </c:pt>
                <c:pt idx="9087">
                  <c:v>88</c:v>
                </c:pt>
                <c:pt idx="9088">
                  <c:v>86.7</c:v>
                </c:pt>
                <c:pt idx="9089">
                  <c:v>86</c:v>
                </c:pt>
                <c:pt idx="9090">
                  <c:v>85.1</c:v>
                </c:pt>
                <c:pt idx="9091">
                  <c:v>84.6</c:v>
                </c:pt>
                <c:pt idx="9092">
                  <c:v>84</c:v>
                </c:pt>
                <c:pt idx="9093">
                  <c:v>83.7</c:v>
                </c:pt>
                <c:pt idx="9094">
                  <c:v>83.1</c:v>
                </c:pt>
                <c:pt idx="9095">
                  <c:v>82.6</c:v>
                </c:pt>
                <c:pt idx="9096">
                  <c:v>82.4</c:v>
                </c:pt>
                <c:pt idx="9097">
                  <c:v>82.4</c:v>
                </c:pt>
                <c:pt idx="9098">
                  <c:v>82.4</c:v>
                </c:pt>
                <c:pt idx="9099">
                  <c:v>82.4</c:v>
                </c:pt>
                <c:pt idx="9100">
                  <c:v>82.4</c:v>
                </c:pt>
                <c:pt idx="9101">
                  <c:v>82.4</c:v>
                </c:pt>
                <c:pt idx="9102">
                  <c:v>82.4</c:v>
                </c:pt>
                <c:pt idx="9103">
                  <c:v>82.4</c:v>
                </c:pt>
                <c:pt idx="9104">
                  <c:v>82.4</c:v>
                </c:pt>
                <c:pt idx="9105">
                  <c:v>82.4</c:v>
                </c:pt>
                <c:pt idx="9106">
                  <c:v>82.4</c:v>
                </c:pt>
                <c:pt idx="9107">
                  <c:v>82.4</c:v>
                </c:pt>
                <c:pt idx="9108">
                  <c:v>82.4</c:v>
                </c:pt>
                <c:pt idx="9109">
                  <c:v>82.4</c:v>
                </c:pt>
                <c:pt idx="9110">
                  <c:v>82.4</c:v>
                </c:pt>
                <c:pt idx="9111">
                  <c:v>82.4</c:v>
                </c:pt>
                <c:pt idx="9112">
                  <c:v>78.8</c:v>
                </c:pt>
                <c:pt idx="9113">
                  <c:v>79.5</c:v>
                </c:pt>
                <c:pt idx="9114">
                  <c:v>78.3</c:v>
                </c:pt>
                <c:pt idx="9115">
                  <c:v>77.7</c:v>
                </c:pt>
                <c:pt idx="9116">
                  <c:v>78.599999999999994</c:v>
                </c:pt>
                <c:pt idx="9117">
                  <c:v>77.900000000000006</c:v>
                </c:pt>
                <c:pt idx="9118">
                  <c:v>77.400000000000006</c:v>
                </c:pt>
                <c:pt idx="9119">
                  <c:v>78.400000000000006</c:v>
                </c:pt>
                <c:pt idx="9120">
                  <c:v>77</c:v>
                </c:pt>
                <c:pt idx="9121">
                  <c:v>77</c:v>
                </c:pt>
                <c:pt idx="9122">
                  <c:v>77</c:v>
                </c:pt>
                <c:pt idx="9123">
                  <c:v>76.599999999999994</c:v>
                </c:pt>
                <c:pt idx="9124">
                  <c:v>77.900000000000006</c:v>
                </c:pt>
                <c:pt idx="9125">
                  <c:v>77.2</c:v>
                </c:pt>
                <c:pt idx="9126">
                  <c:v>76.8</c:v>
                </c:pt>
                <c:pt idx="9127">
                  <c:v>76.8</c:v>
                </c:pt>
                <c:pt idx="9128">
                  <c:v>77.5</c:v>
                </c:pt>
                <c:pt idx="9129">
                  <c:v>77</c:v>
                </c:pt>
                <c:pt idx="9130">
                  <c:v>77.7</c:v>
                </c:pt>
                <c:pt idx="9131">
                  <c:v>78.599999999999994</c:v>
                </c:pt>
                <c:pt idx="9132">
                  <c:v>78.400000000000006</c:v>
                </c:pt>
                <c:pt idx="9133">
                  <c:v>79.2</c:v>
                </c:pt>
                <c:pt idx="9134">
                  <c:v>80.2</c:v>
                </c:pt>
                <c:pt idx="9135">
                  <c:v>81.3</c:v>
                </c:pt>
                <c:pt idx="9136">
                  <c:v>82.6</c:v>
                </c:pt>
                <c:pt idx="9137">
                  <c:v>83.3</c:v>
                </c:pt>
                <c:pt idx="9138">
                  <c:v>84</c:v>
                </c:pt>
                <c:pt idx="9139">
                  <c:v>85.6</c:v>
                </c:pt>
                <c:pt idx="9140">
                  <c:v>85.8</c:v>
                </c:pt>
                <c:pt idx="9141">
                  <c:v>86.5</c:v>
                </c:pt>
                <c:pt idx="9142">
                  <c:v>86</c:v>
                </c:pt>
                <c:pt idx="9143">
                  <c:v>84.9</c:v>
                </c:pt>
                <c:pt idx="9144">
                  <c:v>84.7</c:v>
                </c:pt>
                <c:pt idx="9145">
                  <c:v>85.6</c:v>
                </c:pt>
                <c:pt idx="9146">
                  <c:v>85.8</c:v>
                </c:pt>
                <c:pt idx="9147">
                  <c:v>88.3</c:v>
                </c:pt>
                <c:pt idx="9148">
                  <c:v>90.3</c:v>
                </c:pt>
                <c:pt idx="9149">
                  <c:v>87.8</c:v>
                </c:pt>
                <c:pt idx="9150">
                  <c:v>85.8</c:v>
                </c:pt>
                <c:pt idx="9151">
                  <c:v>81.5</c:v>
                </c:pt>
                <c:pt idx="9152">
                  <c:v>81.099999999999994</c:v>
                </c:pt>
                <c:pt idx="9153">
                  <c:v>82.4</c:v>
                </c:pt>
                <c:pt idx="9154">
                  <c:v>85.8</c:v>
                </c:pt>
                <c:pt idx="9155">
                  <c:v>85.8</c:v>
                </c:pt>
                <c:pt idx="9156">
                  <c:v>88.9</c:v>
                </c:pt>
                <c:pt idx="9157">
                  <c:v>90.1</c:v>
                </c:pt>
                <c:pt idx="9158">
                  <c:v>90.5</c:v>
                </c:pt>
                <c:pt idx="9159">
                  <c:v>91.8</c:v>
                </c:pt>
                <c:pt idx="9160">
                  <c:v>93.6</c:v>
                </c:pt>
                <c:pt idx="9161">
                  <c:v>93.4</c:v>
                </c:pt>
                <c:pt idx="9162">
                  <c:v>92.8</c:v>
                </c:pt>
                <c:pt idx="9163">
                  <c:v>93</c:v>
                </c:pt>
                <c:pt idx="9164">
                  <c:v>92.3</c:v>
                </c:pt>
                <c:pt idx="9165">
                  <c:v>90.7</c:v>
                </c:pt>
                <c:pt idx="9166">
                  <c:v>91.8</c:v>
                </c:pt>
                <c:pt idx="9167">
                  <c:v>89.6</c:v>
                </c:pt>
                <c:pt idx="9168">
                  <c:v>86.2</c:v>
                </c:pt>
                <c:pt idx="9169">
                  <c:v>85.5</c:v>
                </c:pt>
                <c:pt idx="9170">
                  <c:v>85.3</c:v>
                </c:pt>
                <c:pt idx="9171">
                  <c:v>85.3</c:v>
                </c:pt>
                <c:pt idx="9172">
                  <c:v>84.9</c:v>
                </c:pt>
                <c:pt idx="9173">
                  <c:v>85.1</c:v>
                </c:pt>
                <c:pt idx="9174">
                  <c:v>85.3</c:v>
                </c:pt>
                <c:pt idx="9175">
                  <c:v>86.4</c:v>
                </c:pt>
                <c:pt idx="9176">
                  <c:v>85.3</c:v>
                </c:pt>
                <c:pt idx="9177">
                  <c:v>87.4</c:v>
                </c:pt>
                <c:pt idx="9178">
                  <c:v>86.5</c:v>
                </c:pt>
                <c:pt idx="9179">
                  <c:v>85.3</c:v>
                </c:pt>
                <c:pt idx="9180">
                  <c:v>83.5</c:v>
                </c:pt>
                <c:pt idx="9181">
                  <c:v>82.6</c:v>
                </c:pt>
                <c:pt idx="9182">
                  <c:v>82.9</c:v>
                </c:pt>
                <c:pt idx="9183">
                  <c:v>81.900000000000006</c:v>
                </c:pt>
                <c:pt idx="9184">
                  <c:v>81.7</c:v>
                </c:pt>
                <c:pt idx="9185">
                  <c:v>80.400000000000006</c:v>
                </c:pt>
                <c:pt idx="9186">
                  <c:v>81</c:v>
                </c:pt>
                <c:pt idx="9187">
                  <c:v>81</c:v>
                </c:pt>
                <c:pt idx="9188">
                  <c:v>80.2</c:v>
                </c:pt>
                <c:pt idx="9189">
                  <c:v>80.099999999999994</c:v>
                </c:pt>
                <c:pt idx="9190">
                  <c:v>80.099999999999994</c:v>
                </c:pt>
                <c:pt idx="9191">
                  <c:v>79.2</c:v>
                </c:pt>
                <c:pt idx="9192">
                  <c:v>79.3</c:v>
                </c:pt>
                <c:pt idx="9193">
                  <c:v>78.599999999999994</c:v>
                </c:pt>
                <c:pt idx="9194">
                  <c:v>78.099999999999994</c:v>
                </c:pt>
                <c:pt idx="9195">
                  <c:v>77.400000000000006</c:v>
                </c:pt>
                <c:pt idx="9196">
                  <c:v>76.8</c:v>
                </c:pt>
                <c:pt idx="9197">
                  <c:v>76.8</c:v>
                </c:pt>
                <c:pt idx="9198">
                  <c:v>76.3</c:v>
                </c:pt>
                <c:pt idx="9199">
                  <c:v>75.900000000000006</c:v>
                </c:pt>
                <c:pt idx="9200">
                  <c:v>75.599999999999994</c:v>
                </c:pt>
                <c:pt idx="9201">
                  <c:v>75.599999999999994</c:v>
                </c:pt>
                <c:pt idx="9202">
                  <c:v>76.3</c:v>
                </c:pt>
                <c:pt idx="9203">
                  <c:v>75.900000000000006</c:v>
                </c:pt>
                <c:pt idx="9204">
                  <c:v>76.099999999999994</c:v>
                </c:pt>
                <c:pt idx="9205">
                  <c:v>75.400000000000006</c:v>
                </c:pt>
                <c:pt idx="9206">
                  <c:v>75.900000000000006</c:v>
                </c:pt>
                <c:pt idx="9207">
                  <c:v>75.7</c:v>
                </c:pt>
                <c:pt idx="9208">
                  <c:v>74.7</c:v>
                </c:pt>
                <c:pt idx="9209">
                  <c:v>75</c:v>
                </c:pt>
                <c:pt idx="9210">
                  <c:v>74.099999999999994</c:v>
                </c:pt>
                <c:pt idx="9211">
                  <c:v>75</c:v>
                </c:pt>
                <c:pt idx="9212">
                  <c:v>74.7</c:v>
                </c:pt>
                <c:pt idx="9213">
                  <c:v>75.2</c:v>
                </c:pt>
                <c:pt idx="9214">
                  <c:v>75</c:v>
                </c:pt>
                <c:pt idx="9215">
                  <c:v>75.2</c:v>
                </c:pt>
                <c:pt idx="9216">
                  <c:v>74.8</c:v>
                </c:pt>
                <c:pt idx="9217">
                  <c:v>73.900000000000006</c:v>
                </c:pt>
                <c:pt idx="9218">
                  <c:v>74.3</c:v>
                </c:pt>
                <c:pt idx="9219">
                  <c:v>73.900000000000006</c:v>
                </c:pt>
                <c:pt idx="9220">
                  <c:v>73.900000000000006</c:v>
                </c:pt>
                <c:pt idx="9221">
                  <c:v>74.8</c:v>
                </c:pt>
                <c:pt idx="9222">
                  <c:v>73.8</c:v>
                </c:pt>
                <c:pt idx="9223">
                  <c:v>74.7</c:v>
                </c:pt>
                <c:pt idx="9224">
                  <c:v>75.400000000000006</c:v>
                </c:pt>
                <c:pt idx="9225">
                  <c:v>75.2</c:v>
                </c:pt>
                <c:pt idx="9226">
                  <c:v>74.8</c:v>
                </c:pt>
                <c:pt idx="9227">
                  <c:v>75.900000000000006</c:v>
                </c:pt>
                <c:pt idx="9228">
                  <c:v>76.8</c:v>
                </c:pt>
                <c:pt idx="9229">
                  <c:v>77.400000000000006</c:v>
                </c:pt>
                <c:pt idx="9230">
                  <c:v>77.900000000000006</c:v>
                </c:pt>
                <c:pt idx="9231">
                  <c:v>79.3</c:v>
                </c:pt>
                <c:pt idx="9232">
                  <c:v>79.3</c:v>
                </c:pt>
                <c:pt idx="9233">
                  <c:v>80.099999999999994</c:v>
                </c:pt>
                <c:pt idx="9234">
                  <c:v>80.8</c:v>
                </c:pt>
                <c:pt idx="9235">
                  <c:v>79.7</c:v>
                </c:pt>
                <c:pt idx="9236">
                  <c:v>79.7</c:v>
                </c:pt>
                <c:pt idx="9237">
                  <c:v>79.2</c:v>
                </c:pt>
                <c:pt idx="9238">
                  <c:v>78.8</c:v>
                </c:pt>
                <c:pt idx="9239">
                  <c:v>79</c:v>
                </c:pt>
                <c:pt idx="9240">
                  <c:v>79.2</c:v>
                </c:pt>
                <c:pt idx="9241">
                  <c:v>81</c:v>
                </c:pt>
                <c:pt idx="9242">
                  <c:v>84</c:v>
                </c:pt>
                <c:pt idx="9243">
                  <c:v>84.9</c:v>
                </c:pt>
                <c:pt idx="9244">
                  <c:v>86.2</c:v>
                </c:pt>
                <c:pt idx="9245">
                  <c:v>88</c:v>
                </c:pt>
                <c:pt idx="9246">
                  <c:v>88</c:v>
                </c:pt>
                <c:pt idx="9247">
                  <c:v>89.4</c:v>
                </c:pt>
                <c:pt idx="9248">
                  <c:v>90.9</c:v>
                </c:pt>
                <c:pt idx="9249">
                  <c:v>92.1</c:v>
                </c:pt>
                <c:pt idx="9250">
                  <c:v>91.2</c:v>
                </c:pt>
                <c:pt idx="9251">
                  <c:v>92.5</c:v>
                </c:pt>
                <c:pt idx="9252">
                  <c:v>92.5</c:v>
                </c:pt>
                <c:pt idx="9253">
                  <c:v>94.6</c:v>
                </c:pt>
                <c:pt idx="9254">
                  <c:v>94.6</c:v>
                </c:pt>
                <c:pt idx="9255">
                  <c:v>93</c:v>
                </c:pt>
                <c:pt idx="9256">
                  <c:v>92.7</c:v>
                </c:pt>
                <c:pt idx="9257">
                  <c:v>92.8</c:v>
                </c:pt>
                <c:pt idx="9258">
                  <c:v>91.6</c:v>
                </c:pt>
                <c:pt idx="9259">
                  <c:v>92.3</c:v>
                </c:pt>
                <c:pt idx="9260">
                  <c:v>91.2</c:v>
                </c:pt>
                <c:pt idx="9261">
                  <c:v>94.3</c:v>
                </c:pt>
                <c:pt idx="9262">
                  <c:v>93.9</c:v>
                </c:pt>
                <c:pt idx="9263">
                  <c:v>92.1</c:v>
                </c:pt>
                <c:pt idx="9264">
                  <c:v>93.6</c:v>
                </c:pt>
                <c:pt idx="9265">
                  <c:v>90.7</c:v>
                </c:pt>
                <c:pt idx="9266">
                  <c:v>88.5</c:v>
                </c:pt>
                <c:pt idx="9267">
                  <c:v>88.7</c:v>
                </c:pt>
                <c:pt idx="9268">
                  <c:v>90</c:v>
                </c:pt>
                <c:pt idx="9269">
                  <c:v>90</c:v>
                </c:pt>
                <c:pt idx="9270">
                  <c:v>89.1</c:v>
                </c:pt>
                <c:pt idx="9271">
                  <c:v>89.1</c:v>
                </c:pt>
                <c:pt idx="9272">
                  <c:v>86.7</c:v>
                </c:pt>
                <c:pt idx="9273">
                  <c:v>85.1</c:v>
                </c:pt>
                <c:pt idx="9274">
                  <c:v>83.7</c:v>
                </c:pt>
                <c:pt idx="9275">
                  <c:v>83.1</c:v>
                </c:pt>
                <c:pt idx="9276">
                  <c:v>82.6</c:v>
                </c:pt>
                <c:pt idx="9277">
                  <c:v>81.900000000000006</c:v>
                </c:pt>
                <c:pt idx="9278">
                  <c:v>81.3</c:v>
                </c:pt>
                <c:pt idx="9279">
                  <c:v>80.2</c:v>
                </c:pt>
                <c:pt idx="9280">
                  <c:v>79</c:v>
                </c:pt>
                <c:pt idx="9281">
                  <c:v>77.2</c:v>
                </c:pt>
                <c:pt idx="9282">
                  <c:v>76.099999999999994</c:v>
                </c:pt>
                <c:pt idx="9283">
                  <c:v>75.2</c:v>
                </c:pt>
                <c:pt idx="9284">
                  <c:v>74.8</c:v>
                </c:pt>
                <c:pt idx="9285">
                  <c:v>74.8</c:v>
                </c:pt>
                <c:pt idx="9286">
                  <c:v>75.900000000000006</c:v>
                </c:pt>
                <c:pt idx="9287">
                  <c:v>76.599999999999994</c:v>
                </c:pt>
                <c:pt idx="9288">
                  <c:v>76.599999999999994</c:v>
                </c:pt>
                <c:pt idx="9289">
                  <c:v>76.599999999999994</c:v>
                </c:pt>
                <c:pt idx="9290">
                  <c:v>76.599999999999994</c:v>
                </c:pt>
                <c:pt idx="9291">
                  <c:v>76.599999999999994</c:v>
                </c:pt>
                <c:pt idx="9292">
                  <c:v>76.599999999999994</c:v>
                </c:pt>
                <c:pt idx="9293">
                  <c:v>76.599999999999994</c:v>
                </c:pt>
                <c:pt idx="9294">
                  <c:v>76.599999999999994</c:v>
                </c:pt>
                <c:pt idx="9295">
                  <c:v>76.599999999999994</c:v>
                </c:pt>
                <c:pt idx="9296">
                  <c:v>76.599999999999994</c:v>
                </c:pt>
                <c:pt idx="9297">
                  <c:v>76.599999999999994</c:v>
                </c:pt>
                <c:pt idx="9298">
                  <c:v>76.599999999999994</c:v>
                </c:pt>
                <c:pt idx="9299">
                  <c:v>76.599999999999994</c:v>
                </c:pt>
                <c:pt idx="9300">
                  <c:v>76.599999999999994</c:v>
                </c:pt>
                <c:pt idx="9301">
                  <c:v>76.599999999999994</c:v>
                </c:pt>
                <c:pt idx="9302">
                  <c:v>76.599999999999994</c:v>
                </c:pt>
                <c:pt idx="9303">
                  <c:v>73.599999999999994</c:v>
                </c:pt>
                <c:pt idx="9304">
                  <c:v>74.7</c:v>
                </c:pt>
                <c:pt idx="9305">
                  <c:v>73.900000000000006</c:v>
                </c:pt>
                <c:pt idx="9306">
                  <c:v>73.8</c:v>
                </c:pt>
                <c:pt idx="9307">
                  <c:v>74.5</c:v>
                </c:pt>
                <c:pt idx="9308">
                  <c:v>74.8</c:v>
                </c:pt>
                <c:pt idx="9309">
                  <c:v>74.3</c:v>
                </c:pt>
                <c:pt idx="9310">
                  <c:v>74.5</c:v>
                </c:pt>
                <c:pt idx="9311">
                  <c:v>74.7</c:v>
                </c:pt>
                <c:pt idx="9312">
                  <c:v>76.3</c:v>
                </c:pt>
                <c:pt idx="9313">
                  <c:v>75.2</c:v>
                </c:pt>
                <c:pt idx="9314">
                  <c:v>75.400000000000006</c:v>
                </c:pt>
                <c:pt idx="9315">
                  <c:v>75.900000000000006</c:v>
                </c:pt>
                <c:pt idx="9316">
                  <c:v>75.900000000000006</c:v>
                </c:pt>
                <c:pt idx="9317">
                  <c:v>75.900000000000006</c:v>
                </c:pt>
                <c:pt idx="9318">
                  <c:v>76.8</c:v>
                </c:pt>
                <c:pt idx="9319">
                  <c:v>76.3</c:v>
                </c:pt>
                <c:pt idx="9320">
                  <c:v>76.099999999999994</c:v>
                </c:pt>
                <c:pt idx="9321">
                  <c:v>76.3</c:v>
                </c:pt>
                <c:pt idx="9322">
                  <c:v>76.5</c:v>
                </c:pt>
                <c:pt idx="9323">
                  <c:v>77.400000000000006</c:v>
                </c:pt>
                <c:pt idx="9324">
                  <c:v>77.5</c:v>
                </c:pt>
                <c:pt idx="9325">
                  <c:v>78.099999999999994</c:v>
                </c:pt>
                <c:pt idx="9326">
                  <c:v>79.3</c:v>
                </c:pt>
                <c:pt idx="9327">
                  <c:v>79.3</c:v>
                </c:pt>
                <c:pt idx="9328">
                  <c:v>79</c:v>
                </c:pt>
                <c:pt idx="9329">
                  <c:v>81</c:v>
                </c:pt>
                <c:pt idx="9330">
                  <c:v>82.4</c:v>
                </c:pt>
                <c:pt idx="9331">
                  <c:v>81.7</c:v>
                </c:pt>
                <c:pt idx="9332">
                  <c:v>82.8</c:v>
                </c:pt>
                <c:pt idx="9333">
                  <c:v>82.8</c:v>
                </c:pt>
                <c:pt idx="9334">
                  <c:v>81.7</c:v>
                </c:pt>
                <c:pt idx="9335">
                  <c:v>83.1</c:v>
                </c:pt>
                <c:pt idx="9336">
                  <c:v>85.5</c:v>
                </c:pt>
                <c:pt idx="9337">
                  <c:v>87.4</c:v>
                </c:pt>
                <c:pt idx="9338">
                  <c:v>88</c:v>
                </c:pt>
                <c:pt idx="9339">
                  <c:v>88</c:v>
                </c:pt>
                <c:pt idx="9340">
                  <c:v>89.4</c:v>
                </c:pt>
                <c:pt idx="9341">
                  <c:v>90</c:v>
                </c:pt>
                <c:pt idx="9342">
                  <c:v>90.9</c:v>
                </c:pt>
                <c:pt idx="9343">
                  <c:v>92.1</c:v>
                </c:pt>
                <c:pt idx="9344">
                  <c:v>92.1</c:v>
                </c:pt>
                <c:pt idx="9345">
                  <c:v>93.2</c:v>
                </c:pt>
                <c:pt idx="9346">
                  <c:v>92.5</c:v>
                </c:pt>
                <c:pt idx="9347">
                  <c:v>93.4</c:v>
                </c:pt>
                <c:pt idx="9348">
                  <c:v>93.6</c:v>
                </c:pt>
                <c:pt idx="9349">
                  <c:v>93.9</c:v>
                </c:pt>
                <c:pt idx="9350">
                  <c:v>94.6</c:v>
                </c:pt>
                <c:pt idx="9351">
                  <c:v>94.1</c:v>
                </c:pt>
                <c:pt idx="9352">
                  <c:v>95.2</c:v>
                </c:pt>
                <c:pt idx="9353">
                  <c:v>96.4</c:v>
                </c:pt>
                <c:pt idx="9354">
                  <c:v>92.8</c:v>
                </c:pt>
                <c:pt idx="9355">
                  <c:v>94.3</c:v>
                </c:pt>
                <c:pt idx="9356">
                  <c:v>93.6</c:v>
                </c:pt>
                <c:pt idx="9357">
                  <c:v>95.4</c:v>
                </c:pt>
                <c:pt idx="9358">
                  <c:v>94.6</c:v>
                </c:pt>
                <c:pt idx="9359">
                  <c:v>94.1</c:v>
                </c:pt>
                <c:pt idx="9360">
                  <c:v>94.8</c:v>
                </c:pt>
                <c:pt idx="9361">
                  <c:v>95</c:v>
                </c:pt>
                <c:pt idx="9362">
                  <c:v>96.4</c:v>
                </c:pt>
                <c:pt idx="9363">
                  <c:v>96.6</c:v>
                </c:pt>
                <c:pt idx="9364">
                  <c:v>94.5</c:v>
                </c:pt>
                <c:pt idx="9365">
                  <c:v>95.9</c:v>
                </c:pt>
                <c:pt idx="9366">
                  <c:v>96.4</c:v>
                </c:pt>
                <c:pt idx="9367">
                  <c:v>95.4</c:v>
                </c:pt>
                <c:pt idx="9368">
                  <c:v>94.1</c:v>
                </c:pt>
                <c:pt idx="9369">
                  <c:v>93.4</c:v>
                </c:pt>
                <c:pt idx="9370">
                  <c:v>92.8</c:v>
                </c:pt>
                <c:pt idx="9371">
                  <c:v>92.5</c:v>
                </c:pt>
                <c:pt idx="9372">
                  <c:v>91.4</c:v>
                </c:pt>
                <c:pt idx="9373">
                  <c:v>90</c:v>
                </c:pt>
                <c:pt idx="9374">
                  <c:v>88.5</c:v>
                </c:pt>
                <c:pt idx="9375">
                  <c:v>87.1</c:v>
                </c:pt>
                <c:pt idx="9376">
                  <c:v>85.5</c:v>
                </c:pt>
                <c:pt idx="9377">
                  <c:v>84.2</c:v>
                </c:pt>
                <c:pt idx="9378">
                  <c:v>83.1</c:v>
                </c:pt>
                <c:pt idx="9379">
                  <c:v>82.2</c:v>
                </c:pt>
                <c:pt idx="9380">
                  <c:v>82.2</c:v>
                </c:pt>
                <c:pt idx="9381">
                  <c:v>82</c:v>
                </c:pt>
                <c:pt idx="9382">
                  <c:v>82.2</c:v>
                </c:pt>
                <c:pt idx="9383">
                  <c:v>82.6</c:v>
                </c:pt>
                <c:pt idx="9384">
                  <c:v>82.8</c:v>
                </c:pt>
                <c:pt idx="9385">
                  <c:v>82.8</c:v>
                </c:pt>
                <c:pt idx="9386">
                  <c:v>82.8</c:v>
                </c:pt>
                <c:pt idx="9387">
                  <c:v>82.8</c:v>
                </c:pt>
                <c:pt idx="9388">
                  <c:v>82.8</c:v>
                </c:pt>
                <c:pt idx="9389">
                  <c:v>82.8</c:v>
                </c:pt>
                <c:pt idx="9390">
                  <c:v>82.8</c:v>
                </c:pt>
                <c:pt idx="9391">
                  <c:v>82.8</c:v>
                </c:pt>
                <c:pt idx="9392">
                  <c:v>82.8</c:v>
                </c:pt>
                <c:pt idx="9393">
                  <c:v>82.8</c:v>
                </c:pt>
                <c:pt idx="9394">
                  <c:v>82.8</c:v>
                </c:pt>
                <c:pt idx="9395">
                  <c:v>82.8</c:v>
                </c:pt>
                <c:pt idx="9396">
                  <c:v>82.8</c:v>
                </c:pt>
                <c:pt idx="9397">
                  <c:v>82.8</c:v>
                </c:pt>
                <c:pt idx="9398">
                  <c:v>82.8</c:v>
                </c:pt>
                <c:pt idx="9399">
                  <c:v>82.8</c:v>
                </c:pt>
                <c:pt idx="9400">
                  <c:v>79.7</c:v>
                </c:pt>
                <c:pt idx="9401">
                  <c:v>79</c:v>
                </c:pt>
                <c:pt idx="9402">
                  <c:v>80.2</c:v>
                </c:pt>
                <c:pt idx="9403">
                  <c:v>79.2</c:v>
                </c:pt>
                <c:pt idx="9404">
                  <c:v>78.400000000000006</c:v>
                </c:pt>
                <c:pt idx="9405">
                  <c:v>78.400000000000006</c:v>
                </c:pt>
                <c:pt idx="9406">
                  <c:v>78.599999999999994</c:v>
                </c:pt>
                <c:pt idx="9407">
                  <c:v>79.7</c:v>
                </c:pt>
                <c:pt idx="9408">
                  <c:v>78.400000000000006</c:v>
                </c:pt>
                <c:pt idx="9409">
                  <c:v>77.900000000000006</c:v>
                </c:pt>
                <c:pt idx="9410">
                  <c:v>77.900000000000006</c:v>
                </c:pt>
                <c:pt idx="9411">
                  <c:v>78.3</c:v>
                </c:pt>
                <c:pt idx="9412">
                  <c:v>77.7</c:v>
                </c:pt>
                <c:pt idx="9413">
                  <c:v>77.400000000000006</c:v>
                </c:pt>
                <c:pt idx="9414">
                  <c:v>76.599999999999994</c:v>
                </c:pt>
                <c:pt idx="9415">
                  <c:v>77.400000000000006</c:v>
                </c:pt>
                <c:pt idx="9416">
                  <c:v>77.5</c:v>
                </c:pt>
                <c:pt idx="9417">
                  <c:v>77.2</c:v>
                </c:pt>
                <c:pt idx="9418">
                  <c:v>77</c:v>
                </c:pt>
                <c:pt idx="9419">
                  <c:v>77</c:v>
                </c:pt>
                <c:pt idx="9420">
                  <c:v>77.5</c:v>
                </c:pt>
                <c:pt idx="9421">
                  <c:v>79.3</c:v>
                </c:pt>
                <c:pt idx="9422">
                  <c:v>80.8</c:v>
                </c:pt>
                <c:pt idx="9423">
                  <c:v>82.2</c:v>
                </c:pt>
                <c:pt idx="9424">
                  <c:v>83.7</c:v>
                </c:pt>
                <c:pt idx="9425">
                  <c:v>84.6</c:v>
                </c:pt>
                <c:pt idx="9426">
                  <c:v>85.3</c:v>
                </c:pt>
                <c:pt idx="9427">
                  <c:v>85.5</c:v>
                </c:pt>
                <c:pt idx="9428">
                  <c:v>86</c:v>
                </c:pt>
                <c:pt idx="9429">
                  <c:v>85.3</c:v>
                </c:pt>
                <c:pt idx="9430">
                  <c:v>86.5</c:v>
                </c:pt>
                <c:pt idx="9431">
                  <c:v>88.9</c:v>
                </c:pt>
                <c:pt idx="9432">
                  <c:v>88.9</c:v>
                </c:pt>
                <c:pt idx="9433">
                  <c:v>88.9</c:v>
                </c:pt>
                <c:pt idx="9434">
                  <c:v>90.1</c:v>
                </c:pt>
                <c:pt idx="9435">
                  <c:v>91.2</c:v>
                </c:pt>
                <c:pt idx="9436">
                  <c:v>90.5</c:v>
                </c:pt>
                <c:pt idx="9437">
                  <c:v>93.6</c:v>
                </c:pt>
                <c:pt idx="9438">
                  <c:v>93.4</c:v>
                </c:pt>
                <c:pt idx="9439">
                  <c:v>93.2</c:v>
                </c:pt>
                <c:pt idx="9440">
                  <c:v>93.9</c:v>
                </c:pt>
                <c:pt idx="9441">
                  <c:v>94.5</c:v>
                </c:pt>
                <c:pt idx="9442">
                  <c:v>94.1</c:v>
                </c:pt>
                <c:pt idx="9443">
                  <c:v>94.8</c:v>
                </c:pt>
                <c:pt idx="9444">
                  <c:v>94.3</c:v>
                </c:pt>
                <c:pt idx="9445">
                  <c:v>96.8</c:v>
                </c:pt>
                <c:pt idx="9446">
                  <c:v>95</c:v>
                </c:pt>
                <c:pt idx="9447">
                  <c:v>97.2</c:v>
                </c:pt>
                <c:pt idx="9448">
                  <c:v>96.1</c:v>
                </c:pt>
                <c:pt idx="9449">
                  <c:v>94.5</c:v>
                </c:pt>
                <c:pt idx="9450">
                  <c:v>95.5</c:v>
                </c:pt>
                <c:pt idx="9451">
                  <c:v>95.5</c:v>
                </c:pt>
                <c:pt idx="9452">
                  <c:v>98.1</c:v>
                </c:pt>
                <c:pt idx="9453">
                  <c:v>98.4</c:v>
                </c:pt>
                <c:pt idx="9454">
                  <c:v>95</c:v>
                </c:pt>
                <c:pt idx="9455">
                  <c:v>95</c:v>
                </c:pt>
                <c:pt idx="9456">
                  <c:v>95.5</c:v>
                </c:pt>
                <c:pt idx="9457">
                  <c:v>94.3</c:v>
                </c:pt>
                <c:pt idx="9458">
                  <c:v>97.9</c:v>
                </c:pt>
                <c:pt idx="9459">
                  <c:v>95.4</c:v>
                </c:pt>
                <c:pt idx="9460">
                  <c:v>95.5</c:v>
                </c:pt>
                <c:pt idx="9461">
                  <c:v>97.2</c:v>
                </c:pt>
                <c:pt idx="9462">
                  <c:v>96.4</c:v>
                </c:pt>
                <c:pt idx="9463">
                  <c:v>96.1</c:v>
                </c:pt>
                <c:pt idx="9464">
                  <c:v>95.7</c:v>
                </c:pt>
                <c:pt idx="9465">
                  <c:v>94.8</c:v>
                </c:pt>
                <c:pt idx="9466">
                  <c:v>93.6</c:v>
                </c:pt>
                <c:pt idx="9467">
                  <c:v>92.8</c:v>
                </c:pt>
                <c:pt idx="9468">
                  <c:v>91.8</c:v>
                </c:pt>
                <c:pt idx="9469">
                  <c:v>90.7</c:v>
                </c:pt>
                <c:pt idx="9470">
                  <c:v>89.6</c:v>
                </c:pt>
                <c:pt idx="9471">
                  <c:v>88</c:v>
                </c:pt>
                <c:pt idx="9472">
                  <c:v>86.4</c:v>
                </c:pt>
                <c:pt idx="9473">
                  <c:v>84.7</c:v>
                </c:pt>
                <c:pt idx="9474">
                  <c:v>83.5</c:v>
                </c:pt>
                <c:pt idx="9475">
                  <c:v>82.2</c:v>
                </c:pt>
                <c:pt idx="9476">
                  <c:v>80.8</c:v>
                </c:pt>
                <c:pt idx="9477">
                  <c:v>79.900000000000006</c:v>
                </c:pt>
                <c:pt idx="9478">
                  <c:v>82.4</c:v>
                </c:pt>
                <c:pt idx="9479">
                  <c:v>81.5</c:v>
                </c:pt>
                <c:pt idx="9480">
                  <c:v>80.8</c:v>
                </c:pt>
                <c:pt idx="9481">
                  <c:v>80.8</c:v>
                </c:pt>
                <c:pt idx="9482">
                  <c:v>80.099999999999994</c:v>
                </c:pt>
                <c:pt idx="9483">
                  <c:v>79.900000000000006</c:v>
                </c:pt>
                <c:pt idx="9484">
                  <c:v>78.400000000000006</c:v>
                </c:pt>
                <c:pt idx="9485">
                  <c:v>79.2</c:v>
                </c:pt>
                <c:pt idx="9486">
                  <c:v>79.5</c:v>
                </c:pt>
                <c:pt idx="9487">
                  <c:v>79.5</c:v>
                </c:pt>
                <c:pt idx="9488">
                  <c:v>79.5</c:v>
                </c:pt>
                <c:pt idx="9489">
                  <c:v>79.5</c:v>
                </c:pt>
                <c:pt idx="9490">
                  <c:v>79.5</c:v>
                </c:pt>
                <c:pt idx="9491">
                  <c:v>79.5</c:v>
                </c:pt>
                <c:pt idx="9492">
                  <c:v>79.5</c:v>
                </c:pt>
                <c:pt idx="9493">
                  <c:v>79.5</c:v>
                </c:pt>
                <c:pt idx="9494">
                  <c:v>75.900000000000006</c:v>
                </c:pt>
                <c:pt idx="9495">
                  <c:v>75.900000000000006</c:v>
                </c:pt>
                <c:pt idx="9496">
                  <c:v>75.599999999999994</c:v>
                </c:pt>
                <c:pt idx="9497">
                  <c:v>75.7</c:v>
                </c:pt>
                <c:pt idx="9498">
                  <c:v>76.599999999999994</c:v>
                </c:pt>
                <c:pt idx="9499">
                  <c:v>75.900000000000006</c:v>
                </c:pt>
                <c:pt idx="9500">
                  <c:v>77.2</c:v>
                </c:pt>
                <c:pt idx="9501">
                  <c:v>75.7</c:v>
                </c:pt>
                <c:pt idx="9502">
                  <c:v>75.599999999999994</c:v>
                </c:pt>
                <c:pt idx="9503">
                  <c:v>76.099999999999994</c:v>
                </c:pt>
                <c:pt idx="9504">
                  <c:v>76.099999999999994</c:v>
                </c:pt>
                <c:pt idx="9505">
                  <c:v>75.599999999999994</c:v>
                </c:pt>
                <c:pt idx="9506">
                  <c:v>75.599999999999994</c:v>
                </c:pt>
                <c:pt idx="9507">
                  <c:v>75.599999999999994</c:v>
                </c:pt>
                <c:pt idx="9508">
                  <c:v>77</c:v>
                </c:pt>
                <c:pt idx="9509">
                  <c:v>75.2</c:v>
                </c:pt>
                <c:pt idx="9510">
                  <c:v>76.3</c:v>
                </c:pt>
                <c:pt idx="9511">
                  <c:v>75.900000000000006</c:v>
                </c:pt>
                <c:pt idx="9512">
                  <c:v>75.2</c:v>
                </c:pt>
                <c:pt idx="9513">
                  <c:v>75.7</c:v>
                </c:pt>
                <c:pt idx="9514">
                  <c:v>77.400000000000006</c:v>
                </c:pt>
                <c:pt idx="9515">
                  <c:v>79.3</c:v>
                </c:pt>
                <c:pt idx="9516">
                  <c:v>81.099999999999994</c:v>
                </c:pt>
                <c:pt idx="9517">
                  <c:v>79.5</c:v>
                </c:pt>
                <c:pt idx="9518">
                  <c:v>82.4</c:v>
                </c:pt>
                <c:pt idx="9519">
                  <c:v>81.3</c:v>
                </c:pt>
                <c:pt idx="9520">
                  <c:v>81.099999999999994</c:v>
                </c:pt>
                <c:pt idx="9521">
                  <c:v>81.7</c:v>
                </c:pt>
                <c:pt idx="9522">
                  <c:v>84.7</c:v>
                </c:pt>
                <c:pt idx="9523">
                  <c:v>86.7</c:v>
                </c:pt>
                <c:pt idx="9524">
                  <c:v>89.8</c:v>
                </c:pt>
                <c:pt idx="9525">
                  <c:v>90</c:v>
                </c:pt>
                <c:pt idx="9526">
                  <c:v>90</c:v>
                </c:pt>
                <c:pt idx="9527">
                  <c:v>90</c:v>
                </c:pt>
                <c:pt idx="9528">
                  <c:v>90</c:v>
                </c:pt>
                <c:pt idx="9529">
                  <c:v>90</c:v>
                </c:pt>
                <c:pt idx="9530">
                  <c:v>90</c:v>
                </c:pt>
                <c:pt idx="9531">
                  <c:v>90</c:v>
                </c:pt>
                <c:pt idx="9532">
                  <c:v>90</c:v>
                </c:pt>
                <c:pt idx="9533">
                  <c:v>90</c:v>
                </c:pt>
                <c:pt idx="9534">
                  <c:v>90</c:v>
                </c:pt>
                <c:pt idx="9535">
                  <c:v>90</c:v>
                </c:pt>
                <c:pt idx="9536">
                  <c:v>90</c:v>
                </c:pt>
                <c:pt idx="9537">
                  <c:v>90</c:v>
                </c:pt>
                <c:pt idx="9538">
                  <c:v>90</c:v>
                </c:pt>
                <c:pt idx="9539">
                  <c:v>90</c:v>
                </c:pt>
                <c:pt idx="9540">
                  <c:v>90</c:v>
                </c:pt>
                <c:pt idx="9541">
                  <c:v>98.1</c:v>
                </c:pt>
                <c:pt idx="9542">
                  <c:v>97.2</c:v>
                </c:pt>
                <c:pt idx="9543">
                  <c:v>99.1</c:v>
                </c:pt>
                <c:pt idx="9544">
                  <c:v>99.7</c:v>
                </c:pt>
                <c:pt idx="9545">
                  <c:v>101.1</c:v>
                </c:pt>
                <c:pt idx="9546">
                  <c:v>96.6</c:v>
                </c:pt>
                <c:pt idx="9547">
                  <c:v>95</c:v>
                </c:pt>
                <c:pt idx="9548">
                  <c:v>83.8</c:v>
                </c:pt>
                <c:pt idx="9549">
                  <c:v>83.8</c:v>
                </c:pt>
                <c:pt idx="9550">
                  <c:v>74.8</c:v>
                </c:pt>
                <c:pt idx="9551">
                  <c:v>73.900000000000006</c:v>
                </c:pt>
                <c:pt idx="9552">
                  <c:v>76.5</c:v>
                </c:pt>
                <c:pt idx="9553">
                  <c:v>77.5</c:v>
                </c:pt>
                <c:pt idx="9554">
                  <c:v>79.3</c:v>
                </c:pt>
                <c:pt idx="9555">
                  <c:v>78.8</c:v>
                </c:pt>
                <c:pt idx="9556">
                  <c:v>79.3</c:v>
                </c:pt>
                <c:pt idx="9557">
                  <c:v>81.7</c:v>
                </c:pt>
                <c:pt idx="9558">
                  <c:v>80.2</c:v>
                </c:pt>
                <c:pt idx="9559">
                  <c:v>81.3</c:v>
                </c:pt>
                <c:pt idx="9560">
                  <c:v>82.4</c:v>
                </c:pt>
                <c:pt idx="9561">
                  <c:v>82</c:v>
                </c:pt>
                <c:pt idx="9562">
                  <c:v>80.599999999999994</c:v>
                </c:pt>
                <c:pt idx="9563">
                  <c:v>80.2</c:v>
                </c:pt>
                <c:pt idx="9564">
                  <c:v>80.599999999999994</c:v>
                </c:pt>
                <c:pt idx="9565">
                  <c:v>80.099999999999994</c:v>
                </c:pt>
                <c:pt idx="9566">
                  <c:v>76.099999999999994</c:v>
                </c:pt>
                <c:pt idx="9567">
                  <c:v>75.7</c:v>
                </c:pt>
                <c:pt idx="9568">
                  <c:v>75.7</c:v>
                </c:pt>
                <c:pt idx="9569">
                  <c:v>75.2</c:v>
                </c:pt>
                <c:pt idx="9570">
                  <c:v>74.8</c:v>
                </c:pt>
                <c:pt idx="9571">
                  <c:v>74.3</c:v>
                </c:pt>
                <c:pt idx="9572">
                  <c:v>73.8</c:v>
                </c:pt>
                <c:pt idx="9573">
                  <c:v>73.400000000000006</c:v>
                </c:pt>
                <c:pt idx="9574">
                  <c:v>73</c:v>
                </c:pt>
                <c:pt idx="9575">
                  <c:v>72.900000000000006</c:v>
                </c:pt>
                <c:pt idx="9576">
                  <c:v>72.5</c:v>
                </c:pt>
                <c:pt idx="9577">
                  <c:v>72.3</c:v>
                </c:pt>
                <c:pt idx="9578">
                  <c:v>72.3</c:v>
                </c:pt>
                <c:pt idx="9579">
                  <c:v>72.3</c:v>
                </c:pt>
                <c:pt idx="9580">
                  <c:v>72.3</c:v>
                </c:pt>
                <c:pt idx="9581">
                  <c:v>72.3</c:v>
                </c:pt>
                <c:pt idx="9582">
                  <c:v>72.3</c:v>
                </c:pt>
                <c:pt idx="9583">
                  <c:v>72.3</c:v>
                </c:pt>
                <c:pt idx="9584">
                  <c:v>72.3</c:v>
                </c:pt>
                <c:pt idx="9585">
                  <c:v>72.3</c:v>
                </c:pt>
                <c:pt idx="9586">
                  <c:v>72.3</c:v>
                </c:pt>
                <c:pt idx="9587">
                  <c:v>72.3</c:v>
                </c:pt>
                <c:pt idx="9588">
                  <c:v>72.3</c:v>
                </c:pt>
                <c:pt idx="9589">
                  <c:v>72.3</c:v>
                </c:pt>
                <c:pt idx="9590">
                  <c:v>72.3</c:v>
                </c:pt>
                <c:pt idx="9591">
                  <c:v>72.3</c:v>
                </c:pt>
                <c:pt idx="9592">
                  <c:v>72.3</c:v>
                </c:pt>
                <c:pt idx="9593">
                  <c:v>72.099999999999994</c:v>
                </c:pt>
                <c:pt idx="9594">
                  <c:v>71.599999999999994</c:v>
                </c:pt>
                <c:pt idx="9595">
                  <c:v>72.099999999999994</c:v>
                </c:pt>
                <c:pt idx="9596">
                  <c:v>72.099999999999994</c:v>
                </c:pt>
                <c:pt idx="9597">
                  <c:v>71.599999999999994</c:v>
                </c:pt>
                <c:pt idx="9598">
                  <c:v>71.099999999999994</c:v>
                </c:pt>
                <c:pt idx="9599">
                  <c:v>70.900000000000006</c:v>
                </c:pt>
                <c:pt idx="9600">
                  <c:v>70.5</c:v>
                </c:pt>
                <c:pt idx="9601">
                  <c:v>70.900000000000006</c:v>
                </c:pt>
                <c:pt idx="9602">
                  <c:v>70.3</c:v>
                </c:pt>
                <c:pt idx="9603">
                  <c:v>70.3</c:v>
                </c:pt>
                <c:pt idx="9604">
                  <c:v>70.5</c:v>
                </c:pt>
                <c:pt idx="9605">
                  <c:v>70.7</c:v>
                </c:pt>
                <c:pt idx="9606">
                  <c:v>70.7</c:v>
                </c:pt>
                <c:pt idx="9607">
                  <c:v>70.3</c:v>
                </c:pt>
                <c:pt idx="9608">
                  <c:v>70.3</c:v>
                </c:pt>
                <c:pt idx="9609">
                  <c:v>70</c:v>
                </c:pt>
                <c:pt idx="9610">
                  <c:v>70.3</c:v>
                </c:pt>
                <c:pt idx="9611">
                  <c:v>71.8</c:v>
                </c:pt>
                <c:pt idx="9612">
                  <c:v>72.099999999999994</c:v>
                </c:pt>
                <c:pt idx="9613">
                  <c:v>71.8</c:v>
                </c:pt>
                <c:pt idx="9614">
                  <c:v>72.7</c:v>
                </c:pt>
                <c:pt idx="9615">
                  <c:v>74.7</c:v>
                </c:pt>
                <c:pt idx="9616">
                  <c:v>75.900000000000006</c:v>
                </c:pt>
                <c:pt idx="9617">
                  <c:v>76.599999999999994</c:v>
                </c:pt>
                <c:pt idx="9618">
                  <c:v>77.2</c:v>
                </c:pt>
                <c:pt idx="9619">
                  <c:v>82.8</c:v>
                </c:pt>
                <c:pt idx="9620">
                  <c:v>81.099999999999994</c:v>
                </c:pt>
                <c:pt idx="9621">
                  <c:v>82</c:v>
                </c:pt>
                <c:pt idx="9622">
                  <c:v>84.6</c:v>
                </c:pt>
                <c:pt idx="9623">
                  <c:v>84.4</c:v>
                </c:pt>
                <c:pt idx="9624">
                  <c:v>86</c:v>
                </c:pt>
                <c:pt idx="9625">
                  <c:v>86.5</c:v>
                </c:pt>
                <c:pt idx="9626">
                  <c:v>85.6</c:v>
                </c:pt>
                <c:pt idx="9627">
                  <c:v>89.2</c:v>
                </c:pt>
                <c:pt idx="9628">
                  <c:v>89.2</c:v>
                </c:pt>
                <c:pt idx="9629">
                  <c:v>89.8</c:v>
                </c:pt>
                <c:pt idx="9630">
                  <c:v>91.2</c:v>
                </c:pt>
                <c:pt idx="9631">
                  <c:v>91.9</c:v>
                </c:pt>
                <c:pt idx="9632">
                  <c:v>90.3</c:v>
                </c:pt>
                <c:pt idx="9633">
                  <c:v>92.7</c:v>
                </c:pt>
                <c:pt idx="9634">
                  <c:v>93.4</c:v>
                </c:pt>
                <c:pt idx="9635">
                  <c:v>92.5</c:v>
                </c:pt>
                <c:pt idx="9636">
                  <c:v>94.1</c:v>
                </c:pt>
                <c:pt idx="9637">
                  <c:v>93.7</c:v>
                </c:pt>
                <c:pt idx="9638">
                  <c:v>96.3</c:v>
                </c:pt>
                <c:pt idx="9639">
                  <c:v>93.2</c:v>
                </c:pt>
                <c:pt idx="9640">
                  <c:v>95.7</c:v>
                </c:pt>
                <c:pt idx="9641">
                  <c:v>97.3</c:v>
                </c:pt>
                <c:pt idx="9642">
                  <c:v>93.7</c:v>
                </c:pt>
                <c:pt idx="9643">
                  <c:v>91</c:v>
                </c:pt>
                <c:pt idx="9644">
                  <c:v>93.6</c:v>
                </c:pt>
                <c:pt idx="9645">
                  <c:v>93.4</c:v>
                </c:pt>
                <c:pt idx="9646">
                  <c:v>92.7</c:v>
                </c:pt>
                <c:pt idx="9647">
                  <c:v>90.5</c:v>
                </c:pt>
                <c:pt idx="9648">
                  <c:v>89.1</c:v>
                </c:pt>
                <c:pt idx="9649">
                  <c:v>90.5</c:v>
                </c:pt>
                <c:pt idx="9650">
                  <c:v>86.2</c:v>
                </c:pt>
                <c:pt idx="9651">
                  <c:v>84.9</c:v>
                </c:pt>
                <c:pt idx="9652">
                  <c:v>84.6</c:v>
                </c:pt>
                <c:pt idx="9653">
                  <c:v>76.599999999999994</c:v>
                </c:pt>
                <c:pt idx="9654">
                  <c:v>75.400000000000006</c:v>
                </c:pt>
                <c:pt idx="9655">
                  <c:v>73.900000000000006</c:v>
                </c:pt>
                <c:pt idx="9656">
                  <c:v>73.599999999999994</c:v>
                </c:pt>
                <c:pt idx="9657">
                  <c:v>72.7</c:v>
                </c:pt>
                <c:pt idx="9658">
                  <c:v>71.8</c:v>
                </c:pt>
                <c:pt idx="9659">
                  <c:v>71.2</c:v>
                </c:pt>
                <c:pt idx="9660">
                  <c:v>71.400000000000006</c:v>
                </c:pt>
                <c:pt idx="9661">
                  <c:v>71.8</c:v>
                </c:pt>
                <c:pt idx="9662">
                  <c:v>72</c:v>
                </c:pt>
                <c:pt idx="9663">
                  <c:v>72</c:v>
                </c:pt>
                <c:pt idx="9664">
                  <c:v>72</c:v>
                </c:pt>
                <c:pt idx="9665">
                  <c:v>71.8</c:v>
                </c:pt>
                <c:pt idx="9666">
                  <c:v>71.599999999999994</c:v>
                </c:pt>
                <c:pt idx="9667">
                  <c:v>71.8</c:v>
                </c:pt>
                <c:pt idx="9668">
                  <c:v>72</c:v>
                </c:pt>
                <c:pt idx="9669">
                  <c:v>72</c:v>
                </c:pt>
                <c:pt idx="9670">
                  <c:v>72</c:v>
                </c:pt>
                <c:pt idx="9671">
                  <c:v>72</c:v>
                </c:pt>
                <c:pt idx="9672">
                  <c:v>72</c:v>
                </c:pt>
                <c:pt idx="9673">
                  <c:v>72</c:v>
                </c:pt>
                <c:pt idx="9674">
                  <c:v>72</c:v>
                </c:pt>
                <c:pt idx="9675">
                  <c:v>72</c:v>
                </c:pt>
                <c:pt idx="9676">
                  <c:v>72</c:v>
                </c:pt>
                <c:pt idx="9677">
                  <c:v>72</c:v>
                </c:pt>
                <c:pt idx="9678">
                  <c:v>72</c:v>
                </c:pt>
                <c:pt idx="9679">
                  <c:v>72</c:v>
                </c:pt>
                <c:pt idx="9680">
                  <c:v>72</c:v>
                </c:pt>
                <c:pt idx="9681">
                  <c:v>72</c:v>
                </c:pt>
                <c:pt idx="9682">
                  <c:v>72</c:v>
                </c:pt>
                <c:pt idx="9683">
                  <c:v>72</c:v>
                </c:pt>
                <c:pt idx="9684">
                  <c:v>72</c:v>
                </c:pt>
                <c:pt idx="9685">
                  <c:v>70</c:v>
                </c:pt>
                <c:pt idx="9686">
                  <c:v>70</c:v>
                </c:pt>
                <c:pt idx="9687">
                  <c:v>71.2</c:v>
                </c:pt>
                <c:pt idx="9688">
                  <c:v>70.3</c:v>
                </c:pt>
                <c:pt idx="9689">
                  <c:v>70</c:v>
                </c:pt>
                <c:pt idx="9690">
                  <c:v>70</c:v>
                </c:pt>
                <c:pt idx="9691">
                  <c:v>70</c:v>
                </c:pt>
                <c:pt idx="9692">
                  <c:v>70.2</c:v>
                </c:pt>
                <c:pt idx="9693">
                  <c:v>70.3</c:v>
                </c:pt>
                <c:pt idx="9694">
                  <c:v>69.8</c:v>
                </c:pt>
                <c:pt idx="9695">
                  <c:v>69.3</c:v>
                </c:pt>
                <c:pt idx="9696">
                  <c:v>69.3</c:v>
                </c:pt>
                <c:pt idx="9697">
                  <c:v>69.099999999999994</c:v>
                </c:pt>
                <c:pt idx="9698">
                  <c:v>68.900000000000006</c:v>
                </c:pt>
                <c:pt idx="9699">
                  <c:v>68.900000000000006</c:v>
                </c:pt>
                <c:pt idx="9700">
                  <c:v>68.7</c:v>
                </c:pt>
                <c:pt idx="9701">
                  <c:v>70</c:v>
                </c:pt>
                <c:pt idx="9702">
                  <c:v>69.400000000000006</c:v>
                </c:pt>
                <c:pt idx="9703">
                  <c:v>69.3</c:v>
                </c:pt>
                <c:pt idx="9704">
                  <c:v>69.599999999999994</c:v>
                </c:pt>
                <c:pt idx="9705">
                  <c:v>68</c:v>
                </c:pt>
                <c:pt idx="9706">
                  <c:v>70.5</c:v>
                </c:pt>
                <c:pt idx="9707">
                  <c:v>72.900000000000006</c:v>
                </c:pt>
                <c:pt idx="9708">
                  <c:v>72.5</c:v>
                </c:pt>
                <c:pt idx="9709">
                  <c:v>72.5</c:v>
                </c:pt>
                <c:pt idx="9710">
                  <c:v>72.5</c:v>
                </c:pt>
                <c:pt idx="9711">
                  <c:v>72.5</c:v>
                </c:pt>
                <c:pt idx="9712">
                  <c:v>72.5</c:v>
                </c:pt>
                <c:pt idx="9713">
                  <c:v>72.5</c:v>
                </c:pt>
                <c:pt idx="9714">
                  <c:v>72.5</c:v>
                </c:pt>
                <c:pt idx="9715">
                  <c:v>72.5</c:v>
                </c:pt>
                <c:pt idx="9716">
                  <c:v>72.5</c:v>
                </c:pt>
                <c:pt idx="9717">
                  <c:v>72.5</c:v>
                </c:pt>
                <c:pt idx="9718">
                  <c:v>72.5</c:v>
                </c:pt>
                <c:pt idx="9719">
                  <c:v>72.5</c:v>
                </c:pt>
                <c:pt idx="9720">
                  <c:v>72.5</c:v>
                </c:pt>
                <c:pt idx="9721">
                  <c:v>72.5</c:v>
                </c:pt>
                <c:pt idx="9722">
                  <c:v>72.5</c:v>
                </c:pt>
                <c:pt idx="9723">
                  <c:v>72.5</c:v>
                </c:pt>
                <c:pt idx="9724">
                  <c:v>85.1</c:v>
                </c:pt>
                <c:pt idx="9725">
                  <c:v>86</c:v>
                </c:pt>
                <c:pt idx="9726">
                  <c:v>85.6</c:v>
                </c:pt>
                <c:pt idx="9727">
                  <c:v>85.6</c:v>
                </c:pt>
                <c:pt idx="9728">
                  <c:v>88.7</c:v>
                </c:pt>
                <c:pt idx="9729">
                  <c:v>89.8</c:v>
                </c:pt>
                <c:pt idx="9730">
                  <c:v>89.2</c:v>
                </c:pt>
                <c:pt idx="9731">
                  <c:v>90.1</c:v>
                </c:pt>
                <c:pt idx="9732">
                  <c:v>91.6</c:v>
                </c:pt>
                <c:pt idx="9733">
                  <c:v>90.9</c:v>
                </c:pt>
                <c:pt idx="9734">
                  <c:v>93.4</c:v>
                </c:pt>
                <c:pt idx="9735">
                  <c:v>90.3</c:v>
                </c:pt>
                <c:pt idx="9736">
                  <c:v>93.7</c:v>
                </c:pt>
                <c:pt idx="9737">
                  <c:v>94.6</c:v>
                </c:pt>
                <c:pt idx="9738">
                  <c:v>91.9</c:v>
                </c:pt>
                <c:pt idx="9739">
                  <c:v>93.4</c:v>
                </c:pt>
                <c:pt idx="9740">
                  <c:v>93.9</c:v>
                </c:pt>
                <c:pt idx="9741">
                  <c:v>95</c:v>
                </c:pt>
                <c:pt idx="9742">
                  <c:v>94.3</c:v>
                </c:pt>
                <c:pt idx="9743">
                  <c:v>94.3</c:v>
                </c:pt>
                <c:pt idx="9744">
                  <c:v>95.5</c:v>
                </c:pt>
                <c:pt idx="9745">
                  <c:v>95</c:v>
                </c:pt>
                <c:pt idx="9746">
                  <c:v>93.7</c:v>
                </c:pt>
                <c:pt idx="9747">
                  <c:v>92.8</c:v>
                </c:pt>
                <c:pt idx="9748">
                  <c:v>94.3</c:v>
                </c:pt>
                <c:pt idx="9749">
                  <c:v>91.9</c:v>
                </c:pt>
                <c:pt idx="9750">
                  <c:v>90.5</c:v>
                </c:pt>
                <c:pt idx="9751">
                  <c:v>84.2</c:v>
                </c:pt>
                <c:pt idx="9752">
                  <c:v>82.6</c:v>
                </c:pt>
                <c:pt idx="9753">
                  <c:v>87.1</c:v>
                </c:pt>
                <c:pt idx="9754">
                  <c:v>88.3</c:v>
                </c:pt>
                <c:pt idx="9755">
                  <c:v>82</c:v>
                </c:pt>
                <c:pt idx="9756">
                  <c:v>81.5</c:v>
                </c:pt>
                <c:pt idx="9757">
                  <c:v>81.3</c:v>
                </c:pt>
                <c:pt idx="9758">
                  <c:v>81.5</c:v>
                </c:pt>
                <c:pt idx="9759">
                  <c:v>80.599999999999994</c:v>
                </c:pt>
                <c:pt idx="9760">
                  <c:v>79.7</c:v>
                </c:pt>
                <c:pt idx="9761">
                  <c:v>78.599999999999994</c:v>
                </c:pt>
                <c:pt idx="9762">
                  <c:v>72.099999999999994</c:v>
                </c:pt>
                <c:pt idx="9763">
                  <c:v>71.8</c:v>
                </c:pt>
                <c:pt idx="9764">
                  <c:v>72.099999999999994</c:v>
                </c:pt>
                <c:pt idx="9765">
                  <c:v>72.099999999999994</c:v>
                </c:pt>
                <c:pt idx="9766">
                  <c:v>72.099999999999994</c:v>
                </c:pt>
                <c:pt idx="9767">
                  <c:v>72.099999999999994</c:v>
                </c:pt>
                <c:pt idx="9768">
                  <c:v>72.099999999999994</c:v>
                </c:pt>
                <c:pt idx="9769">
                  <c:v>72.099999999999994</c:v>
                </c:pt>
                <c:pt idx="9770">
                  <c:v>72.099999999999994</c:v>
                </c:pt>
                <c:pt idx="9771">
                  <c:v>72.099999999999994</c:v>
                </c:pt>
                <c:pt idx="9772">
                  <c:v>72.099999999999994</c:v>
                </c:pt>
                <c:pt idx="9773">
                  <c:v>72.099999999999994</c:v>
                </c:pt>
                <c:pt idx="9774">
                  <c:v>72.099999999999994</c:v>
                </c:pt>
                <c:pt idx="9775">
                  <c:v>72.099999999999994</c:v>
                </c:pt>
                <c:pt idx="9776">
                  <c:v>72.099999999999994</c:v>
                </c:pt>
                <c:pt idx="9777">
                  <c:v>72.099999999999994</c:v>
                </c:pt>
                <c:pt idx="9778">
                  <c:v>72.099999999999994</c:v>
                </c:pt>
                <c:pt idx="9779">
                  <c:v>72.099999999999994</c:v>
                </c:pt>
                <c:pt idx="9780">
                  <c:v>71.8</c:v>
                </c:pt>
                <c:pt idx="9781">
                  <c:v>71.400000000000006</c:v>
                </c:pt>
                <c:pt idx="9782">
                  <c:v>71.099999999999994</c:v>
                </c:pt>
                <c:pt idx="9783">
                  <c:v>73.2</c:v>
                </c:pt>
                <c:pt idx="9784">
                  <c:v>71.2</c:v>
                </c:pt>
                <c:pt idx="9785">
                  <c:v>70.900000000000006</c:v>
                </c:pt>
                <c:pt idx="9786">
                  <c:v>70.3</c:v>
                </c:pt>
                <c:pt idx="9787">
                  <c:v>70.3</c:v>
                </c:pt>
                <c:pt idx="9788">
                  <c:v>70.900000000000006</c:v>
                </c:pt>
                <c:pt idx="9789">
                  <c:v>70.5</c:v>
                </c:pt>
                <c:pt idx="9790">
                  <c:v>70</c:v>
                </c:pt>
                <c:pt idx="9791">
                  <c:v>69.400000000000006</c:v>
                </c:pt>
                <c:pt idx="9792">
                  <c:v>70.5</c:v>
                </c:pt>
                <c:pt idx="9793">
                  <c:v>70.2</c:v>
                </c:pt>
                <c:pt idx="9794">
                  <c:v>69.3</c:v>
                </c:pt>
                <c:pt idx="9795">
                  <c:v>69.3</c:v>
                </c:pt>
                <c:pt idx="9796">
                  <c:v>69.3</c:v>
                </c:pt>
                <c:pt idx="9797">
                  <c:v>69.8</c:v>
                </c:pt>
                <c:pt idx="9798">
                  <c:v>70.2</c:v>
                </c:pt>
                <c:pt idx="9799">
                  <c:v>70.2</c:v>
                </c:pt>
                <c:pt idx="9800">
                  <c:v>70.2</c:v>
                </c:pt>
                <c:pt idx="9801">
                  <c:v>70.5</c:v>
                </c:pt>
                <c:pt idx="9802">
                  <c:v>70.7</c:v>
                </c:pt>
                <c:pt idx="9803">
                  <c:v>72.7</c:v>
                </c:pt>
                <c:pt idx="9804">
                  <c:v>72.7</c:v>
                </c:pt>
                <c:pt idx="9805">
                  <c:v>72.7</c:v>
                </c:pt>
                <c:pt idx="9806">
                  <c:v>72.7</c:v>
                </c:pt>
                <c:pt idx="9807">
                  <c:v>72.7</c:v>
                </c:pt>
                <c:pt idx="9808">
                  <c:v>72.7</c:v>
                </c:pt>
                <c:pt idx="9809">
                  <c:v>72.7</c:v>
                </c:pt>
                <c:pt idx="9810">
                  <c:v>72.7</c:v>
                </c:pt>
                <c:pt idx="9811">
                  <c:v>72.7</c:v>
                </c:pt>
                <c:pt idx="9812">
                  <c:v>72.7</c:v>
                </c:pt>
                <c:pt idx="9813">
                  <c:v>72.7</c:v>
                </c:pt>
                <c:pt idx="9814">
                  <c:v>72.7</c:v>
                </c:pt>
                <c:pt idx="9815">
                  <c:v>72.7</c:v>
                </c:pt>
                <c:pt idx="9816">
                  <c:v>72.7</c:v>
                </c:pt>
                <c:pt idx="9817">
                  <c:v>72.7</c:v>
                </c:pt>
                <c:pt idx="9818">
                  <c:v>72.7</c:v>
                </c:pt>
                <c:pt idx="9819">
                  <c:v>72.7</c:v>
                </c:pt>
                <c:pt idx="9820">
                  <c:v>88.7</c:v>
                </c:pt>
                <c:pt idx="9821">
                  <c:v>88.5</c:v>
                </c:pt>
                <c:pt idx="9822">
                  <c:v>90.5</c:v>
                </c:pt>
                <c:pt idx="9823">
                  <c:v>91.4</c:v>
                </c:pt>
                <c:pt idx="9824">
                  <c:v>89.6</c:v>
                </c:pt>
                <c:pt idx="9825">
                  <c:v>92.8</c:v>
                </c:pt>
                <c:pt idx="9826">
                  <c:v>96.1</c:v>
                </c:pt>
                <c:pt idx="9827">
                  <c:v>92.7</c:v>
                </c:pt>
                <c:pt idx="9828">
                  <c:v>90.7</c:v>
                </c:pt>
                <c:pt idx="9829">
                  <c:v>89.8</c:v>
                </c:pt>
                <c:pt idx="9830">
                  <c:v>89.8</c:v>
                </c:pt>
                <c:pt idx="9831">
                  <c:v>87.4</c:v>
                </c:pt>
                <c:pt idx="9832">
                  <c:v>82.9</c:v>
                </c:pt>
                <c:pt idx="9833">
                  <c:v>79.7</c:v>
                </c:pt>
                <c:pt idx="9834">
                  <c:v>78.599999999999994</c:v>
                </c:pt>
                <c:pt idx="9835">
                  <c:v>77.5</c:v>
                </c:pt>
                <c:pt idx="9836">
                  <c:v>76.8</c:v>
                </c:pt>
                <c:pt idx="9837">
                  <c:v>75.7</c:v>
                </c:pt>
                <c:pt idx="9838">
                  <c:v>75.7</c:v>
                </c:pt>
                <c:pt idx="9839">
                  <c:v>71.099999999999994</c:v>
                </c:pt>
                <c:pt idx="9840">
                  <c:v>72.3</c:v>
                </c:pt>
                <c:pt idx="9841">
                  <c:v>70.7</c:v>
                </c:pt>
                <c:pt idx="9842">
                  <c:v>69.599999999999994</c:v>
                </c:pt>
                <c:pt idx="9843">
                  <c:v>69.8</c:v>
                </c:pt>
                <c:pt idx="9844">
                  <c:v>69.599999999999994</c:v>
                </c:pt>
                <c:pt idx="9845">
                  <c:v>69.599999999999994</c:v>
                </c:pt>
                <c:pt idx="9846">
                  <c:v>70</c:v>
                </c:pt>
                <c:pt idx="9847">
                  <c:v>69.8</c:v>
                </c:pt>
                <c:pt idx="9848">
                  <c:v>69.8</c:v>
                </c:pt>
                <c:pt idx="9849">
                  <c:v>70</c:v>
                </c:pt>
                <c:pt idx="9850">
                  <c:v>70.2</c:v>
                </c:pt>
                <c:pt idx="9851">
                  <c:v>70.2</c:v>
                </c:pt>
                <c:pt idx="9852">
                  <c:v>70.3</c:v>
                </c:pt>
                <c:pt idx="9853">
                  <c:v>70.3</c:v>
                </c:pt>
                <c:pt idx="9854">
                  <c:v>69.8</c:v>
                </c:pt>
                <c:pt idx="9855">
                  <c:v>69.8</c:v>
                </c:pt>
                <c:pt idx="9856">
                  <c:v>69.599999999999994</c:v>
                </c:pt>
                <c:pt idx="9857">
                  <c:v>69.400000000000006</c:v>
                </c:pt>
                <c:pt idx="9858">
                  <c:v>69.3</c:v>
                </c:pt>
                <c:pt idx="9859">
                  <c:v>69.099999999999994</c:v>
                </c:pt>
                <c:pt idx="9860">
                  <c:v>68.900000000000006</c:v>
                </c:pt>
                <c:pt idx="9861">
                  <c:v>68.7</c:v>
                </c:pt>
                <c:pt idx="9862">
                  <c:v>68.5</c:v>
                </c:pt>
                <c:pt idx="9863">
                  <c:v>68.5</c:v>
                </c:pt>
                <c:pt idx="9864">
                  <c:v>68.5</c:v>
                </c:pt>
                <c:pt idx="9865">
                  <c:v>68.5</c:v>
                </c:pt>
                <c:pt idx="9866">
                  <c:v>68.5</c:v>
                </c:pt>
                <c:pt idx="9867">
                  <c:v>68.5</c:v>
                </c:pt>
                <c:pt idx="9868">
                  <c:v>68.5</c:v>
                </c:pt>
                <c:pt idx="9869">
                  <c:v>68.5</c:v>
                </c:pt>
                <c:pt idx="9870">
                  <c:v>68.5</c:v>
                </c:pt>
                <c:pt idx="9871">
                  <c:v>68.5</c:v>
                </c:pt>
                <c:pt idx="9872">
                  <c:v>68.5</c:v>
                </c:pt>
                <c:pt idx="9873">
                  <c:v>68.5</c:v>
                </c:pt>
                <c:pt idx="9874">
                  <c:v>68.5</c:v>
                </c:pt>
                <c:pt idx="9875">
                  <c:v>68.5</c:v>
                </c:pt>
                <c:pt idx="9876">
                  <c:v>68.5</c:v>
                </c:pt>
                <c:pt idx="9877">
                  <c:v>68.5</c:v>
                </c:pt>
                <c:pt idx="9878">
                  <c:v>66.900000000000006</c:v>
                </c:pt>
                <c:pt idx="9879">
                  <c:v>66.900000000000006</c:v>
                </c:pt>
                <c:pt idx="9880">
                  <c:v>66.900000000000006</c:v>
                </c:pt>
                <c:pt idx="9881">
                  <c:v>67.099999999999994</c:v>
                </c:pt>
                <c:pt idx="9882">
                  <c:v>67.8</c:v>
                </c:pt>
                <c:pt idx="9883">
                  <c:v>67.8</c:v>
                </c:pt>
                <c:pt idx="9884">
                  <c:v>67.8</c:v>
                </c:pt>
                <c:pt idx="9885">
                  <c:v>67.8</c:v>
                </c:pt>
                <c:pt idx="9886">
                  <c:v>67.8</c:v>
                </c:pt>
                <c:pt idx="9887">
                  <c:v>68</c:v>
                </c:pt>
                <c:pt idx="9888">
                  <c:v>68.2</c:v>
                </c:pt>
                <c:pt idx="9889">
                  <c:v>68.400000000000006</c:v>
                </c:pt>
                <c:pt idx="9890">
                  <c:v>68.400000000000006</c:v>
                </c:pt>
                <c:pt idx="9891">
                  <c:v>68.400000000000006</c:v>
                </c:pt>
                <c:pt idx="9892">
                  <c:v>68.7</c:v>
                </c:pt>
                <c:pt idx="9893">
                  <c:v>68.7</c:v>
                </c:pt>
                <c:pt idx="9894">
                  <c:v>68.7</c:v>
                </c:pt>
                <c:pt idx="9895">
                  <c:v>69.099999999999994</c:v>
                </c:pt>
                <c:pt idx="9896">
                  <c:v>69.3</c:v>
                </c:pt>
                <c:pt idx="9897">
                  <c:v>69.8</c:v>
                </c:pt>
                <c:pt idx="9898">
                  <c:v>69.8</c:v>
                </c:pt>
                <c:pt idx="9899">
                  <c:v>71.099999999999994</c:v>
                </c:pt>
                <c:pt idx="9900">
                  <c:v>71.099999999999994</c:v>
                </c:pt>
                <c:pt idx="9901">
                  <c:v>71.2</c:v>
                </c:pt>
                <c:pt idx="9902">
                  <c:v>71.2</c:v>
                </c:pt>
                <c:pt idx="9903">
                  <c:v>81</c:v>
                </c:pt>
                <c:pt idx="9904">
                  <c:v>74.7</c:v>
                </c:pt>
                <c:pt idx="9905">
                  <c:v>75.900000000000006</c:v>
                </c:pt>
                <c:pt idx="9906">
                  <c:v>77.2</c:v>
                </c:pt>
                <c:pt idx="9907">
                  <c:v>78.099999999999994</c:v>
                </c:pt>
                <c:pt idx="9908">
                  <c:v>78.8</c:v>
                </c:pt>
                <c:pt idx="9909">
                  <c:v>79.7</c:v>
                </c:pt>
                <c:pt idx="9910">
                  <c:v>80.2</c:v>
                </c:pt>
                <c:pt idx="9911">
                  <c:v>81</c:v>
                </c:pt>
                <c:pt idx="9912">
                  <c:v>81.7</c:v>
                </c:pt>
                <c:pt idx="9913">
                  <c:v>84.9</c:v>
                </c:pt>
                <c:pt idx="9914">
                  <c:v>84.9</c:v>
                </c:pt>
                <c:pt idx="9915">
                  <c:v>84.9</c:v>
                </c:pt>
                <c:pt idx="9916">
                  <c:v>84.9</c:v>
                </c:pt>
                <c:pt idx="9917">
                  <c:v>84.9</c:v>
                </c:pt>
                <c:pt idx="9918">
                  <c:v>84.9</c:v>
                </c:pt>
                <c:pt idx="9919">
                  <c:v>93.7</c:v>
                </c:pt>
                <c:pt idx="9920">
                  <c:v>93.7</c:v>
                </c:pt>
                <c:pt idx="9921">
                  <c:v>89.1</c:v>
                </c:pt>
                <c:pt idx="9922">
                  <c:v>89.8</c:v>
                </c:pt>
                <c:pt idx="9923">
                  <c:v>92.8</c:v>
                </c:pt>
                <c:pt idx="9924">
                  <c:v>93.4</c:v>
                </c:pt>
                <c:pt idx="9925">
                  <c:v>91.9</c:v>
                </c:pt>
                <c:pt idx="9926">
                  <c:v>91.6</c:v>
                </c:pt>
                <c:pt idx="9927">
                  <c:v>91.8</c:v>
                </c:pt>
                <c:pt idx="9928">
                  <c:v>92.3</c:v>
                </c:pt>
                <c:pt idx="9929">
                  <c:v>95</c:v>
                </c:pt>
                <c:pt idx="9930">
                  <c:v>95.7</c:v>
                </c:pt>
                <c:pt idx="9931">
                  <c:v>95.2</c:v>
                </c:pt>
                <c:pt idx="9932">
                  <c:v>95.5</c:v>
                </c:pt>
                <c:pt idx="9933">
                  <c:v>96.1</c:v>
                </c:pt>
                <c:pt idx="9934">
                  <c:v>93.7</c:v>
                </c:pt>
                <c:pt idx="9935">
                  <c:v>94.3</c:v>
                </c:pt>
                <c:pt idx="9936">
                  <c:v>97.2</c:v>
                </c:pt>
                <c:pt idx="9937">
                  <c:v>97.2</c:v>
                </c:pt>
                <c:pt idx="9938">
                  <c:v>95.7</c:v>
                </c:pt>
                <c:pt idx="9939">
                  <c:v>95.9</c:v>
                </c:pt>
                <c:pt idx="9940">
                  <c:v>95</c:v>
                </c:pt>
                <c:pt idx="9941">
                  <c:v>95</c:v>
                </c:pt>
                <c:pt idx="9942">
                  <c:v>94.6</c:v>
                </c:pt>
                <c:pt idx="9943">
                  <c:v>84.4</c:v>
                </c:pt>
                <c:pt idx="9944">
                  <c:v>80.599999999999994</c:v>
                </c:pt>
                <c:pt idx="9945">
                  <c:v>80.599999999999994</c:v>
                </c:pt>
                <c:pt idx="9946">
                  <c:v>80.400000000000006</c:v>
                </c:pt>
                <c:pt idx="9947">
                  <c:v>81.3</c:v>
                </c:pt>
                <c:pt idx="9948">
                  <c:v>81.3</c:v>
                </c:pt>
                <c:pt idx="9949">
                  <c:v>79.900000000000006</c:v>
                </c:pt>
                <c:pt idx="9950">
                  <c:v>77.900000000000006</c:v>
                </c:pt>
                <c:pt idx="9951">
                  <c:v>77.900000000000006</c:v>
                </c:pt>
                <c:pt idx="9952">
                  <c:v>78.3</c:v>
                </c:pt>
                <c:pt idx="9953">
                  <c:v>77</c:v>
                </c:pt>
                <c:pt idx="9954">
                  <c:v>75.7</c:v>
                </c:pt>
                <c:pt idx="9955">
                  <c:v>75.599999999999994</c:v>
                </c:pt>
                <c:pt idx="9956">
                  <c:v>75.599999999999994</c:v>
                </c:pt>
                <c:pt idx="9957">
                  <c:v>74.3</c:v>
                </c:pt>
                <c:pt idx="9958">
                  <c:v>74.3</c:v>
                </c:pt>
                <c:pt idx="9959">
                  <c:v>73.2</c:v>
                </c:pt>
                <c:pt idx="9960">
                  <c:v>72.3</c:v>
                </c:pt>
                <c:pt idx="9961">
                  <c:v>73.8</c:v>
                </c:pt>
                <c:pt idx="9962">
                  <c:v>72.7</c:v>
                </c:pt>
                <c:pt idx="9963">
                  <c:v>72.900000000000006</c:v>
                </c:pt>
                <c:pt idx="9964">
                  <c:v>72.900000000000006</c:v>
                </c:pt>
                <c:pt idx="9965">
                  <c:v>73</c:v>
                </c:pt>
                <c:pt idx="9966">
                  <c:v>73</c:v>
                </c:pt>
                <c:pt idx="9967">
                  <c:v>72</c:v>
                </c:pt>
                <c:pt idx="9968">
                  <c:v>70.7</c:v>
                </c:pt>
                <c:pt idx="9969">
                  <c:v>71.2</c:v>
                </c:pt>
                <c:pt idx="9970">
                  <c:v>71.2</c:v>
                </c:pt>
                <c:pt idx="9971">
                  <c:v>70.3</c:v>
                </c:pt>
                <c:pt idx="9972">
                  <c:v>71.8</c:v>
                </c:pt>
                <c:pt idx="9973">
                  <c:v>70.2</c:v>
                </c:pt>
                <c:pt idx="9974">
                  <c:v>70.2</c:v>
                </c:pt>
                <c:pt idx="9975">
                  <c:v>69.8</c:v>
                </c:pt>
                <c:pt idx="9976">
                  <c:v>71.599999999999994</c:v>
                </c:pt>
                <c:pt idx="9977">
                  <c:v>70.3</c:v>
                </c:pt>
                <c:pt idx="9978">
                  <c:v>70.3</c:v>
                </c:pt>
                <c:pt idx="9979">
                  <c:v>69.400000000000006</c:v>
                </c:pt>
                <c:pt idx="9980">
                  <c:v>70.3</c:v>
                </c:pt>
                <c:pt idx="9981">
                  <c:v>69.8</c:v>
                </c:pt>
                <c:pt idx="9982">
                  <c:v>69.8</c:v>
                </c:pt>
                <c:pt idx="9983">
                  <c:v>69.599999999999994</c:v>
                </c:pt>
                <c:pt idx="9984">
                  <c:v>68.900000000000006</c:v>
                </c:pt>
                <c:pt idx="9985">
                  <c:v>69.099999999999994</c:v>
                </c:pt>
                <c:pt idx="9986">
                  <c:v>69.599999999999994</c:v>
                </c:pt>
                <c:pt idx="9987">
                  <c:v>68.5</c:v>
                </c:pt>
                <c:pt idx="9988">
                  <c:v>68.2</c:v>
                </c:pt>
                <c:pt idx="9989">
                  <c:v>68.5</c:v>
                </c:pt>
                <c:pt idx="9990">
                  <c:v>68.7</c:v>
                </c:pt>
                <c:pt idx="9991">
                  <c:v>66.7</c:v>
                </c:pt>
                <c:pt idx="9992">
                  <c:v>69.099999999999994</c:v>
                </c:pt>
                <c:pt idx="9993">
                  <c:v>72.099999999999994</c:v>
                </c:pt>
                <c:pt idx="9994">
                  <c:v>72.099999999999994</c:v>
                </c:pt>
                <c:pt idx="9995">
                  <c:v>72.099999999999994</c:v>
                </c:pt>
                <c:pt idx="9996">
                  <c:v>72.099999999999994</c:v>
                </c:pt>
                <c:pt idx="9997">
                  <c:v>72.099999999999994</c:v>
                </c:pt>
                <c:pt idx="9998">
                  <c:v>72.099999999999994</c:v>
                </c:pt>
                <c:pt idx="9999">
                  <c:v>72.099999999999994</c:v>
                </c:pt>
                <c:pt idx="10000">
                  <c:v>72.099999999999994</c:v>
                </c:pt>
                <c:pt idx="10001">
                  <c:v>72.099999999999994</c:v>
                </c:pt>
                <c:pt idx="10002">
                  <c:v>72.099999999999994</c:v>
                </c:pt>
                <c:pt idx="10003">
                  <c:v>72.099999999999994</c:v>
                </c:pt>
                <c:pt idx="10004">
                  <c:v>72.099999999999994</c:v>
                </c:pt>
                <c:pt idx="10005">
                  <c:v>72.099999999999994</c:v>
                </c:pt>
                <c:pt idx="10006">
                  <c:v>72.099999999999994</c:v>
                </c:pt>
                <c:pt idx="10007">
                  <c:v>72.099999999999994</c:v>
                </c:pt>
                <c:pt idx="10008">
                  <c:v>72.099999999999994</c:v>
                </c:pt>
                <c:pt idx="10009">
                  <c:v>72.099999999999994</c:v>
                </c:pt>
                <c:pt idx="10010">
                  <c:v>84.9</c:v>
                </c:pt>
                <c:pt idx="10011">
                  <c:v>85.3</c:v>
                </c:pt>
                <c:pt idx="10012">
                  <c:v>86.4</c:v>
                </c:pt>
                <c:pt idx="10013">
                  <c:v>87.4</c:v>
                </c:pt>
                <c:pt idx="10014">
                  <c:v>87.8</c:v>
                </c:pt>
                <c:pt idx="10015">
                  <c:v>89.2</c:v>
                </c:pt>
                <c:pt idx="10016">
                  <c:v>90.1</c:v>
                </c:pt>
                <c:pt idx="10017">
                  <c:v>94.5</c:v>
                </c:pt>
                <c:pt idx="10018">
                  <c:v>92.1</c:v>
                </c:pt>
                <c:pt idx="10019">
                  <c:v>94.8</c:v>
                </c:pt>
                <c:pt idx="10020">
                  <c:v>93</c:v>
                </c:pt>
                <c:pt idx="10021">
                  <c:v>94.3</c:v>
                </c:pt>
                <c:pt idx="10022">
                  <c:v>93.4</c:v>
                </c:pt>
                <c:pt idx="10023">
                  <c:v>97.2</c:v>
                </c:pt>
                <c:pt idx="10024">
                  <c:v>91.8</c:v>
                </c:pt>
                <c:pt idx="10025">
                  <c:v>88.5</c:v>
                </c:pt>
                <c:pt idx="10026">
                  <c:v>87.6</c:v>
                </c:pt>
                <c:pt idx="10027">
                  <c:v>84.4</c:v>
                </c:pt>
                <c:pt idx="10028">
                  <c:v>83.7</c:v>
                </c:pt>
                <c:pt idx="10029">
                  <c:v>83.8</c:v>
                </c:pt>
                <c:pt idx="10030">
                  <c:v>86.4</c:v>
                </c:pt>
                <c:pt idx="10031">
                  <c:v>85.6</c:v>
                </c:pt>
                <c:pt idx="10032">
                  <c:v>83.3</c:v>
                </c:pt>
                <c:pt idx="10033">
                  <c:v>83.3</c:v>
                </c:pt>
                <c:pt idx="10034">
                  <c:v>82</c:v>
                </c:pt>
                <c:pt idx="10035">
                  <c:v>80.099999999999994</c:v>
                </c:pt>
                <c:pt idx="10036">
                  <c:v>80.099999999999994</c:v>
                </c:pt>
                <c:pt idx="10037">
                  <c:v>79.2</c:v>
                </c:pt>
                <c:pt idx="10038">
                  <c:v>79</c:v>
                </c:pt>
                <c:pt idx="10039">
                  <c:v>78.8</c:v>
                </c:pt>
                <c:pt idx="10040">
                  <c:v>79.2</c:v>
                </c:pt>
                <c:pt idx="10041">
                  <c:v>78.8</c:v>
                </c:pt>
                <c:pt idx="10042">
                  <c:v>78.3</c:v>
                </c:pt>
                <c:pt idx="10043">
                  <c:v>77.5</c:v>
                </c:pt>
                <c:pt idx="10044">
                  <c:v>76.5</c:v>
                </c:pt>
                <c:pt idx="10045">
                  <c:v>75</c:v>
                </c:pt>
                <c:pt idx="10046">
                  <c:v>74.7</c:v>
                </c:pt>
                <c:pt idx="10047">
                  <c:v>73.8</c:v>
                </c:pt>
                <c:pt idx="10048">
                  <c:v>73.2</c:v>
                </c:pt>
                <c:pt idx="10049">
                  <c:v>73.8</c:v>
                </c:pt>
                <c:pt idx="10050">
                  <c:v>74.099999999999994</c:v>
                </c:pt>
                <c:pt idx="10051">
                  <c:v>74.5</c:v>
                </c:pt>
                <c:pt idx="10052">
                  <c:v>75</c:v>
                </c:pt>
                <c:pt idx="10053">
                  <c:v>75.599999999999994</c:v>
                </c:pt>
                <c:pt idx="10054">
                  <c:v>75.599999999999994</c:v>
                </c:pt>
                <c:pt idx="10055">
                  <c:v>75.599999999999994</c:v>
                </c:pt>
                <c:pt idx="10056">
                  <c:v>75.599999999999994</c:v>
                </c:pt>
                <c:pt idx="10057">
                  <c:v>75.599999999999994</c:v>
                </c:pt>
                <c:pt idx="10058">
                  <c:v>71.8</c:v>
                </c:pt>
                <c:pt idx="10059">
                  <c:v>70.900000000000006</c:v>
                </c:pt>
                <c:pt idx="10060">
                  <c:v>70.5</c:v>
                </c:pt>
                <c:pt idx="10061">
                  <c:v>70.5</c:v>
                </c:pt>
                <c:pt idx="10062">
                  <c:v>70.5</c:v>
                </c:pt>
                <c:pt idx="10063">
                  <c:v>69.8</c:v>
                </c:pt>
                <c:pt idx="10064">
                  <c:v>69.400000000000006</c:v>
                </c:pt>
                <c:pt idx="10065">
                  <c:v>69.099999999999994</c:v>
                </c:pt>
                <c:pt idx="10066">
                  <c:v>69.8</c:v>
                </c:pt>
                <c:pt idx="10067">
                  <c:v>69.599999999999994</c:v>
                </c:pt>
                <c:pt idx="10068">
                  <c:v>69.400000000000006</c:v>
                </c:pt>
                <c:pt idx="10069">
                  <c:v>69.3</c:v>
                </c:pt>
                <c:pt idx="10070">
                  <c:v>68.900000000000006</c:v>
                </c:pt>
                <c:pt idx="10071">
                  <c:v>69.3</c:v>
                </c:pt>
                <c:pt idx="10072">
                  <c:v>68.400000000000006</c:v>
                </c:pt>
                <c:pt idx="10073">
                  <c:v>68.400000000000006</c:v>
                </c:pt>
                <c:pt idx="10074">
                  <c:v>68.5</c:v>
                </c:pt>
                <c:pt idx="10075">
                  <c:v>69.099999999999994</c:v>
                </c:pt>
                <c:pt idx="10076">
                  <c:v>68.900000000000006</c:v>
                </c:pt>
                <c:pt idx="10077">
                  <c:v>68.900000000000006</c:v>
                </c:pt>
                <c:pt idx="10078">
                  <c:v>68.7</c:v>
                </c:pt>
                <c:pt idx="10079">
                  <c:v>68.900000000000006</c:v>
                </c:pt>
                <c:pt idx="10080">
                  <c:v>68.900000000000006</c:v>
                </c:pt>
                <c:pt idx="10081">
                  <c:v>68.7</c:v>
                </c:pt>
                <c:pt idx="10082">
                  <c:v>68.5</c:v>
                </c:pt>
                <c:pt idx="10083">
                  <c:v>68.2</c:v>
                </c:pt>
                <c:pt idx="10084">
                  <c:v>69.3</c:v>
                </c:pt>
                <c:pt idx="10085">
                  <c:v>68.400000000000006</c:v>
                </c:pt>
                <c:pt idx="10086">
                  <c:v>68.2</c:v>
                </c:pt>
                <c:pt idx="10087">
                  <c:v>68.7</c:v>
                </c:pt>
                <c:pt idx="10088">
                  <c:v>69.099999999999994</c:v>
                </c:pt>
                <c:pt idx="10089">
                  <c:v>69.8</c:v>
                </c:pt>
                <c:pt idx="10090">
                  <c:v>70.3</c:v>
                </c:pt>
                <c:pt idx="10091">
                  <c:v>70.5</c:v>
                </c:pt>
                <c:pt idx="10092">
                  <c:v>73</c:v>
                </c:pt>
                <c:pt idx="10093">
                  <c:v>73</c:v>
                </c:pt>
                <c:pt idx="10094">
                  <c:v>76.3</c:v>
                </c:pt>
                <c:pt idx="10095">
                  <c:v>76.599999999999994</c:v>
                </c:pt>
                <c:pt idx="10096">
                  <c:v>80.099999999999994</c:v>
                </c:pt>
                <c:pt idx="10097">
                  <c:v>81</c:v>
                </c:pt>
                <c:pt idx="10098">
                  <c:v>83.5</c:v>
                </c:pt>
                <c:pt idx="10099">
                  <c:v>81.3</c:v>
                </c:pt>
                <c:pt idx="10100">
                  <c:v>82.6</c:v>
                </c:pt>
                <c:pt idx="10101">
                  <c:v>83.1</c:v>
                </c:pt>
                <c:pt idx="10102">
                  <c:v>82.8</c:v>
                </c:pt>
                <c:pt idx="10103">
                  <c:v>82.6</c:v>
                </c:pt>
                <c:pt idx="10104">
                  <c:v>83.8</c:v>
                </c:pt>
                <c:pt idx="10105">
                  <c:v>84.9</c:v>
                </c:pt>
                <c:pt idx="10106">
                  <c:v>86.4</c:v>
                </c:pt>
                <c:pt idx="10107">
                  <c:v>87.1</c:v>
                </c:pt>
                <c:pt idx="10108">
                  <c:v>88.5</c:v>
                </c:pt>
                <c:pt idx="10109">
                  <c:v>87.6</c:v>
                </c:pt>
                <c:pt idx="10110">
                  <c:v>90.7</c:v>
                </c:pt>
                <c:pt idx="10111">
                  <c:v>90.3</c:v>
                </c:pt>
                <c:pt idx="10112">
                  <c:v>91.2</c:v>
                </c:pt>
                <c:pt idx="10113">
                  <c:v>95</c:v>
                </c:pt>
                <c:pt idx="10114">
                  <c:v>90</c:v>
                </c:pt>
                <c:pt idx="10115">
                  <c:v>90.9</c:v>
                </c:pt>
                <c:pt idx="10116">
                  <c:v>90</c:v>
                </c:pt>
                <c:pt idx="10117">
                  <c:v>88.2</c:v>
                </c:pt>
                <c:pt idx="10118">
                  <c:v>88</c:v>
                </c:pt>
                <c:pt idx="10119">
                  <c:v>87.8</c:v>
                </c:pt>
                <c:pt idx="10120">
                  <c:v>87.4</c:v>
                </c:pt>
                <c:pt idx="10121">
                  <c:v>87.6</c:v>
                </c:pt>
                <c:pt idx="10122">
                  <c:v>88</c:v>
                </c:pt>
                <c:pt idx="10123">
                  <c:v>88.5</c:v>
                </c:pt>
                <c:pt idx="10124">
                  <c:v>90.3</c:v>
                </c:pt>
                <c:pt idx="10125">
                  <c:v>91.6</c:v>
                </c:pt>
                <c:pt idx="10126">
                  <c:v>92.3</c:v>
                </c:pt>
                <c:pt idx="10127">
                  <c:v>90.5</c:v>
                </c:pt>
                <c:pt idx="10128">
                  <c:v>90.5</c:v>
                </c:pt>
                <c:pt idx="10129">
                  <c:v>92.1</c:v>
                </c:pt>
                <c:pt idx="10130">
                  <c:v>92.1</c:v>
                </c:pt>
                <c:pt idx="10131">
                  <c:v>92.3</c:v>
                </c:pt>
                <c:pt idx="10132">
                  <c:v>91.9</c:v>
                </c:pt>
                <c:pt idx="10133">
                  <c:v>91.9</c:v>
                </c:pt>
                <c:pt idx="10134">
                  <c:v>92.3</c:v>
                </c:pt>
                <c:pt idx="10135">
                  <c:v>91.6</c:v>
                </c:pt>
                <c:pt idx="10136">
                  <c:v>91.6</c:v>
                </c:pt>
                <c:pt idx="10137">
                  <c:v>88.5</c:v>
                </c:pt>
                <c:pt idx="10138">
                  <c:v>88.5</c:v>
                </c:pt>
                <c:pt idx="10139">
                  <c:v>86.7</c:v>
                </c:pt>
                <c:pt idx="10140">
                  <c:v>84.9</c:v>
                </c:pt>
                <c:pt idx="10141">
                  <c:v>83.7</c:v>
                </c:pt>
                <c:pt idx="10142">
                  <c:v>83.7</c:v>
                </c:pt>
                <c:pt idx="10143">
                  <c:v>82.6</c:v>
                </c:pt>
                <c:pt idx="10144">
                  <c:v>82.6</c:v>
                </c:pt>
                <c:pt idx="10145">
                  <c:v>81</c:v>
                </c:pt>
                <c:pt idx="10146">
                  <c:v>81</c:v>
                </c:pt>
                <c:pt idx="10147">
                  <c:v>78.8</c:v>
                </c:pt>
                <c:pt idx="10148">
                  <c:v>78.8</c:v>
                </c:pt>
                <c:pt idx="10149">
                  <c:v>76.599999999999994</c:v>
                </c:pt>
                <c:pt idx="10150">
                  <c:v>76.599999999999994</c:v>
                </c:pt>
                <c:pt idx="10151">
                  <c:v>76.599999999999994</c:v>
                </c:pt>
                <c:pt idx="10152">
                  <c:v>75.599999999999994</c:v>
                </c:pt>
                <c:pt idx="10153">
                  <c:v>75.7</c:v>
                </c:pt>
                <c:pt idx="10154">
                  <c:v>73.8</c:v>
                </c:pt>
                <c:pt idx="10155">
                  <c:v>73.400000000000006</c:v>
                </c:pt>
                <c:pt idx="10156">
                  <c:v>72.7</c:v>
                </c:pt>
                <c:pt idx="10157">
                  <c:v>72.099999999999994</c:v>
                </c:pt>
                <c:pt idx="10158">
                  <c:v>71.599999999999994</c:v>
                </c:pt>
                <c:pt idx="10159">
                  <c:v>71.599999999999994</c:v>
                </c:pt>
                <c:pt idx="10160">
                  <c:v>71.400000000000006</c:v>
                </c:pt>
                <c:pt idx="10161">
                  <c:v>72</c:v>
                </c:pt>
                <c:pt idx="10162">
                  <c:v>71.400000000000006</c:v>
                </c:pt>
                <c:pt idx="10163">
                  <c:v>71.099999999999994</c:v>
                </c:pt>
                <c:pt idx="10164">
                  <c:v>70.5</c:v>
                </c:pt>
                <c:pt idx="10165">
                  <c:v>70.3</c:v>
                </c:pt>
                <c:pt idx="10166">
                  <c:v>72.099999999999994</c:v>
                </c:pt>
                <c:pt idx="10167">
                  <c:v>70.7</c:v>
                </c:pt>
                <c:pt idx="10168">
                  <c:v>71.599999999999994</c:v>
                </c:pt>
                <c:pt idx="10169">
                  <c:v>71.099999999999994</c:v>
                </c:pt>
                <c:pt idx="10170">
                  <c:v>71.599999999999994</c:v>
                </c:pt>
                <c:pt idx="10171">
                  <c:v>70.3</c:v>
                </c:pt>
                <c:pt idx="10172">
                  <c:v>71.599999999999994</c:v>
                </c:pt>
                <c:pt idx="10173">
                  <c:v>70.3</c:v>
                </c:pt>
                <c:pt idx="10174">
                  <c:v>70</c:v>
                </c:pt>
                <c:pt idx="10175">
                  <c:v>70.900000000000006</c:v>
                </c:pt>
                <c:pt idx="10176">
                  <c:v>70.2</c:v>
                </c:pt>
                <c:pt idx="10177">
                  <c:v>69.599999999999994</c:v>
                </c:pt>
                <c:pt idx="10178">
                  <c:v>69.8</c:v>
                </c:pt>
                <c:pt idx="10179">
                  <c:v>82.9</c:v>
                </c:pt>
                <c:pt idx="10180">
                  <c:v>83.5</c:v>
                </c:pt>
                <c:pt idx="10181">
                  <c:v>84.4</c:v>
                </c:pt>
                <c:pt idx="10182">
                  <c:v>84.6</c:v>
                </c:pt>
                <c:pt idx="10183">
                  <c:v>84.6</c:v>
                </c:pt>
                <c:pt idx="10184">
                  <c:v>84.7</c:v>
                </c:pt>
                <c:pt idx="10185">
                  <c:v>84</c:v>
                </c:pt>
                <c:pt idx="10186">
                  <c:v>83.1</c:v>
                </c:pt>
                <c:pt idx="10187">
                  <c:v>82.6</c:v>
                </c:pt>
                <c:pt idx="10188">
                  <c:v>82.8</c:v>
                </c:pt>
                <c:pt idx="10189">
                  <c:v>88.5</c:v>
                </c:pt>
                <c:pt idx="10190">
                  <c:v>88.2</c:v>
                </c:pt>
                <c:pt idx="10191">
                  <c:v>88</c:v>
                </c:pt>
                <c:pt idx="10192">
                  <c:v>90.5</c:v>
                </c:pt>
                <c:pt idx="10193">
                  <c:v>91.6</c:v>
                </c:pt>
                <c:pt idx="10194">
                  <c:v>90.5</c:v>
                </c:pt>
                <c:pt idx="10195">
                  <c:v>88</c:v>
                </c:pt>
                <c:pt idx="10196">
                  <c:v>88.5</c:v>
                </c:pt>
                <c:pt idx="10197">
                  <c:v>92.7</c:v>
                </c:pt>
                <c:pt idx="10198">
                  <c:v>91.4</c:v>
                </c:pt>
                <c:pt idx="10199">
                  <c:v>90.3</c:v>
                </c:pt>
                <c:pt idx="10200">
                  <c:v>89.6</c:v>
                </c:pt>
                <c:pt idx="10201">
                  <c:v>91.4</c:v>
                </c:pt>
                <c:pt idx="10202">
                  <c:v>90.9</c:v>
                </c:pt>
                <c:pt idx="10203">
                  <c:v>90</c:v>
                </c:pt>
                <c:pt idx="10204">
                  <c:v>89.1</c:v>
                </c:pt>
                <c:pt idx="10205">
                  <c:v>89.4</c:v>
                </c:pt>
                <c:pt idx="10206">
                  <c:v>91</c:v>
                </c:pt>
                <c:pt idx="10207">
                  <c:v>89.4</c:v>
                </c:pt>
                <c:pt idx="10208">
                  <c:v>92.3</c:v>
                </c:pt>
                <c:pt idx="10209">
                  <c:v>91.4</c:v>
                </c:pt>
                <c:pt idx="10210">
                  <c:v>90.1</c:v>
                </c:pt>
                <c:pt idx="10211">
                  <c:v>87.8</c:v>
                </c:pt>
                <c:pt idx="10212">
                  <c:v>86.4</c:v>
                </c:pt>
                <c:pt idx="10213">
                  <c:v>84.4</c:v>
                </c:pt>
                <c:pt idx="10214">
                  <c:v>82.9</c:v>
                </c:pt>
                <c:pt idx="10215">
                  <c:v>81.5</c:v>
                </c:pt>
                <c:pt idx="10216">
                  <c:v>80.400000000000006</c:v>
                </c:pt>
                <c:pt idx="10217">
                  <c:v>79.2</c:v>
                </c:pt>
                <c:pt idx="10218">
                  <c:v>78.599999999999994</c:v>
                </c:pt>
                <c:pt idx="10219">
                  <c:v>79.2</c:v>
                </c:pt>
                <c:pt idx="10220">
                  <c:v>78.599999999999994</c:v>
                </c:pt>
                <c:pt idx="10221">
                  <c:v>78.099999999999994</c:v>
                </c:pt>
                <c:pt idx="10222">
                  <c:v>77.2</c:v>
                </c:pt>
                <c:pt idx="10223">
                  <c:v>76.8</c:v>
                </c:pt>
                <c:pt idx="10224">
                  <c:v>76.099999999999994</c:v>
                </c:pt>
                <c:pt idx="10225">
                  <c:v>76.3</c:v>
                </c:pt>
                <c:pt idx="10226">
                  <c:v>76.3</c:v>
                </c:pt>
                <c:pt idx="10227">
                  <c:v>76.3</c:v>
                </c:pt>
                <c:pt idx="10228">
                  <c:v>76.3</c:v>
                </c:pt>
                <c:pt idx="10229">
                  <c:v>76.3</c:v>
                </c:pt>
                <c:pt idx="10230">
                  <c:v>76.3</c:v>
                </c:pt>
                <c:pt idx="10231">
                  <c:v>76.3</c:v>
                </c:pt>
                <c:pt idx="10232">
                  <c:v>76.3</c:v>
                </c:pt>
                <c:pt idx="10233">
                  <c:v>76.3</c:v>
                </c:pt>
                <c:pt idx="10234">
                  <c:v>76.3</c:v>
                </c:pt>
                <c:pt idx="10235">
                  <c:v>76.3</c:v>
                </c:pt>
                <c:pt idx="10236">
                  <c:v>76.3</c:v>
                </c:pt>
                <c:pt idx="10237">
                  <c:v>76.3</c:v>
                </c:pt>
                <c:pt idx="10238">
                  <c:v>76.3</c:v>
                </c:pt>
                <c:pt idx="10239">
                  <c:v>76.3</c:v>
                </c:pt>
                <c:pt idx="10240">
                  <c:v>76.3</c:v>
                </c:pt>
                <c:pt idx="10241">
                  <c:v>76.3</c:v>
                </c:pt>
                <c:pt idx="10242">
                  <c:v>72.099999999999994</c:v>
                </c:pt>
                <c:pt idx="10243">
                  <c:v>71.400000000000006</c:v>
                </c:pt>
                <c:pt idx="10244">
                  <c:v>71.2</c:v>
                </c:pt>
                <c:pt idx="10245">
                  <c:v>70.900000000000006</c:v>
                </c:pt>
                <c:pt idx="10246">
                  <c:v>71.099999999999994</c:v>
                </c:pt>
                <c:pt idx="10247">
                  <c:v>71.8</c:v>
                </c:pt>
                <c:pt idx="10248">
                  <c:v>71.2</c:v>
                </c:pt>
                <c:pt idx="10249">
                  <c:v>70.900000000000006</c:v>
                </c:pt>
                <c:pt idx="10250">
                  <c:v>70.5</c:v>
                </c:pt>
                <c:pt idx="10251">
                  <c:v>70.5</c:v>
                </c:pt>
                <c:pt idx="10252">
                  <c:v>70.2</c:v>
                </c:pt>
                <c:pt idx="10253">
                  <c:v>72</c:v>
                </c:pt>
                <c:pt idx="10254">
                  <c:v>70.7</c:v>
                </c:pt>
                <c:pt idx="10255">
                  <c:v>70.2</c:v>
                </c:pt>
                <c:pt idx="10256">
                  <c:v>70</c:v>
                </c:pt>
                <c:pt idx="10257">
                  <c:v>70.2</c:v>
                </c:pt>
                <c:pt idx="10258">
                  <c:v>70.2</c:v>
                </c:pt>
                <c:pt idx="10259">
                  <c:v>80.599999999999994</c:v>
                </c:pt>
                <c:pt idx="10260">
                  <c:v>80.599999999999994</c:v>
                </c:pt>
                <c:pt idx="10261">
                  <c:v>83.5</c:v>
                </c:pt>
                <c:pt idx="10262">
                  <c:v>85.6</c:v>
                </c:pt>
                <c:pt idx="10263">
                  <c:v>87.1</c:v>
                </c:pt>
                <c:pt idx="10264">
                  <c:v>83.8</c:v>
                </c:pt>
                <c:pt idx="10265">
                  <c:v>80.099999999999994</c:v>
                </c:pt>
                <c:pt idx="10266">
                  <c:v>80.599999999999994</c:v>
                </c:pt>
                <c:pt idx="10267">
                  <c:v>81.5</c:v>
                </c:pt>
                <c:pt idx="10268">
                  <c:v>82.2</c:v>
                </c:pt>
                <c:pt idx="10269">
                  <c:v>82.6</c:v>
                </c:pt>
                <c:pt idx="10270">
                  <c:v>83.5</c:v>
                </c:pt>
                <c:pt idx="10271">
                  <c:v>84.2</c:v>
                </c:pt>
                <c:pt idx="10272">
                  <c:v>84.6</c:v>
                </c:pt>
                <c:pt idx="10273">
                  <c:v>89.8</c:v>
                </c:pt>
                <c:pt idx="10274">
                  <c:v>90.9</c:v>
                </c:pt>
                <c:pt idx="10275">
                  <c:v>90.1</c:v>
                </c:pt>
                <c:pt idx="10276">
                  <c:v>90.3</c:v>
                </c:pt>
                <c:pt idx="10277">
                  <c:v>88.5</c:v>
                </c:pt>
                <c:pt idx="10278">
                  <c:v>90.9</c:v>
                </c:pt>
                <c:pt idx="10279">
                  <c:v>91.2</c:v>
                </c:pt>
                <c:pt idx="10280">
                  <c:v>94.3</c:v>
                </c:pt>
                <c:pt idx="10281">
                  <c:v>93</c:v>
                </c:pt>
                <c:pt idx="10282">
                  <c:v>92.5</c:v>
                </c:pt>
                <c:pt idx="10283">
                  <c:v>93.7</c:v>
                </c:pt>
                <c:pt idx="10284">
                  <c:v>93.7</c:v>
                </c:pt>
                <c:pt idx="10285">
                  <c:v>96.1</c:v>
                </c:pt>
                <c:pt idx="10286">
                  <c:v>95</c:v>
                </c:pt>
                <c:pt idx="10287">
                  <c:v>95.7</c:v>
                </c:pt>
                <c:pt idx="10288">
                  <c:v>95.2</c:v>
                </c:pt>
                <c:pt idx="10289">
                  <c:v>94.6</c:v>
                </c:pt>
                <c:pt idx="10290">
                  <c:v>95.9</c:v>
                </c:pt>
                <c:pt idx="10291">
                  <c:v>97</c:v>
                </c:pt>
                <c:pt idx="10292">
                  <c:v>96.6</c:v>
                </c:pt>
                <c:pt idx="10293">
                  <c:v>98.1</c:v>
                </c:pt>
                <c:pt idx="10294">
                  <c:v>94.8</c:v>
                </c:pt>
                <c:pt idx="10295">
                  <c:v>94.8</c:v>
                </c:pt>
                <c:pt idx="10296">
                  <c:v>95.2</c:v>
                </c:pt>
                <c:pt idx="10297">
                  <c:v>90.7</c:v>
                </c:pt>
                <c:pt idx="10298">
                  <c:v>88.9</c:v>
                </c:pt>
                <c:pt idx="10299">
                  <c:v>88.9</c:v>
                </c:pt>
                <c:pt idx="10300">
                  <c:v>89.2</c:v>
                </c:pt>
                <c:pt idx="10301">
                  <c:v>90.9</c:v>
                </c:pt>
                <c:pt idx="10302">
                  <c:v>89.2</c:v>
                </c:pt>
                <c:pt idx="10303">
                  <c:v>89.2</c:v>
                </c:pt>
                <c:pt idx="10304">
                  <c:v>90.5</c:v>
                </c:pt>
                <c:pt idx="10305">
                  <c:v>90.5</c:v>
                </c:pt>
                <c:pt idx="10306">
                  <c:v>86.2</c:v>
                </c:pt>
                <c:pt idx="10307">
                  <c:v>86.2</c:v>
                </c:pt>
                <c:pt idx="10308">
                  <c:v>85.1</c:v>
                </c:pt>
                <c:pt idx="10309">
                  <c:v>84.6</c:v>
                </c:pt>
                <c:pt idx="10310">
                  <c:v>82.2</c:v>
                </c:pt>
                <c:pt idx="10311">
                  <c:v>82.2</c:v>
                </c:pt>
                <c:pt idx="10312">
                  <c:v>80.099999999999994</c:v>
                </c:pt>
                <c:pt idx="10313">
                  <c:v>80.099999999999994</c:v>
                </c:pt>
                <c:pt idx="10314">
                  <c:v>79.3</c:v>
                </c:pt>
                <c:pt idx="10315">
                  <c:v>79</c:v>
                </c:pt>
                <c:pt idx="10316">
                  <c:v>78.599999999999994</c:v>
                </c:pt>
                <c:pt idx="10317">
                  <c:v>77.400000000000006</c:v>
                </c:pt>
                <c:pt idx="10318">
                  <c:v>77.5</c:v>
                </c:pt>
                <c:pt idx="10319">
                  <c:v>77.5</c:v>
                </c:pt>
                <c:pt idx="10320">
                  <c:v>78.400000000000006</c:v>
                </c:pt>
                <c:pt idx="10321">
                  <c:v>77.2</c:v>
                </c:pt>
                <c:pt idx="10322">
                  <c:v>76.3</c:v>
                </c:pt>
                <c:pt idx="10323">
                  <c:v>75.7</c:v>
                </c:pt>
                <c:pt idx="10324">
                  <c:v>75.900000000000006</c:v>
                </c:pt>
                <c:pt idx="10325">
                  <c:v>75.599999999999994</c:v>
                </c:pt>
                <c:pt idx="10326">
                  <c:v>74.7</c:v>
                </c:pt>
                <c:pt idx="10327">
                  <c:v>74.7</c:v>
                </c:pt>
                <c:pt idx="10328">
                  <c:v>74.3</c:v>
                </c:pt>
                <c:pt idx="10329">
                  <c:v>74.099999999999994</c:v>
                </c:pt>
                <c:pt idx="10330">
                  <c:v>75.400000000000006</c:v>
                </c:pt>
                <c:pt idx="10331">
                  <c:v>73.599999999999994</c:v>
                </c:pt>
                <c:pt idx="10332">
                  <c:v>75.599999999999994</c:v>
                </c:pt>
                <c:pt idx="10333">
                  <c:v>74.099999999999994</c:v>
                </c:pt>
                <c:pt idx="10334">
                  <c:v>73.400000000000006</c:v>
                </c:pt>
                <c:pt idx="10335">
                  <c:v>75.2</c:v>
                </c:pt>
                <c:pt idx="10336">
                  <c:v>74.5</c:v>
                </c:pt>
                <c:pt idx="10337">
                  <c:v>73.2</c:v>
                </c:pt>
                <c:pt idx="10338">
                  <c:v>72.7</c:v>
                </c:pt>
                <c:pt idx="10339">
                  <c:v>73</c:v>
                </c:pt>
                <c:pt idx="10340">
                  <c:v>72.7</c:v>
                </c:pt>
                <c:pt idx="10341">
                  <c:v>72.3</c:v>
                </c:pt>
                <c:pt idx="10342">
                  <c:v>72.099999999999994</c:v>
                </c:pt>
                <c:pt idx="10343">
                  <c:v>72.900000000000006</c:v>
                </c:pt>
                <c:pt idx="10344">
                  <c:v>73.400000000000006</c:v>
                </c:pt>
                <c:pt idx="10345">
                  <c:v>72.099999999999994</c:v>
                </c:pt>
                <c:pt idx="10346">
                  <c:v>73.2</c:v>
                </c:pt>
                <c:pt idx="10347">
                  <c:v>73.599999999999994</c:v>
                </c:pt>
                <c:pt idx="10348">
                  <c:v>72.099999999999994</c:v>
                </c:pt>
                <c:pt idx="10349">
                  <c:v>71.8</c:v>
                </c:pt>
                <c:pt idx="10350">
                  <c:v>71.599999999999994</c:v>
                </c:pt>
                <c:pt idx="10351">
                  <c:v>72.900000000000006</c:v>
                </c:pt>
                <c:pt idx="10352">
                  <c:v>75.2</c:v>
                </c:pt>
                <c:pt idx="10353">
                  <c:v>77.900000000000006</c:v>
                </c:pt>
                <c:pt idx="10354">
                  <c:v>77.900000000000006</c:v>
                </c:pt>
                <c:pt idx="10355">
                  <c:v>77.900000000000006</c:v>
                </c:pt>
                <c:pt idx="10356">
                  <c:v>77.900000000000006</c:v>
                </c:pt>
                <c:pt idx="10357">
                  <c:v>77.900000000000006</c:v>
                </c:pt>
                <c:pt idx="10358">
                  <c:v>77.900000000000006</c:v>
                </c:pt>
                <c:pt idx="10359">
                  <c:v>77.900000000000006</c:v>
                </c:pt>
                <c:pt idx="10360">
                  <c:v>77.900000000000006</c:v>
                </c:pt>
                <c:pt idx="10361">
                  <c:v>77.900000000000006</c:v>
                </c:pt>
                <c:pt idx="10362">
                  <c:v>77.900000000000006</c:v>
                </c:pt>
                <c:pt idx="10363">
                  <c:v>77.900000000000006</c:v>
                </c:pt>
                <c:pt idx="10364">
                  <c:v>77.900000000000006</c:v>
                </c:pt>
                <c:pt idx="10365">
                  <c:v>77.900000000000006</c:v>
                </c:pt>
                <c:pt idx="10366">
                  <c:v>77.900000000000006</c:v>
                </c:pt>
                <c:pt idx="10367">
                  <c:v>77.900000000000006</c:v>
                </c:pt>
                <c:pt idx="10368">
                  <c:v>77.900000000000006</c:v>
                </c:pt>
                <c:pt idx="10369">
                  <c:v>88.2</c:v>
                </c:pt>
                <c:pt idx="10370">
                  <c:v>88.2</c:v>
                </c:pt>
                <c:pt idx="10371">
                  <c:v>88.2</c:v>
                </c:pt>
                <c:pt idx="10372">
                  <c:v>88.2</c:v>
                </c:pt>
                <c:pt idx="10373">
                  <c:v>88.2</c:v>
                </c:pt>
                <c:pt idx="10374">
                  <c:v>95.2</c:v>
                </c:pt>
                <c:pt idx="10375">
                  <c:v>94.5</c:v>
                </c:pt>
                <c:pt idx="10376">
                  <c:v>94.3</c:v>
                </c:pt>
                <c:pt idx="10377">
                  <c:v>94.3</c:v>
                </c:pt>
                <c:pt idx="10378">
                  <c:v>93.9</c:v>
                </c:pt>
                <c:pt idx="10379">
                  <c:v>93.9</c:v>
                </c:pt>
                <c:pt idx="10380">
                  <c:v>95</c:v>
                </c:pt>
                <c:pt idx="10381">
                  <c:v>95.7</c:v>
                </c:pt>
                <c:pt idx="10382">
                  <c:v>99.9</c:v>
                </c:pt>
                <c:pt idx="10383">
                  <c:v>95.4</c:v>
                </c:pt>
                <c:pt idx="10384">
                  <c:v>95.9</c:v>
                </c:pt>
                <c:pt idx="10385">
                  <c:v>97.2</c:v>
                </c:pt>
                <c:pt idx="10386">
                  <c:v>98.6</c:v>
                </c:pt>
                <c:pt idx="10387">
                  <c:v>99.1</c:v>
                </c:pt>
                <c:pt idx="10388">
                  <c:v>99.7</c:v>
                </c:pt>
                <c:pt idx="10389">
                  <c:v>96.1</c:v>
                </c:pt>
                <c:pt idx="10390">
                  <c:v>89.4</c:v>
                </c:pt>
                <c:pt idx="10391">
                  <c:v>98.1</c:v>
                </c:pt>
                <c:pt idx="10392">
                  <c:v>97.3</c:v>
                </c:pt>
                <c:pt idx="10393">
                  <c:v>94.3</c:v>
                </c:pt>
                <c:pt idx="10394">
                  <c:v>95.2</c:v>
                </c:pt>
                <c:pt idx="10395">
                  <c:v>96.8</c:v>
                </c:pt>
                <c:pt idx="10396">
                  <c:v>96.6</c:v>
                </c:pt>
                <c:pt idx="10397">
                  <c:v>92.8</c:v>
                </c:pt>
                <c:pt idx="10398">
                  <c:v>87.1</c:v>
                </c:pt>
                <c:pt idx="10399">
                  <c:v>82.9</c:v>
                </c:pt>
                <c:pt idx="10400">
                  <c:v>82.9</c:v>
                </c:pt>
                <c:pt idx="10401">
                  <c:v>82.9</c:v>
                </c:pt>
                <c:pt idx="10402">
                  <c:v>82.9</c:v>
                </c:pt>
                <c:pt idx="10403">
                  <c:v>82.9</c:v>
                </c:pt>
                <c:pt idx="10404">
                  <c:v>82.9</c:v>
                </c:pt>
                <c:pt idx="10405">
                  <c:v>82.9</c:v>
                </c:pt>
                <c:pt idx="10406">
                  <c:v>78.599999999999994</c:v>
                </c:pt>
                <c:pt idx="10407">
                  <c:v>77.900000000000006</c:v>
                </c:pt>
                <c:pt idx="10408">
                  <c:v>79.3</c:v>
                </c:pt>
                <c:pt idx="10409">
                  <c:v>79.3</c:v>
                </c:pt>
                <c:pt idx="10410">
                  <c:v>79.3</c:v>
                </c:pt>
                <c:pt idx="10411">
                  <c:v>78.400000000000006</c:v>
                </c:pt>
                <c:pt idx="10412">
                  <c:v>76.3</c:v>
                </c:pt>
                <c:pt idx="10413">
                  <c:v>77</c:v>
                </c:pt>
                <c:pt idx="10414">
                  <c:v>77</c:v>
                </c:pt>
                <c:pt idx="10415">
                  <c:v>76.099999999999994</c:v>
                </c:pt>
                <c:pt idx="10416">
                  <c:v>75.7</c:v>
                </c:pt>
                <c:pt idx="10417">
                  <c:v>77.2</c:v>
                </c:pt>
                <c:pt idx="10418">
                  <c:v>76.8</c:v>
                </c:pt>
                <c:pt idx="10419">
                  <c:v>76.8</c:v>
                </c:pt>
                <c:pt idx="10420">
                  <c:v>76.3</c:v>
                </c:pt>
                <c:pt idx="10421">
                  <c:v>74.8</c:v>
                </c:pt>
                <c:pt idx="10422">
                  <c:v>74.5</c:v>
                </c:pt>
                <c:pt idx="10423">
                  <c:v>75.599999999999994</c:v>
                </c:pt>
                <c:pt idx="10424">
                  <c:v>75.900000000000006</c:v>
                </c:pt>
                <c:pt idx="10425">
                  <c:v>74.5</c:v>
                </c:pt>
                <c:pt idx="10426">
                  <c:v>74.099999999999994</c:v>
                </c:pt>
                <c:pt idx="10427">
                  <c:v>73.8</c:v>
                </c:pt>
                <c:pt idx="10428">
                  <c:v>74.3</c:v>
                </c:pt>
                <c:pt idx="10429">
                  <c:v>73.8</c:v>
                </c:pt>
                <c:pt idx="10430">
                  <c:v>73.2</c:v>
                </c:pt>
                <c:pt idx="10431">
                  <c:v>73.400000000000006</c:v>
                </c:pt>
                <c:pt idx="10432">
                  <c:v>74.099999999999994</c:v>
                </c:pt>
                <c:pt idx="10433">
                  <c:v>74.8</c:v>
                </c:pt>
                <c:pt idx="10434">
                  <c:v>73.2</c:v>
                </c:pt>
                <c:pt idx="10435">
                  <c:v>72.900000000000006</c:v>
                </c:pt>
                <c:pt idx="10436">
                  <c:v>73.900000000000006</c:v>
                </c:pt>
                <c:pt idx="10437">
                  <c:v>73.400000000000006</c:v>
                </c:pt>
                <c:pt idx="10438">
                  <c:v>72.900000000000006</c:v>
                </c:pt>
                <c:pt idx="10439">
                  <c:v>73</c:v>
                </c:pt>
                <c:pt idx="10440">
                  <c:v>74.099999999999994</c:v>
                </c:pt>
                <c:pt idx="10441">
                  <c:v>72.7</c:v>
                </c:pt>
                <c:pt idx="10442">
                  <c:v>73</c:v>
                </c:pt>
                <c:pt idx="10443">
                  <c:v>73.2</c:v>
                </c:pt>
                <c:pt idx="10444">
                  <c:v>72.900000000000006</c:v>
                </c:pt>
                <c:pt idx="10445">
                  <c:v>72.5</c:v>
                </c:pt>
                <c:pt idx="10446">
                  <c:v>71.099999999999994</c:v>
                </c:pt>
                <c:pt idx="10447">
                  <c:v>73.400000000000006</c:v>
                </c:pt>
                <c:pt idx="10448">
                  <c:v>76.5</c:v>
                </c:pt>
                <c:pt idx="10449">
                  <c:v>77.2</c:v>
                </c:pt>
                <c:pt idx="10450">
                  <c:v>77.2</c:v>
                </c:pt>
                <c:pt idx="10451">
                  <c:v>77.2</c:v>
                </c:pt>
                <c:pt idx="10452">
                  <c:v>77.2</c:v>
                </c:pt>
                <c:pt idx="10453">
                  <c:v>77.2</c:v>
                </c:pt>
                <c:pt idx="10454">
                  <c:v>77.2</c:v>
                </c:pt>
                <c:pt idx="10455">
                  <c:v>77.2</c:v>
                </c:pt>
                <c:pt idx="10456">
                  <c:v>77.2</c:v>
                </c:pt>
                <c:pt idx="10457">
                  <c:v>77.2</c:v>
                </c:pt>
                <c:pt idx="10458">
                  <c:v>77.2</c:v>
                </c:pt>
                <c:pt idx="10459">
                  <c:v>77.2</c:v>
                </c:pt>
                <c:pt idx="10460">
                  <c:v>77.2</c:v>
                </c:pt>
                <c:pt idx="10461">
                  <c:v>77.2</c:v>
                </c:pt>
                <c:pt idx="10462">
                  <c:v>77.2</c:v>
                </c:pt>
                <c:pt idx="10463">
                  <c:v>77.2</c:v>
                </c:pt>
                <c:pt idx="10464">
                  <c:v>77.2</c:v>
                </c:pt>
                <c:pt idx="10465">
                  <c:v>86.7</c:v>
                </c:pt>
                <c:pt idx="10466">
                  <c:v>92.3</c:v>
                </c:pt>
                <c:pt idx="10467">
                  <c:v>97.7</c:v>
                </c:pt>
                <c:pt idx="10468">
                  <c:v>89.2</c:v>
                </c:pt>
                <c:pt idx="10469">
                  <c:v>90.3</c:v>
                </c:pt>
                <c:pt idx="10470">
                  <c:v>86.5</c:v>
                </c:pt>
                <c:pt idx="10471">
                  <c:v>79.2</c:v>
                </c:pt>
                <c:pt idx="10472">
                  <c:v>76.8</c:v>
                </c:pt>
                <c:pt idx="10473">
                  <c:v>78.599999999999994</c:v>
                </c:pt>
                <c:pt idx="10474">
                  <c:v>79.3</c:v>
                </c:pt>
                <c:pt idx="10475">
                  <c:v>81.900000000000006</c:v>
                </c:pt>
                <c:pt idx="10476">
                  <c:v>84</c:v>
                </c:pt>
                <c:pt idx="10477">
                  <c:v>85.8</c:v>
                </c:pt>
                <c:pt idx="10478">
                  <c:v>88.7</c:v>
                </c:pt>
                <c:pt idx="10479">
                  <c:v>89.6</c:v>
                </c:pt>
                <c:pt idx="10480">
                  <c:v>90.9</c:v>
                </c:pt>
                <c:pt idx="10481">
                  <c:v>92.7</c:v>
                </c:pt>
                <c:pt idx="10482">
                  <c:v>93.7</c:v>
                </c:pt>
                <c:pt idx="10483">
                  <c:v>94.5</c:v>
                </c:pt>
                <c:pt idx="10484">
                  <c:v>94.5</c:v>
                </c:pt>
                <c:pt idx="10485">
                  <c:v>93.2</c:v>
                </c:pt>
                <c:pt idx="10486">
                  <c:v>93.2</c:v>
                </c:pt>
                <c:pt idx="10487">
                  <c:v>95.2</c:v>
                </c:pt>
                <c:pt idx="10488">
                  <c:v>95.2</c:v>
                </c:pt>
                <c:pt idx="10489">
                  <c:v>94.3</c:v>
                </c:pt>
                <c:pt idx="10490">
                  <c:v>94.3</c:v>
                </c:pt>
                <c:pt idx="10491">
                  <c:v>88</c:v>
                </c:pt>
                <c:pt idx="10492">
                  <c:v>88.5</c:v>
                </c:pt>
                <c:pt idx="10493">
                  <c:v>88.5</c:v>
                </c:pt>
                <c:pt idx="10494">
                  <c:v>89.1</c:v>
                </c:pt>
                <c:pt idx="10495">
                  <c:v>88</c:v>
                </c:pt>
                <c:pt idx="10496">
                  <c:v>88</c:v>
                </c:pt>
                <c:pt idx="10497">
                  <c:v>88</c:v>
                </c:pt>
                <c:pt idx="10498">
                  <c:v>84.4</c:v>
                </c:pt>
                <c:pt idx="10499">
                  <c:v>84.4</c:v>
                </c:pt>
                <c:pt idx="10500">
                  <c:v>82</c:v>
                </c:pt>
                <c:pt idx="10501">
                  <c:v>80.8</c:v>
                </c:pt>
                <c:pt idx="10502">
                  <c:v>79.7</c:v>
                </c:pt>
                <c:pt idx="10503">
                  <c:v>78.8</c:v>
                </c:pt>
                <c:pt idx="10504">
                  <c:v>79.7</c:v>
                </c:pt>
                <c:pt idx="10505">
                  <c:v>78.400000000000006</c:v>
                </c:pt>
                <c:pt idx="10506">
                  <c:v>77.900000000000006</c:v>
                </c:pt>
                <c:pt idx="10507">
                  <c:v>77</c:v>
                </c:pt>
                <c:pt idx="10508">
                  <c:v>76.599999999999994</c:v>
                </c:pt>
                <c:pt idx="10509">
                  <c:v>77</c:v>
                </c:pt>
                <c:pt idx="10510">
                  <c:v>77.2</c:v>
                </c:pt>
                <c:pt idx="10511">
                  <c:v>77</c:v>
                </c:pt>
                <c:pt idx="10512">
                  <c:v>77</c:v>
                </c:pt>
                <c:pt idx="10513">
                  <c:v>75.7</c:v>
                </c:pt>
                <c:pt idx="10514">
                  <c:v>75.400000000000006</c:v>
                </c:pt>
                <c:pt idx="10515">
                  <c:v>75.2</c:v>
                </c:pt>
                <c:pt idx="10516">
                  <c:v>74.7</c:v>
                </c:pt>
                <c:pt idx="10517">
                  <c:v>75.400000000000006</c:v>
                </c:pt>
                <c:pt idx="10518">
                  <c:v>74.5</c:v>
                </c:pt>
                <c:pt idx="10519">
                  <c:v>74.3</c:v>
                </c:pt>
                <c:pt idx="10520">
                  <c:v>74.3</c:v>
                </c:pt>
                <c:pt idx="10521">
                  <c:v>75</c:v>
                </c:pt>
                <c:pt idx="10522">
                  <c:v>74.3</c:v>
                </c:pt>
                <c:pt idx="10523">
                  <c:v>73.900000000000006</c:v>
                </c:pt>
                <c:pt idx="10524">
                  <c:v>73.900000000000006</c:v>
                </c:pt>
                <c:pt idx="10525">
                  <c:v>74.5</c:v>
                </c:pt>
                <c:pt idx="10526">
                  <c:v>73.8</c:v>
                </c:pt>
                <c:pt idx="10527">
                  <c:v>73.400000000000006</c:v>
                </c:pt>
                <c:pt idx="10528">
                  <c:v>73.2</c:v>
                </c:pt>
                <c:pt idx="10529">
                  <c:v>74.099999999999994</c:v>
                </c:pt>
                <c:pt idx="10530">
                  <c:v>73.599999999999994</c:v>
                </c:pt>
                <c:pt idx="10531">
                  <c:v>73</c:v>
                </c:pt>
                <c:pt idx="10532">
                  <c:v>73</c:v>
                </c:pt>
                <c:pt idx="10533">
                  <c:v>73</c:v>
                </c:pt>
                <c:pt idx="10534">
                  <c:v>72.900000000000006</c:v>
                </c:pt>
                <c:pt idx="10535">
                  <c:v>73.599999999999994</c:v>
                </c:pt>
                <c:pt idx="10536">
                  <c:v>73</c:v>
                </c:pt>
                <c:pt idx="10537">
                  <c:v>72.7</c:v>
                </c:pt>
                <c:pt idx="10538">
                  <c:v>72.7</c:v>
                </c:pt>
                <c:pt idx="10539">
                  <c:v>72.7</c:v>
                </c:pt>
                <c:pt idx="10540">
                  <c:v>72.7</c:v>
                </c:pt>
                <c:pt idx="10541">
                  <c:v>73</c:v>
                </c:pt>
                <c:pt idx="10542">
                  <c:v>71.8</c:v>
                </c:pt>
                <c:pt idx="10543">
                  <c:v>73.400000000000006</c:v>
                </c:pt>
                <c:pt idx="10544">
                  <c:v>75.400000000000006</c:v>
                </c:pt>
                <c:pt idx="10545">
                  <c:v>76.8</c:v>
                </c:pt>
                <c:pt idx="10546">
                  <c:v>79.3</c:v>
                </c:pt>
                <c:pt idx="10547">
                  <c:v>82</c:v>
                </c:pt>
                <c:pt idx="10548">
                  <c:v>84.9</c:v>
                </c:pt>
                <c:pt idx="10549">
                  <c:v>86.5</c:v>
                </c:pt>
                <c:pt idx="10550">
                  <c:v>86.5</c:v>
                </c:pt>
                <c:pt idx="10551">
                  <c:v>76.5</c:v>
                </c:pt>
                <c:pt idx="10552">
                  <c:v>76.5</c:v>
                </c:pt>
                <c:pt idx="10553">
                  <c:v>76.5</c:v>
                </c:pt>
                <c:pt idx="10554">
                  <c:v>76.5</c:v>
                </c:pt>
                <c:pt idx="10555">
                  <c:v>76.5</c:v>
                </c:pt>
                <c:pt idx="10556">
                  <c:v>76.5</c:v>
                </c:pt>
                <c:pt idx="10557">
                  <c:v>76.5</c:v>
                </c:pt>
                <c:pt idx="10558">
                  <c:v>76.5</c:v>
                </c:pt>
                <c:pt idx="10559">
                  <c:v>76.5</c:v>
                </c:pt>
                <c:pt idx="10560">
                  <c:v>76.5</c:v>
                </c:pt>
                <c:pt idx="10561">
                  <c:v>99</c:v>
                </c:pt>
                <c:pt idx="10562">
                  <c:v>93.2</c:v>
                </c:pt>
                <c:pt idx="10563">
                  <c:v>92.3</c:v>
                </c:pt>
                <c:pt idx="10564">
                  <c:v>91.6</c:v>
                </c:pt>
                <c:pt idx="10565">
                  <c:v>83.8</c:v>
                </c:pt>
                <c:pt idx="10566">
                  <c:v>76.8</c:v>
                </c:pt>
                <c:pt idx="10567">
                  <c:v>78.599999999999994</c:v>
                </c:pt>
                <c:pt idx="10568">
                  <c:v>85.8</c:v>
                </c:pt>
                <c:pt idx="10569">
                  <c:v>91.6</c:v>
                </c:pt>
                <c:pt idx="10570">
                  <c:v>82.6</c:v>
                </c:pt>
                <c:pt idx="10571">
                  <c:v>81.7</c:v>
                </c:pt>
                <c:pt idx="10572">
                  <c:v>80.599999999999994</c:v>
                </c:pt>
                <c:pt idx="10573">
                  <c:v>82.6</c:v>
                </c:pt>
                <c:pt idx="10574">
                  <c:v>86.4</c:v>
                </c:pt>
                <c:pt idx="10575">
                  <c:v>88.7</c:v>
                </c:pt>
                <c:pt idx="10576">
                  <c:v>91.2</c:v>
                </c:pt>
                <c:pt idx="10577">
                  <c:v>94.8</c:v>
                </c:pt>
                <c:pt idx="10578">
                  <c:v>96.3</c:v>
                </c:pt>
                <c:pt idx="10579">
                  <c:v>96.8</c:v>
                </c:pt>
                <c:pt idx="10580">
                  <c:v>98.2</c:v>
                </c:pt>
                <c:pt idx="10581">
                  <c:v>98.1</c:v>
                </c:pt>
                <c:pt idx="10582">
                  <c:v>97.7</c:v>
                </c:pt>
                <c:pt idx="10583">
                  <c:v>94.5</c:v>
                </c:pt>
                <c:pt idx="10584">
                  <c:v>95</c:v>
                </c:pt>
                <c:pt idx="10585">
                  <c:v>93.2</c:v>
                </c:pt>
                <c:pt idx="10586">
                  <c:v>91.4</c:v>
                </c:pt>
                <c:pt idx="10587">
                  <c:v>92.3</c:v>
                </c:pt>
                <c:pt idx="10588">
                  <c:v>91.8</c:v>
                </c:pt>
                <c:pt idx="10589">
                  <c:v>89.8</c:v>
                </c:pt>
                <c:pt idx="10590">
                  <c:v>88.5</c:v>
                </c:pt>
                <c:pt idx="10591">
                  <c:v>88.3</c:v>
                </c:pt>
                <c:pt idx="10592">
                  <c:v>86</c:v>
                </c:pt>
                <c:pt idx="10593">
                  <c:v>85.5</c:v>
                </c:pt>
                <c:pt idx="10594">
                  <c:v>84.6</c:v>
                </c:pt>
                <c:pt idx="10595">
                  <c:v>83.1</c:v>
                </c:pt>
                <c:pt idx="10596">
                  <c:v>81.7</c:v>
                </c:pt>
                <c:pt idx="10597">
                  <c:v>81</c:v>
                </c:pt>
                <c:pt idx="10598">
                  <c:v>80.2</c:v>
                </c:pt>
                <c:pt idx="10599">
                  <c:v>79.7</c:v>
                </c:pt>
                <c:pt idx="10600">
                  <c:v>79</c:v>
                </c:pt>
                <c:pt idx="10601">
                  <c:v>78.3</c:v>
                </c:pt>
                <c:pt idx="10602">
                  <c:v>77.7</c:v>
                </c:pt>
                <c:pt idx="10603">
                  <c:v>77.2</c:v>
                </c:pt>
                <c:pt idx="10604">
                  <c:v>76.599999999999994</c:v>
                </c:pt>
                <c:pt idx="10605">
                  <c:v>76.3</c:v>
                </c:pt>
                <c:pt idx="10606">
                  <c:v>75.900000000000006</c:v>
                </c:pt>
                <c:pt idx="10607">
                  <c:v>75.900000000000006</c:v>
                </c:pt>
                <c:pt idx="10608">
                  <c:v>75.900000000000006</c:v>
                </c:pt>
                <c:pt idx="10609">
                  <c:v>75.900000000000006</c:v>
                </c:pt>
                <c:pt idx="10610">
                  <c:v>75.900000000000006</c:v>
                </c:pt>
                <c:pt idx="10611">
                  <c:v>75.900000000000006</c:v>
                </c:pt>
                <c:pt idx="10612">
                  <c:v>75.900000000000006</c:v>
                </c:pt>
                <c:pt idx="10613">
                  <c:v>75.900000000000006</c:v>
                </c:pt>
                <c:pt idx="10614">
                  <c:v>75.900000000000006</c:v>
                </c:pt>
                <c:pt idx="10615">
                  <c:v>75.900000000000006</c:v>
                </c:pt>
                <c:pt idx="10616">
                  <c:v>75.900000000000006</c:v>
                </c:pt>
                <c:pt idx="10617">
                  <c:v>75.900000000000006</c:v>
                </c:pt>
                <c:pt idx="10618">
                  <c:v>75.900000000000006</c:v>
                </c:pt>
                <c:pt idx="10619">
                  <c:v>75.900000000000006</c:v>
                </c:pt>
                <c:pt idx="10620">
                  <c:v>75.900000000000006</c:v>
                </c:pt>
                <c:pt idx="10621">
                  <c:v>75.900000000000006</c:v>
                </c:pt>
                <c:pt idx="10622">
                  <c:v>74.7</c:v>
                </c:pt>
                <c:pt idx="10623">
                  <c:v>74.3</c:v>
                </c:pt>
                <c:pt idx="10624">
                  <c:v>74.3</c:v>
                </c:pt>
                <c:pt idx="10625">
                  <c:v>73.900000000000006</c:v>
                </c:pt>
                <c:pt idx="10626">
                  <c:v>73.8</c:v>
                </c:pt>
                <c:pt idx="10627">
                  <c:v>73.8</c:v>
                </c:pt>
                <c:pt idx="10628">
                  <c:v>73.599999999999994</c:v>
                </c:pt>
                <c:pt idx="10629">
                  <c:v>75.599999999999994</c:v>
                </c:pt>
                <c:pt idx="10630">
                  <c:v>73.400000000000006</c:v>
                </c:pt>
                <c:pt idx="10631">
                  <c:v>73.400000000000006</c:v>
                </c:pt>
                <c:pt idx="10632">
                  <c:v>73.599999999999994</c:v>
                </c:pt>
                <c:pt idx="10633">
                  <c:v>73.900000000000006</c:v>
                </c:pt>
                <c:pt idx="10634">
                  <c:v>75.900000000000006</c:v>
                </c:pt>
                <c:pt idx="10635">
                  <c:v>74.3</c:v>
                </c:pt>
                <c:pt idx="10636">
                  <c:v>73.599999999999994</c:v>
                </c:pt>
                <c:pt idx="10637">
                  <c:v>73.2</c:v>
                </c:pt>
                <c:pt idx="10638">
                  <c:v>73.2</c:v>
                </c:pt>
                <c:pt idx="10639">
                  <c:v>74.5</c:v>
                </c:pt>
                <c:pt idx="10640">
                  <c:v>75.7</c:v>
                </c:pt>
                <c:pt idx="10641">
                  <c:v>77.5</c:v>
                </c:pt>
                <c:pt idx="10642">
                  <c:v>77.5</c:v>
                </c:pt>
                <c:pt idx="10643">
                  <c:v>77.5</c:v>
                </c:pt>
                <c:pt idx="10644">
                  <c:v>77.5</c:v>
                </c:pt>
                <c:pt idx="10645">
                  <c:v>77.5</c:v>
                </c:pt>
                <c:pt idx="10646">
                  <c:v>77.5</c:v>
                </c:pt>
                <c:pt idx="10647">
                  <c:v>77.5</c:v>
                </c:pt>
                <c:pt idx="10648">
                  <c:v>77.5</c:v>
                </c:pt>
                <c:pt idx="10649">
                  <c:v>77.5</c:v>
                </c:pt>
                <c:pt idx="10650">
                  <c:v>77.5</c:v>
                </c:pt>
                <c:pt idx="10651">
                  <c:v>77.5</c:v>
                </c:pt>
                <c:pt idx="10652">
                  <c:v>77.5</c:v>
                </c:pt>
                <c:pt idx="10653">
                  <c:v>77.5</c:v>
                </c:pt>
                <c:pt idx="10654">
                  <c:v>77.5</c:v>
                </c:pt>
                <c:pt idx="10655">
                  <c:v>77.5</c:v>
                </c:pt>
                <c:pt idx="10656">
                  <c:v>77.5</c:v>
                </c:pt>
                <c:pt idx="10657">
                  <c:v>90.5</c:v>
                </c:pt>
                <c:pt idx="10658">
                  <c:v>91.4</c:v>
                </c:pt>
                <c:pt idx="10659">
                  <c:v>93.2</c:v>
                </c:pt>
                <c:pt idx="10660">
                  <c:v>94.8</c:v>
                </c:pt>
                <c:pt idx="10661">
                  <c:v>95</c:v>
                </c:pt>
                <c:pt idx="10662">
                  <c:v>97.7</c:v>
                </c:pt>
                <c:pt idx="10663">
                  <c:v>99.7</c:v>
                </c:pt>
                <c:pt idx="10664">
                  <c:v>102.9</c:v>
                </c:pt>
                <c:pt idx="10665">
                  <c:v>101.1</c:v>
                </c:pt>
                <c:pt idx="10666">
                  <c:v>98.4</c:v>
                </c:pt>
                <c:pt idx="10667">
                  <c:v>98.2</c:v>
                </c:pt>
                <c:pt idx="10668">
                  <c:v>97.2</c:v>
                </c:pt>
                <c:pt idx="10669">
                  <c:v>97.7</c:v>
                </c:pt>
                <c:pt idx="10670">
                  <c:v>95.5</c:v>
                </c:pt>
                <c:pt idx="10671">
                  <c:v>88.7</c:v>
                </c:pt>
                <c:pt idx="10672">
                  <c:v>81.099999999999994</c:v>
                </c:pt>
                <c:pt idx="10673">
                  <c:v>76.599999999999994</c:v>
                </c:pt>
                <c:pt idx="10674">
                  <c:v>75.7</c:v>
                </c:pt>
                <c:pt idx="10675">
                  <c:v>87.6</c:v>
                </c:pt>
                <c:pt idx="10676">
                  <c:v>90.3</c:v>
                </c:pt>
                <c:pt idx="10677">
                  <c:v>90.3</c:v>
                </c:pt>
                <c:pt idx="10678">
                  <c:v>90.1</c:v>
                </c:pt>
                <c:pt idx="10679">
                  <c:v>90.5</c:v>
                </c:pt>
                <c:pt idx="10680">
                  <c:v>93.4</c:v>
                </c:pt>
                <c:pt idx="10681">
                  <c:v>95.4</c:v>
                </c:pt>
                <c:pt idx="10682">
                  <c:v>93.9</c:v>
                </c:pt>
                <c:pt idx="10683">
                  <c:v>94.3</c:v>
                </c:pt>
                <c:pt idx="10684">
                  <c:v>93.2</c:v>
                </c:pt>
                <c:pt idx="10685">
                  <c:v>93.2</c:v>
                </c:pt>
                <c:pt idx="10686">
                  <c:v>93.7</c:v>
                </c:pt>
                <c:pt idx="10687">
                  <c:v>93.7</c:v>
                </c:pt>
                <c:pt idx="10688">
                  <c:v>93.7</c:v>
                </c:pt>
                <c:pt idx="10689">
                  <c:v>86.9</c:v>
                </c:pt>
                <c:pt idx="10690">
                  <c:v>86.9</c:v>
                </c:pt>
                <c:pt idx="10691">
                  <c:v>86.9</c:v>
                </c:pt>
                <c:pt idx="10692">
                  <c:v>86.9</c:v>
                </c:pt>
                <c:pt idx="10693">
                  <c:v>82.8</c:v>
                </c:pt>
                <c:pt idx="10694">
                  <c:v>84.4</c:v>
                </c:pt>
                <c:pt idx="10695">
                  <c:v>84.4</c:v>
                </c:pt>
                <c:pt idx="10696">
                  <c:v>82.9</c:v>
                </c:pt>
                <c:pt idx="10697">
                  <c:v>82.4</c:v>
                </c:pt>
                <c:pt idx="10698">
                  <c:v>81.7</c:v>
                </c:pt>
                <c:pt idx="10699">
                  <c:v>80.8</c:v>
                </c:pt>
                <c:pt idx="10700">
                  <c:v>80.400000000000006</c:v>
                </c:pt>
                <c:pt idx="10701">
                  <c:v>80.8</c:v>
                </c:pt>
                <c:pt idx="10702">
                  <c:v>81</c:v>
                </c:pt>
                <c:pt idx="10703">
                  <c:v>81.3</c:v>
                </c:pt>
                <c:pt idx="10704">
                  <c:v>75.599999999999994</c:v>
                </c:pt>
                <c:pt idx="10705">
                  <c:v>74.5</c:v>
                </c:pt>
                <c:pt idx="10706">
                  <c:v>73.400000000000006</c:v>
                </c:pt>
                <c:pt idx="10707">
                  <c:v>73.400000000000006</c:v>
                </c:pt>
                <c:pt idx="10708">
                  <c:v>73.599999999999994</c:v>
                </c:pt>
                <c:pt idx="10709">
                  <c:v>73.400000000000006</c:v>
                </c:pt>
                <c:pt idx="10710">
                  <c:v>72.900000000000006</c:v>
                </c:pt>
                <c:pt idx="10711">
                  <c:v>72.7</c:v>
                </c:pt>
                <c:pt idx="10712">
                  <c:v>73.599999999999994</c:v>
                </c:pt>
                <c:pt idx="10713">
                  <c:v>72.7</c:v>
                </c:pt>
                <c:pt idx="10714">
                  <c:v>74.7</c:v>
                </c:pt>
                <c:pt idx="10715">
                  <c:v>72.900000000000006</c:v>
                </c:pt>
                <c:pt idx="10716">
                  <c:v>73.2</c:v>
                </c:pt>
                <c:pt idx="10717">
                  <c:v>73</c:v>
                </c:pt>
                <c:pt idx="10718">
                  <c:v>72.5</c:v>
                </c:pt>
                <c:pt idx="10719">
                  <c:v>72.099999999999994</c:v>
                </c:pt>
                <c:pt idx="10720">
                  <c:v>72.099999999999994</c:v>
                </c:pt>
                <c:pt idx="10721">
                  <c:v>72</c:v>
                </c:pt>
                <c:pt idx="10722">
                  <c:v>73.599999999999994</c:v>
                </c:pt>
                <c:pt idx="10723">
                  <c:v>72.099999999999994</c:v>
                </c:pt>
                <c:pt idx="10724">
                  <c:v>71.8</c:v>
                </c:pt>
                <c:pt idx="10725">
                  <c:v>72.099999999999994</c:v>
                </c:pt>
                <c:pt idx="10726">
                  <c:v>73</c:v>
                </c:pt>
                <c:pt idx="10727">
                  <c:v>72.099999999999994</c:v>
                </c:pt>
                <c:pt idx="10728">
                  <c:v>72.099999999999994</c:v>
                </c:pt>
                <c:pt idx="10729">
                  <c:v>72.099999999999994</c:v>
                </c:pt>
                <c:pt idx="10730">
                  <c:v>72.7</c:v>
                </c:pt>
                <c:pt idx="10731">
                  <c:v>72.5</c:v>
                </c:pt>
                <c:pt idx="10732">
                  <c:v>71.8</c:v>
                </c:pt>
                <c:pt idx="10733">
                  <c:v>71.8</c:v>
                </c:pt>
                <c:pt idx="10734">
                  <c:v>72.900000000000006</c:v>
                </c:pt>
                <c:pt idx="10735">
                  <c:v>72.3</c:v>
                </c:pt>
                <c:pt idx="10736">
                  <c:v>72.3</c:v>
                </c:pt>
                <c:pt idx="10737">
                  <c:v>72.3</c:v>
                </c:pt>
                <c:pt idx="10738">
                  <c:v>72.3</c:v>
                </c:pt>
                <c:pt idx="10739">
                  <c:v>72.3</c:v>
                </c:pt>
                <c:pt idx="10740">
                  <c:v>72.3</c:v>
                </c:pt>
                <c:pt idx="10741">
                  <c:v>72.3</c:v>
                </c:pt>
                <c:pt idx="10742">
                  <c:v>72.3</c:v>
                </c:pt>
                <c:pt idx="10743">
                  <c:v>72.3</c:v>
                </c:pt>
                <c:pt idx="10744">
                  <c:v>72.3</c:v>
                </c:pt>
                <c:pt idx="10745">
                  <c:v>72.3</c:v>
                </c:pt>
                <c:pt idx="10746">
                  <c:v>72.3</c:v>
                </c:pt>
                <c:pt idx="10747">
                  <c:v>72.3</c:v>
                </c:pt>
                <c:pt idx="10748">
                  <c:v>72.3</c:v>
                </c:pt>
                <c:pt idx="10749">
                  <c:v>72.3</c:v>
                </c:pt>
                <c:pt idx="10750">
                  <c:v>72.3</c:v>
                </c:pt>
                <c:pt idx="10751">
                  <c:v>72.3</c:v>
                </c:pt>
                <c:pt idx="10752">
                  <c:v>82.6</c:v>
                </c:pt>
                <c:pt idx="10753">
                  <c:v>83.5</c:v>
                </c:pt>
                <c:pt idx="10754">
                  <c:v>85.5</c:v>
                </c:pt>
                <c:pt idx="10755">
                  <c:v>87.3</c:v>
                </c:pt>
                <c:pt idx="10756">
                  <c:v>86.9</c:v>
                </c:pt>
                <c:pt idx="10757">
                  <c:v>87.4</c:v>
                </c:pt>
                <c:pt idx="10758">
                  <c:v>88.3</c:v>
                </c:pt>
                <c:pt idx="10759">
                  <c:v>90</c:v>
                </c:pt>
                <c:pt idx="10760">
                  <c:v>90.7</c:v>
                </c:pt>
                <c:pt idx="10761">
                  <c:v>91</c:v>
                </c:pt>
                <c:pt idx="10762">
                  <c:v>91.8</c:v>
                </c:pt>
                <c:pt idx="10763">
                  <c:v>92.5</c:v>
                </c:pt>
                <c:pt idx="10764">
                  <c:v>92.3</c:v>
                </c:pt>
                <c:pt idx="10765">
                  <c:v>91.9</c:v>
                </c:pt>
                <c:pt idx="10766">
                  <c:v>93.7</c:v>
                </c:pt>
                <c:pt idx="10767">
                  <c:v>95.2</c:v>
                </c:pt>
                <c:pt idx="10768">
                  <c:v>95.7</c:v>
                </c:pt>
                <c:pt idx="10769">
                  <c:v>97.3</c:v>
                </c:pt>
                <c:pt idx="10770">
                  <c:v>98.6</c:v>
                </c:pt>
                <c:pt idx="10771">
                  <c:v>99.5</c:v>
                </c:pt>
                <c:pt idx="10772">
                  <c:v>99.9</c:v>
                </c:pt>
                <c:pt idx="10773">
                  <c:v>99.1</c:v>
                </c:pt>
                <c:pt idx="10774">
                  <c:v>97.2</c:v>
                </c:pt>
                <c:pt idx="10775">
                  <c:v>97.5</c:v>
                </c:pt>
                <c:pt idx="10776">
                  <c:v>94.5</c:v>
                </c:pt>
                <c:pt idx="10777">
                  <c:v>94.5</c:v>
                </c:pt>
                <c:pt idx="10778">
                  <c:v>92.8</c:v>
                </c:pt>
                <c:pt idx="10779">
                  <c:v>92.8</c:v>
                </c:pt>
                <c:pt idx="10780">
                  <c:v>92.8</c:v>
                </c:pt>
                <c:pt idx="10781">
                  <c:v>90.7</c:v>
                </c:pt>
                <c:pt idx="10782">
                  <c:v>88.9</c:v>
                </c:pt>
                <c:pt idx="10783">
                  <c:v>88.3</c:v>
                </c:pt>
                <c:pt idx="10784">
                  <c:v>86.4</c:v>
                </c:pt>
                <c:pt idx="10785">
                  <c:v>86</c:v>
                </c:pt>
                <c:pt idx="10786">
                  <c:v>84.4</c:v>
                </c:pt>
                <c:pt idx="10787">
                  <c:v>84.4</c:v>
                </c:pt>
                <c:pt idx="10788">
                  <c:v>83.3</c:v>
                </c:pt>
                <c:pt idx="10789">
                  <c:v>82.6</c:v>
                </c:pt>
                <c:pt idx="10790">
                  <c:v>82.6</c:v>
                </c:pt>
                <c:pt idx="10791">
                  <c:v>81.900000000000006</c:v>
                </c:pt>
                <c:pt idx="10792">
                  <c:v>81.5</c:v>
                </c:pt>
                <c:pt idx="10793">
                  <c:v>82.6</c:v>
                </c:pt>
                <c:pt idx="10794">
                  <c:v>82.6</c:v>
                </c:pt>
                <c:pt idx="10795">
                  <c:v>82.6</c:v>
                </c:pt>
                <c:pt idx="10796">
                  <c:v>82.9</c:v>
                </c:pt>
                <c:pt idx="10797">
                  <c:v>82.8</c:v>
                </c:pt>
                <c:pt idx="10798">
                  <c:v>81.099999999999994</c:v>
                </c:pt>
                <c:pt idx="10799">
                  <c:v>80.8</c:v>
                </c:pt>
                <c:pt idx="10800">
                  <c:v>80.099999999999994</c:v>
                </c:pt>
                <c:pt idx="10801">
                  <c:v>80.400000000000006</c:v>
                </c:pt>
                <c:pt idx="10802">
                  <c:v>79.900000000000006</c:v>
                </c:pt>
                <c:pt idx="10803">
                  <c:v>79.900000000000006</c:v>
                </c:pt>
                <c:pt idx="10804">
                  <c:v>79.900000000000006</c:v>
                </c:pt>
                <c:pt idx="10805">
                  <c:v>78.599999999999994</c:v>
                </c:pt>
                <c:pt idx="10806">
                  <c:v>78.3</c:v>
                </c:pt>
                <c:pt idx="10807">
                  <c:v>78.8</c:v>
                </c:pt>
                <c:pt idx="10808">
                  <c:v>79.3</c:v>
                </c:pt>
                <c:pt idx="10809">
                  <c:v>77.900000000000006</c:v>
                </c:pt>
                <c:pt idx="10810">
                  <c:v>77.900000000000006</c:v>
                </c:pt>
                <c:pt idx="10811">
                  <c:v>77.400000000000006</c:v>
                </c:pt>
                <c:pt idx="10812">
                  <c:v>77</c:v>
                </c:pt>
                <c:pt idx="10813">
                  <c:v>77.7</c:v>
                </c:pt>
                <c:pt idx="10814">
                  <c:v>77</c:v>
                </c:pt>
                <c:pt idx="10815">
                  <c:v>76.599999999999994</c:v>
                </c:pt>
                <c:pt idx="10816">
                  <c:v>77.2</c:v>
                </c:pt>
                <c:pt idx="10817">
                  <c:v>77.2</c:v>
                </c:pt>
                <c:pt idx="10818">
                  <c:v>77.400000000000006</c:v>
                </c:pt>
                <c:pt idx="10819">
                  <c:v>77</c:v>
                </c:pt>
                <c:pt idx="10820">
                  <c:v>75.900000000000006</c:v>
                </c:pt>
                <c:pt idx="10821">
                  <c:v>75.599999999999994</c:v>
                </c:pt>
                <c:pt idx="10822">
                  <c:v>75.900000000000006</c:v>
                </c:pt>
                <c:pt idx="10823">
                  <c:v>75.599999999999994</c:v>
                </c:pt>
                <c:pt idx="10824">
                  <c:v>75.599999999999994</c:v>
                </c:pt>
                <c:pt idx="10825">
                  <c:v>75.599999999999994</c:v>
                </c:pt>
                <c:pt idx="10826">
                  <c:v>76.8</c:v>
                </c:pt>
                <c:pt idx="10827">
                  <c:v>76.599999999999994</c:v>
                </c:pt>
                <c:pt idx="10828">
                  <c:v>76.3</c:v>
                </c:pt>
                <c:pt idx="10829">
                  <c:v>75.599999999999994</c:v>
                </c:pt>
                <c:pt idx="10830">
                  <c:v>75.7</c:v>
                </c:pt>
                <c:pt idx="10831">
                  <c:v>76.099999999999994</c:v>
                </c:pt>
                <c:pt idx="10832">
                  <c:v>76.3</c:v>
                </c:pt>
                <c:pt idx="10833">
                  <c:v>77.2</c:v>
                </c:pt>
                <c:pt idx="10834">
                  <c:v>79.7</c:v>
                </c:pt>
                <c:pt idx="10835">
                  <c:v>82.8</c:v>
                </c:pt>
                <c:pt idx="10836">
                  <c:v>84.9</c:v>
                </c:pt>
                <c:pt idx="10837">
                  <c:v>86.7</c:v>
                </c:pt>
                <c:pt idx="10838">
                  <c:v>87.4</c:v>
                </c:pt>
                <c:pt idx="10839">
                  <c:v>87.4</c:v>
                </c:pt>
                <c:pt idx="10840">
                  <c:v>87.4</c:v>
                </c:pt>
                <c:pt idx="10841">
                  <c:v>87.4</c:v>
                </c:pt>
                <c:pt idx="10842">
                  <c:v>87.4</c:v>
                </c:pt>
                <c:pt idx="10843">
                  <c:v>87.4</c:v>
                </c:pt>
                <c:pt idx="10844">
                  <c:v>87.4</c:v>
                </c:pt>
                <c:pt idx="10845">
                  <c:v>87.4</c:v>
                </c:pt>
                <c:pt idx="10846">
                  <c:v>87.4</c:v>
                </c:pt>
                <c:pt idx="10847">
                  <c:v>87.4</c:v>
                </c:pt>
                <c:pt idx="10848">
                  <c:v>87.4</c:v>
                </c:pt>
                <c:pt idx="10849">
                  <c:v>87.4</c:v>
                </c:pt>
                <c:pt idx="10850">
                  <c:v>87.4</c:v>
                </c:pt>
                <c:pt idx="10851">
                  <c:v>87.4</c:v>
                </c:pt>
                <c:pt idx="10852">
                  <c:v>93.9</c:v>
                </c:pt>
                <c:pt idx="10853">
                  <c:v>91.2</c:v>
                </c:pt>
                <c:pt idx="10854">
                  <c:v>93</c:v>
                </c:pt>
                <c:pt idx="10855">
                  <c:v>94.3</c:v>
                </c:pt>
                <c:pt idx="10856">
                  <c:v>94.5</c:v>
                </c:pt>
                <c:pt idx="10857">
                  <c:v>96.3</c:v>
                </c:pt>
                <c:pt idx="10858">
                  <c:v>96.4</c:v>
                </c:pt>
                <c:pt idx="10859">
                  <c:v>94.1</c:v>
                </c:pt>
                <c:pt idx="10860">
                  <c:v>94.5</c:v>
                </c:pt>
                <c:pt idx="10861">
                  <c:v>96.4</c:v>
                </c:pt>
                <c:pt idx="10862">
                  <c:v>96.8</c:v>
                </c:pt>
                <c:pt idx="10863">
                  <c:v>93</c:v>
                </c:pt>
                <c:pt idx="10864">
                  <c:v>93.2</c:v>
                </c:pt>
                <c:pt idx="10865">
                  <c:v>95.2</c:v>
                </c:pt>
                <c:pt idx="10866">
                  <c:v>94.3</c:v>
                </c:pt>
                <c:pt idx="10867">
                  <c:v>94.5</c:v>
                </c:pt>
                <c:pt idx="10868">
                  <c:v>93.4</c:v>
                </c:pt>
                <c:pt idx="10869">
                  <c:v>91</c:v>
                </c:pt>
                <c:pt idx="10870">
                  <c:v>90.7</c:v>
                </c:pt>
                <c:pt idx="10871">
                  <c:v>90</c:v>
                </c:pt>
                <c:pt idx="10872">
                  <c:v>90</c:v>
                </c:pt>
                <c:pt idx="10873">
                  <c:v>90.3</c:v>
                </c:pt>
                <c:pt idx="10874">
                  <c:v>92.1</c:v>
                </c:pt>
                <c:pt idx="10875">
                  <c:v>90.9</c:v>
                </c:pt>
                <c:pt idx="10876">
                  <c:v>90.5</c:v>
                </c:pt>
                <c:pt idx="10877">
                  <c:v>89.8</c:v>
                </c:pt>
                <c:pt idx="10878">
                  <c:v>88.9</c:v>
                </c:pt>
                <c:pt idx="10879">
                  <c:v>87.8</c:v>
                </c:pt>
                <c:pt idx="10880">
                  <c:v>87.1</c:v>
                </c:pt>
                <c:pt idx="10881">
                  <c:v>86.4</c:v>
                </c:pt>
                <c:pt idx="10882">
                  <c:v>84.9</c:v>
                </c:pt>
                <c:pt idx="10883">
                  <c:v>83.8</c:v>
                </c:pt>
                <c:pt idx="10884">
                  <c:v>82.8</c:v>
                </c:pt>
                <c:pt idx="10885">
                  <c:v>81.900000000000006</c:v>
                </c:pt>
                <c:pt idx="10886">
                  <c:v>81.099999999999994</c:v>
                </c:pt>
                <c:pt idx="10887">
                  <c:v>80.400000000000006</c:v>
                </c:pt>
                <c:pt idx="10888">
                  <c:v>79.900000000000006</c:v>
                </c:pt>
                <c:pt idx="10889">
                  <c:v>79.5</c:v>
                </c:pt>
                <c:pt idx="10890">
                  <c:v>79.2</c:v>
                </c:pt>
                <c:pt idx="10891">
                  <c:v>79.3</c:v>
                </c:pt>
                <c:pt idx="10892">
                  <c:v>79.3</c:v>
                </c:pt>
                <c:pt idx="10893">
                  <c:v>79.3</c:v>
                </c:pt>
                <c:pt idx="10894">
                  <c:v>79.3</c:v>
                </c:pt>
                <c:pt idx="10895">
                  <c:v>79.3</c:v>
                </c:pt>
                <c:pt idx="10896">
                  <c:v>79.3</c:v>
                </c:pt>
                <c:pt idx="10897">
                  <c:v>79.3</c:v>
                </c:pt>
                <c:pt idx="10898">
                  <c:v>79.3</c:v>
                </c:pt>
                <c:pt idx="10899">
                  <c:v>79.3</c:v>
                </c:pt>
                <c:pt idx="10900">
                  <c:v>79.3</c:v>
                </c:pt>
                <c:pt idx="10901">
                  <c:v>79.3</c:v>
                </c:pt>
                <c:pt idx="10902">
                  <c:v>79.3</c:v>
                </c:pt>
                <c:pt idx="10903">
                  <c:v>79.3</c:v>
                </c:pt>
                <c:pt idx="10904">
                  <c:v>79.3</c:v>
                </c:pt>
                <c:pt idx="10905">
                  <c:v>79.3</c:v>
                </c:pt>
                <c:pt idx="10906">
                  <c:v>79.3</c:v>
                </c:pt>
                <c:pt idx="10907">
                  <c:v>76.5</c:v>
                </c:pt>
                <c:pt idx="10908">
                  <c:v>77.7</c:v>
                </c:pt>
                <c:pt idx="10909">
                  <c:v>77</c:v>
                </c:pt>
                <c:pt idx="10910">
                  <c:v>75.900000000000006</c:v>
                </c:pt>
                <c:pt idx="10911">
                  <c:v>75.599999999999994</c:v>
                </c:pt>
                <c:pt idx="10912">
                  <c:v>77.5</c:v>
                </c:pt>
                <c:pt idx="10913">
                  <c:v>75.900000000000006</c:v>
                </c:pt>
                <c:pt idx="10914">
                  <c:v>75.7</c:v>
                </c:pt>
                <c:pt idx="10915">
                  <c:v>76.099999999999994</c:v>
                </c:pt>
                <c:pt idx="10916">
                  <c:v>75.7</c:v>
                </c:pt>
                <c:pt idx="10917">
                  <c:v>76.099999999999994</c:v>
                </c:pt>
                <c:pt idx="10918">
                  <c:v>75.599999999999994</c:v>
                </c:pt>
                <c:pt idx="10919">
                  <c:v>77.2</c:v>
                </c:pt>
                <c:pt idx="10920">
                  <c:v>75.599999999999994</c:v>
                </c:pt>
                <c:pt idx="10921">
                  <c:v>75.2</c:v>
                </c:pt>
                <c:pt idx="10922">
                  <c:v>74.8</c:v>
                </c:pt>
                <c:pt idx="10923">
                  <c:v>76.599999999999994</c:v>
                </c:pt>
                <c:pt idx="10924">
                  <c:v>75.2</c:v>
                </c:pt>
                <c:pt idx="10925">
                  <c:v>75</c:v>
                </c:pt>
                <c:pt idx="10926">
                  <c:v>75.400000000000006</c:v>
                </c:pt>
                <c:pt idx="10927">
                  <c:v>79</c:v>
                </c:pt>
                <c:pt idx="10928">
                  <c:v>83.1</c:v>
                </c:pt>
                <c:pt idx="10929">
                  <c:v>85.5</c:v>
                </c:pt>
                <c:pt idx="10930">
                  <c:v>87.4</c:v>
                </c:pt>
                <c:pt idx="10931">
                  <c:v>88.2</c:v>
                </c:pt>
                <c:pt idx="10932">
                  <c:v>89.2</c:v>
                </c:pt>
                <c:pt idx="10933">
                  <c:v>91</c:v>
                </c:pt>
                <c:pt idx="10934">
                  <c:v>89.1</c:v>
                </c:pt>
                <c:pt idx="10935">
                  <c:v>88.7</c:v>
                </c:pt>
                <c:pt idx="10936">
                  <c:v>88.7</c:v>
                </c:pt>
                <c:pt idx="10937">
                  <c:v>92.7</c:v>
                </c:pt>
                <c:pt idx="10938">
                  <c:v>91.8</c:v>
                </c:pt>
                <c:pt idx="10939">
                  <c:v>88.9</c:v>
                </c:pt>
                <c:pt idx="10940">
                  <c:v>88</c:v>
                </c:pt>
                <c:pt idx="10941">
                  <c:v>91.9</c:v>
                </c:pt>
                <c:pt idx="10942">
                  <c:v>91.8</c:v>
                </c:pt>
                <c:pt idx="10943">
                  <c:v>89.8</c:v>
                </c:pt>
                <c:pt idx="10944">
                  <c:v>90.9</c:v>
                </c:pt>
                <c:pt idx="10945">
                  <c:v>90.1</c:v>
                </c:pt>
                <c:pt idx="10946">
                  <c:v>93.6</c:v>
                </c:pt>
                <c:pt idx="10947">
                  <c:v>94.6</c:v>
                </c:pt>
                <c:pt idx="10948">
                  <c:v>94.8</c:v>
                </c:pt>
                <c:pt idx="10949">
                  <c:v>95</c:v>
                </c:pt>
                <c:pt idx="10950">
                  <c:v>94.6</c:v>
                </c:pt>
                <c:pt idx="10951">
                  <c:v>93.6</c:v>
                </c:pt>
                <c:pt idx="10952">
                  <c:v>94.1</c:v>
                </c:pt>
                <c:pt idx="10953">
                  <c:v>95.7</c:v>
                </c:pt>
                <c:pt idx="10954">
                  <c:v>96.8</c:v>
                </c:pt>
                <c:pt idx="10955">
                  <c:v>95.2</c:v>
                </c:pt>
                <c:pt idx="10956">
                  <c:v>97</c:v>
                </c:pt>
                <c:pt idx="10957">
                  <c:v>95.7</c:v>
                </c:pt>
                <c:pt idx="10958">
                  <c:v>97.2</c:v>
                </c:pt>
                <c:pt idx="10959">
                  <c:v>96.3</c:v>
                </c:pt>
                <c:pt idx="10960">
                  <c:v>96.1</c:v>
                </c:pt>
                <c:pt idx="10961">
                  <c:v>95.7</c:v>
                </c:pt>
                <c:pt idx="10962">
                  <c:v>96.3</c:v>
                </c:pt>
                <c:pt idx="10963">
                  <c:v>97.5</c:v>
                </c:pt>
                <c:pt idx="10964">
                  <c:v>96.8</c:v>
                </c:pt>
                <c:pt idx="10965">
                  <c:v>94.3</c:v>
                </c:pt>
                <c:pt idx="10966">
                  <c:v>93.7</c:v>
                </c:pt>
                <c:pt idx="10967">
                  <c:v>99.1</c:v>
                </c:pt>
                <c:pt idx="10968">
                  <c:v>99</c:v>
                </c:pt>
                <c:pt idx="10969">
                  <c:v>97.3</c:v>
                </c:pt>
                <c:pt idx="10970">
                  <c:v>97.5</c:v>
                </c:pt>
                <c:pt idx="10971">
                  <c:v>95.9</c:v>
                </c:pt>
                <c:pt idx="10972">
                  <c:v>94.5</c:v>
                </c:pt>
                <c:pt idx="10973">
                  <c:v>93.4</c:v>
                </c:pt>
                <c:pt idx="10974">
                  <c:v>91.4</c:v>
                </c:pt>
                <c:pt idx="10975">
                  <c:v>89.4</c:v>
                </c:pt>
                <c:pt idx="10976">
                  <c:v>87.6</c:v>
                </c:pt>
                <c:pt idx="10977">
                  <c:v>85.5</c:v>
                </c:pt>
                <c:pt idx="10978">
                  <c:v>83.7</c:v>
                </c:pt>
                <c:pt idx="10979">
                  <c:v>82</c:v>
                </c:pt>
                <c:pt idx="10980">
                  <c:v>80.099999999999994</c:v>
                </c:pt>
                <c:pt idx="10981">
                  <c:v>79</c:v>
                </c:pt>
                <c:pt idx="10982">
                  <c:v>77.900000000000006</c:v>
                </c:pt>
                <c:pt idx="10983">
                  <c:v>76.8</c:v>
                </c:pt>
                <c:pt idx="10984">
                  <c:v>75.900000000000006</c:v>
                </c:pt>
                <c:pt idx="10985">
                  <c:v>75.599999999999994</c:v>
                </c:pt>
                <c:pt idx="10986">
                  <c:v>75.599999999999994</c:v>
                </c:pt>
                <c:pt idx="10987">
                  <c:v>75.599999999999994</c:v>
                </c:pt>
                <c:pt idx="10988">
                  <c:v>75.599999999999994</c:v>
                </c:pt>
                <c:pt idx="10989">
                  <c:v>75.599999999999994</c:v>
                </c:pt>
                <c:pt idx="10990">
                  <c:v>75.599999999999994</c:v>
                </c:pt>
                <c:pt idx="10991">
                  <c:v>75.599999999999994</c:v>
                </c:pt>
                <c:pt idx="10992">
                  <c:v>75.599999999999994</c:v>
                </c:pt>
                <c:pt idx="10993">
                  <c:v>75.599999999999994</c:v>
                </c:pt>
                <c:pt idx="10994">
                  <c:v>75.599999999999994</c:v>
                </c:pt>
                <c:pt idx="10995">
                  <c:v>75.599999999999994</c:v>
                </c:pt>
                <c:pt idx="10996">
                  <c:v>75.599999999999994</c:v>
                </c:pt>
                <c:pt idx="10997">
                  <c:v>75.599999999999994</c:v>
                </c:pt>
                <c:pt idx="10998">
                  <c:v>75.599999999999994</c:v>
                </c:pt>
                <c:pt idx="10999">
                  <c:v>75.599999999999994</c:v>
                </c:pt>
                <c:pt idx="11000">
                  <c:v>75.599999999999994</c:v>
                </c:pt>
                <c:pt idx="11001">
                  <c:v>76.099999999999994</c:v>
                </c:pt>
                <c:pt idx="11002">
                  <c:v>75.400000000000006</c:v>
                </c:pt>
                <c:pt idx="11003">
                  <c:v>75.599999999999994</c:v>
                </c:pt>
                <c:pt idx="11004">
                  <c:v>75</c:v>
                </c:pt>
                <c:pt idx="11005">
                  <c:v>74.3</c:v>
                </c:pt>
                <c:pt idx="11006">
                  <c:v>73.900000000000006</c:v>
                </c:pt>
                <c:pt idx="11007">
                  <c:v>76.099999999999994</c:v>
                </c:pt>
                <c:pt idx="11008">
                  <c:v>74.099999999999994</c:v>
                </c:pt>
                <c:pt idx="11009">
                  <c:v>74.7</c:v>
                </c:pt>
                <c:pt idx="11010">
                  <c:v>74.5</c:v>
                </c:pt>
                <c:pt idx="11011">
                  <c:v>74.3</c:v>
                </c:pt>
                <c:pt idx="11012">
                  <c:v>73.900000000000006</c:v>
                </c:pt>
                <c:pt idx="11013">
                  <c:v>73</c:v>
                </c:pt>
                <c:pt idx="11014">
                  <c:v>72.5</c:v>
                </c:pt>
                <c:pt idx="11015">
                  <c:v>72.5</c:v>
                </c:pt>
                <c:pt idx="11016">
                  <c:v>72.5</c:v>
                </c:pt>
                <c:pt idx="11017">
                  <c:v>72.7</c:v>
                </c:pt>
                <c:pt idx="11018">
                  <c:v>72.3</c:v>
                </c:pt>
                <c:pt idx="11019">
                  <c:v>72.099999999999994</c:v>
                </c:pt>
                <c:pt idx="11020">
                  <c:v>72</c:v>
                </c:pt>
                <c:pt idx="11021">
                  <c:v>70.900000000000006</c:v>
                </c:pt>
                <c:pt idx="11022">
                  <c:v>73.400000000000006</c:v>
                </c:pt>
                <c:pt idx="11023">
                  <c:v>75.2</c:v>
                </c:pt>
                <c:pt idx="11024">
                  <c:v>75.599999999999994</c:v>
                </c:pt>
                <c:pt idx="11025">
                  <c:v>75.599999999999994</c:v>
                </c:pt>
                <c:pt idx="11026">
                  <c:v>75.599999999999994</c:v>
                </c:pt>
                <c:pt idx="11027">
                  <c:v>75.599999999999994</c:v>
                </c:pt>
                <c:pt idx="11028">
                  <c:v>75.599999999999994</c:v>
                </c:pt>
                <c:pt idx="11029">
                  <c:v>75.599999999999994</c:v>
                </c:pt>
                <c:pt idx="11030">
                  <c:v>75.599999999999994</c:v>
                </c:pt>
                <c:pt idx="11031">
                  <c:v>75.599999999999994</c:v>
                </c:pt>
                <c:pt idx="11032">
                  <c:v>75.599999999999994</c:v>
                </c:pt>
                <c:pt idx="11033">
                  <c:v>75.599999999999994</c:v>
                </c:pt>
                <c:pt idx="11034">
                  <c:v>75.599999999999994</c:v>
                </c:pt>
                <c:pt idx="11035">
                  <c:v>75.599999999999994</c:v>
                </c:pt>
                <c:pt idx="11036">
                  <c:v>75.599999999999994</c:v>
                </c:pt>
                <c:pt idx="11037">
                  <c:v>75.599999999999994</c:v>
                </c:pt>
                <c:pt idx="11038">
                  <c:v>75.599999999999994</c:v>
                </c:pt>
                <c:pt idx="11039">
                  <c:v>75.599999999999994</c:v>
                </c:pt>
                <c:pt idx="11040">
                  <c:v>88.2</c:v>
                </c:pt>
                <c:pt idx="11041">
                  <c:v>90</c:v>
                </c:pt>
                <c:pt idx="11042">
                  <c:v>97.2</c:v>
                </c:pt>
                <c:pt idx="11043">
                  <c:v>95.7</c:v>
                </c:pt>
                <c:pt idx="11044">
                  <c:v>99</c:v>
                </c:pt>
                <c:pt idx="11045">
                  <c:v>94.1</c:v>
                </c:pt>
                <c:pt idx="11046">
                  <c:v>94.1</c:v>
                </c:pt>
                <c:pt idx="11047">
                  <c:v>94.3</c:v>
                </c:pt>
                <c:pt idx="11048">
                  <c:v>94.6</c:v>
                </c:pt>
                <c:pt idx="11049">
                  <c:v>95.4</c:v>
                </c:pt>
                <c:pt idx="11050">
                  <c:v>96.1</c:v>
                </c:pt>
                <c:pt idx="11051">
                  <c:v>97.2</c:v>
                </c:pt>
                <c:pt idx="11052">
                  <c:v>97.2</c:v>
                </c:pt>
                <c:pt idx="11053">
                  <c:v>97</c:v>
                </c:pt>
                <c:pt idx="11054">
                  <c:v>97.9</c:v>
                </c:pt>
                <c:pt idx="11055">
                  <c:v>97.7</c:v>
                </c:pt>
                <c:pt idx="11056">
                  <c:v>98.6</c:v>
                </c:pt>
                <c:pt idx="11057">
                  <c:v>99.3</c:v>
                </c:pt>
                <c:pt idx="11058">
                  <c:v>98.2</c:v>
                </c:pt>
                <c:pt idx="11059">
                  <c:v>99</c:v>
                </c:pt>
                <c:pt idx="11060">
                  <c:v>97.9</c:v>
                </c:pt>
                <c:pt idx="11061">
                  <c:v>98.6</c:v>
                </c:pt>
                <c:pt idx="11062">
                  <c:v>98.8</c:v>
                </c:pt>
                <c:pt idx="11063">
                  <c:v>98.6</c:v>
                </c:pt>
                <c:pt idx="11064">
                  <c:v>99.9</c:v>
                </c:pt>
                <c:pt idx="11065">
                  <c:v>101.3</c:v>
                </c:pt>
                <c:pt idx="11066">
                  <c:v>92.7</c:v>
                </c:pt>
                <c:pt idx="11067">
                  <c:v>89.6</c:v>
                </c:pt>
                <c:pt idx="11068">
                  <c:v>88.3</c:v>
                </c:pt>
                <c:pt idx="11069">
                  <c:v>87.4</c:v>
                </c:pt>
                <c:pt idx="11070">
                  <c:v>84.4</c:v>
                </c:pt>
                <c:pt idx="11071">
                  <c:v>79.3</c:v>
                </c:pt>
                <c:pt idx="11072">
                  <c:v>75.900000000000006</c:v>
                </c:pt>
                <c:pt idx="11073">
                  <c:v>75.2</c:v>
                </c:pt>
                <c:pt idx="11074">
                  <c:v>80.599999999999994</c:v>
                </c:pt>
                <c:pt idx="11075">
                  <c:v>78.3</c:v>
                </c:pt>
                <c:pt idx="11076">
                  <c:v>79.5</c:v>
                </c:pt>
                <c:pt idx="11077">
                  <c:v>78.400000000000006</c:v>
                </c:pt>
                <c:pt idx="11078">
                  <c:v>78.3</c:v>
                </c:pt>
                <c:pt idx="11079">
                  <c:v>75.7</c:v>
                </c:pt>
                <c:pt idx="11080">
                  <c:v>77</c:v>
                </c:pt>
                <c:pt idx="11081">
                  <c:v>77.400000000000006</c:v>
                </c:pt>
                <c:pt idx="11082">
                  <c:v>77.7</c:v>
                </c:pt>
                <c:pt idx="11083">
                  <c:v>76.8</c:v>
                </c:pt>
                <c:pt idx="11084">
                  <c:v>76.5</c:v>
                </c:pt>
                <c:pt idx="11085">
                  <c:v>77.900000000000006</c:v>
                </c:pt>
                <c:pt idx="11086">
                  <c:v>77.7</c:v>
                </c:pt>
                <c:pt idx="11087">
                  <c:v>76.5</c:v>
                </c:pt>
                <c:pt idx="11088">
                  <c:v>76.3</c:v>
                </c:pt>
                <c:pt idx="11089">
                  <c:v>76.8</c:v>
                </c:pt>
                <c:pt idx="11090">
                  <c:v>75.7</c:v>
                </c:pt>
                <c:pt idx="11091">
                  <c:v>74.8</c:v>
                </c:pt>
                <c:pt idx="11092">
                  <c:v>74.7</c:v>
                </c:pt>
                <c:pt idx="11093">
                  <c:v>74.099999999999994</c:v>
                </c:pt>
                <c:pt idx="11094">
                  <c:v>74.5</c:v>
                </c:pt>
                <c:pt idx="11095">
                  <c:v>74.7</c:v>
                </c:pt>
                <c:pt idx="11096">
                  <c:v>73.900000000000006</c:v>
                </c:pt>
                <c:pt idx="11097">
                  <c:v>73.8</c:v>
                </c:pt>
                <c:pt idx="11098">
                  <c:v>74.8</c:v>
                </c:pt>
                <c:pt idx="11099">
                  <c:v>73.8</c:v>
                </c:pt>
                <c:pt idx="11100">
                  <c:v>73.400000000000006</c:v>
                </c:pt>
                <c:pt idx="11101">
                  <c:v>73.2</c:v>
                </c:pt>
                <c:pt idx="11102">
                  <c:v>74.099999999999994</c:v>
                </c:pt>
                <c:pt idx="11103">
                  <c:v>74.099999999999994</c:v>
                </c:pt>
                <c:pt idx="11104">
                  <c:v>74.5</c:v>
                </c:pt>
                <c:pt idx="11105">
                  <c:v>74.5</c:v>
                </c:pt>
                <c:pt idx="11106">
                  <c:v>73.400000000000006</c:v>
                </c:pt>
                <c:pt idx="11107">
                  <c:v>72.900000000000006</c:v>
                </c:pt>
                <c:pt idx="11108">
                  <c:v>72.7</c:v>
                </c:pt>
                <c:pt idx="11109">
                  <c:v>72.3</c:v>
                </c:pt>
                <c:pt idx="11110">
                  <c:v>72.900000000000006</c:v>
                </c:pt>
                <c:pt idx="11111">
                  <c:v>72.900000000000006</c:v>
                </c:pt>
                <c:pt idx="11112">
                  <c:v>72.5</c:v>
                </c:pt>
                <c:pt idx="11113">
                  <c:v>72.099999999999994</c:v>
                </c:pt>
                <c:pt idx="11114">
                  <c:v>72.5</c:v>
                </c:pt>
                <c:pt idx="11115">
                  <c:v>72.5</c:v>
                </c:pt>
                <c:pt idx="11116">
                  <c:v>72.099999999999994</c:v>
                </c:pt>
                <c:pt idx="11117">
                  <c:v>70.900000000000006</c:v>
                </c:pt>
                <c:pt idx="11118">
                  <c:v>73.599999999999994</c:v>
                </c:pt>
                <c:pt idx="11119">
                  <c:v>75.400000000000006</c:v>
                </c:pt>
                <c:pt idx="11120">
                  <c:v>75.400000000000006</c:v>
                </c:pt>
                <c:pt idx="11121">
                  <c:v>75.400000000000006</c:v>
                </c:pt>
                <c:pt idx="11122">
                  <c:v>75.400000000000006</c:v>
                </c:pt>
                <c:pt idx="11123">
                  <c:v>75.400000000000006</c:v>
                </c:pt>
                <c:pt idx="11124">
                  <c:v>75.400000000000006</c:v>
                </c:pt>
                <c:pt idx="11125">
                  <c:v>75.400000000000006</c:v>
                </c:pt>
                <c:pt idx="11126">
                  <c:v>75.400000000000006</c:v>
                </c:pt>
                <c:pt idx="11127">
                  <c:v>75.400000000000006</c:v>
                </c:pt>
                <c:pt idx="11128">
                  <c:v>75.400000000000006</c:v>
                </c:pt>
                <c:pt idx="11129">
                  <c:v>75.400000000000006</c:v>
                </c:pt>
                <c:pt idx="11130">
                  <c:v>75.400000000000006</c:v>
                </c:pt>
                <c:pt idx="11131">
                  <c:v>75.400000000000006</c:v>
                </c:pt>
                <c:pt idx="11132">
                  <c:v>75.400000000000006</c:v>
                </c:pt>
                <c:pt idx="11133">
                  <c:v>75.400000000000006</c:v>
                </c:pt>
                <c:pt idx="11134">
                  <c:v>75.400000000000006</c:v>
                </c:pt>
                <c:pt idx="11135">
                  <c:v>90.5</c:v>
                </c:pt>
                <c:pt idx="11136">
                  <c:v>93.7</c:v>
                </c:pt>
                <c:pt idx="11137">
                  <c:v>93.9</c:v>
                </c:pt>
                <c:pt idx="11138">
                  <c:v>94.6</c:v>
                </c:pt>
                <c:pt idx="11139">
                  <c:v>94.3</c:v>
                </c:pt>
                <c:pt idx="11140">
                  <c:v>95.2</c:v>
                </c:pt>
                <c:pt idx="11141">
                  <c:v>96.8</c:v>
                </c:pt>
                <c:pt idx="11142">
                  <c:v>97.9</c:v>
                </c:pt>
                <c:pt idx="11143">
                  <c:v>92.1</c:v>
                </c:pt>
                <c:pt idx="11144">
                  <c:v>92.7</c:v>
                </c:pt>
                <c:pt idx="11145">
                  <c:v>93.7</c:v>
                </c:pt>
                <c:pt idx="11146">
                  <c:v>94.8</c:v>
                </c:pt>
                <c:pt idx="11147">
                  <c:v>93.9</c:v>
                </c:pt>
                <c:pt idx="11148">
                  <c:v>93.4</c:v>
                </c:pt>
                <c:pt idx="11149">
                  <c:v>92.5</c:v>
                </c:pt>
                <c:pt idx="11150">
                  <c:v>92.3</c:v>
                </c:pt>
                <c:pt idx="11151">
                  <c:v>93</c:v>
                </c:pt>
                <c:pt idx="11152">
                  <c:v>93.4</c:v>
                </c:pt>
                <c:pt idx="11153">
                  <c:v>94.1</c:v>
                </c:pt>
                <c:pt idx="11154">
                  <c:v>95.7</c:v>
                </c:pt>
                <c:pt idx="11155">
                  <c:v>96.4</c:v>
                </c:pt>
                <c:pt idx="11156">
                  <c:v>90.7</c:v>
                </c:pt>
                <c:pt idx="11157">
                  <c:v>85.3</c:v>
                </c:pt>
                <c:pt idx="11158">
                  <c:v>84.7</c:v>
                </c:pt>
                <c:pt idx="11159">
                  <c:v>87.3</c:v>
                </c:pt>
                <c:pt idx="11160">
                  <c:v>89.1</c:v>
                </c:pt>
                <c:pt idx="11161">
                  <c:v>90</c:v>
                </c:pt>
                <c:pt idx="11162">
                  <c:v>90.3</c:v>
                </c:pt>
                <c:pt idx="11163">
                  <c:v>89.2</c:v>
                </c:pt>
                <c:pt idx="11164">
                  <c:v>87.8</c:v>
                </c:pt>
                <c:pt idx="11165">
                  <c:v>88.7</c:v>
                </c:pt>
                <c:pt idx="11166">
                  <c:v>86.9</c:v>
                </c:pt>
                <c:pt idx="11167">
                  <c:v>87.1</c:v>
                </c:pt>
                <c:pt idx="11168">
                  <c:v>85.6</c:v>
                </c:pt>
                <c:pt idx="11169">
                  <c:v>84.6</c:v>
                </c:pt>
                <c:pt idx="11170">
                  <c:v>83.7</c:v>
                </c:pt>
                <c:pt idx="11171">
                  <c:v>83.5</c:v>
                </c:pt>
                <c:pt idx="11172">
                  <c:v>83.1</c:v>
                </c:pt>
                <c:pt idx="11173">
                  <c:v>82.6</c:v>
                </c:pt>
                <c:pt idx="11174">
                  <c:v>81.099999999999994</c:v>
                </c:pt>
                <c:pt idx="11175">
                  <c:v>80.2</c:v>
                </c:pt>
                <c:pt idx="11176">
                  <c:v>79.5</c:v>
                </c:pt>
                <c:pt idx="11177">
                  <c:v>79.900000000000006</c:v>
                </c:pt>
                <c:pt idx="11178">
                  <c:v>79.3</c:v>
                </c:pt>
                <c:pt idx="11179">
                  <c:v>79.3</c:v>
                </c:pt>
                <c:pt idx="11180">
                  <c:v>79.2</c:v>
                </c:pt>
                <c:pt idx="11181">
                  <c:v>79.2</c:v>
                </c:pt>
                <c:pt idx="11182">
                  <c:v>79.2</c:v>
                </c:pt>
                <c:pt idx="11183">
                  <c:v>78.3</c:v>
                </c:pt>
                <c:pt idx="11184">
                  <c:v>78.3</c:v>
                </c:pt>
                <c:pt idx="11185">
                  <c:v>78.099999999999994</c:v>
                </c:pt>
                <c:pt idx="11186">
                  <c:v>77</c:v>
                </c:pt>
                <c:pt idx="11187">
                  <c:v>76.8</c:v>
                </c:pt>
                <c:pt idx="11188">
                  <c:v>76.8</c:v>
                </c:pt>
                <c:pt idx="11189">
                  <c:v>77.5</c:v>
                </c:pt>
                <c:pt idx="11190">
                  <c:v>77.900000000000006</c:v>
                </c:pt>
                <c:pt idx="11191">
                  <c:v>77</c:v>
                </c:pt>
                <c:pt idx="11192">
                  <c:v>76.5</c:v>
                </c:pt>
                <c:pt idx="11193">
                  <c:v>76.5</c:v>
                </c:pt>
                <c:pt idx="11194">
                  <c:v>77.400000000000006</c:v>
                </c:pt>
                <c:pt idx="11195">
                  <c:v>77</c:v>
                </c:pt>
                <c:pt idx="11196">
                  <c:v>76.099999999999994</c:v>
                </c:pt>
                <c:pt idx="11197">
                  <c:v>76.099999999999994</c:v>
                </c:pt>
                <c:pt idx="11198">
                  <c:v>75.900000000000006</c:v>
                </c:pt>
                <c:pt idx="11199">
                  <c:v>76.3</c:v>
                </c:pt>
                <c:pt idx="11200">
                  <c:v>75.900000000000006</c:v>
                </c:pt>
                <c:pt idx="11201">
                  <c:v>75.900000000000006</c:v>
                </c:pt>
                <c:pt idx="11202">
                  <c:v>75.900000000000006</c:v>
                </c:pt>
                <c:pt idx="11203">
                  <c:v>76.599999999999994</c:v>
                </c:pt>
                <c:pt idx="11204">
                  <c:v>76.3</c:v>
                </c:pt>
                <c:pt idx="11205">
                  <c:v>75.900000000000006</c:v>
                </c:pt>
                <c:pt idx="11206">
                  <c:v>76.099999999999994</c:v>
                </c:pt>
                <c:pt idx="11207">
                  <c:v>76.099999999999994</c:v>
                </c:pt>
                <c:pt idx="11208">
                  <c:v>76.8</c:v>
                </c:pt>
                <c:pt idx="11209">
                  <c:v>77</c:v>
                </c:pt>
                <c:pt idx="11210">
                  <c:v>75.900000000000006</c:v>
                </c:pt>
                <c:pt idx="11211">
                  <c:v>75.7</c:v>
                </c:pt>
                <c:pt idx="11212">
                  <c:v>75.599999999999994</c:v>
                </c:pt>
                <c:pt idx="11213">
                  <c:v>75.599999999999994</c:v>
                </c:pt>
                <c:pt idx="11214">
                  <c:v>75.900000000000006</c:v>
                </c:pt>
                <c:pt idx="11215">
                  <c:v>76.099999999999994</c:v>
                </c:pt>
                <c:pt idx="11216">
                  <c:v>76.3</c:v>
                </c:pt>
                <c:pt idx="11217">
                  <c:v>76.3</c:v>
                </c:pt>
                <c:pt idx="11218">
                  <c:v>76.3</c:v>
                </c:pt>
                <c:pt idx="11219">
                  <c:v>76.3</c:v>
                </c:pt>
                <c:pt idx="11220">
                  <c:v>76.3</c:v>
                </c:pt>
                <c:pt idx="11221">
                  <c:v>76.3</c:v>
                </c:pt>
                <c:pt idx="11222">
                  <c:v>76.3</c:v>
                </c:pt>
                <c:pt idx="11223">
                  <c:v>76.3</c:v>
                </c:pt>
                <c:pt idx="11224">
                  <c:v>76.3</c:v>
                </c:pt>
                <c:pt idx="11225">
                  <c:v>76.3</c:v>
                </c:pt>
                <c:pt idx="11226">
                  <c:v>76.3</c:v>
                </c:pt>
                <c:pt idx="11227">
                  <c:v>76.3</c:v>
                </c:pt>
                <c:pt idx="11228">
                  <c:v>76.3</c:v>
                </c:pt>
                <c:pt idx="11229">
                  <c:v>76.3</c:v>
                </c:pt>
                <c:pt idx="11230">
                  <c:v>76.3</c:v>
                </c:pt>
                <c:pt idx="11231">
                  <c:v>76.3</c:v>
                </c:pt>
                <c:pt idx="11232">
                  <c:v>81</c:v>
                </c:pt>
                <c:pt idx="11233">
                  <c:v>83.8</c:v>
                </c:pt>
                <c:pt idx="11234">
                  <c:v>83.5</c:v>
                </c:pt>
                <c:pt idx="11235">
                  <c:v>81.900000000000006</c:v>
                </c:pt>
                <c:pt idx="11236">
                  <c:v>85.6</c:v>
                </c:pt>
                <c:pt idx="11237">
                  <c:v>84.4</c:v>
                </c:pt>
                <c:pt idx="11238">
                  <c:v>83.3</c:v>
                </c:pt>
                <c:pt idx="11239">
                  <c:v>86.9</c:v>
                </c:pt>
                <c:pt idx="11240">
                  <c:v>91</c:v>
                </c:pt>
                <c:pt idx="11241">
                  <c:v>88</c:v>
                </c:pt>
                <c:pt idx="11242">
                  <c:v>89.2</c:v>
                </c:pt>
                <c:pt idx="11243">
                  <c:v>88.9</c:v>
                </c:pt>
                <c:pt idx="11244">
                  <c:v>89.2</c:v>
                </c:pt>
                <c:pt idx="11245">
                  <c:v>89.8</c:v>
                </c:pt>
                <c:pt idx="11246">
                  <c:v>89.4</c:v>
                </c:pt>
                <c:pt idx="11247">
                  <c:v>88.3</c:v>
                </c:pt>
                <c:pt idx="11248">
                  <c:v>88.9</c:v>
                </c:pt>
                <c:pt idx="11249">
                  <c:v>89.2</c:v>
                </c:pt>
                <c:pt idx="11250">
                  <c:v>85.6</c:v>
                </c:pt>
                <c:pt idx="11251">
                  <c:v>81.099999999999994</c:v>
                </c:pt>
                <c:pt idx="11252">
                  <c:v>79.5</c:v>
                </c:pt>
                <c:pt idx="11253">
                  <c:v>80.2</c:v>
                </c:pt>
                <c:pt idx="11254">
                  <c:v>81.099999999999994</c:v>
                </c:pt>
                <c:pt idx="11255">
                  <c:v>81.3</c:v>
                </c:pt>
                <c:pt idx="11256">
                  <c:v>82.9</c:v>
                </c:pt>
                <c:pt idx="11257">
                  <c:v>83.1</c:v>
                </c:pt>
                <c:pt idx="11258">
                  <c:v>81.900000000000006</c:v>
                </c:pt>
                <c:pt idx="11259">
                  <c:v>81.3</c:v>
                </c:pt>
                <c:pt idx="11260">
                  <c:v>82</c:v>
                </c:pt>
                <c:pt idx="11261">
                  <c:v>82</c:v>
                </c:pt>
                <c:pt idx="11262">
                  <c:v>82.8</c:v>
                </c:pt>
                <c:pt idx="11263">
                  <c:v>82.8</c:v>
                </c:pt>
                <c:pt idx="11264">
                  <c:v>83.5</c:v>
                </c:pt>
                <c:pt idx="11265">
                  <c:v>81.7</c:v>
                </c:pt>
                <c:pt idx="11266">
                  <c:v>80.2</c:v>
                </c:pt>
                <c:pt idx="11267">
                  <c:v>80.400000000000006</c:v>
                </c:pt>
                <c:pt idx="11268">
                  <c:v>79.3</c:v>
                </c:pt>
                <c:pt idx="11269">
                  <c:v>79.3</c:v>
                </c:pt>
                <c:pt idx="11270">
                  <c:v>79.7</c:v>
                </c:pt>
                <c:pt idx="11271">
                  <c:v>78.599999999999994</c:v>
                </c:pt>
                <c:pt idx="11272">
                  <c:v>79.2</c:v>
                </c:pt>
                <c:pt idx="11273">
                  <c:v>78.3</c:v>
                </c:pt>
                <c:pt idx="11274">
                  <c:v>77.7</c:v>
                </c:pt>
                <c:pt idx="11275">
                  <c:v>77.7</c:v>
                </c:pt>
                <c:pt idx="11276">
                  <c:v>77.7</c:v>
                </c:pt>
                <c:pt idx="11277">
                  <c:v>77</c:v>
                </c:pt>
                <c:pt idx="11278">
                  <c:v>76.5</c:v>
                </c:pt>
                <c:pt idx="11279">
                  <c:v>76.099999999999994</c:v>
                </c:pt>
                <c:pt idx="11280">
                  <c:v>75.599999999999994</c:v>
                </c:pt>
                <c:pt idx="11281">
                  <c:v>75.900000000000006</c:v>
                </c:pt>
                <c:pt idx="11282">
                  <c:v>74.8</c:v>
                </c:pt>
                <c:pt idx="11283">
                  <c:v>74.5</c:v>
                </c:pt>
                <c:pt idx="11284">
                  <c:v>74.8</c:v>
                </c:pt>
                <c:pt idx="11285">
                  <c:v>74.3</c:v>
                </c:pt>
                <c:pt idx="11286">
                  <c:v>73.8</c:v>
                </c:pt>
                <c:pt idx="11287">
                  <c:v>73.2</c:v>
                </c:pt>
                <c:pt idx="11288">
                  <c:v>73.400000000000006</c:v>
                </c:pt>
                <c:pt idx="11289">
                  <c:v>73.599999999999994</c:v>
                </c:pt>
                <c:pt idx="11290">
                  <c:v>73</c:v>
                </c:pt>
                <c:pt idx="11291">
                  <c:v>72.7</c:v>
                </c:pt>
                <c:pt idx="11292">
                  <c:v>72.900000000000006</c:v>
                </c:pt>
                <c:pt idx="11293">
                  <c:v>72.7</c:v>
                </c:pt>
                <c:pt idx="11294">
                  <c:v>72.7</c:v>
                </c:pt>
                <c:pt idx="11295">
                  <c:v>73</c:v>
                </c:pt>
                <c:pt idx="11296">
                  <c:v>73.8</c:v>
                </c:pt>
                <c:pt idx="11297">
                  <c:v>73.8</c:v>
                </c:pt>
                <c:pt idx="11298">
                  <c:v>73.8</c:v>
                </c:pt>
                <c:pt idx="11299">
                  <c:v>74.8</c:v>
                </c:pt>
                <c:pt idx="11300">
                  <c:v>74.8</c:v>
                </c:pt>
                <c:pt idx="11301">
                  <c:v>73.599999999999994</c:v>
                </c:pt>
                <c:pt idx="11302">
                  <c:v>73.400000000000006</c:v>
                </c:pt>
                <c:pt idx="11303">
                  <c:v>73.400000000000006</c:v>
                </c:pt>
                <c:pt idx="11304">
                  <c:v>73.8</c:v>
                </c:pt>
                <c:pt idx="11305">
                  <c:v>73</c:v>
                </c:pt>
                <c:pt idx="11306">
                  <c:v>73</c:v>
                </c:pt>
                <c:pt idx="11307">
                  <c:v>73</c:v>
                </c:pt>
                <c:pt idx="11308">
                  <c:v>72.5</c:v>
                </c:pt>
                <c:pt idx="11309">
                  <c:v>72.5</c:v>
                </c:pt>
                <c:pt idx="11310">
                  <c:v>72.900000000000006</c:v>
                </c:pt>
                <c:pt idx="11311">
                  <c:v>73.400000000000006</c:v>
                </c:pt>
                <c:pt idx="11312">
                  <c:v>73.599999999999994</c:v>
                </c:pt>
                <c:pt idx="11313">
                  <c:v>73.599999999999994</c:v>
                </c:pt>
                <c:pt idx="11314">
                  <c:v>73.599999999999994</c:v>
                </c:pt>
                <c:pt idx="11315">
                  <c:v>73.599999999999994</c:v>
                </c:pt>
                <c:pt idx="11316">
                  <c:v>73.599999999999994</c:v>
                </c:pt>
                <c:pt idx="11317">
                  <c:v>73.599999999999994</c:v>
                </c:pt>
                <c:pt idx="11318">
                  <c:v>73.599999999999994</c:v>
                </c:pt>
                <c:pt idx="11319">
                  <c:v>73.599999999999994</c:v>
                </c:pt>
                <c:pt idx="11320">
                  <c:v>73.599999999999994</c:v>
                </c:pt>
                <c:pt idx="11321">
                  <c:v>73.599999999999994</c:v>
                </c:pt>
                <c:pt idx="11322">
                  <c:v>73.599999999999994</c:v>
                </c:pt>
                <c:pt idx="11323">
                  <c:v>73.599999999999994</c:v>
                </c:pt>
                <c:pt idx="11324">
                  <c:v>73.599999999999994</c:v>
                </c:pt>
                <c:pt idx="11325">
                  <c:v>73.599999999999994</c:v>
                </c:pt>
                <c:pt idx="11326">
                  <c:v>73.599999999999994</c:v>
                </c:pt>
                <c:pt idx="11327">
                  <c:v>73.599999999999994</c:v>
                </c:pt>
                <c:pt idx="11328">
                  <c:v>82.9</c:v>
                </c:pt>
                <c:pt idx="11329">
                  <c:v>83.1</c:v>
                </c:pt>
                <c:pt idx="11330">
                  <c:v>82.4</c:v>
                </c:pt>
                <c:pt idx="11331">
                  <c:v>81.5</c:v>
                </c:pt>
                <c:pt idx="11332">
                  <c:v>80.8</c:v>
                </c:pt>
                <c:pt idx="11333">
                  <c:v>79.900000000000006</c:v>
                </c:pt>
                <c:pt idx="11334">
                  <c:v>79.900000000000006</c:v>
                </c:pt>
                <c:pt idx="11335">
                  <c:v>79.5</c:v>
                </c:pt>
                <c:pt idx="11336">
                  <c:v>79</c:v>
                </c:pt>
                <c:pt idx="11337">
                  <c:v>83.5</c:v>
                </c:pt>
                <c:pt idx="11338">
                  <c:v>83.5</c:v>
                </c:pt>
                <c:pt idx="11339">
                  <c:v>83.7</c:v>
                </c:pt>
                <c:pt idx="11340">
                  <c:v>84.9</c:v>
                </c:pt>
                <c:pt idx="11341">
                  <c:v>86.7</c:v>
                </c:pt>
                <c:pt idx="11342">
                  <c:v>87.8</c:v>
                </c:pt>
                <c:pt idx="11343">
                  <c:v>89.1</c:v>
                </c:pt>
                <c:pt idx="11344">
                  <c:v>87.6</c:v>
                </c:pt>
                <c:pt idx="11345">
                  <c:v>89.6</c:v>
                </c:pt>
                <c:pt idx="11346">
                  <c:v>88.3</c:v>
                </c:pt>
                <c:pt idx="11347">
                  <c:v>87.8</c:v>
                </c:pt>
                <c:pt idx="11348">
                  <c:v>89.1</c:v>
                </c:pt>
                <c:pt idx="11349">
                  <c:v>89.6</c:v>
                </c:pt>
                <c:pt idx="11350">
                  <c:v>90.7</c:v>
                </c:pt>
                <c:pt idx="11351">
                  <c:v>88.5</c:v>
                </c:pt>
                <c:pt idx="11352">
                  <c:v>90.3</c:v>
                </c:pt>
                <c:pt idx="11353">
                  <c:v>77.2</c:v>
                </c:pt>
                <c:pt idx="11354">
                  <c:v>76.5</c:v>
                </c:pt>
                <c:pt idx="11355">
                  <c:v>77</c:v>
                </c:pt>
                <c:pt idx="11356">
                  <c:v>77.400000000000006</c:v>
                </c:pt>
                <c:pt idx="11357">
                  <c:v>77.400000000000006</c:v>
                </c:pt>
                <c:pt idx="11358">
                  <c:v>77.400000000000006</c:v>
                </c:pt>
                <c:pt idx="11359">
                  <c:v>75.400000000000006</c:v>
                </c:pt>
                <c:pt idx="11360">
                  <c:v>77.400000000000006</c:v>
                </c:pt>
                <c:pt idx="11361">
                  <c:v>78.599999999999994</c:v>
                </c:pt>
                <c:pt idx="11362">
                  <c:v>78.599999999999994</c:v>
                </c:pt>
                <c:pt idx="11363">
                  <c:v>76.099999999999994</c:v>
                </c:pt>
                <c:pt idx="11364">
                  <c:v>76.099999999999994</c:v>
                </c:pt>
                <c:pt idx="11365">
                  <c:v>75.7</c:v>
                </c:pt>
                <c:pt idx="11366">
                  <c:v>75.7</c:v>
                </c:pt>
                <c:pt idx="11367">
                  <c:v>76.599999999999994</c:v>
                </c:pt>
                <c:pt idx="11368">
                  <c:v>76.8</c:v>
                </c:pt>
                <c:pt idx="11369">
                  <c:v>75.2</c:v>
                </c:pt>
                <c:pt idx="11370">
                  <c:v>74.7</c:v>
                </c:pt>
                <c:pt idx="11371">
                  <c:v>74.099999999999994</c:v>
                </c:pt>
                <c:pt idx="11372">
                  <c:v>74.8</c:v>
                </c:pt>
                <c:pt idx="11373">
                  <c:v>74.8</c:v>
                </c:pt>
                <c:pt idx="11374">
                  <c:v>73.400000000000006</c:v>
                </c:pt>
                <c:pt idx="11375">
                  <c:v>73</c:v>
                </c:pt>
                <c:pt idx="11376">
                  <c:v>73.400000000000006</c:v>
                </c:pt>
                <c:pt idx="11377">
                  <c:v>73.400000000000006</c:v>
                </c:pt>
                <c:pt idx="11378">
                  <c:v>73.8</c:v>
                </c:pt>
                <c:pt idx="11379">
                  <c:v>72.7</c:v>
                </c:pt>
                <c:pt idx="11380">
                  <c:v>72.7</c:v>
                </c:pt>
                <c:pt idx="11381">
                  <c:v>72.7</c:v>
                </c:pt>
                <c:pt idx="11382">
                  <c:v>72.5</c:v>
                </c:pt>
                <c:pt idx="11383">
                  <c:v>74.7</c:v>
                </c:pt>
                <c:pt idx="11384">
                  <c:v>72.900000000000006</c:v>
                </c:pt>
                <c:pt idx="11385">
                  <c:v>72.900000000000006</c:v>
                </c:pt>
                <c:pt idx="11386">
                  <c:v>72.5</c:v>
                </c:pt>
                <c:pt idx="11387">
                  <c:v>72.099999999999994</c:v>
                </c:pt>
                <c:pt idx="11388">
                  <c:v>72.099999999999994</c:v>
                </c:pt>
                <c:pt idx="11389">
                  <c:v>72.900000000000006</c:v>
                </c:pt>
                <c:pt idx="11390">
                  <c:v>72.7</c:v>
                </c:pt>
                <c:pt idx="11391">
                  <c:v>72.7</c:v>
                </c:pt>
                <c:pt idx="11392">
                  <c:v>72.7</c:v>
                </c:pt>
                <c:pt idx="11393">
                  <c:v>72.7</c:v>
                </c:pt>
                <c:pt idx="11394">
                  <c:v>72.5</c:v>
                </c:pt>
                <c:pt idx="11395">
                  <c:v>72.3</c:v>
                </c:pt>
                <c:pt idx="11396">
                  <c:v>72.099999999999994</c:v>
                </c:pt>
                <c:pt idx="11397">
                  <c:v>72.5</c:v>
                </c:pt>
                <c:pt idx="11398">
                  <c:v>72.5</c:v>
                </c:pt>
                <c:pt idx="11399">
                  <c:v>72.5</c:v>
                </c:pt>
                <c:pt idx="11400">
                  <c:v>72.099999999999994</c:v>
                </c:pt>
                <c:pt idx="11401">
                  <c:v>71.8</c:v>
                </c:pt>
                <c:pt idx="11402">
                  <c:v>71.599999999999994</c:v>
                </c:pt>
                <c:pt idx="11403">
                  <c:v>71.400000000000006</c:v>
                </c:pt>
                <c:pt idx="11404">
                  <c:v>72.3</c:v>
                </c:pt>
                <c:pt idx="11405">
                  <c:v>72.5</c:v>
                </c:pt>
                <c:pt idx="11406">
                  <c:v>73</c:v>
                </c:pt>
                <c:pt idx="11407">
                  <c:v>73.400000000000006</c:v>
                </c:pt>
                <c:pt idx="11408">
                  <c:v>73.2</c:v>
                </c:pt>
                <c:pt idx="11409">
                  <c:v>74.5</c:v>
                </c:pt>
                <c:pt idx="11410">
                  <c:v>75.400000000000006</c:v>
                </c:pt>
                <c:pt idx="11411">
                  <c:v>76.099999999999994</c:v>
                </c:pt>
                <c:pt idx="11412">
                  <c:v>76.099999999999994</c:v>
                </c:pt>
                <c:pt idx="11413">
                  <c:v>77.5</c:v>
                </c:pt>
                <c:pt idx="11414">
                  <c:v>80.8</c:v>
                </c:pt>
                <c:pt idx="11415">
                  <c:v>81.5</c:v>
                </c:pt>
                <c:pt idx="11416">
                  <c:v>81.5</c:v>
                </c:pt>
                <c:pt idx="11417">
                  <c:v>81.5</c:v>
                </c:pt>
                <c:pt idx="11418">
                  <c:v>82.6</c:v>
                </c:pt>
                <c:pt idx="11419">
                  <c:v>83.5</c:v>
                </c:pt>
                <c:pt idx="11420">
                  <c:v>83.5</c:v>
                </c:pt>
                <c:pt idx="11421">
                  <c:v>84.7</c:v>
                </c:pt>
                <c:pt idx="11422">
                  <c:v>84.9</c:v>
                </c:pt>
                <c:pt idx="11423">
                  <c:v>85.1</c:v>
                </c:pt>
                <c:pt idx="11424">
                  <c:v>86.7</c:v>
                </c:pt>
                <c:pt idx="11425">
                  <c:v>87.6</c:v>
                </c:pt>
                <c:pt idx="11426">
                  <c:v>88.3</c:v>
                </c:pt>
                <c:pt idx="11427">
                  <c:v>88.5</c:v>
                </c:pt>
                <c:pt idx="11428">
                  <c:v>90.3</c:v>
                </c:pt>
                <c:pt idx="11429">
                  <c:v>87.6</c:v>
                </c:pt>
                <c:pt idx="11430">
                  <c:v>88.3</c:v>
                </c:pt>
                <c:pt idx="11431">
                  <c:v>89.6</c:v>
                </c:pt>
                <c:pt idx="11432">
                  <c:v>89.6</c:v>
                </c:pt>
                <c:pt idx="11433">
                  <c:v>89.6</c:v>
                </c:pt>
                <c:pt idx="11434">
                  <c:v>89.6</c:v>
                </c:pt>
                <c:pt idx="11435">
                  <c:v>89.6</c:v>
                </c:pt>
                <c:pt idx="11436">
                  <c:v>90.1</c:v>
                </c:pt>
                <c:pt idx="11437">
                  <c:v>90.1</c:v>
                </c:pt>
                <c:pt idx="11438">
                  <c:v>91</c:v>
                </c:pt>
                <c:pt idx="11439">
                  <c:v>91.2</c:v>
                </c:pt>
                <c:pt idx="11440">
                  <c:v>90.3</c:v>
                </c:pt>
                <c:pt idx="11441">
                  <c:v>90.7</c:v>
                </c:pt>
                <c:pt idx="11442">
                  <c:v>88.7</c:v>
                </c:pt>
                <c:pt idx="11443">
                  <c:v>90.5</c:v>
                </c:pt>
                <c:pt idx="11444">
                  <c:v>90.1</c:v>
                </c:pt>
                <c:pt idx="11445">
                  <c:v>91.8</c:v>
                </c:pt>
                <c:pt idx="11446">
                  <c:v>90</c:v>
                </c:pt>
                <c:pt idx="11447">
                  <c:v>88.3</c:v>
                </c:pt>
                <c:pt idx="11448">
                  <c:v>87.1</c:v>
                </c:pt>
                <c:pt idx="11449">
                  <c:v>85.6</c:v>
                </c:pt>
                <c:pt idx="11450">
                  <c:v>84.9</c:v>
                </c:pt>
                <c:pt idx="11451">
                  <c:v>83.7</c:v>
                </c:pt>
                <c:pt idx="11452">
                  <c:v>82.4</c:v>
                </c:pt>
                <c:pt idx="11453">
                  <c:v>81</c:v>
                </c:pt>
                <c:pt idx="11454">
                  <c:v>79.900000000000006</c:v>
                </c:pt>
                <c:pt idx="11455">
                  <c:v>79.2</c:v>
                </c:pt>
                <c:pt idx="11456">
                  <c:v>78.3</c:v>
                </c:pt>
                <c:pt idx="11457">
                  <c:v>78.099999999999994</c:v>
                </c:pt>
                <c:pt idx="11458">
                  <c:v>77.7</c:v>
                </c:pt>
                <c:pt idx="11459">
                  <c:v>77</c:v>
                </c:pt>
                <c:pt idx="11460">
                  <c:v>76.5</c:v>
                </c:pt>
                <c:pt idx="11461">
                  <c:v>75.7</c:v>
                </c:pt>
                <c:pt idx="11462">
                  <c:v>75.599999999999994</c:v>
                </c:pt>
                <c:pt idx="11463">
                  <c:v>75.599999999999994</c:v>
                </c:pt>
                <c:pt idx="11464">
                  <c:v>75.599999999999994</c:v>
                </c:pt>
                <c:pt idx="11465">
                  <c:v>75.599999999999994</c:v>
                </c:pt>
                <c:pt idx="11466">
                  <c:v>75.599999999999994</c:v>
                </c:pt>
                <c:pt idx="11467">
                  <c:v>75.599999999999994</c:v>
                </c:pt>
                <c:pt idx="11468">
                  <c:v>75.599999999999994</c:v>
                </c:pt>
                <c:pt idx="11469">
                  <c:v>75.599999999999994</c:v>
                </c:pt>
                <c:pt idx="11470">
                  <c:v>75.599999999999994</c:v>
                </c:pt>
                <c:pt idx="11471">
                  <c:v>75.599999999999994</c:v>
                </c:pt>
                <c:pt idx="11472">
                  <c:v>75.599999999999994</c:v>
                </c:pt>
                <c:pt idx="11473">
                  <c:v>75.599999999999994</c:v>
                </c:pt>
                <c:pt idx="11474">
                  <c:v>75.599999999999994</c:v>
                </c:pt>
                <c:pt idx="11475">
                  <c:v>75.599999999999994</c:v>
                </c:pt>
                <c:pt idx="11476">
                  <c:v>75.599999999999994</c:v>
                </c:pt>
                <c:pt idx="11477">
                  <c:v>75.599999999999994</c:v>
                </c:pt>
                <c:pt idx="11478">
                  <c:v>73.8</c:v>
                </c:pt>
                <c:pt idx="11479">
                  <c:v>73.8</c:v>
                </c:pt>
                <c:pt idx="11480">
                  <c:v>74.3</c:v>
                </c:pt>
                <c:pt idx="11481">
                  <c:v>74.7</c:v>
                </c:pt>
                <c:pt idx="11482">
                  <c:v>73.900000000000006</c:v>
                </c:pt>
                <c:pt idx="11483">
                  <c:v>73.599999999999994</c:v>
                </c:pt>
                <c:pt idx="11484">
                  <c:v>73.8</c:v>
                </c:pt>
                <c:pt idx="11485">
                  <c:v>75.2</c:v>
                </c:pt>
                <c:pt idx="11486">
                  <c:v>73.400000000000006</c:v>
                </c:pt>
                <c:pt idx="11487">
                  <c:v>72.7</c:v>
                </c:pt>
                <c:pt idx="11488">
                  <c:v>73</c:v>
                </c:pt>
                <c:pt idx="11489">
                  <c:v>72.7</c:v>
                </c:pt>
                <c:pt idx="11490">
                  <c:v>72.3</c:v>
                </c:pt>
                <c:pt idx="11491">
                  <c:v>72.099999999999994</c:v>
                </c:pt>
                <c:pt idx="11492">
                  <c:v>72.099999999999994</c:v>
                </c:pt>
                <c:pt idx="11493">
                  <c:v>72.7</c:v>
                </c:pt>
                <c:pt idx="11494">
                  <c:v>73.400000000000006</c:v>
                </c:pt>
                <c:pt idx="11495">
                  <c:v>73.400000000000006</c:v>
                </c:pt>
                <c:pt idx="11496">
                  <c:v>73.900000000000006</c:v>
                </c:pt>
                <c:pt idx="11497">
                  <c:v>75.7</c:v>
                </c:pt>
                <c:pt idx="11498">
                  <c:v>77.900000000000006</c:v>
                </c:pt>
                <c:pt idx="11499">
                  <c:v>80.099999999999994</c:v>
                </c:pt>
                <c:pt idx="11500">
                  <c:v>80.099999999999994</c:v>
                </c:pt>
                <c:pt idx="11501">
                  <c:v>84.2</c:v>
                </c:pt>
                <c:pt idx="11502">
                  <c:v>84.2</c:v>
                </c:pt>
                <c:pt idx="11503">
                  <c:v>83.5</c:v>
                </c:pt>
                <c:pt idx="11504">
                  <c:v>83.5</c:v>
                </c:pt>
                <c:pt idx="11505">
                  <c:v>85.8</c:v>
                </c:pt>
                <c:pt idx="11506">
                  <c:v>87.3</c:v>
                </c:pt>
                <c:pt idx="11507">
                  <c:v>87.4</c:v>
                </c:pt>
                <c:pt idx="11508">
                  <c:v>87.6</c:v>
                </c:pt>
                <c:pt idx="11509">
                  <c:v>88.9</c:v>
                </c:pt>
                <c:pt idx="11510">
                  <c:v>90</c:v>
                </c:pt>
                <c:pt idx="11511">
                  <c:v>88.7</c:v>
                </c:pt>
                <c:pt idx="11512">
                  <c:v>91</c:v>
                </c:pt>
                <c:pt idx="11513">
                  <c:v>88.9</c:v>
                </c:pt>
                <c:pt idx="11514">
                  <c:v>89.8</c:v>
                </c:pt>
                <c:pt idx="11515">
                  <c:v>92.3</c:v>
                </c:pt>
                <c:pt idx="11516">
                  <c:v>91.2</c:v>
                </c:pt>
                <c:pt idx="11517">
                  <c:v>92.5</c:v>
                </c:pt>
                <c:pt idx="11518">
                  <c:v>93</c:v>
                </c:pt>
                <c:pt idx="11519">
                  <c:v>91.4</c:v>
                </c:pt>
                <c:pt idx="11520">
                  <c:v>96.1</c:v>
                </c:pt>
                <c:pt idx="11521">
                  <c:v>94.8</c:v>
                </c:pt>
                <c:pt idx="11522">
                  <c:v>93.6</c:v>
                </c:pt>
                <c:pt idx="11523">
                  <c:v>96.6</c:v>
                </c:pt>
                <c:pt idx="11524">
                  <c:v>91.4</c:v>
                </c:pt>
                <c:pt idx="11525">
                  <c:v>89.1</c:v>
                </c:pt>
                <c:pt idx="11526">
                  <c:v>89.6</c:v>
                </c:pt>
                <c:pt idx="11527">
                  <c:v>78.599999999999994</c:v>
                </c:pt>
                <c:pt idx="11528">
                  <c:v>77.7</c:v>
                </c:pt>
                <c:pt idx="11529">
                  <c:v>77.7</c:v>
                </c:pt>
                <c:pt idx="11530">
                  <c:v>80.400000000000006</c:v>
                </c:pt>
                <c:pt idx="11531">
                  <c:v>80.400000000000006</c:v>
                </c:pt>
                <c:pt idx="11532">
                  <c:v>87.1</c:v>
                </c:pt>
                <c:pt idx="11533">
                  <c:v>89.2</c:v>
                </c:pt>
                <c:pt idx="11534">
                  <c:v>83.1</c:v>
                </c:pt>
                <c:pt idx="11535">
                  <c:v>84.6</c:v>
                </c:pt>
                <c:pt idx="11536">
                  <c:v>86</c:v>
                </c:pt>
                <c:pt idx="11537">
                  <c:v>89.1</c:v>
                </c:pt>
                <c:pt idx="11538">
                  <c:v>87.4</c:v>
                </c:pt>
                <c:pt idx="11539">
                  <c:v>86.9</c:v>
                </c:pt>
                <c:pt idx="11540">
                  <c:v>86.4</c:v>
                </c:pt>
                <c:pt idx="11541">
                  <c:v>83.3</c:v>
                </c:pt>
                <c:pt idx="11542">
                  <c:v>81.900000000000006</c:v>
                </c:pt>
                <c:pt idx="11543">
                  <c:v>81.099999999999994</c:v>
                </c:pt>
                <c:pt idx="11544">
                  <c:v>80.099999999999994</c:v>
                </c:pt>
                <c:pt idx="11545">
                  <c:v>79.5</c:v>
                </c:pt>
                <c:pt idx="11546">
                  <c:v>78.8</c:v>
                </c:pt>
                <c:pt idx="11547">
                  <c:v>78.599999999999994</c:v>
                </c:pt>
                <c:pt idx="11548">
                  <c:v>78.099999999999994</c:v>
                </c:pt>
                <c:pt idx="11549">
                  <c:v>77.7</c:v>
                </c:pt>
                <c:pt idx="11550">
                  <c:v>77.400000000000006</c:v>
                </c:pt>
                <c:pt idx="11551">
                  <c:v>77</c:v>
                </c:pt>
                <c:pt idx="11552">
                  <c:v>77</c:v>
                </c:pt>
                <c:pt idx="11553">
                  <c:v>76.5</c:v>
                </c:pt>
                <c:pt idx="11554">
                  <c:v>76.099999999999994</c:v>
                </c:pt>
                <c:pt idx="11555">
                  <c:v>75.900000000000006</c:v>
                </c:pt>
                <c:pt idx="11556">
                  <c:v>75.599999999999994</c:v>
                </c:pt>
                <c:pt idx="11557">
                  <c:v>75.7</c:v>
                </c:pt>
                <c:pt idx="11558">
                  <c:v>75.7</c:v>
                </c:pt>
                <c:pt idx="11559">
                  <c:v>75.7</c:v>
                </c:pt>
                <c:pt idx="11560">
                  <c:v>75.7</c:v>
                </c:pt>
                <c:pt idx="11561">
                  <c:v>75.7</c:v>
                </c:pt>
                <c:pt idx="11562">
                  <c:v>75.7</c:v>
                </c:pt>
                <c:pt idx="11563">
                  <c:v>75.7</c:v>
                </c:pt>
                <c:pt idx="11564">
                  <c:v>75.7</c:v>
                </c:pt>
                <c:pt idx="11565">
                  <c:v>75.7</c:v>
                </c:pt>
                <c:pt idx="11566">
                  <c:v>75.7</c:v>
                </c:pt>
                <c:pt idx="11567">
                  <c:v>75.7</c:v>
                </c:pt>
                <c:pt idx="11568">
                  <c:v>75.7</c:v>
                </c:pt>
                <c:pt idx="11569">
                  <c:v>75.7</c:v>
                </c:pt>
                <c:pt idx="11570">
                  <c:v>75.7</c:v>
                </c:pt>
                <c:pt idx="11571">
                  <c:v>75.7</c:v>
                </c:pt>
                <c:pt idx="11572">
                  <c:v>75.7</c:v>
                </c:pt>
                <c:pt idx="11573">
                  <c:v>73.599999999999994</c:v>
                </c:pt>
                <c:pt idx="11574">
                  <c:v>73.2</c:v>
                </c:pt>
                <c:pt idx="11575">
                  <c:v>74.7</c:v>
                </c:pt>
                <c:pt idx="11576">
                  <c:v>73.400000000000006</c:v>
                </c:pt>
                <c:pt idx="11577">
                  <c:v>72.900000000000006</c:v>
                </c:pt>
                <c:pt idx="11578">
                  <c:v>72.7</c:v>
                </c:pt>
                <c:pt idx="11579">
                  <c:v>73</c:v>
                </c:pt>
                <c:pt idx="11580">
                  <c:v>72.5</c:v>
                </c:pt>
                <c:pt idx="11581">
                  <c:v>72.099999999999994</c:v>
                </c:pt>
                <c:pt idx="11582">
                  <c:v>72.3</c:v>
                </c:pt>
                <c:pt idx="11583">
                  <c:v>72.3</c:v>
                </c:pt>
                <c:pt idx="11584">
                  <c:v>72.3</c:v>
                </c:pt>
                <c:pt idx="11585">
                  <c:v>72.3</c:v>
                </c:pt>
                <c:pt idx="11586">
                  <c:v>72.099999999999994</c:v>
                </c:pt>
                <c:pt idx="11587">
                  <c:v>72.099999999999994</c:v>
                </c:pt>
                <c:pt idx="11588">
                  <c:v>72</c:v>
                </c:pt>
                <c:pt idx="11589">
                  <c:v>72</c:v>
                </c:pt>
                <c:pt idx="11590">
                  <c:v>72</c:v>
                </c:pt>
                <c:pt idx="11591">
                  <c:v>72.3</c:v>
                </c:pt>
                <c:pt idx="11592">
                  <c:v>74.7</c:v>
                </c:pt>
                <c:pt idx="11593">
                  <c:v>74.3</c:v>
                </c:pt>
                <c:pt idx="11594">
                  <c:v>76.599999999999994</c:v>
                </c:pt>
                <c:pt idx="11595">
                  <c:v>80.8</c:v>
                </c:pt>
                <c:pt idx="11596">
                  <c:v>81.5</c:v>
                </c:pt>
                <c:pt idx="11597">
                  <c:v>83.8</c:v>
                </c:pt>
                <c:pt idx="11598">
                  <c:v>83.3</c:v>
                </c:pt>
                <c:pt idx="11599">
                  <c:v>84.9</c:v>
                </c:pt>
                <c:pt idx="11600">
                  <c:v>87.1</c:v>
                </c:pt>
                <c:pt idx="11601">
                  <c:v>85.1</c:v>
                </c:pt>
                <c:pt idx="11602">
                  <c:v>85.8</c:v>
                </c:pt>
                <c:pt idx="11603">
                  <c:v>92.8</c:v>
                </c:pt>
                <c:pt idx="11604">
                  <c:v>83.3</c:v>
                </c:pt>
                <c:pt idx="11605">
                  <c:v>84</c:v>
                </c:pt>
                <c:pt idx="11606">
                  <c:v>84.7</c:v>
                </c:pt>
                <c:pt idx="11607">
                  <c:v>85.3</c:v>
                </c:pt>
                <c:pt idx="11608">
                  <c:v>86.4</c:v>
                </c:pt>
                <c:pt idx="11609">
                  <c:v>87.4</c:v>
                </c:pt>
                <c:pt idx="11610">
                  <c:v>88.3</c:v>
                </c:pt>
                <c:pt idx="11611">
                  <c:v>89.1</c:v>
                </c:pt>
                <c:pt idx="11612">
                  <c:v>89.1</c:v>
                </c:pt>
                <c:pt idx="11613">
                  <c:v>89.2</c:v>
                </c:pt>
                <c:pt idx="11614">
                  <c:v>88.9</c:v>
                </c:pt>
                <c:pt idx="11615">
                  <c:v>89.1</c:v>
                </c:pt>
                <c:pt idx="11616">
                  <c:v>90.1</c:v>
                </c:pt>
                <c:pt idx="11617">
                  <c:v>90.7</c:v>
                </c:pt>
                <c:pt idx="11618">
                  <c:v>90.5</c:v>
                </c:pt>
                <c:pt idx="11619">
                  <c:v>90.9</c:v>
                </c:pt>
                <c:pt idx="11620">
                  <c:v>90.3</c:v>
                </c:pt>
                <c:pt idx="11621">
                  <c:v>95</c:v>
                </c:pt>
                <c:pt idx="11622">
                  <c:v>101.1</c:v>
                </c:pt>
                <c:pt idx="11623">
                  <c:v>98.2</c:v>
                </c:pt>
                <c:pt idx="11624">
                  <c:v>93</c:v>
                </c:pt>
                <c:pt idx="11625">
                  <c:v>91.9</c:v>
                </c:pt>
                <c:pt idx="11626">
                  <c:v>93.7</c:v>
                </c:pt>
                <c:pt idx="11627">
                  <c:v>95</c:v>
                </c:pt>
                <c:pt idx="11628">
                  <c:v>94.1</c:v>
                </c:pt>
                <c:pt idx="11629">
                  <c:v>94.5</c:v>
                </c:pt>
                <c:pt idx="11630">
                  <c:v>95.5</c:v>
                </c:pt>
                <c:pt idx="11631">
                  <c:v>95.9</c:v>
                </c:pt>
                <c:pt idx="11632">
                  <c:v>95.2</c:v>
                </c:pt>
                <c:pt idx="11633">
                  <c:v>91.6</c:v>
                </c:pt>
                <c:pt idx="11634">
                  <c:v>86.9</c:v>
                </c:pt>
                <c:pt idx="11635">
                  <c:v>83.8</c:v>
                </c:pt>
                <c:pt idx="11636">
                  <c:v>84.2</c:v>
                </c:pt>
                <c:pt idx="11637">
                  <c:v>83.7</c:v>
                </c:pt>
                <c:pt idx="11638">
                  <c:v>82.8</c:v>
                </c:pt>
                <c:pt idx="11639">
                  <c:v>81.900000000000006</c:v>
                </c:pt>
                <c:pt idx="11640">
                  <c:v>81.900000000000006</c:v>
                </c:pt>
                <c:pt idx="11641">
                  <c:v>82.2</c:v>
                </c:pt>
                <c:pt idx="11642">
                  <c:v>80.400000000000006</c:v>
                </c:pt>
                <c:pt idx="11643">
                  <c:v>78.3</c:v>
                </c:pt>
                <c:pt idx="11644">
                  <c:v>79</c:v>
                </c:pt>
                <c:pt idx="11645">
                  <c:v>78.599999999999994</c:v>
                </c:pt>
                <c:pt idx="11646">
                  <c:v>77</c:v>
                </c:pt>
                <c:pt idx="11647">
                  <c:v>76.599999999999994</c:v>
                </c:pt>
                <c:pt idx="11648">
                  <c:v>76.099999999999994</c:v>
                </c:pt>
                <c:pt idx="11649">
                  <c:v>77.400000000000006</c:v>
                </c:pt>
                <c:pt idx="11650">
                  <c:v>77.400000000000006</c:v>
                </c:pt>
                <c:pt idx="11651">
                  <c:v>75.400000000000006</c:v>
                </c:pt>
                <c:pt idx="11652">
                  <c:v>75</c:v>
                </c:pt>
                <c:pt idx="11653">
                  <c:v>74.5</c:v>
                </c:pt>
                <c:pt idx="11654">
                  <c:v>74.099999999999994</c:v>
                </c:pt>
                <c:pt idx="11655">
                  <c:v>74.099999999999994</c:v>
                </c:pt>
                <c:pt idx="11656">
                  <c:v>73.599999999999994</c:v>
                </c:pt>
                <c:pt idx="11657">
                  <c:v>73.400000000000006</c:v>
                </c:pt>
                <c:pt idx="11658">
                  <c:v>72.900000000000006</c:v>
                </c:pt>
                <c:pt idx="11659">
                  <c:v>72.7</c:v>
                </c:pt>
                <c:pt idx="11660">
                  <c:v>72.7</c:v>
                </c:pt>
                <c:pt idx="11661">
                  <c:v>72.3</c:v>
                </c:pt>
                <c:pt idx="11662">
                  <c:v>72.3</c:v>
                </c:pt>
                <c:pt idx="11663">
                  <c:v>72.5</c:v>
                </c:pt>
                <c:pt idx="11664">
                  <c:v>72.3</c:v>
                </c:pt>
                <c:pt idx="11665">
                  <c:v>72.099999999999994</c:v>
                </c:pt>
                <c:pt idx="11666">
                  <c:v>71.8</c:v>
                </c:pt>
                <c:pt idx="11667">
                  <c:v>71.599999999999994</c:v>
                </c:pt>
                <c:pt idx="11668">
                  <c:v>71.599999999999994</c:v>
                </c:pt>
                <c:pt idx="11669">
                  <c:v>72.7</c:v>
                </c:pt>
                <c:pt idx="11670">
                  <c:v>72.3</c:v>
                </c:pt>
                <c:pt idx="11671">
                  <c:v>72.3</c:v>
                </c:pt>
                <c:pt idx="11672">
                  <c:v>72.3</c:v>
                </c:pt>
                <c:pt idx="11673">
                  <c:v>72.5</c:v>
                </c:pt>
                <c:pt idx="11674">
                  <c:v>72.5</c:v>
                </c:pt>
                <c:pt idx="11675">
                  <c:v>73.900000000000006</c:v>
                </c:pt>
                <c:pt idx="11676">
                  <c:v>73</c:v>
                </c:pt>
                <c:pt idx="11677">
                  <c:v>72.3</c:v>
                </c:pt>
                <c:pt idx="11678">
                  <c:v>72</c:v>
                </c:pt>
                <c:pt idx="11679">
                  <c:v>72</c:v>
                </c:pt>
                <c:pt idx="11680">
                  <c:v>72</c:v>
                </c:pt>
                <c:pt idx="11681">
                  <c:v>71.8</c:v>
                </c:pt>
                <c:pt idx="11682">
                  <c:v>72.900000000000006</c:v>
                </c:pt>
                <c:pt idx="11683">
                  <c:v>71.8</c:v>
                </c:pt>
                <c:pt idx="11684">
                  <c:v>71.599999999999994</c:v>
                </c:pt>
                <c:pt idx="11685">
                  <c:v>71.400000000000006</c:v>
                </c:pt>
                <c:pt idx="11686">
                  <c:v>71.599999999999994</c:v>
                </c:pt>
                <c:pt idx="11687">
                  <c:v>73.8</c:v>
                </c:pt>
                <c:pt idx="11688">
                  <c:v>73.900000000000006</c:v>
                </c:pt>
                <c:pt idx="11689">
                  <c:v>74.5</c:v>
                </c:pt>
                <c:pt idx="11690">
                  <c:v>76.099999999999994</c:v>
                </c:pt>
                <c:pt idx="11691">
                  <c:v>79</c:v>
                </c:pt>
                <c:pt idx="11692">
                  <c:v>81.7</c:v>
                </c:pt>
                <c:pt idx="11693">
                  <c:v>76.599999999999994</c:v>
                </c:pt>
                <c:pt idx="11694">
                  <c:v>77.2</c:v>
                </c:pt>
                <c:pt idx="11695">
                  <c:v>77.5</c:v>
                </c:pt>
                <c:pt idx="11696">
                  <c:v>77.900000000000006</c:v>
                </c:pt>
                <c:pt idx="11697">
                  <c:v>78.599999999999994</c:v>
                </c:pt>
                <c:pt idx="11698">
                  <c:v>79.3</c:v>
                </c:pt>
                <c:pt idx="11699">
                  <c:v>80.099999999999994</c:v>
                </c:pt>
                <c:pt idx="11700">
                  <c:v>81.099999999999994</c:v>
                </c:pt>
                <c:pt idx="11701">
                  <c:v>82.4</c:v>
                </c:pt>
                <c:pt idx="11702">
                  <c:v>89.1</c:v>
                </c:pt>
                <c:pt idx="11703">
                  <c:v>91.4</c:v>
                </c:pt>
                <c:pt idx="11704">
                  <c:v>94.5</c:v>
                </c:pt>
                <c:pt idx="11705">
                  <c:v>98.8</c:v>
                </c:pt>
                <c:pt idx="11706">
                  <c:v>89.1</c:v>
                </c:pt>
                <c:pt idx="11707">
                  <c:v>90.5</c:v>
                </c:pt>
                <c:pt idx="11708">
                  <c:v>92.1</c:v>
                </c:pt>
                <c:pt idx="11709">
                  <c:v>94.1</c:v>
                </c:pt>
                <c:pt idx="11710">
                  <c:v>91.6</c:v>
                </c:pt>
                <c:pt idx="11711">
                  <c:v>90</c:v>
                </c:pt>
                <c:pt idx="11712">
                  <c:v>93.4</c:v>
                </c:pt>
                <c:pt idx="11713">
                  <c:v>97.3</c:v>
                </c:pt>
                <c:pt idx="11714">
                  <c:v>95.7</c:v>
                </c:pt>
                <c:pt idx="11715">
                  <c:v>95</c:v>
                </c:pt>
                <c:pt idx="11716">
                  <c:v>99</c:v>
                </c:pt>
                <c:pt idx="11717">
                  <c:v>96.6</c:v>
                </c:pt>
                <c:pt idx="11718">
                  <c:v>94.1</c:v>
                </c:pt>
                <c:pt idx="11719">
                  <c:v>93</c:v>
                </c:pt>
                <c:pt idx="11720">
                  <c:v>89.2</c:v>
                </c:pt>
                <c:pt idx="11721">
                  <c:v>84.7</c:v>
                </c:pt>
                <c:pt idx="11722">
                  <c:v>85.6</c:v>
                </c:pt>
                <c:pt idx="11723">
                  <c:v>93.4</c:v>
                </c:pt>
                <c:pt idx="11724">
                  <c:v>94.3</c:v>
                </c:pt>
                <c:pt idx="11725">
                  <c:v>97.5</c:v>
                </c:pt>
                <c:pt idx="11726">
                  <c:v>92.8</c:v>
                </c:pt>
                <c:pt idx="11727">
                  <c:v>90.1</c:v>
                </c:pt>
                <c:pt idx="11728">
                  <c:v>90.9</c:v>
                </c:pt>
                <c:pt idx="11729">
                  <c:v>89.6</c:v>
                </c:pt>
                <c:pt idx="11730">
                  <c:v>91.2</c:v>
                </c:pt>
                <c:pt idx="11731">
                  <c:v>90.5</c:v>
                </c:pt>
                <c:pt idx="11732">
                  <c:v>88.2</c:v>
                </c:pt>
                <c:pt idx="11733">
                  <c:v>87.8</c:v>
                </c:pt>
                <c:pt idx="11734">
                  <c:v>86.9</c:v>
                </c:pt>
                <c:pt idx="11735">
                  <c:v>85.8</c:v>
                </c:pt>
                <c:pt idx="11736">
                  <c:v>84.4</c:v>
                </c:pt>
                <c:pt idx="11737">
                  <c:v>84.4</c:v>
                </c:pt>
                <c:pt idx="11738">
                  <c:v>83.7</c:v>
                </c:pt>
                <c:pt idx="11739">
                  <c:v>82.2</c:v>
                </c:pt>
                <c:pt idx="11740">
                  <c:v>81.900000000000006</c:v>
                </c:pt>
                <c:pt idx="11741">
                  <c:v>75.7</c:v>
                </c:pt>
                <c:pt idx="11742">
                  <c:v>75</c:v>
                </c:pt>
                <c:pt idx="11743">
                  <c:v>74.5</c:v>
                </c:pt>
                <c:pt idx="11744">
                  <c:v>74.3</c:v>
                </c:pt>
                <c:pt idx="11745">
                  <c:v>74.5</c:v>
                </c:pt>
                <c:pt idx="11746">
                  <c:v>74.5</c:v>
                </c:pt>
                <c:pt idx="11747">
                  <c:v>74.5</c:v>
                </c:pt>
                <c:pt idx="11748">
                  <c:v>74.5</c:v>
                </c:pt>
                <c:pt idx="11749">
                  <c:v>74.5</c:v>
                </c:pt>
                <c:pt idx="11750">
                  <c:v>74.5</c:v>
                </c:pt>
                <c:pt idx="11751">
                  <c:v>74.5</c:v>
                </c:pt>
                <c:pt idx="11752">
                  <c:v>74.5</c:v>
                </c:pt>
                <c:pt idx="11753">
                  <c:v>74.5</c:v>
                </c:pt>
                <c:pt idx="11754">
                  <c:v>74.5</c:v>
                </c:pt>
                <c:pt idx="11755">
                  <c:v>74.5</c:v>
                </c:pt>
                <c:pt idx="11756">
                  <c:v>74.5</c:v>
                </c:pt>
                <c:pt idx="11757">
                  <c:v>74.5</c:v>
                </c:pt>
                <c:pt idx="11758">
                  <c:v>74.5</c:v>
                </c:pt>
                <c:pt idx="11759">
                  <c:v>74.5</c:v>
                </c:pt>
                <c:pt idx="11760">
                  <c:v>74.5</c:v>
                </c:pt>
                <c:pt idx="11761">
                  <c:v>74.5</c:v>
                </c:pt>
                <c:pt idx="11762">
                  <c:v>74.099999999999994</c:v>
                </c:pt>
                <c:pt idx="11763">
                  <c:v>75.2</c:v>
                </c:pt>
                <c:pt idx="11764">
                  <c:v>75</c:v>
                </c:pt>
                <c:pt idx="11765">
                  <c:v>74.099999999999994</c:v>
                </c:pt>
                <c:pt idx="11766">
                  <c:v>74.3</c:v>
                </c:pt>
                <c:pt idx="11767">
                  <c:v>75.900000000000006</c:v>
                </c:pt>
                <c:pt idx="11768">
                  <c:v>74.5</c:v>
                </c:pt>
                <c:pt idx="11769">
                  <c:v>73.599999999999994</c:v>
                </c:pt>
                <c:pt idx="11770">
                  <c:v>73.8</c:v>
                </c:pt>
                <c:pt idx="11771">
                  <c:v>74.3</c:v>
                </c:pt>
                <c:pt idx="11772">
                  <c:v>73.400000000000006</c:v>
                </c:pt>
                <c:pt idx="11773">
                  <c:v>73.2</c:v>
                </c:pt>
                <c:pt idx="11774">
                  <c:v>73</c:v>
                </c:pt>
                <c:pt idx="11775">
                  <c:v>72.900000000000006</c:v>
                </c:pt>
                <c:pt idx="11776">
                  <c:v>74.3</c:v>
                </c:pt>
                <c:pt idx="11777">
                  <c:v>73.8</c:v>
                </c:pt>
                <c:pt idx="11778">
                  <c:v>72.900000000000006</c:v>
                </c:pt>
                <c:pt idx="11779">
                  <c:v>72.900000000000006</c:v>
                </c:pt>
                <c:pt idx="11780">
                  <c:v>72.7</c:v>
                </c:pt>
                <c:pt idx="11781">
                  <c:v>72.7</c:v>
                </c:pt>
                <c:pt idx="11782">
                  <c:v>74.7</c:v>
                </c:pt>
                <c:pt idx="11783">
                  <c:v>76.8</c:v>
                </c:pt>
                <c:pt idx="11784">
                  <c:v>77.900000000000006</c:v>
                </c:pt>
                <c:pt idx="11785">
                  <c:v>75.2</c:v>
                </c:pt>
                <c:pt idx="11786">
                  <c:v>75.900000000000006</c:v>
                </c:pt>
                <c:pt idx="11787">
                  <c:v>76.5</c:v>
                </c:pt>
                <c:pt idx="11788">
                  <c:v>77.400000000000006</c:v>
                </c:pt>
                <c:pt idx="11789">
                  <c:v>78.3</c:v>
                </c:pt>
                <c:pt idx="11790">
                  <c:v>79</c:v>
                </c:pt>
                <c:pt idx="11791">
                  <c:v>79.7</c:v>
                </c:pt>
                <c:pt idx="11792">
                  <c:v>80.8</c:v>
                </c:pt>
                <c:pt idx="11793">
                  <c:v>81.7</c:v>
                </c:pt>
                <c:pt idx="11794">
                  <c:v>89.8</c:v>
                </c:pt>
                <c:pt idx="11795">
                  <c:v>89.2</c:v>
                </c:pt>
                <c:pt idx="11796">
                  <c:v>89.1</c:v>
                </c:pt>
                <c:pt idx="11797">
                  <c:v>91.8</c:v>
                </c:pt>
                <c:pt idx="11798">
                  <c:v>91.9</c:v>
                </c:pt>
                <c:pt idx="11799">
                  <c:v>92.1</c:v>
                </c:pt>
                <c:pt idx="11800">
                  <c:v>93.4</c:v>
                </c:pt>
                <c:pt idx="11801">
                  <c:v>94.6</c:v>
                </c:pt>
                <c:pt idx="11802">
                  <c:v>96.6</c:v>
                </c:pt>
                <c:pt idx="11803">
                  <c:v>95.2</c:v>
                </c:pt>
                <c:pt idx="11804">
                  <c:v>88.3</c:v>
                </c:pt>
                <c:pt idx="11805">
                  <c:v>82.9</c:v>
                </c:pt>
                <c:pt idx="11806">
                  <c:v>91.8</c:v>
                </c:pt>
                <c:pt idx="11807">
                  <c:v>92.3</c:v>
                </c:pt>
                <c:pt idx="11808">
                  <c:v>89.2</c:v>
                </c:pt>
                <c:pt idx="11809">
                  <c:v>79.2</c:v>
                </c:pt>
                <c:pt idx="11810">
                  <c:v>77.5</c:v>
                </c:pt>
                <c:pt idx="11811">
                  <c:v>76.3</c:v>
                </c:pt>
                <c:pt idx="11812">
                  <c:v>74.7</c:v>
                </c:pt>
                <c:pt idx="11813">
                  <c:v>74.5</c:v>
                </c:pt>
                <c:pt idx="11814">
                  <c:v>74.099999999999994</c:v>
                </c:pt>
                <c:pt idx="11815">
                  <c:v>74.099999999999994</c:v>
                </c:pt>
                <c:pt idx="11816">
                  <c:v>74.7</c:v>
                </c:pt>
                <c:pt idx="11817">
                  <c:v>75.2</c:v>
                </c:pt>
                <c:pt idx="11818">
                  <c:v>74.5</c:v>
                </c:pt>
                <c:pt idx="11819">
                  <c:v>74.8</c:v>
                </c:pt>
                <c:pt idx="11820">
                  <c:v>74.7</c:v>
                </c:pt>
                <c:pt idx="11821">
                  <c:v>74.8</c:v>
                </c:pt>
                <c:pt idx="11822">
                  <c:v>75.400000000000006</c:v>
                </c:pt>
                <c:pt idx="11823">
                  <c:v>75.7</c:v>
                </c:pt>
                <c:pt idx="11824">
                  <c:v>75.900000000000006</c:v>
                </c:pt>
                <c:pt idx="11825">
                  <c:v>76.099999999999994</c:v>
                </c:pt>
                <c:pt idx="11826">
                  <c:v>76.099999999999994</c:v>
                </c:pt>
                <c:pt idx="11827">
                  <c:v>76.3</c:v>
                </c:pt>
                <c:pt idx="11828">
                  <c:v>76.3</c:v>
                </c:pt>
                <c:pt idx="11829">
                  <c:v>75.900000000000006</c:v>
                </c:pt>
                <c:pt idx="11830">
                  <c:v>75.900000000000006</c:v>
                </c:pt>
                <c:pt idx="11831">
                  <c:v>75.7</c:v>
                </c:pt>
                <c:pt idx="11832">
                  <c:v>75.7</c:v>
                </c:pt>
                <c:pt idx="11833">
                  <c:v>75.599999999999994</c:v>
                </c:pt>
                <c:pt idx="11834">
                  <c:v>75.599999999999994</c:v>
                </c:pt>
                <c:pt idx="11835">
                  <c:v>75.7</c:v>
                </c:pt>
                <c:pt idx="11836">
                  <c:v>75.599999999999994</c:v>
                </c:pt>
                <c:pt idx="11837">
                  <c:v>75</c:v>
                </c:pt>
                <c:pt idx="11838">
                  <c:v>74.8</c:v>
                </c:pt>
                <c:pt idx="11839">
                  <c:v>74.7</c:v>
                </c:pt>
                <c:pt idx="11840">
                  <c:v>74.5</c:v>
                </c:pt>
                <c:pt idx="11841">
                  <c:v>74.5</c:v>
                </c:pt>
                <c:pt idx="11842">
                  <c:v>74.5</c:v>
                </c:pt>
                <c:pt idx="11843">
                  <c:v>74.5</c:v>
                </c:pt>
                <c:pt idx="11844">
                  <c:v>74.099999999999994</c:v>
                </c:pt>
                <c:pt idx="11845">
                  <c:v>73.900000000000006</c:v>
                </c:pt>
                <c:pt idx="11846">
                  <c:v>73.400000000000006</c:v>
                </c:pt>
                <c:pt idx="11847">
                  <c:v>73.2</c:v>
                </c:pt>
                <c:pt idx="11848">
                  <c:v>72.900000000000006</c:v>
                </c:pt>
                <c:pt idx="11849">
                  <c:v>72.7</c:v>
                </c:pt>
                <c:pt idx="11850">
                  <c:v>72.5</c:v>
                </c:pt>
                <c:pt idx="11851">
                  <c:v>72.3</c:v>
                </c:pt>
                <c:pt idx="11852">
                  <c:v>72.3</c:v>
                </c:pt>
                <c:pt idx="11853">
                  <c:v>72.3</c:v>
                </c:pt>
                <c:pt idx="11854">
                  <c:v>72.099999999999994</c:v>
                </c:pt>
                <c:pt idx="11855">
                  <c:v>72.099999999999994</c:v>
                </c:pt>
                <c:pt idx="11856">
                  <c:v>72.099999999999994</c:v>
                </c:pt>
                <c:pt idx="11857">
                  <c:v>72.099999999999994</c:v>
                </c:pt>
                <c:pt idx="11858">
                  <c:v>72.099999999999994</c:v>
                </c:pt>
                <c:pt idx="11859">
                  <c:v>71.8</c:v>
                </c:pt>
                <c:pt idx="11860">
                  <c:v>71.599999999999994</c:v>
                </c:pt>
                <c:pt idx="11861">
                  <c:v>71.8</c:v>
                </c:pt>
                <c:pt idx="11862">
                  <c:v>71.8</c:v>
                </c:pt>
                <c:pt idx="11863">
                  <c:v>71.599999999999994</c:v>
                </c:pt>
                <c:pt idx="11864">
                  <c:v>71.599999999999994</c:v>
                </c:pt>
                <c:pt idx="11865">
                  <c:v>71.400000000000006</c:v>
                </c:pt>
                <c:pt idx="11866">
                  <c:v>71.2</c:v>
                </c:pt>
                <c:pt idx="11867">
                  <c:v>71.2</c:v>
                </c:pt>
                <c:pt idx="11868">
                  <c:v>71.099999999999994</c:v>
                </c:pt>
                <c:pt idx="11869">
                  <c:v>70.900000000000006</c:v>
                </c:pt>
                <c:pt idx="11870">
                  <c:v>71.599999999999994</c:v>
                </c:pt>
                <c:pt idx="11871">
                  <c:v>71.099999999999994</c:v>
                </c:pt>
                <c:pt idx="11872">
                  <c:v>70.900000000000006</c:v>
                </c:pt>
                <c:pt idx="11873">
                  <c:v>70.5</c:v>
                </c:pt>
                <c:pt idx="11874">
                  <c:v>70.5</c:v>
                </c:pt>
                <c:pt idx="11875">
                  <c:v>70.5</c:v>
                </c:pt>
                <c:pt idx="11876">
                  <c:v>71.2</c:v>
                </c:pt>
                <c:pt idx="11877">
                  <c:v>71.400000000000006</c:v>
                </c:pt>
                <c:pt idx="11878">
                  <c:v>72.099999999999994</c:v>
                </c:pt>
                <c:pt idx="11879">
                  <c:v>72.3</c:v>
                </c:pt>
                <c:pt idx="11880">
                  <c:v>72.3</c:v>
                </c:pt>
                <c:pt idx="11881">
                  <c:v>72.3</c:v>
                </c:pt>
                <c:pt idx="11882">
                  <c:v>72.3</c:v>
                </c:pt>
                <c:pt idx="11883">
                  <c:v>72.3</c:v>
                </c:pt>
                <c:pt idx="11884">
                  <c:v>72.3</c:v>
                </c:pt>
                <c:pt idx="11885">
                  <c:v>72.3</c:v>
                </c:pt>
                <c:pt idx="11886">
                  <c:v>72.3</c:v>
                </c:pt>
                <c:pt idx="11887">
                  <c:v>72.3</c:v>
                </c:pt>
                <c:pt idx="11888">
                  <c:v>72.3</c:v>
                </c:pt>
                <c:pt idx="11889">
                  <c:v>72.3</c:v>
                </c:pt>
                <c:pt idx="11890">
                  <c:v>72.3</c:v>
                </c:pt>
                <c:pt idx="11891">
                  <c:v>72.3</c:v>
                </c:pt>
                <c:pt idx="11892">
                  <c:v>72.3</c:v>
                </c:pt>
                <c:pt idx="11893">
                  <c:v>72.3</c:v>
                </c:pt>
                <c:pt idx="11894">
                  <c:v>72.3</c:v>
                </c:pt>
                <c:pt idx="11895">
                  <c:v>90.7</c:v>
                </c:pt>
                <c:pt idx="11896">
                  <c:v>91</c:v>
                </c:pt>
                <c:pt idx="11897">
                  <c:v>90.3</c:v>
                </c:pt>
                <c:pt idx="11898">
                  <c:v>92.3</c:v>
                </c:pt>
                <c:pt idx="11899">
                  <c:v>93.6</c:v>
                </c:pt>
                <c:pt idx="11900">
                  <c:v>94.5</c:v>
                </c:pt>
                <c:pt idx="11901">
                  <c:v>93.2</c:v>
                </c:pt>
                <c:pt idx="11902">
                  <c:v>93</c:v>
                </c:pt>
                <c:pt idx="11903">
                  <c:v>95.5</c:v>
                </c:pt>
                <c:pt idx="11904">
                  <c:v>94.6</c:v>
                </c:pt>
                <c:pt idx="11905">
                  <c:v>95.7</c:v>
                </c:pt>
                <c:pt idx="11906">
                  <c:v>93.9</c:v>
                </c:pt>
                <c:pt idx="11907">
                  <c:v>92.5</c:v>
                </c:pt>
                <c:pt idx="11908">
                  <c:v>92.1</c:v>
                </c:pt>
                <c:pt idx="11909">
                  <c:v>92.5</c:v>
                </c:pt>
                <c:pt idx="11910">
                  <c:v>93.9</c:v>
                </c:pt>
                <c:pt idx="11911">
                  <c:v>95.2</c:v>
                </c:pt>
                <c:pt idx="11912">
                  <c:v>94.5</c:v>
                </c:pt>
                <c:pt idx="11913">
                  <c:v>94.1</c:v>
                </c:pt>
                <c:pt idx="11914">
                  <c:v>95.9</c:v>
                </c:pt>
                <c:pt idx="11915">
                  <c:v>97</c:v>
                </c:pt>
                <c:pt idx="11916">
                  <c:v>97</c:v>
                </c:pt>
                <c:pt idx="11917">
                  <c:v>96.8</c:v>
                </c:pt>
                <c:pt idx="11918">
                  <c:v>96.4</c:v>
                </c:pt>
                <c:pt idx="11919">
                  <c:v>99</c:v>
                </c:pt>
                <c:pt idx="11920">
                  <c:v>99.3</c:v>
                </c:pt>
                <c:pt idx="11921">
                  <c:v>92.8</c:v>
                </c:pt>
                <c:pt idx="11922">
                  <c:v>96.6</c:v>
                </c:pt>
                <c:pt idx="11923">
                  <c:v>97</c:v>
                </c:pt>
                <c:pt idx="11924">
                  <c:v>95.2</c:v>
                </c:pt>
                <c:pt idx="11925">
                  <c:v>90.3</c:v>
                </c:pt>
                <c:pt idx="11926">
                  <c:v>88.2</c:v>
                </c:pt>
                <c:pt idx="11927">
                  <c:v>85.8</c:v>
                </c:pt>
                <c:pt idx="11928">
                  <c:v>85.1</c:v>
                </c:pt>
                <c:pt idx="11929">
                  <c:v>81.5</c:v>
                </c:pt>
                <c:pt idx="11930">
                  <c:v>80.2</c:v>
                </c:pt>
                <c:pt idx="11931">
                  <c:v>79.2</c:v>
                </c:pt>
                <c:pt idx="11932">
                  <c:v>78.3</c:v>
                </c:pt>
                <c:pt idx="11933">
                  <c:v>77.5</c:v>
                </c:pt>
                <c:pt idx="11934">
                  <c:v>76.599999999999994</c:v>
                </c:pt>
                <c:pt idx="11935">
                  <c:v>76.099999999999994</c:v>
                </c:pt>
                <c:pt idx="11936">
                  <c:v>75.900000000000006</c:v>
                </c:pt>
                <c:pt idx="11937">
                  <c:v>75.599999999999994</c:v>
                </c:pt>
                <c:pt idx="11938">
                  <c:v>75.599999999999994</c:v>
                </c:pt>
                <c:pt idx="11939">
                  <c:v>75.599999999999994</c:v>
                </c:pt>
                <c:pt idx="11940">
                  <c:v>75.599999999999994</c:v>
                </c:pt>
                <c:pt idx="11941">
                  <c:v>75.599999999999994</c:v>
                </c:pt>
                <c:pt idx="11942">
                  <c:v>75.599999999999994</c:v>
                </c:pt>
                <c:pt idx="11943">
                  <c:v>75.599999999999994</c:v>
                </c:pt>
                <c:pt idx="11944">
                  <c:v>75.599999999999994</c:v>
                </c:pt>
                <c:pt idx="11945">
                  <c:v>75.599999999999994</c:v>
                </c:pt>
                <c:pt idx="11946">
                  <c:v>75.599999999999994</c:v>
                </c:pt>
                <c:pt idx="11947">
                  <c:v>75.599999999999994</c:v>
                </c:pt>
                <c:pt idx="11948">
                  <c:v>75.599999999999994</c:v>
                </c:pt>
                <c:pt idx="11949">
                  <c:v>75.599999999999994</c:v>
                </c:pt>
                <c:pt idx="11950">
                  <c:v>75.599999999999994</c:v>
                </c:pt>
                <c:pt idx="11951">
                  <c:v>75.599999999999994</c:v>
                </c:pt>
                <c:pt idx="11952">
                  <c:v>75.599999999999994</c:v>
                </c:pt>
                <c:pt idx="11953">
                  <c:v>75.599999999999994</c:v>
                </c:pt>
                <c:pt idx="11954">
                  <c:v>75.2</c:v>
                </c:pt>
                <c:pt idx="11955">
                  <c:v>76.5</c:v>
                </c:pt>
                <c:pt idx="11956">
                  <c:v>75.400000000000006</c:v>
                </c:pt>
                <c:pt idx="11957">
                  <c:v>74.8</c:v>
                </c:pt>
                <c:pt idx="11958">
                  <c:v>74.7</c:v>
                </c:pt>
                <c:pt idx="11959">
                  <c:v>74.8</c:v>
                </c:pt>
                <c:pt idx="11960">
                  <c:v>74.3</c:v>
                </c:pt>
                <c:pt idx="11961">
                  <c:v>74.3</c:v>
                </c:pt>
                <c:pt idx="11962">
                  <c:v>74.8</c:v>
                </c:pt>
                <c:pt idx="11963">
                  <c:v>73.900000000000006</c:v>
                </c:pt>
                <c:pt idx="11964">
                  <c:v>73.900000000000006</c:v>
                </c:pt>
                <c:pt idx="11965">
                  <c:v>73.8</c:v>
                </c:pt>
                <c:pt idx="11966">
                  <c:v>74.8</c:v>
                </c:pt>
                <c:pt idx="11967">
                  <c:v>74.099999999999994</c:v>
                </c:pt>
                <c:pt idx="11968">
                  <c:v>73.599999999999994</c:v>
                </c:pt>
                <c:pt idx="11969">
                  <c:v>73.599999999999994</c:v>
                </c:pt>
                <c:pt idx="11970">
                  <c:v>73.400000000000006</c:v>
                </c:pt>
                <c:pt idx="11971">
                  <c:v>83.1</c:v>
                </c:pt>
                <c:pt idx="11972">
                  <c:v>83.1</c:v>
                </c:pt>
                <c:pt idx="11973">
                  <c:v>83.1</c:v>
                </c:pt>
                <c:pt idx="11974">
                  <c:v>84.4</c:v>
                </c:pt>
                <c:pt idx="11975">
                  <c:v>87.8</c:v>
                </c:pt>
                <c:pt idx="11976">
                  <c:v>90.9</c:v>
                </c:pt>
                <c:pt idx="11977">
                  <c:v>89.1</c:v>
                </c:pt>
                <c:pt idx="11978">
                  <c:v>92.1</c:v>
                </c:pt>
                <c:pt idx="11979">
                  <c:v>82.8</c:v>
                </c:pt>
                <c:pt idx="11980">
                  <c:v>83.8</c:v>
                </c:pt>
                <c:pt idx="11981">
                  <c:v>85.3</c:v>
                </c:pt>
                <c:pt idx="11982">
                  <c:v>86.4</c:v>
                </c:pt>
                <c:pt idx="11983">
                  <c:v>87.1</c:v>
                </c:pt>
                <c:pt idx="11984">
                  <c:v>87.6</c:v>
                </c:pt>
                <c:pt idx="11985">
                  <c:v>88.5</c:v>
                </c:pt>
                <c:pt idx="11986">
                  <c:v>89.2</c:v>
                </c:pt>
                <c:pt idx="11987">
                  <c:v>98.4</c:v>
                </c:pt>
                <c:pt idx="11988">
                  <c:v>95.4</c:v>
                </c:pt>
                <c:pt idx="11989">
                  <c:v>99.5</c:v>
                </c:pt>
                <c:pt idx="11990">
                  <c:v>92.8</c:v>
                </c:pt>
                <c:pt idx="11991">
                  <c:v>88.5</c:v>
                </c:pt>
                <c:pt idx="11992">
                  <c:v>88.5</c:v>
                </c:pt>
                <c:pt idx="11993">
                  <c:v>88.7</c:v>
                </c:pt>
                <c:pt idx="11994">
                  <c:v>94.5</c:v>
                </c:pt>
                <c:pt idx="11995">
                  <c:v>94.5</c:v>
                </c:pt>
                <c:pt idx="11996">
                  <c:v>99</c:v>
                </c:pt>
                <c:pt idx="11997">
                  <c:v>92.5</c:v>
                </c:pt>
                <c:pt idx="11998">
                  <c:v>91.4</c:v>
                </c:pt>
                <c:pt idx="11999">
                  <c:v>92.5</c:v>
                </c:pt>
                <c:pt idx="12000">
                  <c:v>95.2</c:v>
                </c:pt>
                <c:pt idx="12001">
                  <c:v>95.2</c:v>
                </c:pt>
                <c:pt idx="12002">
                  <c:v>93.2</c:v>
                </c:pt>
                <c:pt idx="12003">
                  <c:v>91.4</c:v>
                </c:pt>
                <c:pt idx="12004">
                  <c:v>90.9</c:v>
                </c:pt>
                <c:pt idx="12005">
                  <c:v>94.3</c:v>
                </c:pt>
                <c:pt idx="12006">
                  <c:v>91.6</c:v>
                </c:pt>
                <c:pt idx="12007">
                  <c:v>94.8</c:v>
                </c:pt>
                <c:pt idx="12008">
                  <c:v>96.6</c:v>
                </c:pt>
                <c:pt idx="12009">
                  <c:v>97</c:v>
                </c:pt>
                <c:pt idx="12010">
                  <c:v>93.6</c:v>
                </c:pt>
                <c:pt idx="12011">
                  <c:v>93.6</c:v>
                </c:pt>
                <c:pt idx="12012">
                  <c:v>94.5</c:v>
                </c:pt>
                <c:pt idx="12013">
                  <c:v>96.3</c:v>
                </c:pt>
                <c:pt idx="12014">
                  <c:v>95.7</c:v>
                </c:pt>
                <c:pt idx="12015">
                  <c:v>91</c:v>
                </c:pt>
                <c:pt idx="12016">
                  <c:v>89.8</c:v>
                </c:pt>
                <c:pt idx="12017">
                  <c:v>87.3</c:v>
                </c:pt>
                <c:pt idx="12018">
                  <c:v>86.4</c:v>
                </c:pt>
                <c:pt idx="12019">
                  <c:v>85.5</c:v>
                </c:pt>
                <c:pt idx="12020">
                  <c:v>84.2</c:v>
                </c:pt>
                <c:pt idx="12021">
                  <c:v>83.5</c:v>
                </c:pt>
                <c:pt idx="12022">
                  <c:v>82</c:v>
                </c:pt>
                <c:pt idx="12023">
                  <c:v>81.5</c:v>
                </c:pt>
                <c:pt idx="12024">
                  <c:v>80.8</c:v>
                </c:pt>
                <c:pt idx="12025">
                  <c:v>80.400000000000006</c:v>
                </c:pt>
                <c:pt idx="12026">
                  <c:v>81</c:v>
                </c:pt>
                <c:pt idx="12027">
                  <c:v>81</c:v>
                </c:pt>
                <c:pt idx="12028">
                  <c:v>80.599999999999994</c:v>
                </c:pt>
                <c:pt idx="12029">
                  <c:v>80.599999999999994</c:v>
                </c:pt>
                <c:pt idx="12030">
                  <c:v>80.599999999999994</c:v>
                </c:pt>
                <c:pt idx="12031">
                  <c:v>80.599999999999994</c:v>
                </c:pt>
                <c:pt idx="12032">
                  <c:v>80.599999999999994</c:v>
                </c:pt>
                <c:pt idx="12033">
                  <c:v>80.599999999999994</c:v>
                </c:pt>
                <c:pt idx="12034">
                  <c:v>80.599999999999994</c:v>
                </c:pt>
                <c:pt idx="12035">
                  <c:v>80.599999999999994</c:v>
                </c:pt>
                <c:pt idx="12036">
                  <c:v>80.599999999999994</c:v>
                </c:pt>
                <c:pt idx="12037">
                  <c:v>80.599999999999994</c:v>
                </c:pt>
                <c:pt idx="12038">
                  <c:v>80.599999999999994</c:v>
                </c:pt>
                <c:pt idx="12039">
                  <c:v>80.599999999999994</c:v>
                </c:pt>
                <c:pt idx="12040">
                  <c:v>80.599999999999994</c:v>
                </c:pt>
                <c:pt idx="12041">
                  <c:v>80.599999999999994</c:v>
                </c:pt>
                <c:pt idx="12042">
                  <c:v>80.599999999999994</c:v>
                </c:pt>
                <c:pt idx="12043">
                  <c:v>80.599999999999994</c:v>
                </c:pt>
                <c:pt idx="12044">
                  <c:v>77.400000000000006</c:v>
                </c:pt>
                <c:pt idx="12045">
                  <c:v>76.5</c:v>
                </c:pt>
                <c:pt idx="12046">
                  <c:v>76.3</c:v>
                </c:pt>
                <c:pt idx="12047">
                  <c:v>75.2</c:v>
                </c:pt>
                <c:pt idx="12048">
                  <c:v>74.7</c:v>
                </c:pt>
                <c:pt idx="12049">
                  <c:v>74.3</c:v>
                </c:pt>
                <c:pt idx="12050">
                  <c:v>74.7</c:v>
                </c:pt>
                <c:pt idx="12051">
                  <c:v>74.099999999999994</c:v>
                </c:pt>
                <c:pt idx="12052">
                  <c:v>73.599999999999994</c:v>
                </c:pt>
                <c:pt idx="12053">
                  <c:v>73.2</c:v>
                </c:pt>
                <c:pt idx="12054">
                  <c:v>74.7</c:v>
                </c:pt>
                <c:pt idx="12055">
                  <c:v>73.599999999999994</c:v>
                </c:pt>
                <c:pt idx="12056">
                  <c:v>72.900000000000006</c:v>
                </c:pt>
                <c:pt idx="12057">
                  <c:v>73.400000000000006</c:v>
                </c:pt>
                <c:pt idx="12058">
                  <c:v>73</c:v>
                </c:pt>
                <c:pt idx="12059">
                  <c:v>73.599999999999994</c:v>
                </c:pt>
                <c:pt idx="12060">
                  <c:v>73.400000000000006</c:v>
                </c:pt>
                <c:pt idx="12061">
                  <c:v>73</c:v>
                </c:pt>
                <c:pt idx="12062">
                  <c:v>73</c:v>
                </c:pt>
                <c:pt idx="12063">
                  <c:v>74.3</c:v>
                </c:pt>
                <c:pt idx="12064">
                  <c:v>73.2</c:v>
                </c:pt>
                <c:pt idx="12065">
                  <c:v>73</c:v>
                </c:pt>
                <c:pt idx="12066">
                  <c:v>73.900000000000006</c:v>
                </c:pt>
                <c:pt idx="12067">
                  <c:v>73.900000000000006</c:v>
                </c:pt>
                <c:pt idx="12068">
                  <c:v>76.3</c:v>
                </c:pt>
                <c:pt idx="12069">
                  <c:v>77.7</c:v>
                </c:pt>
                <c:pt idx="12070">
                  <c:v>79</c:v>
                </c:pt>
                <c:pt idx="12071">
                  <c:v>82</c:v>
                </c:pt>
                <c:pt idx="12072">
                  <c:v>81.900000000000006</c:v>
                </c:pt>
                <c:pt idx="12073">
                  <c:v>82.2</c:v>
                </c:pt>
                <c:pt idx="12074">
                  <c:v>83.1</c:v>
                </c:pt>
                <c:pt idx="12075">
                  <c:v>84.6</c:v>
                </c:pt>
                <c:pt idx="12076">
                  <c:v>87.4</c:v>
                </c:pt>
                <c:pt idx="12077">
                  <c:v>87.8</c:v>
                </c:pt>
                <c:pt idx="12078">
                  <c:v>88.3</c:v>
                </c:pt>
                <c:pt idx="12079">
                  <c:v>89.8</c:v>
                </c:pt>
                <c:pt idx="12080">
                  <c:v>88.5</c:v>
                </c:pt>
                <c:pt idx="12081">
                  <c:v>90</c:v>
                </c:pt>
                <c:pt idx="12082">
                  <c:v>92.7</c:v>
                </c:pt>
                <c:pt idx="12083">
                  <c:v>90.7</c:v>
                </c:pt>
                <c:pt idx="12084">
                  <c:v>91.6</c:v>
                </c:pt>
                <c:pt idx="12085">
                  <c:v>96.3</c:v>
                </c:pt>
                <c:pt idx="12086">
                  <c:v>92.7</c:v>
                </c:pt>
                <c:pt idx="12087">
                  <c:v>91.9</c:v>
                </c:pt>
                <c:pt idx="12088">
                  <c:v>95.2</c:v>
                </c:pt>
                <c:pt idx="12089">
                  <c:v>94.6</c:v>
                </c:pt>
                <c:pt idx="12090">
                  <c:v>100.6</c:v>
                </c:pt>
                <c:pt idx="12091">
                  <c:v>103.5</c:v>
                </c:pt>
                <c:pt idx="12092">
                  <c:v>99</c:v>
                </c:pt>
                <c:pt idx="12093">
                  <c:v>96.1</c:v>
                </c:pt>
                <c:pt idx="12094">
                  <c:v>94.1</c:v>
                </c:pt>
                <c:pt idx="12095">
                  <c:v>93.2</c:v>
                </c:pt>
                <c:pt idx="12096">
                  <c:v>93.4</c:v>
                </c:pt>
                <c:pt idx="12097">
                  <c:v>90.7</c:v>
                </c:pt>
                <c:pt idx="12098">
                  <c:v>86</c:v>
                </c:pt>
                <c:pt idx="12099">
                  <c:v>82.2</c:v>
                </c:pt>
                <c:pt idx="12100">
                  <c:v>80.8</c:v>
                </c:pt>
                <c:pt idx="12101">
                  <c:v>81.7</c:v>
                </c:pt>
                <c:pt idx="12102">
                  <c:v>82.4</c:v>
                </c:pt>
                <c:pt idx="12103">
                  <c:v>80.400000000000006</c:v>
                </c:pt>
                <c:pt idx="12104">
                  <c:v>81.5</c:v>
                </c:pt>
                <c:pt idx="12105">
                  <c:v>82.9</c:v>
                </c:pt>
                <c:pt idx="12106">
                  <c:v>84.9</c:v>
                </c:pt>
                <c:pt idx="12107">
                  <c:v>90.1</c:v>
                </c:pt>
                <c:pt idx="12108">
                  <c:v>90.5</c:v>
                </c:pt>
                <c:pt idx="12109">
                  <c:v>91.4</c:v>
                </c:pt>
                <c:pt idx="12110">
                  <c:v>88.5</c:v>
                </c:pt>
                <c:pt idx="12111">
                  <c:v>88.7</c:v>
                </c:pt>
                <c:pt idx="12112">
                  <c:v>84.9</c:v>
                </c:pt>
                <c:pt idx="12113">
                  <c:v>84.6</c:v>
                </c:pt>
                <c:pt idx="12114">
                  <c:v>84.6</c:v>
                </c:pt>
                <c:pt idx="12115">
                  <c:v>82.2</c:v>
                </c:pt>
                <c:pt idx="12116">
                  <c:v>82.2</c:v>
                </c:pt>
                <c:pt idx="12117">
                  <c:v>81.5</c:v>
                </c:pt>
                <c:pt idx="12118">
                  <c:v>81</c:v>
                </c:pt>
                <c:pt idx="12119">
                  <c:v>79.5</c:v>
                </c:pt>
                <c:pt idx="12120">
                  <c:v>80.099999999999994</c:v>
                </c:pt>
                <c:pt idx="12121">
                  <c:v>78.8</c:v>
                </c:pt>
                <c:pt idx="12122">
                  <c:v>80.099999999999994</c:v>
                </c:pt>
                <c:pt idx="12123">
                  <c:v>78.8</c:v>
                </c:pt>
                <c:pt idx="12124">
                  <c:v>79.2</c:v>
                </c:pt>
                <c:pt idx="12125">
                  <c:v>77.7</c:v>
                </c:pt>
                <c:pt idx="12126">
                  <c:v>79.5</c:v>
                </c:pt>
                <c:pt idx="12127">
                  <c:v>78.099999999999994</c:v>
                </c:pt>
                <c:pt idx="12128">
                  <c:v>77</c:v>
                </c:pt>
                <c:pt idx="12129">
                  <c:v>77.2</c:v>
                </c:pt>
                <c:pt idx="12130">
                  <c:v>76.5</c:v>
                </c:pt>
                <c:pt idx="12131">
                  <c:v>76.099999999999994</c:v>
                </c:pt>
                <c:pt idx="12132">
                  <c:v>76.599999999999994</c:v>
                </c:pt>
                <c:pt idx="12133">
                  <c:v>75.7</c:v>
                </c:pt>
                <c:pt idx="12134">
                  <c:v>75.400000000000006</c:v>
                </c:pt>
                <c:pt idx="12135">
                  <c:v>75.900000000000006</c:v>
                </c:pt>
                <c:pt idx="12136">
                  <c:v>75.2</c:v>
                </c:pt>
                <c:pt idx="12137">
                  <c:v>74.8</c:v>
                </c:pt>
                <c:pt idx="12138">
                  <c:v>74.5</c:v>
                </c:pt>
                <c:pt idx="12139">
                  <c:v>75</c:v>
                </c:pt>
                <c:pt idx="12140">
                  <c:v>74.3</c:v>
                </c:pt>
                <c:pt idx="12141">
                  <c:v>73.900000000000006</c:v>
                </c:pt>
                <c:pt idx="12142">
                  <c:v>73.900000000000006</c:v>
                </c:pt>
                <c:pt idx="12143">
                  <c:v>74.099999999999994</c:v>
                </c:pt>
                <c:pt idx="12144">
                  <c:v>73.599999999999994</c:v>
                </c:pt>
                <c:pt idx="12145">
                  <c:v>73</c:v>
                </c:pt>
                <c:pt idx="12146">
                  <c:v>73.2</c:v>
                </c:pt>
                <c:pt idx="12147">
                  <c:v>74.099999999999994</c:v>
                </c:pt>
                <c:pt idx="12148">
                  <c:v>72.900000000000006</c:v>
                </c:pt>
                <c:pt idx="12149">
                  <c:v>72.900000000000006</c:v>
                </c:pt>
                <c:pt idx="12150">
                  <c:v>72.5</c:v>
                </c:pt>
                <c:pt idx="12151">
                  <c:v>72.7</c:v>
                </c:pt>
                <c:pt idx="12152">
                  <c:v>72.7</c:v>
                </c:pt>
                <c:pt idx="12153">
                  <c:v>72.7</c:v>
                </c:pt>
                <c:pt idx="12154">
                  <c:v>72.099999999999994</c:v>
                </c:pt>
                <c:pt idx="12155">
                  <c:v>72</c:v>
                </c:pt>
                <c:pt idx="12156">
                  <c:v>72</c:v>
                </c:pt>
                <c:pt idx="12157">
                  <c:v>72.3</c:v>
                </c:pt>
                <c:pt idx="12158">
                  <c:v>72.3</c:v>
                </c:pt>
                <c:pt idx="12159">
                  <c:v>73.599999999999994</c:v>
                </c:pt>
                <c:pt idx="12160">
                  <c:v>73.599999999999994</c:v>
                </c:pt>
                <c:pt idx="12161">
                  <c:v>74.7</c:v>
                </c:pt>
                <c:pt idx="12162">
                  <c:v>75.400000000000006</c:v>
                </c:pt>
                <c:pt idx="12163">
                  <c:v>76.3</c:v>
                </c:pt>
                <c:pt idx="12164">
                  <c:v>77.7</c:v>
                </c:pt>
                <c:pt idx="12165">
                  <c:v>80.099999999999994</c:v>
                </c:pt>
                <c:pt idx="12166">
                  <c:v>81</c:v>
                </c:pt>
                <c:pt idx="12167">
                  <c:v>84.4</c:v>
                </c:pt>
                <c:pt idx="12168">
                  <c:v>86.2</c:v>
                </c:pt>
                <c:pt idx="12169">
                  <c:v>88.3</c:v>
                </c:pt>
                <c:pt idx="12170">
                  <c:v>89.8</c:v>
                </c:pt>
                <c:pt idx="12171">
                  <c:v>86.5</c:v>
                </c:pt>
                <c:pt idx="12172">
                  <c:v>87.8</c:v>
                </c:pt>
                <c:pt idx="12173">
                  <c:v>87.8</c:v>
                </c:pt>
                <c:pt idx="12174">
                  <c:v>87.8</c:v>
                </c:pt>
                <c:pt idx="12175">
                  <c:v>87.8</c:v>
                </c:pt>
                <c:pt idx="12176">
                  <c:v>87.8</c:v>
                </c:pt>
                <c:pt idx="12177">
                  <c:v>87.8</c:v>
                </c:pt>
                <c:pt idx="12178">
                  <c:v>87.8</c:v>
                </c:pt>
                <c:pt idx="12179">
                  <c:v>87.8</c:v>
                </c:pt>
                <c:pt idx="12180">
                  <c:v>87.8</c:v>
                </c:pt>
                <c:pt idx="12181">
                  <c:v>87.8</c:v>
                </c:pt>
                <c:pt idx="12182">
                  <c:v>87.8</c:v>
                </c:pt>
                <c:pt idx="12183">
                  <c:v>87.8</c:v>
                </c:pt>
                <c:pt idx="12184">
                  <c:v>97.2</c:v>
                </c:pt>
                <c:pt idx="12185">
                  <c:v>97.2</c:v>
                </c:pt>
                <c:pt idx="12186">
                  <c:v>97.9</c:v>
                </c:pt>
                <c:pt idx="12187">
                  <c:v>97.7</c:v>
                </c:pt>
                <c:pt idx="12188">
                  <c:v>100.2</c:v>
                </c:pt>
                <c:pt idx="12189">
                  <c:v>98.6</c:v>
                </c:pt>
                <c:pt idx="12190">
                  <c:v>98.8</c:v>
                </c:pt>
                <c:pt idx="12191">
                  <c:v>99.5</c:v>
                </c:pt>
                <c:pt idx="12192">
                  <c:v>100.9</c:v>
                </c:pt>
                <c:pt idx="12193">
                  <c:v>99.9</c:v>
                </c:pt>
                <c:pt idx="12194">
                  <c:v>101.3</c:v>
                </c:pt>
                <c:pt idx="12195">
                  <c:v>100.2</c:v>
                </c:pt>
                <c:pt idx="12196">
                  <c:v>100.2</c:v>
                </c:pt>
                <c:pt idx="12197">
                  <c:v>89.8</c:v>
                </c:pt>
                <c:pt idx="12198">
                  <c:v>86.9</c:v>
                </c:pt>
                <c:pt idx="12199">
                  <c:v>89.2</c:v>
                </c:pt>
                <c:pt idx="12200">
                  <c:v>91.9</c:v>
                </c:pt>
                <c:pt idx="12201">
                  <c:v>89.1</c:v>
                </c:pt>
                <c:pt idx="12202">
                  <c:v>89.6</c:v>
                </c:pt>
                <c:pt idx="12203">
                  <c:v>89.4</c:v>
                </c:pt>
                <c:pt idx="12204">
                  <c:v>90.7</c:v>
                </c:pt>
                <c:pt idx="12205">
                  <c:v>93.7</c:v>
                </c:pt>
                <c:pt idx="12206">
                  <c:v>90.5</c:v>
                </c:pt>
                <c:pt idx="12207">
                  <c:v>89.1</c:v>
                </c:pt>
                <c:pt idx="12208">
                  <c:v>86.4</c:v>
                </c:pt>
                <c:pt idx="12209">
                  <c:v>85.1</c:v>
                </c:pt>
                <c:pt idx="12210">
                  <c:v>84.7</c:v>
                </c:pt>
                <c:pt idx="12211">
                  <c:v>83.7</c:v>
                </c:pt>
                <c:pt idx="12212">
                  <c:v>83.3</c:v>
                </c:pt>
                <c:pt idx="12213">
                  <c:v>80.099999999999994</c:v>
                </c:pt>
                <c:pt idx="12214">
                  <c:v>77</c:v>
                </c:pt>
                <c:pt idx="12215">
                  <c:v>76.099999999999994</c:v>
                </c:pt>
                <c:pt idx="12216">
                  <c:v>75.7</c:v>
                </c:pt>
                <c:pt idx="12217">
                  <c:v>75</c:v>
                </c:pt>
                <c:pt idx="12218">
                  <c:v>74.8</c:v>
                </c:pt>
                <c:pt idx="12219">
                  <c:v>74.5</c:v>
                </c:pt>
                <c:pt idx="12220">
                  <c:v>74.3</c:v>
                </c:pt>
                <c:pt idx="12221">
                  <c:v>74.099999999999994</c:v>
                </c:pt>
                <c:pt idx="12222">
                  <c:v>74.099999999999994</c:v>
                </c:pt>
                <c:pt idx="12223">
                  <c:v>74.099999999999994</c:v>
                </c:pt>
                <c:pt idx="12224">
                  <c:v>74.099999999999994</c:v>
                </c:pt>
                <c:pt idx="12225">
                  <c:v>74.099999999999994</c:v>
                </c:pt>
                <c:pt idx="12226">
                  <c:v>74.099999999999994</c:v>
                </c:pt>
                <c:pt idx="12227">
                  <c:v>74.099999999999994</c:v>
                </c:pt>
                <c:pt idx="12228">
                  <c:v>74.099999999999994</c:v>
                </c:pt>
                <c:pt idx="12229">
                  <c:v>74.099999999999994</c:v>
                </c:pt>
                <c:pt idx="12230">
                  <c:v>74.099999999999994</c:v>
                </c:pt>
                <c:pt idx="12231">
                  <c:v>74.099999999999994</c:v>
                </c:pt>
                <c:pt idx="12232">
                  <c:v>74.099999999999994</c:v>
                </c:pt>
                <c:pt idx="12233">
                  <c:v>74.099999999999994</c:v>
                </c:pt>
                <c:pt idx="12234">
                  <c:v>74.099999999999994</c:v>
                </c:pt>
                <c:pt idx="12235">
                  <c:v>74.099999999999994</c:v>
                </c:pt>
                <c:pt idx="12236">
                  <c:v>74.099999999999994</c:v>
                </c:pt>
                <c:pt idx="12237">
                  <c:v>73.400000000000006</c:v>
                </c:pt>
                <c:pt idx="12238">
                  <c:v>73</c:v>
                </c:pt>
                <c:pt idx="12239">
                  <c:v>72.900000000000006</c:v>
                </c:pt>
                <c:pt idx="12240">
                  <c:v>72.7</c:v>
                </c:pt>
                <c:pt idx="12241">
                  <c:v>74.5</c:v>
                </c:pt>
                <c:pt idx="12242">
                  <c:v>74.7</c:v>
                </c:pt>
                <c:pt idx="12243">
                  <c:v>74.7</c:v>
                </c:pt>
                <c:pt idx="12244">
                  <c:v>73.8</c:v>
                </c:pt>
                <c:pt idx="12245">
                  <c:v>72.900000000000006</c:v>
                </c:pt>
                <c:pt idx="12246">
                  <c:v>72.900000000000006</c:v>
                </c:pt>
                <c:pt idx="12247">
                  <c:v>72.3</c:v>
                </c:pt>
                <c:pt idx="12248">
                  <c:v>72.099999999999994</c:v>
                </c:pt>
                <c:pt idx="12249">
                  <c:v>72</c:v>
                </c:pt>
                <c:pt idx="12250">
                  <c:v>73.8</c:v>
                </c:pt>
                <c:pt idx="12251">
                  <c:v>73.8</c:v>
                </c:pt>
                <c:pt idx="12252">
                  <c:v>73.8</c:v>
                </c:pt>
                <c:pt idx="12253">
                  <c:v>72.3</c:v>
                </c:pt>
                <c:pt idx="12254">
                  <c:v>71.8</c:v>
                </c:pt>
                <c:pt idx="12255">
                  <c:v>71.599999999999994</c:v>
                </c:pt>
                <c:pt idx="12256">
                  <c:v>71.8</c:v>
                </c:pt>
                <c:pt idx="12257">
                  <c:v>72.3</c:v>
                </c:pt>
                <c:pt idx="12258">
                  <c:v>73.8</c:v>
                </c:pt>
                <c:pt idx="12259">
                  <c:v>75</c:v>
                </c:pt>
                <c:pt idx="12260">
                  <c:v>76.8</c:v>
                </c:pt>
                <c:pt idx="12261">
                  <c:v>79.900000000000006</c:v>
                </c:pt>
                <c:pt idx="12262">
                  <c:v>82.2</c:v>
                </c:pt>
                <c:pt idx="12263">
                  <c:v>82.9</c:v>
                </c:pt>
                <c:pt idx="12264">
                  <c:v>85.8</c:v>
                </c:pt>
                <c:pt idx="12265">
                  <c:v>88.3</c:v>
                </c:pt>
                <c:pt idx="12266">
                  <c:v>90.9</c:v>
                </c:pt>
                <c:pt idx="12267">
                  <c:v>85.6</c:v>
                </c:pt>
                <c:pt idx="12268">
                  <c:v>88.9</c:v>
                </c:pt>
                <c:pt idx="12269">
                  <c:v>88.3</c:v>
                </c:pt>
                <c:pt idx="12270">
                  <c:v>89.2</c:v>
                </c:pt>
                <c:pt idx="12271">
                  <c:v>87.8</c:v>
                </c:pt>
                <c:pt idx="12272">
                  <c:v>93.2</c:v>
                </c:pt>
                <c:pt idx="12273">
                  <c:v>91.8</c:v>
                </c:pt>
                <c:pt idx="12274">
                  <c:v>84.6</c:v>
                </c:pt>
                <c:pt idx="12275">
                  <c:v>94.5</c:v>
                </c:pt>
                <c:pt idx="12276">
                  <c:v>93</c:v>
                </c:pt>
                <c:pt idx="12277">
                  <c:v>91</c:v>
                </c:pt>
                <c:pt idx="12278">
                  <c:v>93.6</c:v>
                </c:pt>
                <c:pt idx="12279">
                  <c:v>93.9</c:v>
                </c:pt>
                <c:pt idx="12280">
                  <c:v>93.6</c:v>
                </c:pt>
                <c:pt idx="12281">
                  <c:v>94.3</c:v>
                </c:pt>
                <c:pt idx="12282">
                  <c:v>95.5</c:v>
                </c:pt>
                <c:pt idx="12283">
                  <c:v>95.9</c:v>
                </c:pt>
                <c:pt idx="12284">
                  <c:v>95.4</c:v>
                </c:pt>
                <c:pt idx="12285">
                  <c:v>96.8</c:v>
                </c:pt>
                <c:pt idx="12286">
                  <c:v>97.7</c:v>
                </c:pt>
                <c:pt idx="12287">
                  <c:v>98.2</c:v>
                </c:pt>
                <c:pt idx="12288">
                  <c:v>97.3</c:v>
                </c:pt>
                <c:pt idx="12289">
                  <c:v>97</c:v>
                </c:pt>
                <c:pt idx="12290">
                  <c:v>98.8</c:v>
                </c:pt>
                <c:pt idx="12291">
                  <c:v>95.4</c:v>
                </c:pt>
                <c:pt idx="12292">
                  <c:v>95.4</c:v>
                </c:pt>
                <c:pt idx="12293">
                  <c:v>93.7</c:v>
                </c:pt>
                <c:pt idx="12294">
                  <c:v>93.9</c:v>
                </c:pt>
                <c:pt idx="12295">
                  <c:v>91</c:v>
                </c:pt>
                <c:pt idx="12296">
                  <c:v>91</c:v>
                </c:pt>
                <c:pt idx="12297">
                  <c:v>79.3</c:v>
                </c:pt>
                <c:pt idx="12298">
                  <c:v>79.2</c:v>
                </c:pt>
                <c:pt idx="12299">
                  <c:v>80.8</c:v>
                </c:pt>
                <c:pt idx="12300">
                  <c:v>83.5</c:v>
                </c:pt>
                <c:pt idx="12301">
                  <c:v>83.8</c:v>
                </c:pt>
                <c:pt idx="12302">
                  <c:v>82.8</c:v>
                </c:pt>
                <c:pt idx="12303">
                  <c:v>82.6</c:v>
                </c:pt>
                <c:pt idx="12304">
                  <c:v>82.4</c:v>
                </c:pt>
                <c:pt idx="12305">
                  <c:v>81.900000000000006</c:v>
                </c:pt>
                <c:pt idx="12306">
                  <c:v>81.3</c:v>
                </c:pt>
                <c:pt idx="12307">
                  <c:v>80.400000000000006</c:v>
                </c:pt>
                <c:pt idx="12308">
                  <c:v>79.5</c:v>
                </c:pt>
                <c:pt idx="12309">
                  <c:v>79</c:v>
                </c:pt>
                <c:pt idx="12310">
                  <c:v>78.099999999999994</c:v>
                </c:pt>
                <c:pt idx="12311">
                  <c:v>77.900000000000006</c:v>
                </c:pt>
                <c:pt idx="12312">
                  <c:v>77.5</c:v>
                </c:pt>
                <c:pt idx="12313">
                  <c:v>77.400000000000006</c:v>
                </c:pt>
                <c:pt idx="12314">
                  <c:v>76.8</c:v>
                </c:pt>
                <c:pt idx="12315">
                  <c:v>76.8</c:v>
                </c:pt>
                <c:pt idx="12316">
                  <c:v>76.8</c:v>
                </c:pt>
                <c:pt idx="12317">
                  <c:v>76.8</c:v>
                </c:pt>
                <c:pt idx="12318">
                  <c:v>76.8</c:v>
                </c:pt>
                <c:pt idx="12319">
                  <c:v>76.8</c:v>
                </c:pt>
                <c:pt idx="12320">
                  <c:v>76.8</c:v>
                </c:pt>
                <c:pt idx="12321">
                  <c:v>76.8</c:v>
                </c:pt>
                <c:pt idx="12322">
                  <c:v>76.8</c:v>
                </c:pt>
                <c:pt idx="12323">
                  <c:v>76.8</c:v>
                </c:pt>
                <c:pt idx="12324">
                  <c:v>76.8</c:v>
                </c:pt>
                <c:pt idx="12325">
                  <c:v>76.8</c:v>
                </c:pt>
                <c:pt idx="12326">
                  <c:v>76.8</c:v>
                </c:pt>
                <c:pt idx="12327">
                  <c:v>76.8</c:v>
                </c:pt>
                <c:pt idx="12328">
                  <c:v>76.8</c:v>
                </c:pt>
                <c:pt idx="12329">
                  <c:v>76.8</c:v>
                </c:pt>
                <c:pt idx="12330">
                  <c:v>76.8</c:v>
                </c:pt>
                <c:pt idx="12331">
                  <c:v>77</c:v>
                </c:pt>
                <c:pt idx="12332">
                  <c:v>75.900000000000006</c:v>
                </c:pt>
                <c:pt idx="12333">
                  <c:v>75.599999999999994</c:v>
                </c:pt>
                <c:pt idx="12334">
                  <c:v>76.3</c:v>
                </c:pt>
                <c:pt idx="12335">
                  <c:v>75.599999999999994</c:v>
                </c:pt>
                <c:pt idx="12336">
                  <c:v>75</c:v>
                </c:pt>
                <c:pt idx="12337">
                  <c:v>76.599999999999994</c:v>
                </c:pt>
                <c:pt idx="12338">
                  <c:v>76.5</c:v>
                </c:pt>
                <c:pt idx="12339">
                  <c:v>75.400000000000006</c:v>
                </c:pt>
                <c:pt idx="12340">
                  <c:v>75.400000000000006</c:v>
                </c:pt>
                <c:pt idx="12341">
                  <c:v>75.7</c:v>
                </c:pt>
                <c:pt idx="12342">
                  <c:v>76.3</c:v>
                </c:pt>
                <c:pt idx="12343">
                  <c:v>75</c:v>
                </c:pt>
                <c:pt idx="12344">
                  <c:v>74.5</c:v>
                </c:pt>
                <c:pt idx="12345">
                  <c:v>74.3</c:v>
                </c:pt>
                <c:pt idx="12346">
                  <c:v>74.099999999999994</c:v>
                </c:pt>
                <c:pt idx="12347">
                  <c:v>74.3</c:v>
                </c:pt>
                <c:pt idx="12348">
                  <c:v>74.099999999999994</c:v>
                </c:pt>
                <c:pt idx="12349">
                  <c:v>74.5</c:v>
                </c:pt>
                <c:pt idx="12350">
                  <c:v>75.400000000000006</c:v>
                </c:pt>
                <c:pt idx="12351">
                  <c:v>74.5</c:v>
                </c:pt>
                <c:pt idx="12352">
                  <c:v>74.3</c:v>
                </c:pt>
                <c:pt idx="12353">
                  <c:v>73.599999999999994</c:v>
                </c:pt>
                <c:pt idx="12354">
                  <c:v>73.8</c:v>
                </c:pt>
                <c:pt idx="12355">
                  <c:v>74.099999999999994</c:v>
                </c:pt>
                <c:pt idx="12356">
                  <c:v>74.099999999999994</c:v>
                </c:pt>
                <c:pt idx="12357">
                  <c:v>74.099999999999994</c:v>
                </c:pt>
                <c:pt idx="12358">
                  <c:v>74.099999999999994</c:v>
                </c:pt>
                <c:pt idx="12359">
                  <c:v>74.099999999999994</c:v>
                </c:pt>
                <c:pt idx="12360">
                  <c:v>74.099999999999994</c:v>
                </c:pt>
                <c:pt idx="12361">
                  <c:v>74.099999999999994</c:v>
                </c:pt>
                <c:pt idx="12362">
                  <c:v>74.099999999999994</c:v>
                </c:pt>
                <c:pt idx="12363">
                  <c:v>74.099999999999994</c:v>
                </c:pt>
                <c:pt idx="12364">
                  <c:v>74.099999999999994</c:v>
                </c:pt>
                <c:pt idx="12365">
                  <c:v>74.099999999999994</c:v>
                </c:pt>
                <c:pt idx="12366">
                  <c:v>74.099999999999994</c:v>
                </c:pt>
                <c:pt idx="12367">
                  <c:v>74.099999999999994</c:v>
                </c:pt>
                <c:pt idx="12368">
                  <c:v>74.099999999999994</c:v>
                </c:pt>
                <c:pt idx="12369">
                  <c:v>74.099999999999994</c:v>
                </c:pt>
                <c:pt idx="12370">
                  <c:v>74.099999999999994</c:v>
                </c:pt>
                <c:pt idx="12371">
                  <c:v>87.1</c:v>
                </c:pt>
                <c:pt idx="12372">
                  <c:v>86.7</c:v>
                </c:pt>
                <c:pt idx="12373">
                  <c:v>86.4</c:v>
                </c:pt>
                <c:pt idx="12374">
                  <c:v>87.8</c:v>
                </c:pt>
                <c:pt idx="12375">
                  <c:v>90</c:v>
                </c:pt>
                <c:pt idx="12376">
                  <c:v>90.5</c:v>
                </c:pt>
                <c:pt idx="12377">
                  <c:v>89.1</c:v>
                </c:pt>
                <c:pt idx="12378">
                  <c:v>88.7</c:v>
                </c:pt>
                <c:pt idx="12379">
                  <c:v>89.8</c:v>
                </c:pt>
                <c:pt idx="12380">
                  <c:v>89.2</c:v>
                </c:pt>
                <c:pt idx="12381">
                  <c:v>84.2</c:v>
                </c:pt>
                <c:pt idx="12382">
                  <c:v>80.8</c:v>
                </c:pt>
                <c:pt idx="12383">
                  <c:v>78.3</c:v>
                </c:pt>
                <c:pt idx="12384">
                  <c:v>77</c:v>
                </c:pt>
                <c:pt idx="12385">
                  <c:v>76.8</c:v>
                </c:pt>
                <c:pt idx="12386">
                  <c:v>77</c:v>
                </c:pt>
                <c:pt idx="12387">
                  <c:v>77.2</c:v>
                </c:pt>
                <c:pt idx="12388">
                  <c:v>79</c:v>
                </c:pt>
                <c:pt idx="12389">
                  <c:v>78.099999999999994</c:v>
                </c:pt>
                <c:pt idx="12390">
                  <c:v>78.599999999999994</c:v>
                </c:pt>
                <c:pt idx="12391">
                  <c:v>77.7</c:v>
                </c:pt>
                <c:pt idx="12392">
                  <c:v>78.400000000000006</c:v>
                </c:pt>
                <c:pt idx="12393">
                  <c:v>79.2</c:v>
                </c:pt>
                <c:pt idx="12394">
                  <c:v>78.8</c:v>
                </c:pt>
                <c:pt idx="12395">
                  <c:v>79</c:v>
                </c:pt>
                <c:pt idx="12396">
                  <c:v>79.5</c:v>
                </c:pt>
                <c:pt idx="12397">
                  <c:v>79.5</c:v>
                </c:pt>
                <c:pt idx="12398">
                  <c:v>79.5</c:v>
                </c:pt>
                <c:pt idx="12399">
                  <c:v>79.7</c:v>
                </c:pt>
                <c:pt idx="12400">
                  <c:v>78.8</c:v>
                </c:pt>
                <c:pt idx="12401">
                  <c:v>78.8</c:v>
                </c:pt>
                <c:pt idx="12402">
                  <c:v>79</c:v>
                </c:pt>
                <c:pt idx="12403">
                  <c:v>79.2</c:v>
                </c:pt>
                <c:pt idx="12404">
                  <c:v>78.8</c:v>
                </c:pt>
                <c:pt idx="12405">
                  <c:v>79.5</c:v>
                </c:pt>
                <c:pt idx="12406">
                  <c:v>79.5</c:v>
                </c:pt>
                <c:pt idx="12407">
                  <c:v>79.3</c:v>
                </c:pt>
                <c:pt idx="12408">
                  <c:v>79</c:v>
                </c:pt>
                <c:pt idx="12409">
                  <c:v>79</c:v>
                </c:pt>
                <c:pt idx="12410">
                  <c:v>77.7</c:v>
                </c:pt>
                <c:pt idx="12411">
                  <c:v>77</c:v>
                </c:pt>
                <c:pt idx="12412">
                  <c:v>76.599999999999994</c:v>
                </c:pt>
                <c:pt idx="12413">
                  <c:v>76.3</c:v>
                </c:pt>
                <c:pt idx="12414">
                  <c:v>76.099999999999994</c:v>
                </c:pt>
                <c:pt idx="12415">
                  <c:v>76.3</c:v>
                </c:pt>
                <c:pt idx="12416">
                  <c:v>76.099999999999994</c:v>
                </c:pt>
                <c:pt idx="12417">
                  <c:v>76.5</c:v>
                </c:pt>
                <c:pt idx="12418">
                  <c:v>76.099999999999994</c:v>
                </c:pt>
                <c:pt idx="12419">
                  <c:v>75.7</c:v>
                </c:pt>
                <c:pt idx="12420">
                  <c:v>75.599999999999994</c:v>
                </c:pt>
                <c:pt idx="12421">
                  <c:v>75.599999999999994</c:v>
                </c:pt>
                <c:pt idx="12422">
                  <c:v>75.599999999999994</c:v>
                </c:pt>
                <c:pt idx="12423">
                  <c:v>75.599999999999994</c:v>
                </c:pt>
                <c:pt idx="12424">
                  <c:v>75.2</c:v>
                </c:pt>
                <c:pt idx="12425">
                  <c:v>75</c:v>
                </c:pt>
                <c:pt idx="12426">
                  <c:v>75.2</c:v>
                </c:pt>
                <c:pt idx="12427">
                  <c:v>74.8</c:v>
                </c:pt>
                <c:pt idx="12428">
                  <c:v>74.8</c:v>
                </c:pt>
                <c:pt idx="12429">
                  <c:v>74.8</c:v>
                </c:pt>
                <c:pt idx="12430">
                  <c:v>76.099999999999994</c:v>
                </c:pt>
                <c:pt idx="12431">
                  <c:v>75.599999999999994</c:v>
                </c:pt>
                <c:pt idx="12432">
                  <c:v>75.2</c:v>
                </c:pt>
                <c:pt idx="12433">
                  <c:v>75</c:v>
                </c:pt>
                <c:pt idx="12434">
                  <c:v>75</c:v>
                </c:pt>
                <c:pt idx="12435">
                  <c:v>75.900000000000006</c:v>
                </c:pt>
                <c:pt idx="12436">
                  <c:v>75.7</c:v>
                </c:pt>
                <c:pt idx="12437">
                  <c:v>75.7</c:v>
                </c:pt>
                <c:pt idx="12438">
                  <c:v>75.400000000000006</c:v>
                </c:pt>
                <c:pt idx="12439">
                  <c:v>75.400000000000006</c:v>
                </c:pt>
                <c:pt idx="12440">
                  <c:v>76.8</c:v>
                </c:pt>
                <c:pt idx="12441">
                  <c:v>75</c:v>
                </c:pt>
                <c:pt idx="12442">
                  <c:v>76.099999999999994</c:v>
                </c:pt>
                <c:pt idx="12443">
                  <c:v>75.2</c:v>
                </c:pt>
                <c:pt idx="12444">
                  <c:v>75.2</c:v>
                </c:pt>
                <c:pt idx="12445">
                  <c:v>75.2</c:v>
                </c:pt>
                <c:pt idx="12446">
                  <c:v>75.2</c:v>
                </c:pt>
                <c:pt idx="12447">
                  <c:v>75.2</c:v>
                </c:pt>
                <c:pt idx="12448">
                  <c:v>74.7</c:v>
                </c:pt>
                <c:pt idx="12449">
                  <c:v>75</c:v>
                </c:pt>
                <c:pt idx="12450">
                  <c:v>75</c:v>
                </c:pt>
                <c:pt idx="12451">
                  <c:v>75</c:v>
                </c:pt>
                <c:pt idx="12452">
                  <c:v>75</c:v>
                </c:pt>
                <c:pt idx="12453">
                  <c:v>75</c:v>
                </c:pt>
                <c:pt idx="12454">
                  <c:v>75</c:v>
                </c:pt>
                <c:pt idx="12455">
                  <c:v>75</c:v>
                </c:pt>
                <c:pt idx="12456">
                  <c:v>75</c:v>
                </c:pt>
                <c:pt idx="12457">
                  <c:v>75</c:v>
                </c:pt>
                <c:pt idx="12458">
                  <c:v>75</c:v>
                </c:pt>
                <c:pt idx="12459">
                  <c:v>75</c:v>
                </c:pt>
                <c:pt idx="12460">
                  <c:v>75</c:v>
                </c:pt>
                <c:pt idx="12461">
                  <c:v>75</c:v>
                </c:pt>
                <c:pt idx="12462">
                  <c:v>75</c:v>
                </c:pt>
                <c:pt idx="12463">
                  <c:v>75</c:v>
                </c:pt>
                <c:pt idx="12464">
                  <c:v>75</c:v>
                </c:pt>
                <c:pt idx="12465">
                  <c:v>85.3</c:v>
                </c:pt>
                <c:pt idx="12466">
                  <c:v>88</c:v>
                </c:pt>
                <c:pt idx="12467">
                  <c:v>88.7</c:v>
                </c:pt>
                <c:pt idx="12468">
                  <c:v>84</c:v>
                </c:pt>
                <c:pt idx="12469">
                  <c:v>85.8</c:v>
                </c:pt>
                <c:pt idx="12470">
                  <c:v>87.4</c:v>
                </c:pt>
                <c:pt idx="12471">
                  <c:v>88.5</c:v>
                </c:pt>
                <c:pt idx="12472">
                  <c:v>86.7</c:v>
                </c:pt>
                <c:pt idx="12473">
                  <c:v>84.6</c:v>
                </c:pt>
                <c:pt idx="12474">
                  <c:v>83.1</c:v>
                </c:pt>
                <c:pt idx="12475">
                  <c:v>84</c:v>
                </c:pt>
                <c:pt idx="12476">
                  <c:v>86</c:v>
                </c:pt>
                <c:pt idx="12477">
                  <c:v>88</c:v>
                </c:pt>
                <c:pt idx="12478">
                  <c:v>87.8</c:v>
                </c:pt>
                <c:pt idx="12479">
                  <c:v>87.4</c:v>
                </c:pt>
                <c:pt idx="12480">
                  <c:v>87.4</c:v>
                </c:pt>
                <c:pt idx="12481">
                  <c:v>92.3</c:v>
                </c:pt>
                <c:pt idx="12482">
                  <c:v>85.8</c:v>
                </c:pt>
                <c:pt idx="12483">
                  <c:v>85.3</c:v>
                </c:pt>
                <c:pt idx="12484">
                  <c:v>84.7</c:v>
                </c:pt>
                <c:pt idx="12485">
                  <c:v>84.9</c:v>
                </c:pt>
                <c:pt idx="12486">
                  <c:v>85.5</c:v>
                </c:pt>
                <c:pt idx="12487">
                  <c:v>85.6</c:v>
                </c:pt>
                <c:pt idx="12488">
                  <c:v>85.8</c:v>
                </c:pt>
                <c:pt idx="12489">
                  <c:v>85.8</c:v>
                </c:pt>
                <c:pt idx="12490">
                  <c:v>86</c:v>
                </c:pt>
                <c:pt idx="12491">
                  <c:v>86.7</c:v>
                </c:pt>
                <c:pt idx="12492">
                  <c:v>86.9</c:v>
                </c:pt>
                <c:pt idx="12493">
                  <c:v>85.5</c:v>
                </c:pt>
                <c:pt idx="12494">
                  <c:v>85.5</c:v>
                </c:pt>
                <c:pt idx="12495">
                  <c:v>83.8</c:v>
                </c:pt>
                <c:pt idx="12496">
                  <c:v>83.1</c:v>
                </c:pt>
                <c:pt idx="12497">
                  <c:v>82.2</c:v>
                </c:pt>
                <c:pt idx="12498">
                  <c:v>81.7</c:v>
                </c:pt>
                <c:pt idx="12499">
                  <c:v>81.3</c:v>
                </c:pt>
                <c:pt idx="12500">
                  <c:v>81.3</c:v>
                </c:pt>
                <c:pt idx="12501">
                  <c:v>80.8</c:v>
                </c:pt>
                <c:pt idx="12502">
                  <c:v>80.400000000000006</c:v>
                </c:pt>
                <c:pt idx="12503">
                  <c:v>80.099999999999994</c:v>
                </c:pt>
                <c:pt idx="12504">
                  <c:v>79.5</c:v>
                </c:pt>
                <c:pt idx="12505">
                  <c:v>79.2</c:v>
                </c:pt>
                <c:pt idx="12506">
                  <c:v>78.400000000000006</c:v>
                </c:pt>
                <c:pt idx="12507">
                  <c:v>77.5</c:v>
                </c:pt>
                <c:pt idx="12508">
                  <c:v>77.400000000000006</c:v>
                </c:pt>
                <c:pt idx="12509">
                  <c:v>77.2</c:v>
                </c:pt>
                <c:pt idx="12510">
                  <c:v>77.2</c:v>
                </c:pt>
                <c:pt idx="12511">
                  <c:v>77.2</c:v>
                </c:pt>
                <c:pt idx="12512">
                  <c:v>77.2</c:v>
                </c:pt>
                <c:pt idx="12513">
                  <c:v>77.2</c:v>
                </c:pt>
                <c:pt idx="12514">
                  <c:v>77.2</c:v>
                </c:pt>
                <c:pt idx="12515">
                  <c:v>77.2</c:v>
                </c:pt>
                <c:pt idx="12516">
                  <c:v>77.2</c:v>
                </c:pt>
                <c:pt idx="12517">
                  <c:v>77.2</c:v>
                </c:pt>
                <c:pt idx="12518">
                  <c:v>77.2</c:v>
                </c:pt>
                <c:pt idx="12519">
                  <c:v>77.2</c:v>
                </c:pt>
                <c:pt idx="12520">
                  <c:v>77.2</c:v>
                </c:pt>
                <c:pt idx="12521">
                  <c:v>77.2</c:v>
                </c:pt>
                <c:pt idx="12522">
                  <c:v>77.2</c:v>
                </c:pt>
                <c:pt idx="12523">
                  <c:v>77.2</c:v>
                </c:pt>
                <c:pt idx="12524">
                  <c:v>77.2</c:v>
                </c:pt>
                <c:pt idx="12525">
                  <c:v>77.2</c:v>
                </c:pt>
                <c:pt idx="12526">
                  <c:v>77</c:v>
                </c:pt>
                <c:pt idx="12527">
                  <c:v>77</c:v>
                </c:pt>
                <c:pt idx="12528">
                  <c:v>76.8</c:v>
                </c:pt>
                <c:pt idx="12529">
                  <c:v>77</c:v>
                </c:pt>
                <c:pt idx="12530">
                  <c:v>76.8</c:v>
                </c:pt>
                <c:pt idx="12531">
                  <c:v>76.5</c:v>
                </c:pt>
                <c:pt idx="12532">
                  <c:v>76.3</c:v>
                </c:pt>
                <c:pt idx="12533">
                  <c:v>76.3</c:v>
                </c:pt>
                <c:pt idx="12534">
                  <c:v>76.099999999999994</c:v>
                </c:pt>
                <c:pt idx="12535">
                  <c:v>76.599999999999994</c:v>
                </c:pt>
                <c:pt idx="12536">
                  <c:v>75.900000000000006</c:v>
                </c:pt>
                <c:pt idx="12537">
                  <c:v>75.7</c:v>
                </c:pt>
                <c:pt idx="12538">
                  <c:v>75.7</c:v>
                </c:pt>
                <c:pt idx="12539">
                  <c:v>75.7</c:v>
                </c:pt>
                <c:pt idx="12540">
                  <c:v>76.8</c:v>
                </c:pt>
                <c:pt idx="12541">
                  <c:v>75.900000000000006</c:v>
                </c:pt>
                <c:pt idx="12542">
                  <c:v>75.400000000000006</c:v>
                </c:pt>
                <c:pt idx="12543">
                  <c:v>75.2</c:v>
                </c:pt>
                <c:pt idx="12544">
                  <c:v>75.2</c:v>
                </c:pt>
                <c:pt idx="12545">
                  <c:v>75.900000000000006</c:v>
                </c:pt>
                <c:pt idx="12546">
                  <c:v>76.3</c:v>
                </c:pt>
                <c:pt idx="12547">
                  <c:v>75.7</c:v>
                </c:pt>
                <c:pt idx="12548">
                  <c:v>75.7</c:v>
                </c:pt>
                <c:pt idx="12549">
                  <c:v>76.599999999999994</c:v>
                </c:pt>
                <c:pt idx="12550">
                  <c:v>77.5</c:v>
                </c:pt>
                <c:pt idx="12551">
                  <c:v>77.900000000000006</c:v>
                </c:pt>
                <c:pt idx="12552">
                  <c:v>78.599999999999994</c:v>
                </c:pt>
                <c:pt idx="12553">
                  <c:v>80.599999999999994</c:v>
                </c:pt>
                <c:pt idx="12554">
                  <c:v>82.4</c:v>
                </c:pt>
                <c:pt idx="12555">
                  <c:v>79.900000000000006</c:v>
                </c:pt>
                <c:pt idx="12556">
                  <c:v>79.5</c:v>
                </c:pt>
                <c:pt idx="12557">
                  <c:v>79.2</c:v>
                </c:pt>
                <c:pt idx="12558">
                  <c:v>79.2</c:v>
                </c:pt>
                <c:pt idx="12559">
                  <c:v>79</c:v>
                </c:pt>
                <c:pt idx="12560">
                  <c:v>78.400000000000006</c:v>
                </c:pt>
                <c:pt idx="12561">
                  <c:v>78.3</c:v>
                </c:pt>
                <c:pt idx="12562">
                  <c:v>81.900000000000006</c:v>
                </c:pt>
                <c:pt idx="12563">
                  <c:v>82</c:v>
                </c:pt>
                <c:pt idx="12564">
                  <c:v>85.5</c:v>
                </c:pt>
                <c:pt idx="12565">
                  <c:v>88</c:v>
                </c:pt>
                <c:pt idx="12566">
                  <c:v>90</c:v>
                </c:pt>
                <c:pt idx="12567">
                  <c:v>88.3</c:v>
                </c:pt>
                <c:pt idx="12568">
                  <c:v>91.6</c:v>
                </c:pt>
                <c:pt idx="12569">
                  <c:v>86.9</c:v>
                </c:pt>
                <c:pt idx="12570">
                  <c:v>87.3</c:v>
                </c:pt>
                <c:pt idx="12571">
                  <c:v>87.1</c:v>
                </c:pt>
                <c:pt idx="12572">
                  <c:v>88.3</c:v>
                </c:pt>
                <c:pt idx="12573">
                  <c:v>89.2</c:v>
                </c:pt>
                <c:pt idx="12574">
                  <c:v>89.4</c:v>
                </c:pt>
                <c:pt idx="12575">
                  <c:v>90.9</c:v>
                </c:pt>
                <c:pt idx="12576">
                  <c:v>89.8</c:v>
                </c:pt>
                <c:pt idx="12577">
                  <c:v>88</c:v>
                </c:pt>
                <c:pt idx="12578">
                  <c:v>88.5</c:v>
                </c:pt>
                <c:pt idx="12579">
                  <c:v>91</c:v>
                </c:pt>
                <c:pt idx="12580">
                  <c:v>87.6</c:v>
                </c:pt>
                <c:pt idx="12581">
                  <c:v>84.9</c:v>
                </c:pt>
                <c:pt idx="12582">
                  <c:v>85.6</c:v>
                </c:pt>
                <c:pt idx="12583">
                  <c:v>86.2</c:v>
                </c:pt>
                <c:pt idx="12584">
                  <c:v>86.5</c:v>
                </c:pt>
                <c:pt idx="12585">
                  <c:v>83.7</c:v>
                </c:pt>
                <c:pt idx="12586">
                  <c:v>84.6</c:v>
                </c:pt>
                <c:pt idx="12587">
                  <c:v>84</c:v>
                </c:pt>
                <c:pt idx="12588">
                  <c:v>83.3</c:v>
                </c:pt>
                <c:pt idx="12589">
                  <c:v>82.9</c:v>
                </c:pt>
                <c:pt idx="12590">
                  <c:v>82.6</c:v>
                </c:pt>
                <c:pt idx="12591">
                  <c:v>82.2</c:v>
                </c:pt>
                <c:pt idx="12592">
                  <c:v>81.900000000000006</c:v>
                </c:pt>
                <c:pt idx="12593">
                  <c:v>81.7</c:v>
                </c:pt>
                <c:pt idx="12594">
                  <c:v>81.7</c:v>
                </c:pt>
                <c:pt idx="12595">
                  <c:v>81.5</c:v>
                </c:pt>
                <c:pt idx="12596">
                  <c:v>81.3</c:v>
                </c:pt>
                <c:pt idx="12597">
                  <c:v>79.3</c:v>
                </c:pt>
                <c:pt idx="12598">
                  <c:v>78.8</c:v>
                </c:pt>
                <c:pt idx="12599">
                  <c:v>78.400000000000006</c:v>
                </c:pt>
                <c:pt idx="12600">
                  <c:v>78.3</c:v>
                </c:pt>
                <c:pt idx="12601">
                  <c:v>78.099999999999994</c:v>
                </c:pt>
                <c:pt idx="12602">
                  <c:v>77.900000000000006</c:v>
                </c:pt>
                <c:pt idx="12603">
                  <c:v>77.900000000000006</c:v>
                </c:pt>
                <c:pt idx="12604">
                  <c:v>77.900000000000006</c:v>
                </c:pt>
                <c:pt idx="12605">
                  <c:v>77.900000000000006</c:v>
                </c:pt>
                <c:pt idx="12606">
                  <c:v>77.900000000000006</c:v>
                </c:pt>
                <c:pt idx="12607">
                  <c:v>77.900000000000006</c:v>
                </c:pt>
                <c:pt idx="12608">
                  <c:v>77.900000000000006</c:v>
                </c:pt>
                <c:pt idx="12609">
                  <c:v>77.900000000000006</c:v>
                </c:pt>
                <c:pt idx="12610">
                  <c:v>77.900000000000006</c:v>
                </c:pt>
                <c:pt idx="12611">
                  <c:v>77.900000000000006</c:v>
                </c:pt>
                <c:pt idx="12612">
                  <c:v>77.900000000000006</c:v>
                </c:pt>
                <c:pt idx="12613">
                  <c:v>77.900000000000006</c:v>
                </c:pt>
                <c:pt idx="12614">
                  <c:v>77.900000000000006</c:v>
                </c:pt>
                <c:pt idx="12615">
                  <c:v>77.900000000000006</c:v>
                </c:pt>
                <c:pt idx="12616">
                  <c:v>77.900000000000006</c:v>
                </c:pt>
                <c:pt idx="12617">
                  <c:v>77.900000000000006</c:v>
                </c:pt>
                <c:pt idx="12618">
                  <c:v>77.900000000000006</c:v>
                </c:pt>
                <c:pt idx="12619">
                  <c:v>77.900000000000006</c:v>
                </c:pt>
                <c:pt idx="12620">
                  <c:v>77.900000000000006</c:v>
                </c:pt>
                <c:pt idx="12621">
                  <c:v>76.3</c:v>
                </c:pt>
                <c:pt idx="12622">
                  <c:v>76.5</c:v>
                </c:pt>
                <c:pt idx="12623">
                  <c:v>76.099999999999994</c:v>
                </c:pt>
                <c:pt idx="12624">
                  <c:v>75.900000000000006</c:v>
                </c:pt>
                <c:pt idx="12625">
                  <c:v>75.7</c:v>
                </c:pt>
                <c:pt idx="12626">
                  <c:v>76.099999999999994</c:v>
                </c:pt>
                <c:pt idx="12627">
                  <c:v>76.099999999999994</c:v>
                </c:pt>
                <c:pt idx="12628">
                  <c:v>76.099999999999994</c:v>
                </c:pt>
                <c:pt idx="12629">
                  <c:v>76.099999999999994</c:v>
                </c:pt>
                <c:pt idx="12630">
                  <c:v>76.099999999999994</c:v>
                </c:pt>
                <c:pt idx="12631">
                  <c:v>75.7</c:v>
                </c:pt>
                <c:pt idx="12632">
                  <c:v>75.7</c:v>
                </c:pt>
                <c:pt idx="12633">
                  <c:v>75.900000000000006</c:v>
                </c:pt>
                <c:pt idx="12634">
                  <c:v>75.900000000000006</c:v>
                </c:pt>
                <c:pt idx="12635">
                  <c:v>76.3</c:v>
                </c:pt>
                <c:pt idx="12636">
                  <c:v>76.3</c:v>
                </c:pt>
                <c:pt idx="12637">
                  <c:v>76.8</c:v>
                </c:pt>
                <c:pt idx="12638">
                  <c:v>77.7</c:v>
                </c:pt>
                <c:pt idx="12639">
                  <c:v>77.5</c:v>
                </c:pt>
                <c:pt idx="12640">
                  <c:v>77.7</c:v>
                </c:pt>
                <c:pt idx="12641">
                  <c:v>77.7</c:v>
                </c:pt>
                <c:pt idx="12642">
                  <c:v>77.7</c:v>
                </c:pt>
                <c:pt idx="12643">
                  <c:v>77.7</c:v>
                </c:pt>
                <c:pt idx="12644">
                  <c:v>77.5</c:v>
                </c:pt>
                <c:pt idx="12645">
                  <c:v>77.5</c:v>
                </c:pt>
                <c:pt idx="12646">
                  <c:v>77</c:v>
                </c:pt>
                <c:pt idx="12647">
                  <c:v>77.900000000000006</c:v>
                </c:pt>
                <c:pt idx="12648">
                  <c:v>77.900000000000006</c:v>
                </c:pt>
                <c:pt idx="12649">
                  <c:v>77.5</c:v>
                </c:pt>
                <c:pt idx="12650">
                  <c:v>77.900000000000006</c:v>
                </c:pt>
                <c:pt idx="12651">
                  <c:v>78.099999999999994</c:v>
                </c:pt>
                <c:pt idx="12652">
                  <c:v>78.099999999999994</c:v>
                </c:pt>
                <c:pt idx="12653">
                  <c:v>78.099999999999994</c:v>
                </c:pt>
                <c:pt idx="12654">
                  <c:v>78.3</c:v>
                </c:pt>
                <c:pt idx="12655">
                  <c:v>78.3</c:v>
                </c:pt>
                <c:pt idx="12656">
                  <c:v>77.7</c:v>
                </c:pt>
                <c:pt idx="12657">
                  <c:v>78.8</c:v>
                </c:pt>
                <c:pt idx="12658">
                  <c:v>79.7</c:v>
                </c:pt>
                <c:pt idx="12659">
                  <c:v>80.2</c:v>
                </c:pt>
                <c:pt idx="12660">
                  <c:v>86.9</c:v>
                </c:pt>
                <c:pt idx="12661">
                  <c:v>81.900000000000006</c:v>
                </c:pt>
                <c:pt idx="12662">
                  <c:v>82.6</c:v>
                </c:pt>
                <c:pt idx="12663">
                  <c:v>82</c:v>
                </c:pt>
                <c:pt idx="12664">
                  <c:v>83.7</c:v>
                </c:pt>
                <c:pt idx="12665">
                  <c:v>85.5</c:v>
                </c:pt>
                <c:pt idx="12666">
                  <c:v>84.6</c:v>
                </c:pt>
                <c:pt idx="12667">
                  <c:v>82.6</c:v>
                </c:pt>
                <c:pt idx="12668">
                  <c:v>84</c:v>
                </c:pt>
                <c:pt idx="12669">
                  <c:v>84.7</c:v>
                </c:pt>
                <c:pt idx="12670">
                  <c:v>83.5</c:v>
                </c:pt>
                <c:pt idx="12671">
                  <c:v>81.3</c:v>
                </c:pt>
                <c:pt idx="12672">
                  <c:v>80.8</c:v>
                </c:pt>
                <c:pt idx="12673">
                  <c:v>83.1</c:v>
                </c:pt>
                <c:pt idx="12674">
                  <c:v>85.5</c:v>
                </c:pt>
                <c:pt idx="12675">
                  <c:v>88.7</c:v>
                </c:pt>
                <c:pt idx="12676">
                  <c:v>88.5</c:v>
                </c:pt>
                <c:pt idx="12677">
                  <c:v>90</c:v>
                </c:pt>
                <c:pt idx="12678">
                  <c:v>88.3</c:v>
                </c:pt>
                <c:pt idx="12679">
                  <c:v>84.4</c:v>
                </c:pt>
                <c:pt idx="12680">
                  <c:v>85.6</c:v>
                </c:pt>
                <c:pt idx="12681">
                  <c:v>85.5</c:v>
                </c:pt>
                <c:pt idx="12682">
                  <c:v>84.9</c:v>
                </c:pt>
                <c:pt idx="12683">
                  <c:v>86.7</c:v>
                </c:pt>
                <c:pt idx="12684">
                  <c:v>85.1</c:v>
                </c:pt>
                <c:pt idx="12685">
                  <c:v>83.3</c:v>
                </c:pt>
                <c:pt idx="12686">
                  <c:v>82.8</c:v>
                </c:pt>
                <c:pt idx="12687">
                  <c:v>81.099999999999994</c:v>
                </c:pt>
                <c:pt idx="12688">
                  <c:v>80.2</c:v>
                </c:pt>
                <c:pt idx="12689">
                  <c:v>80.2</c:v>
                </c:pt>
                <c:pt idx="12690">
                  <c:v>79.900000000000006</c:v>
                </c:pt>
                <c:pt idx="12691">
                  <c:v>79.2</c:v>
                </c:pt>
                <c:pt idx="12692">
                  <c:v>78.8</c:v>
                </c:pt>
                <c:pt idx="12693">
                  <c:v>78.8</c:v>
                </c:pt>
                <c:pt idx="12694">
                  <c:v>79</c:v>
                </c:pt>
                <c:pt idx="12695">
                  <c:v>79</c:v>
                </c:pt>
                <c:pt idx="12696">
                  <c:v>78.099999999999994</c:v>
                </c:pt>
                <c:pt idx="12697">
                  <c:v>78.099999999999994</c:v>
                </c:pt>
                <c:pt idx="12698">
                  <c:v>77.7</c:v>
                </c:pt>
                <c:pt idx="12699">
                  <c:v>78.3</c:v>
                </c:pt>
                <c:pt idx="12700">
                  <c:v>78.099999999999994</c:v>
                </c:pt>
                <c:pt idx="12701">
                  <c:v>77.400000000000006</c:v>
                </c:pt>
                <c:pt idx="12702">
                  <c:v>77</c:v>
                </c:pt>
                <c:pt idx="12703">
                  <c:v>76.8</c:v>
                </c:pt>
                <c:pt idx="12704">
                  <c:v>76.8</c:v>
                </c:pt>
                <c:pt idx="12705">
                  <c:v>76.8</c:v>
                </c:pt>
                <c:pt idx="12706">
                  <c:v>76.8</c:v>
                </c:pt>
                <c:pt idx="12707">
                  <c:v>76.599999999999994</c:v>
                </c:pt>
                <c:pt idx="12708">
                  <c:v>76.599999999999994</c:v>
                </c:pt>
                <c:pt idx="12709">
                  <c:v>76.599999999999994</c:v>
                </c:pt>
                <c:pt idx="12710">
                  <c:v>76.599999999999994</c:v>
                </c:pt>
                <c:pt idx="12711">
                  <c:v>76.599999999999994</c:v>
                </c:pt>
                <c:pt idx="12712">
                  <c:v>76.599999999999994</c:v>
                </c:pt>
                <c:pt idx="12713">
                  <c:v>77</c:v>
                </c:pt>
                <c:pt idx="12714">
                  <c:v>77</c:v>
                </c:pt>
                <c:pt idx="12715">
                  <c:v>76.3</c:v>
                </c:pt>
                <c:pt idx="12716">
                  <c:v>76.3</c:v>
                </c:pt>
                <c:pt idx="12717">
                  <c:v>76.5</c:v>
                </c:pt>
                <c:pt idx="12718">
                  <c:v>76.5</c:v>
                </c:pt>
                <c:pt idx="12719">
                  <c:v>76.3</c:v>
                </c:pt>
                <c:pt idx="12720">
                  <c:v>76.099999999999994</c:v>
                </c:pt>
                <c:pt idx="12721">
                  <c:v>76.599999999999994</c:v>
                </c:pt>
                <c:pt idx="12722">
                  <c:v>76.3</c:v>
                </c:pt>
                <c:pt idx="12723">
                  <c:v>76.099999999999994</c:v>
                </c:pt>
                <c:pt idx="12724">
                  <c:v>76.5</c:v>
                </c:pt>
                <c:pt idx="12725">
                  <c:v>75.400000000000006</c:v>
                </c:pt>
                <c:pt idx="12726">
                  <c:v>75.400000000000006</c:v>
                </c:pt>
                <c:pt idx="12727">
                  <c:v>75.2</c:v>
                </c:pt>
                <c:pt idx="12728">
                  <c:v>75.2</c:v>
                </c:pt>
                <c:pt idx="12729">
                  <c:v>75.599999999999994</c:v>
                </c:pt>
                <c:pt idx="12730">
                  <c:v>75.599999999999994</c:v>
                </c:pt>
                <c:pt idx="12731">
                  <c:v>75.2</c:v>
                </c:pt>
                <c:pt idx="12732">
                  <c:v>75.599999999999994</c:v>
                </c:pt>
                <c:pt idx="12733">
                  <c:v>75.7</c:v>
                </c:pt>
                <c:pt idx="12734">
                  <c:v>76.099999999999994</c:v>
                </c:pt>
                <c:pt idx="12735">
                  <c:v>76.099999999999994</c:v>
                </c:pt>
                <c:pt idx="12736">
                  <c:v>76.099999999999994</c:v>
                </c:pt>
                <c:pt idx="12737">
                  <c:v>76.099999999999994</c:v>
                </c:pt>
                <c:pt idx="12738">
                  <c:v>76.099999999999994</c:v>
                </c:pt>
                <c:pt idx="12739">
                  <c:v>85.1</c:v>
                </c:pt>
                <c:pt idx="12740">
                  <c:v>88</c:v>
                </c:pt>
                <c:pt idx="12741">
                  <c:v>91.8</c:v>
                </c:pt>
                <c:pt idx="12742">
                  <c:v>86.5</c:v>
                </c:pt>
                <c:pt idx="12743">
                  <c:v>77.900000000000006</c:v>
                </c:pt>
                <c:pt idx="12744">
                  <c:v>76.8</c:v>
                </c:pt>
                <c:pt idx="12745">
                  <c:v>76.5</c:v>
                </c:pt>
                <c:pt idx="12746">
                  <c:v>76.5</c:v>
                </c:pt>
                <c:pt idx="12747">
                  <c:v>76.599999999999994</c:v>
                </c:pt>
                <c:pt idx="12748">
                  <c:v>77.2</c:v>
                </c:pt>
                <c:pt idx="12749">
                  <c:v>77.2</c:v>
                </c:pt>
                <c:pt idx="12750">
                  <c:v>77.400000000000006</c:v>
                </c:pt>
                <c:pt idx="12751">
                  <c:v>77.2</c:v>
                </c:pt>
                <c:pt idx="12752">
                  <c:v>77</c:v>
                </c:pt>
                <c:pt idx="12753">
                  <c:v>77.2</c:v>
                </c:pt>
                <c:pt idx="12754">
                  <c:v>77</c:v>
                </c:pt>
                <c:pt idx="12755">
                  <c:v>76.8</c:v>
                </c:pt>
                <c:pt idx="12756">
                  <c:v>76.5</c:v>
                </c:pt>
                <c:pt idx="12757">
                  <c:v>76.099999999999994</c:v>
                </c:pt>
                <c:pt idx="12758">
                  <c:v>76.099999999999994</c:v>
                </c:pt>
                <c:pt idx="12759">
                  <c:v>76.3</c:v>
                </c:pt>
                <c:pt idx="12760">
                  <c:v>76.5</c:v>
                </c:pt>
                <c:pt idx="12761">
                  <c:v>76.5</c:v>
                </c:pt>
                <c:pt idx="12762">
                  <c:v>76.5</c:v>
                </c:pt>
                <c:pt idx="12763">
                  <c:v>76.5</c:v>
                </c:pt>
                <c:pt idx="12764">
                  <c:v>76.3</c:v>
                </c:pt>
                <c:pt idx="12765">
                  <c:v>75.7</c:v>
                </c:pt>
                <c:pt idx="12766">
                  <c:v>75.599999999999994</c:v>
                </c:pt>
                <c:pt idx="12767">
                  <c:v>75.599999999999994</c:v>
                </c:pt>
                <c:pt idx="12768">
                  <c:v>75.599999999999994</c:v>
                </c:pt>
                <c:pt idx="12769">
                  <c:v>75.599999999999994</c:v>
                </c:pt>
                <c:pt idx="12770">
                  <c:v>75.599999999999994</c:v>
                </c:pt>
                <c:pt idx="12771">
                  <c:v>75.599999999999994</c:v>
                </c:pt>
                <c:pt idx="12772">
                  <c:v>75.599999999999994</c:v>
                </c:pt>
                <c:pt idx="12773">
                  <c:v>75.599999999999994</c:v>
                </c:pt>
                <c:pt idx="12774">
                  <c:v>75.599999999999994</c:v>
                </c:pt>
                <c:pt idx="12775">
                  <c:v>75.599999999999994</c:v>
                </c:pt>
                <c:pt idx="12776">
                  <c:v>75.599999999999994</c:v>
                </c:pt>
                <c:pt idx="12777">
                  <c:v>75.599999999999994</c:v>
                </c:pt>
                <c:pt idx="12778">
                  <c:v>75.599999999999994</c:v>
                </c:pt>
                <c:pt idx="12779">
                  <c:v>75.599999999999994</c:v>
                </c:pt>
                <c:pt idx="12780">
                  <c:v>75.599999999999994</c:v>
                </c:pt>
                <c:pt idx="12781">
                  <c:v>75.599999999999994</c:v>
                </c:pt>
                <c:pt idx="12782">
                  <c:v>74.3</c:v>
                </c:pt>
                <c:pt idx="12783">
                  <c:v>74.099999999999994</c:v>
                </c:pt>
                <c:pt idx="12784">
                  <c:v>75.400000000000006</c:v>
                </c:pt>
                <c:pt idx="12785">
                  <c:v>75.400000000000006</c:v>
                </c:pt>
                <c:pt idx="12786">
                  <c:v>74.5</c:v>
                </c:pt>
                <c:pt idx="12787">
                  <c:v>74.5</c:v>
                </c:pt>
                <c:pt idx="12788">
                  <c:v>73.900000000000006</c:v>
                </c:pt>
                <c:pt idx="12789">
                  <c:v>73.900000000000006</c:v>
                </c:pt>
                <c:pt idx="12790">
                  <c:v>74.3</c:v>
                </c:pt>
                <c:pt idx="12791">
                  <c:v>73.599999999999994</c:v>
                </c:pt>
                <c:pt idx="12792">
                  <c:v>73.599999999999994</c:v>
                </c:pt>
                <c:pt idx="12793">
                  <c:v>73.599999999999994</c:v>
                </c:pt>
                <c:pt idx="12794">
                  <c:v>73.599999999999994</c:v>
                </c:pt>
                <c:pt idx="12795">
                  <c:v>73.599999999999994</c:v>
                </c:pt>
                <c:pt idx="12796">
                  <c:v>73.599999999999994</c:v>
                </c:pt>
                <c:pt idx="12797">
                  <c:v>73.599999999999994</c:v>
                </c:pt>
                <c:pt idx="12798">
                  <c:v>73.599999999999994</c:v>
                </c:pt>
                <c:pt idx="12799">
                  <c:v>73.599999999999994</c:v>
                </c:pt>
                <c:pt idx="12800">
                  <c:v>73.8</c:v>
                </c:pt>
                <c:pt idx="12801">
                  <c:v>74.8</c:v>
                </c:pt>
                <c:pt idx="12802">
                  <c:v>73.900000000000006</c:v>
                </c:pt>
                <c:pt idx="12803">
                  <c:v>74.099999999999994</c:v>
                </c:pt>
                <c:pt idx="12804">
                  <c:v>74.3</c:v>
                </c:pt>
                <c:pt idx="12805">
                  <c:v>74.5</c:v>
                </c:pt>
                <c:pt idx="12806">
                  <c:v>75.2</c:v>
                </c:pt>
                <c:pt idx="12807">
                  <c:v>76.3</c:v>
                </c:pt>
                <c:pt idx="12808">
                  <c:v>81.5</c:v>
                </c:pt>
                <c:pt idx="12809">
                  <c:v>79.3</c:v>
                </c:pt>
                <c:pt idx="12810">
                  <c:v>81.3</c:v>
                </c:pt>
                <c:pt idx="12811">
                  <c:v>81.3</c:v>
                </c:pt>
                <c:pt idx="12812">
                  <c:v>81.3</c:v>
                </c:pt>
                <c:pt idx="12813">
                  <c:v>81.3</c:v>
                </c:pt>
                <c:pt idx="12814">
                  <c:v>81.3</c:v>
                </c:pt>
                <c:pt idx="12815">
                  <c:v>81.3</c:v>
                </c:pt>
                <c:pt idx="12816">
                  <c:v>81.3</c:v>
                </c:pt>
                <c:pt idx="12817">
                  <c:v>81.3</c:v>
                </c:pt>
                <c:pt idx="12818">
                  <c:v>81.3</c:v>
                </c:pt>
                <c:pt idx="12819">
                  <c:v>81.3</c:v>
                </c:pt>
                <c:pt idx="12820">
                  <c:v>81.3</c:v>
                </c:pt>
                <c:pt idx="12821">
                  <c:v>81.3</c:v>
                </c:pt>
                <c:pt idx="12822">
                  <c:v>81.3</c:v>
                </c:pt>
                <c:pt idx="12823">
                  <c:v>81.3</c:v>
                </c:pt>
                <c:pt idx="12824">
                  <c:v>91</c:v>
                </c:pt>
                <c:pt idx="12825">
                  <c:v>89.4</c:v>
                </c:pt>
                <c:pt idx="12826">
                  <c:v>92.1</c:v>
                </c:pt>
                <c:pt idx="12827">
                  <c:v>91.4</c:v>
                </c:pt>
                <c:pt idx="12828">
                  <c:v>90.9</c:v>
                </c:pt>
                <c:pt idx="12829">
                  <c:v>90.9</c:v>
                </c:pt>
                <c:pt idx="12830">
                  <c:v>91.4</c:v>
                </c:pt>
                <c:pt idx="12831">
                  <c:v>90.9</c:v>
                </c:pt>
                <c:pt idx="12832">
                  <c:v>93</c:v>
                </c:pt>
                <c:pt idx="12833">
                  <c:v>88.7</c:v>
                </c:pt>
                <c:pt idx="12834">
                  <c:v>76.599999999999994</c:v>
                </c:pt>
                <c:pt idx="12835">
                  <c:v>76.3</c:v>
                </c:pt>
                <c:pt idx="12836">
                  <c:v>76.099999999999994</c:v>
                </c:pt>
                <c:pt idx="12837">
                  <c:v>76.5</c:v>
                </c:pt>
                <c:pt idx="12838">
                  <c:v>75.7</c:v>
                </c:pt>
                <c:pt idx="12839">
                  <c:v>76.5</c:v>
                </c:pt>
                <c:pt idx="12840">
                  <c:v>76.8</c:v>
                </c:pt>
                <c:pt idx="12841">
                  <c:v>77.5</c:v>
                </c:pt>
                <c:pt idx="12842">
                  <c:v>77.5</c:v>
                </c:pt>
                <c:pt idx="12843">
                  <c:v>77.5</c:v>
                </c:pt>
                <c:pt idx="12844">
                  <c:v>77.5</c:v>
                </c:pt>
                <c:pt idx="12845">
                  <c:v>77.5</c:v>
                </c:pt>
                <c:pt idx="12846">
                  <c:v>77.5</c:v>
                </c:pt>
                <c:pt idx="12847">
                  <c:v>77.5</c:v>
                </c:pt>
                <c:pt idx="12848">
                  <c:v>77.5</c:v>
                </c:pt>
                <c:pt idx="12849">
                  <c:v>77.900000000000006</c:v>
                </c:pt>
                <c:pt idx="12850">
                  <c:v>77.7</c:v>
                </c:pt>
                <c:pt idx="12851">
                  <c:v>77</c:v>
                </c:pt>
                <c:pt idx="12852">
                  <c:v>76.599999999999994</c:v>
                </c:pt>
                <c:pt idx="12853">
                  <c:v>76.099999999999994</c:v>
                </c:pt>
                <c:pt idx="12854">
                  <c:v>75.7</c:v>
                </c:pt>
                <c:pt idx="12855">
                  <c:v>75.400000000000006</c:v>
                </c:pt>
                <c:pt idx="12856">
                  <c:v>74.8</c:v>
                </c:pt>
                <c:pt idx="12857">
                  <c:v>74.7</c:v>
                </c:pt>
                <c:pt idx="12858">
                  <c:v>74.3</c:v>
                </c:pt>
                <c:pt idx="12859">
                  <c:v>73.900000000000006</c:v>
                </c:pt>
                <c:pt idx="12860">
                  <c:v>73.400000000000006</c:v>
                </c:pt>
                <c:pt idx="12861">
                  <c:v>73.400000000000006</c:v>
                </c:pt>
                <c:pt idx="12862">
                  <c:v>73.2</c:v>
                </c:pt>
                <c:pt idx="12863">
                  <c:v>73.2</c:v>
                </c:pt>
                <c:pt idx="12864">
                  <c:v>73.2</c:v>
                </c:pt>
                <c:pt idx="12865">
                  <c:v>73.2</c:v>
                </c:pt>
                <c:pt idx="12866">
                  <c:v>73.2</c:v>
                </c:pt>
                <c:pt idx="12867">
                  <c:v>73.2</c:v>
                </c:pt>
                <c:pt idx="12868">
                  <c:v>73.2</c:v>
                </c:pt>
                <c:pt idx="12869">
                  <c:v>73.2</c:v>
                </c:pt>
                <c:pt idx="12870">
                  <c:v>73.2</c:v>
                </c:pt>
                <c:pt idx="12871">
                  <c:v>73.2</c:v>
                </c:pt>
                <c:pt idx="12872">
                  <c:v>73.2</c:v>
                </c:pt>
                <c:pt idx="12873">
                  <c:v>73.2</c:v>
                </c:pt>
                <c:pt idx="12874">
                  <c:v>73.2</c:v>
                </c:pt>
                <c:pt idx="12875">
                  <c:v>73.2</c:v>
                </c:pt>
                <c:pt idx="12876">
                  <c:v>73.2</c:v>
                </c:pt>
                <c:pt idx="12877">
                  <c:v>73.2</c:v>
                </c:pt>
                <c:pt idx="12878">
                  <c:v>73.2</c:v>
                </c:pt>
                <c:pt idx="12879">
                  <c:v>71.099999999999994</c:v>
                </c:pt>
                <c:pt idx="12880">
                  <c:v>70.7</c:v>
                </c:pt>
                <c:pt idx="12881">
                  <c:v>71.400000000000006</c:v>
                </c:pt>
                <c:pt idx="12882">
                  <c:v>71.400000000000006</c:v>
                </c:pt>
                <c:pt idx="12883">
                  <c:v>70.900000000000006</c:v>
                </c:pt>
                <c:pt idx="12884">
                  <c:v>70.900000000000006</c:v>
                </c:pt>
                <c:pt idx="12885">
                  <c:v>70.7</c:v>
                </c:pt>
                <c:pt idx="12886">
                  <c:v>70.3</c:v>
                </c:pt>
                <c:pt idx="12887">
                  <c:v>70.2</c:v>
                </c:pt>
                <c:pt idx="12888">
                  <c:v>70.3</c:v>
                </c:pt>
                <c:pt idx="12889">
                  <c:v>70.7</c:v>
                </c:pt>
                <c:pt idx="12890">
                  <c:v>71.8</c:v>
                </c:pt>
                <c:pt idx="12891">
                  <c:v>72.3</c:v>
                </c:pt>
                <c:pt idx="12892">
                  <c:v>72.5</c:v>
                </c:pt>
                <c:pt idx="12893">
                  <c:v>72.099999999999994</c:v>
                </c:pt>
                <c:pt idx="12894">
                  <c:v>72.3</c:v>
                </c:pt>
                <c:pt idx="12895">
                  <c:v>72.5</c:v>
                </c:pt>
                <c:pt idx="12896">
                  <c:v>72.900000000000006</c:v>
                </c:pt>
                <c:pt idx="12897">
                  <c:v>73.2</c:v>
                </c:pt>
                <c:pt idx="12898">
                  <c:v>73.8</c:v>
                </c:pt>
                <c:pt idx="12899">
                  <c:v>74.5</c:v>
                </c:pt>
                <c:pt idx="12900">
                  <c:v>75.2</c:v>
                </c:pt>
                <c:pt idx="12901">
                  <c:v>75.900000000000006</c:v>
                </c:pt>
                <c:pt idx="12902">
                  <c:v>76.599999999999994</c:v>
                </c:pt>
                <c:pt idx="12903">
                  <c:v>76.8</c:v>
                </c:pt>
                <c:pt idx="12904">
                  <c:v>77.400000000000006</c:v>
                </c:pt>
                <c:pt idx="12905">
                  <c:v>78.3</c:v>
                </c:pt>
                <c:pt idx="12906">
                  <c:v>79.2</c:v>
                </c:pt>
                <c:pt idx="12907">
                  <c:v>81.099999999999994</c:v>
                </c:pt>
                <c:pt idx="12908">
                  <c:v>81</c:v>
                </c:pt>
                <c:pt idx="12909">
                  <c:v>82.8</c:v>
                </c:pt>
                <c:pt idx="12910">
                  <c:v>83.3</c:v>
                </c:pt>
                <c:pt idx="12911">
                  <c:v>84.4</c:v>
                </c:pt>
                <c:pt idx="12912">
                  <c:v>83.5</c:v>
                </c:pt>
                <c:pt idx="12913">
                  <c:v>83.5</c:v>
                </c:pt>
                <c:pt idx="12914">
                  <c:v>86.4</c:v>
                </c:pt>
                <c:pt idx="12915">
                  <c:v>87.8</c:v>
                </c:pt>
                <c:pt idx="12916">
                  <c:v>87.4</c:v>
                </c:pt>
                <c:pt idx="12917">
                  <c:v>88.2</c:v>
                </c:pt>
                <c:pt idx="12918">
                  <c:v>88.3</c:v>
                </c:pt>
                <c:pt idx="12919">
                  <c:v>88.3</c:v>
                </c:pt>
                <c:pt idx="12920">
                  <c:v>89.1</c:v>
                </c:pt>
                <c:pt idx="12921">
                  <c:v>89.8</c:v>
                </c:pt>
                <c:pt idx="12922">
                  <c:v>93</c:v>
                </c:pt>
                <c:pt idx="12923">
                  <c:v>92.5</c:v>
                </c:pt>
                <c:pt idx="12924">
                  <c:v>91.6</c:v>
                </c:pt>
                <c:pt idx="12925">
                  <c:v>91.6</c:v>
                </c:pt>
                <c:pt idx="12926">
                  <c:v>92.3</c:v>
                </c:pt>
                <c:pt idx="12927">
                  <c:v>93.2</c:v>
                </c:pt>
                <c:pt idx="12928">
                  <c:v>93.9</c:v>
                </c:pt>
                <c:pt idx="12929">
                  <c:v>92.7</c:v>
                </c:pt>
                <c:pt idx="12930">
                  <c:v>94.1</c:v>
                </c:pt>
                <c:pt idx="12931">
                  <c:v>92.3</c:v>
                </c:pt>
                <c:pt idx="12932">
                  <c:v>92.5</c:v>
                </c:pt>
                <c:pt idx="12933">
                  <c:v>93.6</c:v>
                </c:pt>
                <c:pt idx="12934">
                  <c:v>92.7</c:v>
                </c:pt>
                <c:pt idx="12935">
                  <c:v>92.3</c:v>
                </c:pt>
                <c:pt idx="12936">
                  <c:v>91.6</c:v>
                </c:pt>
                <c:pt idx="12937">
                  <c:v>91.2</c:v>
                </c:pt>
                <c:pt idx="12938">
                  <c:v>92.3</c:v>
                </c:pt>
                <c:pt idx="12939">
                  <c:v>94.3</c:v>
                </c:pt>
                <c:pt idx="12940">
                  <c:v>93.4</c:v>
                </c:pt>
                <c:pt idx="12941">
                  <c:v>92.1</c:v>
                </c:pt>
                <c:pt idx="12942">
                  <c:v>90.3</c:v>
                </c:pt>
                <c:pt idx="12943">
                  <c:v>89.4</c:v>
                </c:pt>
                <c:pt idx="12944">
                  <c:v>88.2</c:v>
                </c:pt>
                <c:pt idx="12945">
                  <c:v>85.6</c:v>
                </c:pt>
                <c:pt idx="12946">
                  <c:v>81.900000000000006</c:v>
                </c:pt>
                <c:pt idx="12947">
                  <c:v>81.099999999999994</c:v>
                </c:pt>
                <c:pt idx="12948">
                  <c:v>80.099999999999994</c:v>
                </c:pt>
                <c:pt idx="12949">
                  <c:v>79</c:v>
                </c:pt>
                <c:pt idx="12950">
                  <c:v>77.400000000000006</c:v>
                </c:pt>
                <c:pt idx="12951">
                  <c:v>76.5</c:v>
                </c:pt>
                <c:pt idx="12952">
                  <c:v>75.900000000000006</c:v>
                </c:pt>
                <c:pt idx="12953">
                  <c:v>75.599999999999994</c:v>
                </c:pt>
                <c:pt idx="12954">
                  <c:v>75.599999999999994</c:v>
                </c:pt>
                <c:pt idx="12955">
                  <c:v>75.900000000000006</c:v>
                </c:pt>
                <c:pt idx="12956">
                  <c:v>75.900000000000006</c:v>
                </c:pt>
                <c:pt idx="12957">
                  <c:v>75.400000000000006</c:v>
                </c:pt>
                <c:pt idx="12958">
                  <c:v>75</c:v>
                </c:pt>
                <c:pt idx="12959">
                  <c:v>75</c:v>
                </c:pt>
                <c:pt idx="12960">
                  <c:v>75</c:v>
                </c:pt>
                <c:pt idx="12961">
                  <c:v>75</c:v>
                </c:pt>
                <c:pt idx="12962">
                  <c:v>75</c:v>
                </c:pt>
                <c:pt idx="12963">
                  <c:v>75</c:v>
                </c:pt>
                <c:pt idx="12964">
                  <c:v>75</c:v>
                </c:pt>
                <c:pt idx="12965">
                  <c:v>75</c:v>
                </c:pt>
                <c:pt idx="12966">
                  <c:v>75</c:v>
                </c:pt>
                <c:pt idx="12967">
                  <c:v>75</c:v>
                </c:pt>
                <c:pt idx="12968">
                  <c:v>75</c:v>
                </c:pt>
                <c:pt idx="12969">
                  <c:v>75</c:v>
                </c:pt>
                <c:pt idx="12970">
                  <c:v>75</c:v>
                </c:pt>
                <c:pt idx="12971">
                  <c:v>75</c:v>
                </c:pt>
                <c:pt idx="12972">
                  <c:v>75</c:v>
                </c:pt>
                <c:pt idx="12973">
                  <c:v>75</c:v>
                </c:pt>
                <c:pt idx="12974">
                  <c:v>75</c:v>
                </c:pt>
                <c:pt idx="12975">
                  <c:v>72.3</c:v>
                </c:pt>
                <c:pt idx="12976">
                  <c:v>71.599999999999994</c:v>
                </c:pt>
                <c:pt idx="12977">
                  <c:v>71.599999999999994</c:v>
                </c:pt>
                <c:pt idx="12978">
                  <c:v>72.5</c:v>
                </c:pt>
                <c:pt idx="12979">
                  <c:v>71.599999999999994</c:v>
                </c:pt>
                <c:pt idx="12980">
                  <c:v>71.099999999999994</c:v>
                </c:pt>
                <c:pt idx="12981">
                  <c:v>70.900000000000006</c:v>
                </c:pt>
                <c:pt idx="12982">
                  <c:v>70.900000000000006</c:v>
                </c:pt>
                <c:pt idx="12983">
                  <c:v>71.2</c:v>
                </c:pt>
                <c:pt idx="12984">
                  <c:v>70.900000000000006</c:v>
                </c:pt>
                <c:pt idx="12985">
                  <c:v>70.5</c:v>
                </c:pt>
                <c:pt idx="12986">
                  <c:v>70.2</c:v>
                </c:pt>
                <c:pt idx="12987">
                  <c:v>70</c:v>
                </c:pt>
                <c:pt idx="12988">
                  <c:v>69.8</c:v>
                </c:pt>
                <c:pt idx="12989">
                  <c:v>69.400000000000006</c:v>
                </c:pt>
                <c:pt idx="12990">
                  <c:v>70.5</c:v>
                </c:pt>
                <c:pt idx="12991">
                  <c:v>70.900000000000006</c:v>
                </c:pt>
                <c:pt idx="12992">
                  <c:v>70.5</c:v>
                </c:pt>
                <c:pt idx="12993">
                  <c:v>70.7</c:v>
                </c:pt>
                <c:pt idx="12994">
                  <c:v>71.2</c:v>
                </c:pt>
                <c:pt idx="12995">
                  <c:v>71.599999999999994</c:v>
                </c:pt>
                <c:pt idx="12996">
                  <c:v>72.5</c:v>
                </c:pt>
                <c:pt idx="12997">
                  <c:v>75.2</c:v>
                </c:pt>
                <c:pt idx="12998">
                  <c:v>78.400000000000006</c:v>
                </c:pt>
                <c:pt idx="12999">
                  <c:v>80.2</c:v>
                </c:pt>
                <c:pt idx="13000">
                  <c:v>75.599999999999994</c:v>
                </c:pt>
                <c:pt idx="13001">
                  <c:v>76.5</c:v>
                </c:pt>
                <c:pt idx="13002">
                  <c:v>77.400000000000006</c:v>
                </c:pt>
                <c:pt idx="13003">
                  <c:v>78.400000000000006</c:v>
                </c:pt>
                <c:pt idx="13004">
                  <c:v>79.5</c:v>
                </c:pt>
                <c:pt idx="13005">
                  <c:v>80.8</c:v>
                </c:pt>
                <c:pt idx="13006">
                  <c:v>81.7</c:v>
                </c:pt>
                <c:pt idx="13007">
                  <c:v>82.2</c:v>
                </c:pt>
                <c:pt idx="13008">
                  <c:v>82.9</c:v>
                </c:pt>
                <c:pt idx="13009">
                  <c:v>83.5</c:v>
                </c:pt>
                <c:pt idx="13010">
                  <c:v>84.7</c:v>
                </c:pt>
                <c:pt idx="13011">
                  <c:v>89.2</c:v>
                </c:pt>
                <c:pt idx="13012">
                  <c:v>89.2</c:v>
                </c:pt>
                <c:pt idx="13013">
                  <c:v>86.9</c:v>
                </c:pt>
                <c:pt idx="13014">
                  <c:v>87.6</c:v>
                </c:pt>
                <c:pt idx="13015">
                  <c:v>91.6</c:v>
                </c:pt>
                <c:pt idx="13016">
                  <c:v>90.7</c:v>
                </c:pt>
                <c:pt idx="13017">
                  <c:v>91.6</c:v>
                </c:pt>
                <c:pt idx="13018">
                  <c:v>91.8</c:v>
                </c:pt>
                <c:pt idx="13019">
                  <c:v>93</c:v>
                </c:pt>
                <c:pt idx="13020">
                  <c:v>93.7</c:v>
                </c:pt>
                <c:pt idx="13021">
                  <c:v>93.6</c:v>
                </c:pt>
                <c:pt idx="13022">
                  <c:v>93</c:v>
                </c:pt>
                <c:pt idx="13023">
                  <c:v>93.2</c:v>
                </c:pt>
                <c:pt idx="13024">
                  <c:v>93.9</c:v>
                </c:pt>
                <c:pt idx="13025">
                  <c:v>93.9</c:v>
                </c:pt>
                <c:pt idx="13026">
                  <c:v>95.4</c:v>
                </c:pt>
                <c:pt idx="13027">
                  <c:v>96.6</c:v>
                </c:pt>
                <c:pt idx="13028">
                  <c:v>97</c:v>
                </c:pt>
                <c:pt idx="13029">
                  <c:v>96.6</c:v>
                </c:pt>
                <c:pt idx="13030">
                  <c:v>92.3</c:v>
                </c:pt>
                <c:pt idx="13031">
                  <c:v>91.4</c:v>
                </c:pt>
                <c:pt idx="13032">
                  <c:v>91.2</c:v>
                </c:pt>
                <c:pt idx="13033">
                  <c:v>92.7</c:v>
                </c:pt>
                <c:pt idx="13034">
                  <c:v>94.5</c:v>
                </c:pt>
                <c:pt idx="13035">
                  <c:v>92.8</c:v>
                </c:pt>
                <c:pt idx="13036">
                  <c:v>91.6</c:v>
                </c:pt>
                <c:pt idx="13037">
                  <c:v>90.5</c:v>
                </c:pt>
                <c:pt idx="13038">
                  <c:v>84.2</c:v>
                </c:pt>
                <c:pt idx="13039">
                  <c:v>82.2</c:v>
                </c:pt>
                <c:pt idx="13040">
                  <c:v>82</c:v>
                </c:pt>
                <c:pt idx="13041">
                  <c:v>81.099999999999994</c:v>
                </c:pt>
                <c:pt idx="13042">
                  <c:v>80.599999999999994</c:v>
                </c:pt>
                <c:pt idx="13043">
                  <c:v>79.2</c:v>
                </c:pt>
                <c:pt idx="13044">
                  <c:v>77.900000000000006</c:v>
                </c:pt>
                <c:pt idx="13045">
                  <c:v>76.5</c:v>
                </c:pt>
                <c:pt idx="13046">
                  <c:v>75.599999999999994</c:v>
                </c:pt>
                <c:pt idx="13047">
                  <c:v>74.8</c:v>
                </c:pt>
                <c:pt idx="13048">
                  <c:v>74.3</c:v>
                </c:pt>
                <c:pt idx="13049">
                  <c:v>73.8</c:v>
                </c:pt>
                <c:pt idx="13050">
                  <c:v>73.599999999999994</c:v>
                </c:pt>
                <c:pt idx="13051">
                  <c:v>73.2</c:v>
                </c:pt>
                <c:pt idx="13052">
                  <c:v>73</c:v>
                </c:pt>
                <c:pt idx="13053">
                  <c:v>73</c:v>
                </c:pt>
                <c:pt idx="13054">
                  <c:v>73</c:v>
                </c:pt>
                <c:pt idx="13055">
                  <c:v>73</c:v>
                </c:pt>
                <c:pt idx="13056">
                  <c:v>73</c:v>
                </c:pt>
                <c:pt idx="13057">
                  <c:v>73</c:v>
                </c:pt>
                <c:pt idx="13058">
                  <c:v>73</c:v>
                </c:pt>
                <c:pt idx="13059">
                  <c:v>73</c:v>
                </c:pt>
                <c:pt idx="13060">
                  <c:v>73</c:v>
                </c:pt>
                <c:pt idx="13061">
                  <c:v>73</c:v>
                </c:pt>
                <c:pt idx="13062">
                  <c:v>73</c:v>
                </c:pt>
                <c:pt idx="13063">
                  <c:v>73</c:v>
                </c:pt>
                <c:pt idx="13064">
                  <c:v>73</c:v>
                </c:pt>
                <c:pt idx="13065">
                  <c:v>73</c:v>
                </c:pt>
                <c:pt idx="13066">
                  <c:v>73</c:v>
                </c:pt>
                <c:pt idx="13067">
                  <c:v>73</c:v>
                </c:pt>
                <c:pt idx="13068">
                  <c:v>71.599999999999994</c:v>
                </c:pt>
                <c:pt idx="13069">
                  <c:v>71.400000000000006</c:v>
                </c:pt>
                <c:pt idx="13070">
                  <c:v>71.099999999999994</c:v>
                </c:pt>
                <c:pt idx="13071">
                  <c:v>72.5</c:v>
                </c:pt>
                <c:pt idx="13072">
                  <c:v>72.900000000000006</c:v>
                </c:pt>
                <c:pt idx="13073">
                  <c:v>71.599999999999994</c:v>
                </c:pt>
                <c:pt idx="13074">
                  <c:v>71.2</c:v>
                </c:pt>
                <c:pt idx="13075">
                  <c:v>70.900000000000006</c:v>
                </c:pt>
                <c:pt idx="13076">
                  <c:v>70.900000000000006</c:v>
                </c:pt>
                <c:pt idx="13077">
                  <c:v>71.099999999999994</c:v>
                </c:pt>
                <c:pt idx="13078">
                  <c:v>71.099999999999994</c:v>
                </c:pt>
                <c:pt idx="13079">
                  <c:v>71.099999999999994</c:v>
                </c:pt>
                <c:pt idx="13080">
                  <c:v>70.900000000000006</c:v>
                </c:pt>
                <c:pt idx="13081">
                  <c:v>71.2</c:v>
                </c:pt>
                <c:pt idx="13082">
                  <c:v>72.099999999999994</c:v>
                </c:pt>
                <c:pt idx="13083">
                  <c:v>72.3</c:v>
                </c:pt>
                <c:pt idx="13084">
                  <c:v>71.2</c:v>
                </c:pt>
                <c:pt idx="13085">
                  <c:v>70.7</c:v>
                </c:pt>
                <c:pt idx="13086">
                  <c:v>70.3</c:v>
                </c:pt>
                <c:pt idx="13087">
                  <c:v>68.2</c:v>
                </c:pt>
                <c:pt idx="13088">
                  <c:v>68.5</c:v>
                </c:pt>
                <c:pt idx="13089">
                  <c:v>72</c:v>
                </c:pt>
                <c:pt idx="13090">
                  <c:v>72</c:v>
                </c:pt>
                <c:pt idx="13091">
                  <c:v>72</c:v>
                </c:pt>
                <c:pt idx="13092">
                  <c:v>72</c:v>
                </c:pt>
                <c:pt idx="13093">
                  <c:v>72</c:v>
                </c:pt>
                <c:pt idx="13094">
                  <c:v>72</c:v>
                </c:pt>
                <c:pt idx="13095">
                  <c:v>72</c:v>
                </c:pt>
                <c:pt idx="13096">
                  <c:v>72</c:v>
                </c:pt>
                <c:pt idx="13097">
                  <c:v>72</c:v>
                </c:pt>
                <c:pt idx="13098">
                  <c:v>72</c:v>
                </c:pt>
                <c:pt idx="13099">
                  <c:v>72</c:v>
                </c:pt>
                <c:pt idx="13100">
                  <c:v>72</c:v>
                </c:pt>
                <c:pt idx="13101">
                  <c:v>72</c:v>
                </c:pt>
                <c:pt idx="13102">
                  <c:v>72</c:v>
                </c:pt>
                <c:pt idx="13103">
                  <c:v>72</c:v>
                </c:pt>
                <c:pt idx="13104">
                  <c:v>72</c:v>
                </c:pt>
                <c:pt idx="13105">
                  <c:v>86</c:v>
                </c:pt>
                <c:pt idx="13106">
                  <c:v>86.9</c:v>
                </c:pt>
                <c:pt idx="13107">
                  <c:v>88.7</c:v>
                </c:pt>
                <c:pt idx="13108">
                  <c:v>90</c:v>
                </c:pt>
                <c:pt idx="13109">
                  <c:v>90.7</c:v>
                </c:pt>
                <c:pt idx="13110">
                  <c:v>91.6</c:v>
                </c:pt>
                <c:pt idx="13111">
                  <c:v>93</c:v>
                </c:pt>
                <c:pt idx="13112">
                  <c:v>93.7</c:v>
                </c:pt>
                <c:pt idx="13113">
                  <c:v>93.4</c:v>
                </c:pt>
                <c:pt idx="13114">
                  <c:v>93.9</c:v>
                </c:pt>
                <c:pt idx="13115">
                  <c:v>94.1</c:v>
                </c:pt>
                <c:pt idx="13116">
                  <c:v>93.6</c:v>
                </c:pt>
                <c:pt idx="13117">
                  <c:v>93.7</c:v>
                </c:pt>
                <c:pt idx="13118">
                  <c:v>95.2</c:v>
                </c:pt>
                <c:pt idx="13119">
                  <c:v>96.3</c:v>
                </c:pt>
                <c:pt idx="13120">
                  <c:v>95.5</c:v>
                </c:pt>
                <c:pt idx="13121">
                  <c:v>94.5</c:v>
                </c:pt>
                <c:pt idx="13122">
                  <c:v>94.3</c:v>
                </c:pt>
                <c:pt idx="13123">
                  <c:v>94.3</c:v>
                </c:pt>
                <c:pt idx="13124">
                  <c:v>92.5</c:v>
                </c:pt>
                <c:pt idx="13125">
                  <c:v>90.5</c:v>
                </c:pt>
                <c:pt idx="13126">
                  <c:v>90.9</c:v>
                </c:pt>
                <c:pt idx="13127">
                  <c:v>94.6</c:v>
                </c:pt>
                <c:pt idx="13128">
                  <c:v>95.5</c:v>
                </c:pt>
                <c:pt idx="13129">
                  <c:v>92.8</c:v>
                </c:pt>
                <c:pt idx="13130">
                  <c:v>91.2</c:v>
                </c:pt>
                <c:pt idx="13131">
                  <c:v>92.5</c:v>
                </c:pt>
                <c:pt idx="13132">
                  <c:v>93.4</c:v>
                </c:pt>
                <c:pt idx="13133">
                  <c:v>93.4</c:v>
                </c:pt>
                <c:pt idx="13134">
                  <c:v>92.5</c:v>
                </c:pt>
                <c:pt idx="13135">
                  <c:v>93</c:v>
                </c:pt>
                <c:pt idx="13136">
                  <c:v>92.1</c:v>
                </c:pt>
                <c:pt idx="13137">
                  <c:v>90.3</c:v>
                </c:pt>
                <c:pt idx="13138">
                  <c:v>88.2</c:v>
                </c:pt>
                <c:pt idx="13139">
                  <c:v>85.6</c:v>
                </c:pt>
                <c:pt idx="13140">
                  <c:v>83.7</c:v>
                </c:pt>
                <c:pt idx="13141">
                  <c:v>81.900000000000006</c:v>
                </c:pt>
                <c:pt idx="13142">
                  <c:v>80.400000000000006</c:v>
                </c:pt>
                <c:pt idx="13143">
                  <c:v>79.5</c:v>
                </c:pt>
                <c:pt idx="13144">
                  <c:v>78.8</c:v>
                </c:pt>
                <c:pt idx="13145">
                  <c:v>77.900000000000006</c:v>
                </c:pt>
                <c:pt idx="13146">
                  <c:v>77.400000000000006</c:v>
                </c:pt>
                <c:pt idx="13147">
                  <c:v>76.8</c:v>
                </c:pt>
                <c:pt idx="13148">
                  <c:v>76.599999999999994</c:v>
                </c:pt>
                <c:pt idx="13149">
                  <c:v>78.400000000000006</c:v>
                </c:pt>
                <c:pt idx="13150">
                  <c:v>78.400000000000006</c:v>
                </c:pt>
                <c:pt idx="13151">
                  <c:v>78.400000000000006</c:v>
                </c:pt>
                <c:pt idx="13152">
                  <c:v>78.400000000000006</c:v>
                </c:pt>
                <c:pt idx="13153">
                  <c:v>78.400000000000006</c:v>
                </c:pt>
                <c:pt idx="13154">
                  <c:v>78.400000000000006</c:v>
                </c:pt>
                <c:pt idx="13155">
                  <c:v>78.400000000000006</c:v>
                </c:pt>
                <c:pt idx="13156">
                  <c:v>78.400000000000006</c:v>
                </c:pt>
                <c:pt idx="13157">
                  <c:v>78.400000000000006</c:v>
                </c:pt>
                <c:pt idx="13158">
                  <c:v>78.400000000000006</c:v>
                </c:pt>
                <c:pt idx="13159">
                  <c:v>78.400000000000006</c:v>
                </c:pt>
                <c:pt idx="13160">
                  <c:v>78.400000000000006</c:v>
                </c:pt>
                <c:pt idx="13161">
                  <c:v>78.400000000000006</c:v>
                </c:pt>
                <c:pt idx="13162">
                  <c:v>78.400000000000006</c:v>
                </c:pt>
                <c:pt idx="13163">
                  <c:v>78.400000000000006</c:v>
                </c:pt>
                <c:pt idx="13164">
                  <c:v>78.400000000000006</c:v>
                </c:pt>
                <c:pt idx="13165">
                  <c:v>73.900000000000006</c:v>
                </c:pt>
                <c:pt idx="13166">
                  <c:v>73.900000000000006</c:v>
                </c:pt>
                <c:pt idx="13167">
                  <c:v>73.8</c:v>
                </c:pt>
                <c:pt idx="13168">
                  <c:v>73.400000000000006</c:v>
                </c:pt>
                <c:pt idx="13169">
                  <c:v>73</c:v>
                </c:pt>
                <c:pt idx="13170">
                  <c:v>72.7</c:v>
                </c:pt>
                <c:pt idx="13171">
                  <c:v>73</c:v>
                </c:pt>
                <c:pt idx="13172">
                  <c:v>73.599999999999994</c:v>
                </c:pt>
                <c:pt idx="13173">
                  <c:v>72.7</c:v>
                </c:pt>
                <c:pt idx="13174">
                  <c:v>72.3</c:v>
                </c:pt>
                <c:pt idx="13175">
                  <c:v>72</c:v>
                </c:pt>
                <c:pt idx="13176">
                  <c:v>72.099999999999994</c:v>
                </c:pt>
                <c:pt idx="13177">
                  <c:v>71.8</c:v>
                </c:pt>
                <c:pt idx="13178">
                  <c:v>71.599999999999994</c:v>
                </c:pt>
                <c:pt idx="13179">
                  <c:v>71.400000000000006</c:v>
                </c:pt>
                <c:pt idx="13180">
                  <c:v>71.400000000000006</c:v>
                </c:pt>
                <c:pt idx="13181">
                  <c:v>71.400000000000006</c:v>
                </c:pt>
                <c:pt idx="13182">
                  <c:v>72.099999999999994</c:v>
                </c:pt>
                <c:pt idx="13183">
                  <c:v>71.2</c:v>
                </c:pt>
                <c:pt idx="13184">
                  <c:v>71.400000000000006</c:v>
                </c:pt>
                <c:pt idx="13185">
                  <c:v>72</c:v>
                </c:pt>
                <c:pt idx="13186">
                  <c:v>74.7</c:v>
                </c:pt>
                <c:pt idx="13187">
                  <c:v>77.2</c:v>
                </c:pt>
                <c:pt idx="13188">
                  <c:v>78.8</c:v>
                </c:pt>
                <c:pt idx="13189">
                  <c:v>82.2</c:v>
                </c:pt>
                <c:pt idx="13190">
                  <c:v>83.5</c:v>
                </c:pt>
                <c:pt idx="13191">
                  <c:v>85.1</c:v>
                </c:pt>
                <c:pt idx="13192">
                  <c:v>86</c:v>
                </c:pt>
                <c:pt idx="13193">
                  <c:v>85.5</c:v>
                </c:pt>
                <c:pt idx="13194">
                  <c:v>85.6</c:v>
                </c:pt>
                <c:pt idx="13195">
                  <c:v>88</c:v>
                </c:pt>
                <c:pt idx="13196">
                  <c:v>88.7</c:v>
                </c:pt>
                <c:pt idx="13197">
                  <c:v>89.6</c:v>
                </c:pt>
                <c:pt idx="13198">
                  <c:v>89.6</c:v>
                </c:pt>
                <c:pt idx="13199">
                  <c:v>89.8</c:v>
                </c:pt>
                <c:pt idx="13200">
                  <c:v>88.5</c:v>
                </c:pt>
                <c:pt idx="13201">
                  <c:v>86</c:v>
                </c:pt>
                <c:pt idx="13202">
                  <c:v>87.8</c:v>
                </c:pt>
                <c:pt idx="13203">
                  <c:v>89.1</c:v>
                </c:pt>
                <c:pt idx="13204">
                  <c:v>90</c:v>
                </c:pt>
                <c:pt idx="13205">
                  <c:v>91.6</c:v>
                </c:pt>
                <c:pt idx="13206">
                  <c:v>92.8</c:v>
                </c:pt>
                <c:pt idx="13207">
                  <c:v>92.7</c:v>
                </c:pt>
                <c:pt idx="13208">
                  <c:v>93.4</c:v>
                </c:pt>
                <c:pt idx="13209">
                  <c:v>94.5</c:v>
                </c:pt>
                <c:pt idx="13210">
                  <c:v>94.8</c:v>
                </c:pt>
                <c:pt idx="13211">
                  <c:v>93.9</c:v>
                </c:pt>
                <c:pt idx="13212">
                  <c:v>93.7</c:v>
                </c:pt>
                <c:pt idx="13213">
                  <c:v>95.2</c:v>
                </c:pt>
                <c:pt idx="13214">
                  <c:v>95.2</c:v>
                </c:pt>
                <c:pt idx="13215">
                  <c:v>94.6</c:v>
                </c:pt>
                <c:pt idx="13216">
                  <c:v>95</c:v>
                </c:pt>
                <c:pt idx="13217">
                  <c:v>95.9</c:v>
                </c:pt>
                <c:pt idx="13218">
                  <c:v>97.9</c:v>
                </c:pt>
                <c:pt idx="13219">
                  <c:v>98.6</c:v>
                </c:pt>
                <c:pt idx="13220">
                  <c:v>97.5</c:v>
                </c:pt>
                <c:pt idx="13221">
                  <c:v>96.8</c:v>
                </c:pt>
                <c:pt idx="13222">
                  <c:v>97.5</c:v>
                </c:pt>
                <c:pt idx="13223">
                  <c:v>96.1</c:v>
                </c:pt>
                <c:pt idx="13224">
                  <c:v>94.8</c:v>
                </c:pt>
                <c:pt idx="13225">
                  <c:v>97</c:v>
                </c:pt>
                <c:pt idx="13226">
                  <c:v>98.1</c:v>
                </c:pt>
                <c:pt idx="13227">
                  <c:v>97.3</c:v>
                </c:pt>
                <c:pt idx="13228">
                  <c:v>96.8</c:v>
                </c:pt>
                <c:pt idx="13229">
                  <c:v>97.3</c:v>
                </c:pt>
                <c:pt idx="13230">
                  <c:v>97.2</c:v>
                </c:pt>
                <c:pt idx="13231">
                  <c:v>96.4</c:v>
                </c:pt>
                <c:pt idx="13232">
                  <c:v>93.4</c:v>
                </c:pt>
                <c:pt idx="13233">
                  <c:v>87.8</c:v>
                </c:pt>
                <c:pt idx="13234">
                  <c:v>84.7</c:v>
                </c:pt>
                <c:pt idx="13235">
                  <c:v>82.9</c:v>
                </c:pt>
                <c:pt idx="13236">
                  <c:v>81.7</c:v>
                </c:pt>
                <c:pt idx="13237">
                  <c:v>80.8</c:v>
                </c:pt>
                <c:pt idx="13238">
                  <c:v>79.900000000000006</c:v>
                </c:pt>
                <c:pt idx="13239">
                  <c:v>79.5</c:v>
                </c:pt>
                <c:pt idx="13240">
                  <c:v>79.3</c:v>
                </c:pt>
                <c:pt idx="13241">
                  <c:v>78.8</c:v>
                </c:pt>
                <c:pt idx="13242">
                  <c:v>80.599999999999994</c:v>
                </c:pt>
                <c:pt idx="13243">
                  <c:v>79.5</c:v>
                </c:pt>
                <c:pt idx="13244">
                  <c:v>79.5</c:v>
                </c:pt>
                <c:pt idx="13245">
                  <c:v>79.2</c:v>
                </c:pt>
                <c:pt idx="13246">
                  <c:v>77.7</c:v>
                </c:pt>
                <c:pt idx="13247">
                  <c:v>77.900000000000006</c:v>
                </c:pt>
                <c:pt idx="13248">
                  <c:v>77.2</c:v>
                </c:pt>
                <c:pt idx="13249">
                  <c:v>76.599999999999994</c:v>
                </c:pt>
                <c:pt idx="13250">
                  <c:v>76.8</c:v>
                </c:pt>
                <c:pt idx="13251">
                  <c:v>76.599999999999994</c:v>
                </c:pt>
                <c:pt idx="13252">
                  <c:v>76.099999999999994</c:v>
                </c:pt>
                <c:pt idx="13253">
                  <c:v>76.8</c:v>
                </c:pt>
                <c:pt idx="13254">
                  <c:v>77.7</c:v>
                </c:pt>
                <c:pt idx="13255">
                  <c:v>77.2</c:v>
                </c:pt>
                <c:pt idx="13256">
                  <c:v>78.099999999999994</c:v>
                </c:pt>
                <c:pt idx="13257">
                  <c:v>77</c:v>
                </c:pt>
                <c:pt idx="13258">
                  <c:v>76.3</c:v>
                </c:pt>
                <c:pt idx="13259">
                  <c:v>77.5</c:v>
                </c:pt>
                <c:pt idx="13260">
                  <c:v>75.900000000000006</c:v>
                </c:pt>
                <c:pt idx="13261">
                  <c:v>75.2</c:v>
                </c:pt>
                <c:pt idx="13262">
                  <c:v>74.5</c:v>
                </c:pt>
                <c:pt idx="13263">
                  <c:v>73.8</c:v>
                </c:pt>
                <c:pt idx="13264">
                  <c:v>73.400000000000006</c:v>
                </c:pt>
                <c:pt idx="13265">
                  <c:v>73.599999999999994</c:v>
                </c:pt>
                <c:pt idx="13266">
                  <c:v>73.599999999999994</c:v>
                </c:pt>
                <c:pt idx="13267">
                  <c:v>73.400000000000006</c:v>
                </c:pt>
                <c:pt idx="13268">
                  <c:v>72.7</c:v>
                </c:pt>
                <c:pt idx="13269">
                  <c:v>72.099999999999994</c:v>
                </c:pt>
                <c:pt idx="13270">
                  <c:v>73.599999999999994</c:v>
                </c:pt>
                <c:pt idx="13271">
                  <c:v>72.3</c:v>
                </c:pt>
                <c:pt idx="13272">
                  <c:v>73</c:v>
                </c:pt>
                <c:pt idx="13273">
                  <c:v>71.400000000000006</c:v>
                </c:pt>
                <c:pt idx="13274">
                  <c:v>71.099999999999994</c:v>
                </c:pt>
                <c:pt idx="13275">
                  <c:v>71.099999999999994</c:v>
                </c:pt>
                <c:pt idx="13276">
                  <c:v>70.900000000000006</c:v>
                </c:pt>
                <c:pt idx="13277">
                  <c:v>70.900000000000006</c:v>
                </c:pt>
                <c:pt idx="13278">
                  <c:v>70.900000000000006</c:v>
                </c:pt>
                <c:pt idx="13279">
                  <c:v>69.599999999999994</c:v>
                </c:pt>
                <c:pt idx="13280">
                  <c:v>70</c:v>
                </c:pt>
                <c:pt idx="13281">
                  <c:v>72.3</c:v>
                </c:pt>
                <c:pt idx="13282">
                  <c:v>72.7</c:v>
                </c:pt>
                <c:pt idx="13283">
                  <c:v>72.7</c:v>
                </c:pt>
                <c:pt idx="13284">
                  <c:v>72.7</c:v>
                </c:pt>
                <c:pt idx="13285">
                  <c:v>72.7</c:v>
                </c:pt>
                <c:pt idx="13286">
                  <c:v>72.7</c:v>
                </c:pt>
                <c:pt idx="13287">
                  <c:v>72.7</c:v>
                </c:pt>
                <c:pt idx="13288">
                  <c:v>72.7</c:v>
                </c:pt>
                <c:pt idx="13289">
                  <c:v>72.7</c:v>
                </c:pt>
                <c:pt idx="13290">
                  <c:v>72.7</c:v>
                </c:pt>
                <c:pt idx="13291">
                  <c:v>72.7</c:v>
                </c:pt>
                <c:pt idx="13292">
                  <c:v>72.7</c:v>
                </c:pt>
                <c:pt idx="13293">
                  <c:v>72.7</c:v>
                </c:pt>
                <c:pt idx="13294">
                  <c:v>72.7</c:v>
                </c:pt>
                <c:pt idx="13295">
                  <c:v>72.7</c:v>
                </c:pt>
                <c:pt idx="13296">
                  <c:v>72.7</c:v>
                </c:pt>
                <c:pt idx="13297">
                  <c:v>72.7</c:v>
                </c:pt>
                <c:pt idx="13298">
                  <c:v>88.5</c:v>
                </c:pt>
                <c:pt idx="13299">
                  <c:v>91</c:v>
                </c:pt>
                <c:pt idx="13300">
                  <c:v>92.3</c:v>
                </c:pt>
                <c:pt idx="13301">
                  <c:v>93.2</c:v>
                </c:pt>
                <c:pt idx="13302">
                  <c:v>94.5</c:v>
                </c:pt>
                <c:pt idx="13303">
                  <c:v>93.7</c:v>
                </c:pt>
                <c:pt idx="13304">
                  <c:v>92.7</c:v>
                </c:pt>
                <c:pt idx="13305">
                  <c:v>93.7</c:v>
                </c:pt>
                <c:pt idx="13306">
                  <c:v>95.2</c:v>
                </c:pt>
                <c:pt idx="13307">
                  <c:v>94.8</c:v>
                </c:pt>
                <c:pt idx="13308">
                  <c:v>93.7</c:v>
                </c:pt>
                <c:pt idx="13309">
                  <c:v>94.1</c:v>
                </c:pt>
                <c:pt idx="13310">
                  <c:v>93.6</c:v>
                </c:pt>
                <c:pt idx="13311">
                  <c:v>93.7</c:v>
                </c:pt>
                <c:pt idx="13312">
                  <c:v>92.7</c:v>
                </c:pt>
                <c:pt idx="13313">
                  <c:v>90.9</c:v>
                </c:pt>
                <c:pt idx="13314">
                  <c:v>90.3</c:v>
                </c:pt>
                <c:pt idx="13315">
                  <c:v>88.9</c:v>
                </c:pt>
                <c:pt idx="13316">
                  <c:v>86.4</c:v>
                </c:pt>
                <c:pt idx="13317">
                  <c:v>84.2</c:v>
                </c:pt>
                <c:pt idx="13318">
                  <c:v>83.3</c:v>
                </c:pt>
                <c:pt idx="13319">
                  <c:v>84.4</c:v>
                </c:pt>
                <c:pt idx="13320">
                  <c:v>84</c:v>
                </c:pt>
                <c:pt idx="13321">
                  <c:v>80.2</c:v>
                </c:pt>
                <c:pt idx="13322">
                  <c:v>79.3</c:v>
                </c:pt>
                <c:pt idx="13323">
                  <c:v>79.3</c:v>
                </c:pt>
                <c:pt idx="13324">
                  <c:v>79</c:v>
                </c:pt>
                <c:pt idx="13325">
                  <c:v>78.400000000000006</c:v>
                </c:pt>
                <c:pt idx="13326">
                  <c:v>78.599999999999994</c:v>
                </c:pt>
                <c:pt idx="13327">
                  <c:v>78.599999999999994</c:v>
                </c:pt>
                <c:pt idx="13328">
                  <c:v>77.900000000000006</c:v>
                </c:pt>
                <c:pt idx="13329">
                  <c:v>76.099999999999994</c:v>
                </c:pt>
                <c:pt idx="13330">
                  <c:v>75.7</c:v>
                </c:pt>
                <c:pt idx="13331">
                  <c:v>75.400000000000006</c:v>
                </c:pt>
                <c:pt idx="13332">
                  <c:v>75</c:v>
                </c:pt>
                <c:pt idx="13333">
                  <c:v>74.7</c:v>
                </c:pt>
                <c:pt idx="13334">
                  <c:v>74.7</c:v>
                </c:pt>
                <c:pt idx="13335">
                  <c:v>74.8</c:v>
                </c:pt>
                <c:pt idx="13336">
                  <c:v>74.8</c:v>
                </c:pt>
                <c:pt idx="13337">
                  <c:v>75</c:v>
                </c:pt>
                <c:pt idx="13338">
                  <c:v>74.7</c:v>
                </c:pt>
                <c:pt idx="13339">
                  <c:v>74.7</c:v>
                </c:pt>
                <c:pt idx="13340">
                  <c:v>74.7</c:v>
                </c:pt>
                <c:pt idx="13341">
                  <c:v>74.7</c:v>
                </c:pt>
                <c:pt idx="13342">
                  <c:v>74.7</c:v>
                </c:pt>
                <c:pt idx="13343">
                  <c:v>74.7</c:v>
                </c:pt>
                <c:pt idx="13344">
                  <c:v>74.7</c:v>
                </c:pt>
                <c:pt idx="13345">
                  <c:v>74.7</c:v>
                </c:pt>
                <c:pt idx="13346">
                  <c:v>74.7</c:v>
                </c:pt>
                <c:pt idx="13347">
                  <c:v>74.7</c:v>
                </c:pt>
                <c:pt idx="13348">
                  <c:v>74.7</c:v>
                </c:pt>
                <c:pt idx="13349">
                  <c:v>74.7</c:v>
                </c:pt>
                <c:pt idx="13350">
                  <c:v>74.7</c:v>
                </c:pt>
                <c:pt idx="13351">
                  <c:v>74.7</c:v>
                </c:pt>
                <c:pt idx="13352">
                  <c:v>74.7</c:v>
                </c:pt>
                <c:pt idx="13353">
                  <c:v>74.7</c:v>
                </c:pt>
                <c:pt idx="13354">
                  <c:v>74.7</c:v>
                </c:pt>
                <c:pt idx="13355">
                  <c:v>72.7</c:v>
                </c:pt>
                <c:pt idx="13356">
                  <c:v>72.099999999999994</c:v>
                </c:pt>
                <c:pt idx="13357">
                  <c:v>72.099999999999994</c:v>
                </c:pt>
                <c:pt idx="13358">
                  <c:v>72.099999999999994</c:v>
                </c:pt>
                <c:pt idx="13359">
                  <c:v>72.900000000000006</c:v>
                </c:pt>
                <c:pt idx="13360">
                  <c:v>72.099999999999994</c:v>
                </c:pt>
                <c:pt idx="13361">
                  <c:v>72</c:v>
                </c:pt>
                <c:pt idx="13362">
                  <c:v>71.099999999999994</c:v>
                </c:pt>
                <c:pt idx="13363">
                  <c:v>71.099999999999994</c:v>
                </c:pt>
                <c:pt idx="13364">
                  <c:v>71.099999999999994</c:v>
                </c:pt>
                <c:pt idx="13365">
                  <c:v>71.400000000000006</c:v>
                </c:pt>
                <c:pt idx="13366">
                  <c:v>72</c:v>
                </c:pt>
                <c:pt idx="13367">
                  <c:v>73.900000000000006</c:v>
                </c:pt>
                <c:pt idx="13368">
                  <c:v>76.099999999999994</c:v>
                </c:pt>
                <c:pt idx="13369">
                  <c:v>75.900000000000006</c:v>
                </c:pt>
                <c:pt idx="13370">
                  <c:v>77.5</c:v>
                </c:pt>
                <c:pt idx="13371">
                  <c:v>79.5</c:v>
                </c:pt>
                <c:pt idx="13372">
                  <c:v>80.599999999999994</c:v>
                </c:pt>
                <c:pt idx="13373">
                  <c:v>80.8</c:v>
                </c:pt>
                <c:pt idx="13374">
                  <c:v>83.5</c:v>
                </c:pt>
                <c:pt idx="13375">
                  <c:v>82</c:v>
                </c:pt>
                <c:pt idx="13376">
                  <c:v>79</c:v>
                </c:pt>
                <c:pt idx="13377">
                  <c:v>79.5</c:v>
                </c:pt>
                <c:pt idx="13378">
                  <c:v>80.2</c:v>
                </c:pt>
                <c:pt idx="13379">
                  <c:v>81.3</c:v>
                </c:pt>
                <c:pt idx="13380">
                  <c:v>81.900000000000006</c:v>
                </c:pt>
                <c:pt idx="13381">
                  <c:v>83.1</c:v>
                </c:pt>
                <c:pt idx="13382">
                  <c:v>84.4</c:v>
                </c:pt>
                <c:pt idx="13383">
                  <c:v>86.2</c:v>
                </c:pt>
                <c:pt idx="13384">
                  <c:v>88.2</c:v>
                </c:pt>
                <c:pt idx="13385">
                  <c:v>87.6</c:v>
                </c:pt>
                <c:pt idx="13386">
                  <c:v>88.7</c:v>
                </c:pt>
                <c:pt idx="13387">
                  <c:v>87.6</c:v>
                </c:pt>
                <c:pt idx="13388">
                  <c:v>86.9</c:v>
                </c:pt>
                <c:pt idx="13389">
                  <c:v>84.9</c:v>
                </c:pt>
                <c:pt idx="13390">
                  <c:v>86.5</c:v>
                </c:pt>
                <c:pt idx="13391">
                  <c:v>83.8</c:v>
                </c:pt>
                <c:pt idx="13392">
                  <c:v>83.7</c:v>
                </c:pt>
                <c:pt idx="13393">
                  <c:v>82.6</c:v>
                </c:pt>
                <c:pt idx="13394">
                  <c:v>80.8</c:v>
                </c:pt>
                <c:pt idx="13395">
                  <c:v>80.099999999999994</c:v>
                </c:pt>
                <c:pt idx="13396">
                  <c:v>81.900000000000006</c:v>
                </c:pt>
                <c:pt idx="13397">
                  <c:v>82.4</c:v>
                </c:pt>
                <c:pt idx="13398">
                  <c:v>83.3</c:v>
                </c:pt>
                <c:pt idx="13399">
                  <c:v>86</c:v>
                </c:pt>
                <c:pt idx="13400">
                  <c:v>86.7</c:v>
                </c:pt>
                <c:pt idx="13401">
                  <c:v>86</c:v>
                </c:pt>
                <c:pt idx="13402">
                  <c:v>87.8</c:v>
                </c:pt>
                <c:pt idx="13403">
                  <c:v>88.7</c:v>
                </c:pt>
                <c:pt idx="13404">
                  <c:v>87.4</c:v>
                </c:pt>
                <c:pt idx="13405">
                  <c:v>89.4</c:v>
                </c:pt>
                <c:pt idx="13406">
                  <c:v>91.2</c:v>
                </c:pt>
                <c:pt idx="13407">
                  <c:v>86.5</c:v>
                </c:pt>
                <c:pt idx="13408">
                  <c:v>84.9</c:v>
                </c:pt>
                <c:pt idx="13409">
                  <c:v>84.4</c:v>
                </c:pt>
                <c:pt idx="13410">
                  <c:v>82.8</c:v>
                </c:pt>
                <c:pt idx="13411">
                  <c:v>81.3</c:v>
                </c:pt>
                <c:pt idx="13412">
                  <c:v>80.8</c:v>
                </c:pt>
                <c:pt idx="13413">
                  <c:v>80.400000000000006</c:v>
                </c:pt>
                <c:pt idx="13414">
                  <c:v>80.099999999999994</c:v>
                </c:pt>
                <c:pt idx="13415">
                  <c:v>79.7</c:v>
                </c:pt>
                <c:pt idx="13416">
                  <c:v>79.5</c:v>
                </c:pt>
                <c:pt idx="13417">
                  <c:v>79.7</c:v>
                </c:pt>
                <c:pt idx="13418">
                  <c:v>78.599999999999994</c:v>
                </c:pt>
                <c:pt idx="13419">
                  <c:v>78.8</c:v>
                </c:pt>
                <c:pt idx="13420">
                  <c:v>78.099999999999994</c:v>
                </c:pt>
                <c:pt idx="13421">
                  <c:v>77.7</c:v>
                </c:pt>
                <c:pt idx="13422">
                  <c:v>77</c:v>
                </c:pt>
                <c:pt idx="13423">
                  <c:v>78.099999999999994</c:v>
                </c:pt>
                <c:pt idx="13424">
                  <c:v>75.7</c:v>
                </c:pt>
                <c:pt idx="13425">
                  <c:v>76.5</c:v>
                </c:pt>
                <c:pt idx="13426">
                  <c:v>75.900000000000006</c:v>
                </c:pt>
                <c:pt idx="13427">
                  <c:v>74.7</c:v>
                </c:pt>
                <c:pt idx="13428">
                  <c:v>75</c:v>
                </c:pt>
                <c:pt idx="13429">
                  <c:v>74.5</c:v>
                </c:pt>
                <c:pt idx="13430">
                  <c:v>73.8</c:v>
                </c:pt>
                <c:pt idx="13431">
                  <c:v>74.099999999999994</c:v>
                </c:pt>
                <c:pt idx="13432">
                  <c:v>73.2</c:v>
                </c:pt>
                <c:pt idx="13433">
                  <c:v>73</c:v>
                </c:pt>
                <c:pt idx="13434">
                  <c:v>73.400000000000006</c:v>
                </c:pt>
                <c:pt idx="13435">
                  <c:v>73</c:v>
                </c:pt>
                <c:pt idx="13436">
                  <c:v>72.7</c:v>
                </c:pt>
                <c:pt idx="13437">
                  <c:v>72.3</c:v>
                </c:pt>
                <c:pt idx="13438">
                  <c:v>72.099999999999994</c:v>
                </c:pt>
                <c:pt idx="13439">
                  <c:v>72</c:v>
                </c:pt>
                <c:pt idx="13440">
                  <c:v>71.8</c:v>
                </c:pt>
                <c:pt idx="13441">
                  <c:v>73.400000000000006</c:v>
                </c:pt>
                <c:pt idx="13442">
                  <c:v>72.7</c:v>
                </c:pt>
                <c:pt idx="13443">
                  <c:v>72.3</c:v>
                </c:pt>
                <c:pt idx="13444">
                  <c:v>72.099999999999994</c:v>
                </c:pt>
                <c:pt idx="13445">
                  <c:v>72.099999999999994</c:v>
                </c:pt>
                <c:pt idx="13446">
                  <c:v>73.900000000000006</c:v>
                </c:pt>
                <c:pt idx="13447">
                  <c:v>72.7</c:v>
                </c:pt>
                <c:pt idx="13448">
                  <c:v>72.7</c:v>
                </c:pt>
                <c:pt idx="13449">
                  <c:v>72.099999999999994</c:v>
                </c:pt>
                <c:pt idx="13450">
                  <c:v>72.7</c:v>
                </c:pt>
                <c:pt idx="13451">
                  <c:v>72.5</c:v>
                </c:pt>
                <c:pt idx="13452">
                  <c:v>72.099999999999994</c:v>
                </c:pt>
                <c:pt idx="13453">
                  <c:v>71.8</c:v>
                </c:pt>
                <c:pt idx="13454">
                  <c:v>71.8</c:v>
                </c:pt>
                <c:pt idx="13455">
                  <c:v>71.599999999999994</c:v>
                </c:pt>
                <c:pt idx="13456">
                  <c:v>73.2</c:v>
                </c:pt>
                <c:pt idx="13457">
                  <c:v>72.099999999999994</c:v>
                </c:pt>
                <c:pt idx="13458">
                  <c:v>71.599999999999994</c:v>
                </c:pt>
                <c:pt idx="13459">
                  <c:v>71.8</c:v>
                </c:pt>
                <c:pt idx="13460">
                  <c:v>72</c:v>
                </c:pt>
                <c:pt idx="13461">
                  <c:v>73.2</c:v>
                </c:pt>
                <c:pt idx="13462">
                  <c:v>73.2</c:v>
                </c:pt>
                <c:pt idx="13463">
                  <c:v>73.599999999999994</c:v>
                </c:pt>
                <c:pt idx="13464">
                  <c:v>73.900000000000006</c:v>
                </c:pt>
                <c:pt idx="13465">
                  <c:v>73.599999999999994</c:v>
                </c:pt>
                <c:pt idx="13466">
                  <c:v>74.5</c:v>
                </c:pt>
                <c:pt idx="13467">
                  <c:v>74.5</c:v>
                </c:pt>
                <c:pt idx="13468">
                  <c:v>76.599999999999994</c:v>
                </c:pt>
                <c:pt idx="13469">
                  <c:v>76.3</c:v>
                </c:pt>
                <c:pt idx="13470">
                  <c:v>78.3</c:v>
                </c:pt>
                <c:pt idx="13471">
                  <c:v>79.900000000000006</c:v>
                </c:pt>
                <c:pt idx="13472">
                  <c:v>82</c:v>
                </c:pt>
                <c:pt idx="13473">
                  <c:v>82.8</c:v>
                </c:pt>
                <c:pt idx="13474">
                  <c:v>84.9</c:v>
                </c:pt>
                <c:pt idx="13475">
                  <c:v>84.2</c:v>
                </c:pt>
                <c:pt idx="13476">
                  <c:v>85.8</c:v>
                </c:pt>
                <c:pt idx="13477">
                  <c:v>85.5</c:v>
                </c:pt>
                <c:pt idx="13478">
                  <c:v>84.7</c:v>
                </c:pt>
                <c:pt idx="13479">
                  <c:v>85.3</c:v>
                </c:pt>
                <c:pt idx="13480">
                  <c:v>88.7</c:v>
                </c:pt>
                <c:pt idx="13481">
                  <c:v>86.4</c:v>
                </c:pt>
                <c:pt idx="13482">
                  <c:v>86.7</c:v>
                </c:pt>
                <c:pt idx="13483">
                  <c:v>88.9</c:v>
                </c:pt>
                <c:pt idx="13484">
                  <c:v>91</c:v>
                </c:pt>
                <c:pt idx="13485">
                  <c:v>87.8</c:v>
                </c:pt>
                <c:pt idx="13486">
                  <c:v>89.1</c:v>
                </c:pt>
                <c:pt idx="13487">
                  <c:v>89.1</c:v>
                </c:pt>
                <c:pt idx="13488">
                  <c:v>89.1</c:v>
                </c:pt>
                <c:pt idx="13489">
                  <c:v>90.3</c:v>
                </c:pt>
                <c:pt idx="13490">
                  <c:v>88.7</c:v>
                </c:pt>
                <c:pt idx="13491">
                  <c:v>85.5</c:v>
                </c:pt>
                <c:pt idx="13492">
                  <c:v>83.8</c:v>
                </c:pt>
                <c:pt idx="13493">
                  <c:v>81.099999999999994</c:v>
                </c:pt>
                <c:pt idx="13494">
                  <c:v>75.900000000000006</c:v>
                </c:pt>
                <c:pt idx="13495">
                  <c:v>76.599999999999994</c:v>
                </c:pt>
                <c:pt idx="13496">
                  <c:v>79.2</c:v>
                </c:pt>
                <c:pt idx="13497">
                  <c:v>82.9</c:v>
                </c:pt>
                <c:pt idx="13498">
                  <c:v>85.3</c:v>
                </c:pt>
                <c:pt idx="13499">
                  <c:v>85.6</c:v>
                </c:pt>
                <c:pt idx="13500">
                  <c:v>87.1</c:v>
                </c:pt>
                <c:pt idx="13501">
                  <c:v>89.2</c:v>
                </c:pt>
                <c:pt idx="13502">
                  <c:v>87.1</c:v>
                </c:pt>
                <c:pt idx="13503">
                  <c:v>85.5</c:v>
                </c:pt>
                <c:pt idx="13504">
                  <c:v>84.2</c:v>
                </c:pt>
                <c:pt idx="13505">
                  <c:v>83.8</c:v>
                </c:pt>
                <c:pt idx="13506">
                  <c:v>80.599999999999994</c:v>
                </c:pt>
                <c:pt idx="13507">
                  <c:v>79.5</c:v>
                </c:pt>
                <c:pt idx="13508">
                  <c:v>78.3</c:v>
                </c:pt>
                <c:pt idx="13509">
                  <c:v>77.7</c:v>
                </c:pt>
                <c:pt idx="13510">
                  <c:v>75.900000000000006</c:v>
                </c:pt>
                <c:pt idx="13511">
                  <c:v>75</c:v>
                </c:pt>
                <c:pt idx="13512">
                  <c:v>72.7</c:v>
                </c:pt>
                <c:pt idx="13513">
                  <c:v>72.5</c:v>
                </c:pt>
                <c:pt idx="13514">
                  <c:v>72.7</c:v>
                </c:pt>
                <c:pt idx="13515">
                  <c:v>72.900000000000006</c:v>
                </c:pt>
                <c:pt idx="13516">
                  <c:v>72.5</c:v>
                </c:pt>
                <c:pt idx="13517">
                  <c:v>72.3</c:v>
                </c:pt>
                <c:pt idx="13518">
                  <c:v>72.5</c:v>
                </c:pt>
                <c:pt idx="13519">
                  <c:v>72.5</c:v>
                </c:pt>
                <c:pt idx="13520">
                  <c:v>72.900000000000006</c:v>
                </c:pt>
                <c:pt idx="13521">
                  <c:v>74.099999999999994</c:v>
                </c:pt>
                <c:pt idx="13522">
                  <c:v>72.900000000000006</c:v>
                </c:pt>
                <c:pt idx="13523">
                  <c:v>73.599999999999994</c:v>
                </c:pt>
                <c:pt idx="13524">
                  <c:v>72.900000000000006</c:v>
                </c:pt>
                <c:pt idx="13525">
                  <c:v>72.5</c:v>
                </c:pt>
                <c:pt idx="13526">
                  <c:v>73.900000000000006</c:v>
                </c:pt>
                <c:pt idx="13527">
                  <c:v>74.099999999999994</c:v>
                </c:pt>
                <c:pt idx="13528">
                  <c:v>73</c:v>
                </c:pt>
                <c:pt idx="13529">
                  <c:v>72.7</c:v>
                </c:pt>
                <c:pt idx="13530">
                  <c:v>72.5</c:v>
                </c:pt>
                <c:pt idx="13531">
                  <c:v>73.400000000000006</c:v>
                </c:pt>
                <c:pt idx="13532">
                  <c:v>72.5</c:v>
                </c:pt>
                <c:pt idx="13533">
                  <c:v>72.5</c:v>
                </c:pt>
                <c:pt idx="13534">
                  <c:v>72.099999999999994</c:v>
                </c:pt>
                <c:pt idx="13535">
                  <c:v>73.599999999999994</c:v>
                </c:pt>
                <c:pt idx="13536">
                  <c:v>72.099999999999994</c:v>
                </c:pt>
                <c:pt idx="13537">
                  <c:v>71.8</c:v>
                </c:pt>
                <c:pt idx="13538">
                  <c:v>71.599999999999994</c:v>
                </c:pt>
                <c:pt idx="13539">
                  <c:v>71.599999999999994</c:v>
                </c:pt>
                <c:pt idx="13540">
                  <c:v>72.5</c:v>
                </c:pt>
                <c:pt idx="13541">
                  <c:v>72.099999999999994</c:v>
                </c:pt>
                <c:pt idx="13542">
                  <c:v>71.599999999999994</c:v>
                </c:pt>
                <c:pt idx="13543">
                  <c:v>72.099999999999994</c:v>
                </c:pt>
                <c:pt idx="13544">
                  <c:v>71.599999999999994</c:v>
                </c:pt>
                <c:pt idx="13545">
                  <c:v>71.400000000000006</c:v>
                </c:pt>
                <c:pt idx="13546">
                  <c:v>71.8</c:v>
                </c:pt>
                <c:pt idx="13547">
                  <c:v>72.099999999999994</c:v>
                </c:pt>
                <c:pt idx="13548">
                  <c:v>71.599999999999994</c:v>
                </c:pt>
                <c:pt idx="13549">
                  <c:v>71.599999999999994</c:v>
                </c:pt>
                <c:pt idx="13550">
                  <c:v>71.599999999999994</c:v>
                </c:pt>
                <c:pt idx="13551">
                  <c:v>71.099999999999994</c:v>
                </c:pt>
                <c:pt idx="13552">
                  <c:v>71.099999999999994</c:v>
                </c:pt>
                <c:pt idx="13553">
                  <c:v>72</c:v>
                </c:pt>
                <c:pt idx="13554">
                  <c:v>71.400000000000006</c:v>
                </c:pt>
                <c:pt idx="13555">
                  <c:v>71.8</c:v>
                </c:pt>
                <c:pt idx="13556">
                  <c:v>72.3</c:v>
                </c:pt>
                <c:pt idx="13557">
                  <c:v>72.7</c:v>
                </c:pt>
                <c:pt idx="13558">
                  <c:v>73.2</c:v>
                </c:pt>
                <c:pt idx="13559">
                  <c:v>73.599999999999994</c:v>
                </c:pt>
                <c:pt idx="13560">
                  <c:v>74.099999999999994</c:v>
                </c:pt>
                <c:pt idx="13561">
                  <c:v>74.3</c:v>
                </c:pt>
                <c:pt idx="13562">
                  <c:v>75</c:v>
                </c:pt>
                <c:pt idx="13563">
                  <c:v>75.7</c:v>
                </c:pt>
                <c:pt idx="13564">
                  <c:v>77.2</c:v>
                </c:pt>
                <c:pt idx="13565">
                  <c:v>77.5</c:v>
                </c:pt>
                <c:pt idx="13566">
                  <c:v>80.599999999999994</c:v>
                </c:pt>
                <c:pt idx="13567">
                  <c:v>80.400000000000006</c:v>
                </c:pt>
                <c:pt idx="13568">
                  <c:v>81</c:v>
                </c:pt>
                <c:pt idx="13569">
                  <c:v>84.4</c:v>
                </c:pt>
                <c:pt idx="13570">
                  <c:v>85.5</c:v>
                </c:pt>
                <c:pt idx="13571">
                  <c:v>85.3</c:v>
                </c:pt>
                <c:pt idx="13572">
                  <c:v>85.8</c:v>
                </c:pt>
                <c:pt idx="13573">
                  <c:v>87.1</c:v>
                </c:pt>
                <c:pt idx="13574">
                  <c:v>86.9</c:v>
                </c:pt>
                <c:pt idx="13575">
                  <c:v>89.2</c:v>
                </c:pt>
                <c:pt idx="13576">
                  <c:v>90.3</c:v>
                </c:pt>
                <c:pt idx="13577">
                  <c:v>90.1</c:v>
                </c:pt>
                <c:pt idx="13578">
                  <c:v>90.7</c:v>
                </c:pt>
                <c:pt idx="13579">
                  <c:v>92.8</c:v>
                </c:pt>
                <c:pt idx="13580">
                  <c:v>90.1</c:v>
                </c:pt>
                <c:pt idx="13581">
                  <c:v>92.1</c:v>
                </c:pt>
                <c:pt idx="13582">
                  <c:v>92.1</c:v>
                </c:pt>
                <c:pt idx="13583">
                  <c:v>91.9</c:v>
                </c:pt>
                <c:pt idx="13584">
                  <c:v>92.7</c:v>
                </c:pt>
                <c:pt idx="13585">
                  <c:v>92.3</c:v>
                </c:pt>
                <c:pt idx="13586">
                  <c:v>93.7</c:v>
                </c:pt>
                <c:pt idx="13587">
                  <c:v>86.4</c:v>
                </c:pt>
                <c:pt idx="13588">
                  <c:v>81.099999999999994</c:v>
                </c:pt>
                <c:pt idx="13589">
                  <c:v>77</c:v>
                </c:pt>
                <c:pt idx="13590">
                  <c:v>79</c:v>
                </c:pt>
                <c:pt idx="13591">
                  <c:v>80.2</c:v>
                </c:pt>
                <c:pt idx="13592">
                  <c:v>79.7</c:v>
                </c:pt>
                <c:pt idx="13593">
                  <c:v>81.3</c:v>
                </c:pt>
                <c:pt idx="13594">
                  <c:v>81.7</c:v>
                </c:pt>
                <c:pt idx="13595">
                  <c:v>79.900000000000006</c:v>
                </c:pt>
                <c:pt idx="13596">
                  <c:v>80.400000000000006</c:v>
                </c:pt>
                <c:pt idx="13597">
                  <c:v>81.900000000000006</c:v>
                </c:pt>
                <c:pt idx="13598">
                  <c:v>84.9</c:v>
                </c:pt>
                <c:pt idx="13599">
                  <c:v>85.5</c:v>
                </c:pt>
                <c:pt idx="13600">
                  <c:v>85.5</c:v>
                </c:pt>
                <c:pt idx="13601">
                  <c:v>85.5</c:v>
                </c:pt>
                <c:pt idx="13602">
                  <c:v>85.5</c:v>
                </c:pt>
                <c:pt idx="13603">
                  <c:v>85.5</c:v>
                </c:pt>
                <c:pt idx="13604">
                  <c:v>85.5</c:v>
                </c:pt>
                <c:pt idx="13605">
                  <c:v>85.5</c:v>
                </c:pt>
                <c:pt idx="13606">
                  <c:v>85.5</c:v>
                </c:pt>
                <c:pt idx="13607">
                  <c:v>79.900000000000006</c:v>
                </c:pt>
                <c:pt idx="13608">
                  <c:v>79.5</c:v>
                </c:pt>
                <c:pt idx="13609">
                  <c:v>78.400000000000006</c:v>
                </c:pt>
                <c:pt idx="13610">
                  <c:v>78.400000000000006</c:v>
                </c:pt>
                <c:pt idx="13611">
                  <c:v>78.099999999999994</c:v>
                </c:pt>
                <c:pt idx="13612">
                  <c:v>77.7</c:v>
                </c:pt>
                <c:pt idx="13613">
                  <c:v>78.3</c:v>
                </c:pt>
                <c:pt idx="13614">
                  <c:v>78.099999999999994</c:v>
                </c:pt>
                <c:pt idx="13615">
                  <c:v>79</c:v>
                </c:pt>
                <c:pt idx="13616">
                  <c:v>78.599999999999994</c:v>
                </c:pt>
                <c:pt idx="13617">
                  <c:v>76.8</c:v>
                </c:pt>
                <c:pt idx="13618">
                  <c:v>76.8</c:v>
                </c:pt>
                <c:pt idx="13619">
                  <c:v>76.599999999999994</c:v>
                </c:pt>
                <c:pt idx="13620">
                  <c:v>76.599999999999994</c:v>
                </c:pt>
                <c:pt idx="13621">
                  <c:v>76.599999999999994</c:v>
                </c:pt>
                <c:pt idx="13622">
                  <c:v>76.3</c:v>
                </c:pt>
                <c:pt idx="13623">
                  <c:v>76.3</c:v>
                </c:pt>
                <c:pt idx="13624">
                  <c:v>75.900000000000006</c:v>
                </c:pt>
                <c:pt idx="13625">
                  <c:v>75</c:v>
                </c:pt>
                <c:pt idx="13626">
                  <c:v>74.7</c:v>
                </c:pt>
                <c:pt idx="13627">
                  <c:v>74.7</c:v>
                </c:pt>
                <c:pt idx="13628">
                  <c:v>74.5</c:v>
                </c:pt>
                <c:pt idx="13629">
                  <c:v>74.5</c:v>
                </c:pt>
                <c:pt idx="13630">
                  <c:v>74.3</c:v>
                </c:pt>
                <c:pt idx="13631">
                  <c:v>74.7</c:v>
                </c:pt>
                <c:pt idx="13632">
                  <c:v>75</c:v>
                </c:pt>
                <c:pt idx="13633">
                  <c:v>74.8</c:v>
                </c:pt>
                <c:pt idx="13634">
                  <c:v>74.8</c:v>
                </c:pt>
                <c:pt idx="13635">
                  <c:v>74.7</c:v>
                </c:pt>
                <c:pt idx="13636">
                  <c:v>74.5</c:v>
                </c:pt>
                <c:pt idx="13637">
                  <c:v>74.3</c:v>
                </c:pt>
                <c:pt idx="13638">
                  <c:v>74.3</c:v>
                </c:pt>
                <c:pt idx="13639">
                  <c:v>74.3</c:v>
                </c:pt>
                <c:pt idx="13640">
                  <c:v>74.099999999999994</c:v>
                </c:pt>
                <c:pt idx="13641">
                  <c:v>73.900000000000006</c:v>
                </c:pt>
                <c:pt idx="13642">
                  <c:v>73.8</c:v>
                </c:pt>
                <c:pt idx="13643">
                  <c:v>73.599999999999994</c:v>
                </c:pt>
                <c:pt idx="13644">
                  <c:v>73.900000000000006</c:v>
                </c:pt>
                <c:pt idx="13645">
                  <c:v>73.400000000000006</c:v>
                </c:pt>
                <c:pt idx="13646">
                  <c:v>73.2</c:v>
                </c:pt>
                <c:pt idx="13647">
                  <c:v>72.900000000000006</c:v>
                </c:pt>
                <c:pt idx="13648">
                  <c:v>72.7</c:v>
                </c:pt>
                <c:pt idx="13649">
                  <c:v>72.5</c:v>
                </c:pt>
                <c:pt idx="13650">
                  <c:v>72.099999999999994</c:v>
                </c:pt>
                <c:pt idx="13651">
                  <c:v>73.2</c:v>
                </c:pt>
                <c:pt idx="13652">
                  <c:v>72.3</c:v>
                </c:pt>
                <c:pt idx="13653">
                  <c:v>73.2</c:v>
                </c:pt>
                <c:pt idx="13654">
                  <c:v>74.7</c:v>
                </c:pt>
                <c:pt idx="13655">
                  <c:v>76.3</c:v>
                </c:pt>
                <c:pt idx="13656">
                  <c:v>79.2</c:v>
                </c:pt>
                <c:pt idx="13657">
                  <c:v>80.8</c:v>
                </c:pt>
                <c:pt idx="13658">
                  <c:v>82.4</c:v>
                </c:pt>
                <c:pt idx="13659">
                  <c:v>83.1</c:v>
                </c:pt>
                <c:pt idx="13660">
                  <c:v>85.6</c:v>
                </c:pt>
                <c:pt idx="13661">
                  <c:v>84.2</c:v>
                </c:pt>
                <c:pt idx="13662">
                  <c:v>86.4</c:v>
                </c:pt>
                <c:pt idx="13663">
                  <c:v>86</c:v>
                </c:pt>
                <c:pt idx="13664">
                  <c:v>87.1</c:v>
                </c:pt>
                <c:pt idx="13665">
                  <c:v>89.1</c:v>
                </c:pt>
                <c:pt idx="13666">
                  <c:v>91</c:v>
                </c:pt>
                <c:pt idx="13667">
                  <c:v>82.4</c:v>
                </c:pt>
                <c:pt idx="13668">
                  <c:v>83.7</c:v>
                </c:pt>
                <c:pt idx="13669">
                  <c:v>84.4</c:v>
                </c:pt>
                <c:pt idx="13670">
                  <c:v>85.1</c:v>
                </c:pt>
                <c:pt idx="13671">
                  <c:v>84.9</c:v>
                </c:pt>
                <c:pt idx="13672">
                  <c:v>84.6</c:v>
                </c:pt>
                <c:pt idx="13673">
                  <c:v>84.6</c:v>
                </c:pt>
                <c:pt idx="13674">
                  <c:v>84</c:v>
                </c:pt>
                <c:pt idx="13675">
                  <c:v>85.8</c:v>
                </c:pt>
                <c:pt idx="13676">
                  <c:v>87.1</c:v>
                </c:pt>
                <c:pt idx="13677">
                  <c:v>87.6</c:v>
                </c:pt>
                <c:pt idx="13678">
                  <c:v>85.6</c:v>
                </c:pt>
                <c:pt idx="13679">
                  <c:v>88</c:v>
                </c:pt>
                <c:pt idx="13680">
                  <c:v>89.1</c:v>
                </c:pt>
                <c:pt idx="13681">
                  <c:v>88.2</c:v>
                </c:pt>
                <c:pt idx="13682">
                  <c:v>86.5</c:v>
                </c:pt>
                <c:pt idx="13683">
                  <c:v>86.4</c:v>
                </c:pt>
                <c:pt idx="13684">
                  <c:v>85.5</c:v>
                </c:pt>
                <c:pt idx="13685">
                  <c:v>85.3</c:v>
                </c:pt>
                <c:pt idx="13686">
                  <c:v>87.1</c:v>
                </c:pt>
                <c:pt idx="13687">
                  <c:v>88.5</c:v>
                </c:pt>
                <c:pt idx="13688">
                  <c:v>86.5</c:v>
                </c:pt>
                <c:pt idx="13689">
                  <c:v>83.7</c:v>
                </c:pt>
                <c:pt idx="13690">
                  <c:v>82.8</c:v>
                </c:pt>
                <c:pt idx="13691">
                  <c:v>86.5</c:v>
                </c:pt>
                <c:pt idx="13692">
                  <c:v>85.1</c:v>
                </c:pt>
                <c:pt idx="13693">
                  <c:v>85.1</c:v>
                </c:pt>
                <c:pt idx="13694">
                  <c:v>83.7</c:v>
                </c:pt>
                <c:pt idx="13695">
                  <c:v>83.1</c:v>
                </c:pt>
                <c:pt idx="13696">
                  <c:v>82.9</c:v>
                </c:pt>
                <c:pt idx="13697">
                  <c:v>83.1</c:v>
                </c:pt>
                <c:pt idx="13698">
                  <c:v>82.9</c:v>
                </c:pt>
                <c:pt idx="13699">
                  <c:v>82.2</c:v>
                </c:pt>
                <c:pt idx="13700">
                  <c:v>81.3</c:v>
                </c:pt>
                <c:pt idx="13701">
                  <c:v>80.099999999999994</c:v>
                </c:pt>
                <c:pt idx="13702">
                  <c:v>79.2</c:v>
                </c:pt>
                <c:pt idx="13703">
                  <c:v>77.7</c:v>
                </c:pt>
                <c:pt idx="13704">
                  <c:v>76.8</c:v>
                </c:pt>
                <c:pt idx="13705">
                  <c:v>76.099999999999994</c:v>
                </c:pt>
                <c:pt idx="13706">
                  <c:v>75.599999999999994</c:v>
                </c:pt>
                <c:pt idx="13707">
                  <c:v>75</c:v>
                </c:pt>
                <c:pt idx="13708">
                  <c:v>74.5</c:v>
                </c:pt>
                <c:pt idx="13709">
                  <c:v>73.900000000000006</c:v>
                </c:pt>
                <c:pt idx="13710">
                  <c:v>73.8</c:v>
                </c:pt>
                <c:pt idx="13711">
                  <c:v>73.599999999999994</c:v>
                </c:pt>
                <c:pt idx="13712">
                  <c:v>73.599999999999994</c:v>
                </c:pt>
                <c:pt idx="13713">
                  <c:v>73.599999999999994</c:v>
                </c:pt>
                <c:pt idx="13714">
                  <c:v>73.599999999999994</c:v>
                </c:pt>
                <c:pt idx="13715">
                  <c:v>73.599999999999994</c:v>
                </c:pt>
                <c:pt idx="13716">
                  <c:v>73.599999999999994</c:v>
                </c:pt>
                <c:pt idx="13717">
                  <c:v>73.599999999999994</c:v>
                </c:pt>
                <c:pt idx="13718">
                  <c:v>73.599999999999994</c:v>
                </c:pt>
                <c:pt idx="13719">
                  <c:v>73.599999999999994</c:v>
                </c:pt>
                <c:pt idx="13720">
                  <c:v>73.599999999999994</c:v>
                </c:pt>
                <c:pt idx="13721">
                  <c:v>73.599999999999994</c:v>
                </c:pt>
                <c:pt idx="13722">
                  <c:v>73.599999999999994</c:v>
                </c:pt>
                <c:pt idx="13723">
                  <c:v>73.599999999999994</c:v>
                </c:pt>
                <c:pt idx="13724">
                  <c:v>73.599999999999994</c:v>
                </c:pt>
                <c:pt idx="13725">
                  <c:v>73.599999999999994</c:v>
                </c:pt>
                <c:pt idx="13726">
                  <c:v>73.599999999999994</c:v>
                </c:pt>
                <c:pt idx="13727">
                  <c:v>72.900000000000006</c:v>
                </c:pt>
                <c:pt idx="13728">
                  <c:v>71.8</c:v>
                </c:pt>
                <c:pt idx="13729">
                  <c:v>71.599999999999994</c:v>
                </c:pt>
                <c:pt idx="13730">
                  <c:v>71.599999999999994</c:v>
                </c:pt>
                <c:pt idx="13731">
                  <c:v>71.2</c:v>
                </c:pt>
                <c:pt idx="13732">
                  <c:v>71.2</c:v>
                </c:pt>
                <c:pt idx="13733">
                  <c:v>71.099999999999994</c:v>
                </c:pt>
                <c:pt idx="13734">
                  <c:v>70.7</c:v>
                </c:pt>
                <c:pt idx="13735">
                  <c:v>70.3</c:v>
                </c:pt>
                <c:pt idx="13736">
                  <c:v>71.099999999999994</c:v>
                </c:pt>
                <c:pt idx="13737">
                  <c:v>71.099999999999994</c:v>
                </c:pt>
                <c:pt idx="13738">
                  <c:v>72.3</c:v>
                </c:pt>
                <c:pt idx="13739">
                  <c:v>72.3</c:v>
                </c:pt>
                <c:pt idx="13740">
                  <c:v>70.7</c:v>
                </c:pt>
                <c:pt idx="13741">
                  <c:v>72</c:v>
                </c:pt>
                <c:pt idx="13742">
                  <c:v>70.7</c:v>
                </c:pt>
                <c:pt idx="13743">
                  <c:v>71.599999999999994</c:v>
                </c:pt>
                <c:pt idx="13744">
                  <c:v>71.099999999999994</c:v>
                </c:pt>
                <c:pt idx="13745">
                  <c:v>69.8</c:v>
                </c:pt>
                <c:pt idx="13746">
                  <c:v>67.599999999999994</c:v>
                </c:pt>
                <c:pt idx="13747">
                  <c:v>67.599999999999994</c:v>
                </c:pt>
                <c:pt idx="13748">
                  <c:v>70.900000000000006</c:v>
                </c:pt>
                <c:pt idx="13749">
                  <c:v>71.2</c:v>
                </c:pt>
                <c:pt idx="13750">
                  <c:v>71.2</c:v>
                </c:pt>
                <c:pt idx="13751">
                  <c:v>71.2</c:v>
                </c:pt>
                <c:pt idx="13752">
                  <c:v>71.2</c:v>
                </c:pt>
                <c:pt idx="13753">
                  <c:v>71.2</c:v>
                </c:pt>
                <c:pt idx="13754">
                  <c:v>71.2</c:v>
                </c:pt>
                <c:pt idx="13755">
                  <c:v>71.2</c:v>
                </c:pt>
                <c:pt idx="13756">
                  <c:v>71.2</c:v>
                </c:pt>
                <c:pt idx="13757">
                  <c:v>71.2</c:v>
                </c:pt>
                <c:pt idx="13758">
                  <c:v>71.2</c:v>
                </c:pt>
                <c:pt idx="13759">
                  <c:v>71.2</c:v>
                </c:pt>
                <c:pt idx="13760">
                  <c:v>71.2</c:v>
                </c:pt>
                <c:pt idx="13761">
                  <c:v>71.2</c:v>
                </c:pt>
                <c:pt idx="13762">
                  <c:v>71.2</c:v>
                </c:pt>
                <c:pt idx="13763">
                  <c:v>71.2</c:v>
                </c:pt>
                <c:pt idx="13764">
                  <c:v>71.2</c:v>
                </c:pt>
                <c:pt idx="13765">
                  <c:v>86.4</c:v>
                </c:pt>
                <c:pt idx="13766">
                  <c:v>86</c:v>
                </c:pt>
                <c:pt idx="13767">
                  <c:v>88.3</c:v>
                </c:pt>
                <c:pt idx="13768">
                  <c:v>90.7</c:v>
                </c:pt>
                <c:pt idx="13769">
                  <c:v>91.4</c:v>
                </c:pt>
                <c:pt idx="13770">
                  <c:v>92.7</c:v>
                </c:pt>
                <c:pt idx="13771">
                  <c:v>93.2</c:v>
                </c:pt>
                <c:pt idx="13772">
                  <c:v>92.7</c:v>
                </c:pt>
                <c:pt idx="13773">
                  <c:v>93.2</c:v>
                </c:pt>
                <c:pt idx="13774">
                  <c:v>94.1</c:v>
                </c:pt>
                <c:pt idx="13775">
                  <c:v>94.1</c:v>
                </c:pt>
                <c:pt idx="13776">
                  <c:v>92.8</c:v>
                </c:pt>
                <c:pt idx="13777">
                  <c:v>90</c:v>
                </c:pt>
                <c:pt idx="13778">
                  <c:v>89.8</c:v>
                </c:pt>
                <c:pt idx="13779">
                  <c:v>93</c:v>
                </c:pt>
                <c:pt idx="13780">
                  <c:v>93.9</c:v>
                </c:pt>
                <c:pt idx="13781">
                  <c:v>93.4</c:v>
                </c:pt>
                <c:pt idx="13782">
                  <c:v>93.4</c:v>
                </c:pt>
                <c:pt idx="13783">
                  <c:v>93</c:v>
                </c:pt>
                <c:pt idx="13784">
                  <c:v>93.4</c:v>
                </c:pt>
                <c:pt idx="13785">
                  <c:v>92.8</c:v>
                </c:pt>
                <c:pt idx="13786">
                  <c:v>92.7</c:v>
                </c:pt>
                <c:pt idx="13787">
                  <c:v>92.7</c:v>
                </c:pt>
                <c:pt idx="13788">
                  <c:v>91.9</c:v>
                </c:pt>
                <c:pt idx="13789">
                  <c:v>91.8</c:v>
                </c:pt>
                <c:pt idx="13790">
                  <c:v>91.9</c:v>
                </c:pt>
                <c:pt idx="13791">
                  <c:v>91.2</c:v>
                </c:pt>
                <c:pt idx="13792">
                  <c:v>90.1</c:v>
                </c:pt>
                <c:pt idx="13793">
                  <c:v>82.6</c:v>
                </c:pt>
                <c:pt idx="13794">
                  <c:v>79.5</c:v>
                </c:pt>
                <c:pt idx="13795">
                  <c:v>79.2</c:v>
                </c:pt>
                <c:pt idx="13796">
                  <c:v>79.5</c:v>
                </c:pt>
                <c:pt idx="13797">
                  <c:v>78.8</c:v>
                </c:pt>
                <c:pt idx="13798">
                  <c:v>78.8</c:v>
                </c:pt>
                <c:pt idx="13799">
                  <c:v>80.2</c:v>
                </c:pt>
                <c:pt idx="13800">
                  <c:v>80.099999999999994</c:v>
                </c:pt>
                <c:pt idx="13801">
                  <c:v>80.099999999999994</c:v>
                </c:pt>
                <c:pt idx="13802">
                  <c:v>78.3</c:v>
                </c:pt>
                <c:pt idx="13803">
                  <c:v>78.3</c:v>
                </c:pt>
                <c:pt idx="13804">
                  <c:v>77.900000000000006</c:v>
                </c:pt>
                <c:pt idx="13805">
                  <c:v>77.900000000000006</c:v>
                </c:pt>
                <c:pt idx="13806">
                  <c:v>77</c:v>
                </c:pt>
                <c:pt idx="13807">
                  <c:v>77.5</c:v>
                </c:pt>
                <c:pt idx="13808">
                  <c:v>76.5</c:v>
                </c:pt>
                <c:pt idx="13809">
                  <c:v>75.900000000000006</c:v>
                </c:pt>
                <c:pt idx="13810">
                  <c:v>77</c:v>
                </c:pt>
                <c:pt idx="13811">
                  <c:v>75.599999999999994</c:v>
                </c:pt>
                <c:pt idx="13812">
                  <c:v>75.900000000000006</c:v>
                </c:pt>
                <c:pt idx="13813">
                  <c:v>75.599999999999994</c:v>
                </c:pt>
                <c:pt idx="13814">
                  <c:v>75</c:v>
                </c:pt>
                <c:pt idx="13815">
                  <c:v>74.5</c:v>
                </c:pt>
                <c:pt idx="13816">
                  <c:v>74.5</c:v>
                </c:pt>
                <c:pt idx="13817">
                  <c:v>74.3</c:v>
                </c:pt>
                <c:pt idx="13818">
                  <c:v>74.3</c:v>
                </c:pt>
                <c:pt idx="13819">
                  <c:v>74.8</c:v>
                </c:pt>
                <c:pt idx="13820">
                  <c:v>73.900000000000006</c:v>
                </c:pt>
                <c:pt idx="13821">
                  <c:v>75.2</c:v>
                </c:pt>
                <c:pt idx="13822">
                  <c:v>73.900000000000006</c:v>
                </c:pt>
                <c:pt idx="13823">
                  <c:v>73.599999999999994</c:v>
                </c:pt>
                <c:pt idx="13824">
                  <c:v>73.400000000000006</c:v>
                </c:pt>
                <c:pt idx="13825">
                  <c:v>73.2</c:v>
                </c:pt>
                <c:pt idx="13826">
                  <c:v>73</c:v>
                </c:pt>
                <c:pt idx="13827">
                  <c:v>73</c:v>
                </c:pt>
                <c:pt idx="13828">
                  <c:v>72.900000000000006</c:v>
                </c:pt>
                <c:pt idx="13829">
                  <c:v>72.7</c:v>
                </c:pt>
                <c:pt idx="13830">
                  <c:v>72.5</c:v>
                </c:pt>
                <c:pt idx="13831">
                  <c:v>74.099999999999994</c:v>
                </c:pt>
                <c:pt idx="13832">
                  <c:v>73.2</c:v>
                </c:pt>
                <c:pt idx="13833">
                  <c:v>73</c:v>
                </c:pt>
                <c:pt idx="13834">
                  <c:v>74.8</c:v>
                </c:pt>
                <c:pt idx="13835">
                  <c:v>73.400000000000006</c:v>
                </c:pt>
                <c:pt idx="13836">
                  <c:v>73.900000000000006</c:v>
                </c:pt>
                <c:pt idx="13837">
                  <c:v>73</c:v>
                </c:pt>
                <c:pt idx="13838">
                  <c:v>73</c:v>
                </c:pt>
                <c:pt idx="13839">
                  <c:v>72.099999999999994</c:v>
                </c:pt>
                <c:pt idx="13840">
                  <c:v>73.400000000000006</c:v>
                </c:pt>
                <c:pt idx="13841">
                  <c:v>73.8</c:v>
                </c:pt>
                <c:pt idx="13842">
                  <c:v>73.8</c:v>
                </c:pt>
                <c:pt idx="13843">
                  <c:v>73.8</c:v>
                </c:pt>
                <c:pt idx="13844">
                  <c:v>73.8</c:v>
                </c:pt>
                <c:pt idx="13845">
                  <c:v>73.8</c:v>
                </c:pt>
                <c:pt idx="13846">
                  <c:v>73.8</c:v>
                </c:pt>
                <c:pt idx="13847">
                  <c:v>73.8</c:v>
                </c:pt>
                <c:pt idx="13848">
                  <c:v>73.8</c:v>
                </c:pt>
                <c:pt idx="13849">
                  <c:v>73.8</c:v>
                </c:pt>
                <c:pt idx="13850">
                  <c:v>73.8</c:v>
                </c:pt>
                <c:pt idx="13851">
                  <c:v>73.8</c:v>
                </c:pt>
                <c:pt idx="13852">
                  <c:v>73.8</c:v>
                </c:pt>
                <c:pt idx="13853">
                  <c:v>73.8</c:v>
                </c:pt>
                <c:pt idx="13854">
                  <c:v>73.8</c:v>
                </c:pt>
                <c:pt idx="13855">
                  <c:v>73.8</c:v>
                </c:pt>
                <c:pt idx="13856">
                  <c:v>73.8</c:v>
                </c:pt>
                <c:pt idx="13857">
                  <c:v>88.2</c:v>
                </c:pt>
                <c:pt idx="13858">
                  <c:v>89.4</c:v>
                </c:pt>
                <c:pt idx="13859">
                  <c:v>90.1</c:v>
                </c:pt>
                <c:pt idx="13860">
                  <c:v>90</c:v>
                </c:pt>
                <c:pt idx="13861">
                  <c:v>90.7</c:v>
                </c:pt>
                <c:pt idx="13862">
                  <c:v>92.1</c:v>
                </c:pt>
                <c:pt idx="13863">
                  <c:v>92.8</c:v>
                </c:pt>
                <c:pt idx="13864">
                  <c:v>93</c:v>
                </c:pt>
                <c:pt idx="13865">
                  <c:v>93.7</c:v>
                </c:pt>
                <c:pt idx="13866">
                  <c:v>95.2</c:v>
                </c:pt>
                <c:pt idx="13867">
                  <c:v>95.9</c:v>
                </c:pt>
                <c:pt idx="13868">
                  <c:v>95.7</c:v>
                </c:pt>
                <c:pt idx="13869">
                  <c:v>96.1</c:v>
                </c:pt>
                <c:pt idx="13870">
                  <c:v>96.6</c:v>
                </c:pt>
                <c:pt idx="13871">
                  <c:v>96.8</c:v>
                </c:pt>
                <c:pt idx="13872">
                  <c:v>97.5</c:v>
                </c:pt>
                <c:pt idx="13873">
                  <c:v>97.2</c:v>
                </c:pt>
                <c:pt idx="13874">
                  <c:v>98.4</c:v>
                </c:pt>
                <c:pt idx="13875">
                  <c:v>99.3</c:v>
                </c:pt>
                <c:pt idx="13876">
                  <c:v>98.8</c:v>
                </c:pt>
                <c:pt idx="13877">
                  <c:v>97.3</c:v>
                </c:pt>
                <c:pt idx="13878">
                  <c:v>96.8</c:v>
                </c:pt>
                <c:pt idx="13879">
                  <c:v>94.5</c:v>
                </c:pt>
                <c:pt idx="13880">
                  <c:v>93.2</c:v>
                </c:pt>
                <c:pt idx="13881">
                  <c:v>94.1</c:v>
                </c:pt>
                <c:pt idx="13882">
                  <c:v>93.6</c:v>
                </c:pt>
                <c:pt idx="13883">
                  <c:v>93</c:v>
                </c:pt>
                <c:pt idx="13884">
                  <c:v>91.8</c:v>
                </c:pt>
                <c:pt idx="13885">
                  <c:v>90.5</c:v>
                </c:pt>
                <c:pt idx="13886">
                  <c:v>89.8</c:v>
                </c:pt>
                <c:pt idx="13887">
                  <c:v>88.2</c:v>
                </c:pt>
                <c:pt idx="13888">
                  <c:v>86.2</c:v>
                </c:pt>
                <c:pt idx="13889">
                  <c:v>84.2</c:v>
                </c:pt>
                <c:pt idx="13890">
                  <c:v>82.8</c:v>
                </c:pt>
                <c:pt idx="13891">
                  <c:v>81.3</c:v>
                </c:pt>
                <c:pt idx="13892">
                  <c:v>79.900000000000006</c:v>
                </c:pt>
                <c:pt idx="13893">
                  <c:v>79.2</c:v>
                </c:pt>
                <c:pt idx="13894">
                  <c:v>78.400000000000006</c:v>
                </c:pt>
                <c:pt idx="13895">
                  <c:v>77.5</c:v>
                </c:pt>
                <c:pt idx="13896">
                  <c:v>77.5</c:v>
                </c:pt>
                <c:pt idx="13897">
                  <c:v>77.5</c:v>
                </c:pt>
                <c:pt idx="13898">
                  <c:v>77.5</c:v>
                </c:pt>
                <c:pt idx="13899">
                  <c:v>77.5</c:v>
                </c:pt>
                <c:pt idx="13900">
                  <c:v>77.5</c:v>
                </c:pt>
                <c:pt idx="13901">
                  <c:v>77.5</c:v>
                </c:pt>
                <c:pt idx="13902">
                  <c:v>77.5</c:v>
                </c:pt>
                <c:pt idx="13903">
                  <c:v>77.5</c:v>
                </c:pt>
                <c:pt idx="13904">
                  <c:v>77.5</c:v>
                </c:pt>
                <c:pt idx="13905">
                  <c:v>77.5</c:v>
                </c:pt>
                <c:pt idx="13906">
                  <c:v>77.5</c:v>
                </c:pt>
                <c:pt idx="13907">
                  <c:v>77.5</c:v>
                </c:pt>
                <c:pt idx="13908">
                  <c:v>77.5</c:v>
                </c:pt>
                <c:pt idx="13909">
                  <c:v>77.5</c:v>
                </c:pt>
                <c:pt idx="13910">
                  <c:v>77.5</c:v>
                </c:pt>
                <c:pt idx="13911">
                  <c:v>77.5</c:v>
                </c:pt>
                <c:pt idx="13912">
                  <c:v>77</c:v>
                </c:pt>
                <c:pt idx="13913">
                  <c:v>77</c:v>
                </c:pt>
                <c:pt idx="13914">
                  <c:v>77</c:v>
                </c:pt>
                <c:pt idx="13915">
                  <c:v>77</c:v>
                </c:pt>
                <c:pt idx="13916">
                  <c:v>77.400000000000006</c:v>
                </c:pt>
                <c:pt idx="13917">
                  <c:v>78.099999999999994</c:v>
                </c:pt>
                <c:pt idx="13918">
                  <c:v>76.8</c:v>
                </c:pt>
                <c:pt idx="13919">
                  <c:v>77.900000000000006</c:v>
                </c:pt>
                <c:pt idx="13920">
                  <c:v>76.5</c:v>
                </c:pt>
                <c:pt idx="13921">
                  <c:v>76.5</c:v>
                </c:pt>
                <c:pt idx="13922">
                  <c:v>75.900000000000006</c:v>
                </c:pt>
                <c:pt idx="13923">
                  <c:v>76.8</c:v>
                </c:pt>
                <c:pt idx="13924">
                  <c:v>76.3</c:v>
                </c:pt>
                <c:pt idx="13925">
                  <c:v>76.3</c:v>
                </c:pt>
                <c:pt idx="13926">
                  <c:v>75.599999999999994</c:v>
                </c:pt>
                <c:pt idx="13927">
                  <c:v>76.599999999999994</c:v>
                </c:pt>
                <c:pt idx="13928">
                  <c:v>75.400000000000006</c:v>
                </c:pt>
                <c:pt idx="13929">
                  <c:v>75.599999999999994</c:v>
                </c:pt>
                <c:pt idx="13930">
                  <c:v>75</c:v>
                </c:pt>
                <c:pt idx="13931">
                  <c:v>76.3</c:v>
                </c:pt>
                <c:pt idx="13932">
                  <c:v>76.099999999999994</c:v>
                </c:pt>
                <c:pt idx="13933">
                  <c:v>75.2</c:v>
                </c:pt>
                <c:pt idx="13934">
                  <c:v>71.400000000000006</c:v>
                </c:pt>
                <c:pt idx="13935">
                  <c:v>71.8</c:v>
                </c:pt>
                <c:pt idx="13936">
                  <c:v>72.3</c:v>
                </c:pt>
                <c:pt idx="13937">
                  <c:v>72.3</c:v>
                </c:pt>
                <c:pt idx="13938">
                  <c:v>72.3</c:v>
                </c:pt>
                <c:pt idx="13939">
                  <c:v>72.3</c:v>
                </c:pt>
                <c:pt idx="13940">
                  <c:v>72.3</c:v>
                </c:pt>
                <c:pt idx="13941">
                  <c:v>72.3</c:v>
                </c:pt>
                <c:pt idx="13942">
                  <c:v>72.3</c:v>
                </c:pt>
                <c:pt idx="13943">
                  <c:v>72.3</c:v>
                </c:pt>
                <c:pt idx="13944">
                  <c:v>72.3</c:v>
                </c:pt>
                <c:pt idx="13945">
                  <c:v>72.3</c:v>
                </c:pt>
                <c:pt idx="13946">
                  <c:v>72.3</c:v>
                </c:pt>
                <c:pt idx="13947">
                  <c:v>72.3</c:v>
                </c:pt>
                <c:pt idx="13948">
                  <c:v>72.3</c:v>
                </c:pt>
                <c:pt idx="13949">
                  <c:v>72.3</c:v>
                </c:pt>
                <c:pt idx="13950">
                  <c:v>72.3</c:v>
                </c:pt>
                <c:pt idx="13951">
                  <c:v>72.3</c:v>
                </c:pt>
                <c:pt idx="13952">
                  <c:v>88.2</c:v>
                </c:pt>
                <c:pt idx="13953">
                  <c:v>88.9</c:v>
                </c:pt>
                <c:pt idx="13954">
                  <c:v>89.2</c:v>
                </c:pt>
                <c:pt idx="13955">
                  <c:v>88.5</c:v>
                </c:pt>
                <c:pt idx="13956">
                  <c:v>91.4</c:v>
                </c:pt>
                <c:pt idx="13957">
                  <c:v>91.6</c:v>
                </c:pt>
                <c:pt idx="13958">
                  <c:v>91.2</c:v>
                </c:pt>
                <c:pt idx="13959">
                  <c:v>93.4</c:v>
                </c:pt>
                <c:pt idx="13960">
                  <c:v>95.9</c:v>
                </c:pt>
                <c:pt idx="13961">
                  <c:v>96.4</c:v>
                </c:pt>
                <c:pt idx="13962">
                  <c:v>92.8</c:v>
                </c:pt>
                <c:pt idx="13963">
                  <c:v>89.8</c:v>
                </c:pt>
                <c:pt idx="13964">
                  <c:v>90.3</c:v>
                </c:pt>
                <c:pt idx="13965">
                  <c:v>91</c:v>
                </c:pt>
                <c:pt idx="13966">
                  <c:v>93.2</c:v>
                </c:pt>
                <c:pt idx="13967">
                  <c:v>96.1</c:v>
                </c:pt>
                <c:pt idx="13968">
                  <c:v>95.5</c:v>
                </c:pt>
                <c:pt idx="13969">
                  <c:v>96.1</c:v>
                </c:pt>
                <c:pt idx="13970">
                  <c:v>98.6</c:v>
                </c:pt>
                <c:pt idx="13971">
                  <c:v>98.4</c:v>
                </c:pt>
                <c:pt idx="13972">
                  <c:v>96.4</c:v>
                </c:pt>
                <c:pt idx="13973">
                  <c:v>96.4</c:v>
                </c:pt>
                <c:pt idx="13974">
                  <c:v>97.9</c:v>
                </c:pt>
                <c:pt idx="13975">
                  <c:v>96.8</c:v>
                </c:pt>
                <c:pt idx="13976">
                  <c:v>96.8</c:v>
                </c:pt>
                <c:pt idx="13977">
                  <c:v>96.8</c:v>
                </c:pt>
                <c:pt idx="13978">
                  <c:v>96.4</c:v>
                </c:pt>
                <c:pt idx="13979">
                  <c:v>93.9</c:v>
                </c:pt>
                <c:pt idx="13980">
                  <c:v>90</c:v>
                </c:pt>
                <c:pt idx="13981">
                  <c:v>87.1</c:v>
                </c:pt>
                <c:pt idx="13982">
                  <c:v>84.9</c:v>
                </c:pt>
                <c:pt idx="13983">
                  <c:v>83.5</c:v>
                </c:pt>
                <c:pt idx="13984">
                  <c:v>82.4</c:v>
                </c:pt>
                <c:pt idx="13985">
                  <c:v>81.7</c:v>
                </c:pt>
                <c:pt idx="13986">
                  <c:v>81</c:v>
                </c:pt>
                <c:pt idx="13987">
                  <c:v>80.2</c:v>
                </c:pt>
                <c:pt idx="13988">
                  <c:v>79.7</c:v>
                </c:pt>
                <c:pt idx="13989">
                  <c:v>80.400000000000006</c:v>
                </c:pt>
                <c:pt idx="13990">
                  <c:v>79</c:v>
                </c:pt>
                <c:pt idx="13991">
                  <c:v>80.599999999999994</c:v>
                </c:pt>
                <c:pt idx="13992">
                  <c:v>80.599999999999994</c:v>
                </c:pt>
                <c:pt idx="13993">
                  <c:v>79.5</c:v>
                </c:pt>
                <c:pt idx="13994">
                  <c:v>79.5</c:v>
                </c:pt>
                <c:pt idx="13995">
                  <c:v>78.3</c:v>
                </c:pt>
                <c:pt idx="13996">
                  <c:v>79</c:v>
                </c:pt>
                <c:pt idx="13997">
                  <c:v>77.900000000000006</c:v>
                </c:pt>
                <c:pt idx="13998">
                  <c:v>78.099999999999994</c:v>
                </c:pt>
                <c:pt idx="13999">
                  <c:v>77.900000000000006</c:v>
                </c:pt>
                <c:pt idx="14000">
                  <c:v>77</c:v>
                </c:pt>
                <c:pt idx="14001">
                  <c:v>77.2</c:v>
                </c:pt>
                <c:pt idx="14002">
                  <c:v>76.8</c:v>
                </c:pt>
                <c:pt idx="14003">
                  <c:v>76.8</c:v>
                </c:pt>
                <c:pt idx="14004">
                  <c:v>76.099999999999994</c:v>
                </c:pt>
                <c:pt idx="14005">
                  <c:v>76.099999999999994</c:v>
                </c:pt>
                <c:pt idx="14006">
                  <c:v>75.7</c:v>
                </c:pt>
                <c:pt idx="14007">
                  <c:v>75.400000000000006</c:v>
                </c:pt>
                <c:pt idx="14008">
                  <c:v>75.7</c:v>
                </c:pt>
                <c:pt idx="14009">
                  <c:v>75</c:v>
                </c:pt>
                <c:pt idx="14010">
                  <c:v>74.8</c:v>
                </c:pt>
                <c:pt idx="14011">
                  <c:v>75.599999999999994</c:v>
                </c:pt>
                <c:pt idx="14012">
                  <c:v>74.3</c:v>
                </c:pt>
                <c:pt idx="14013">
                  <c:v>74.099999999999994</c:v>
                </c:pt>
                <c:pt idx="14014">
                  <c:v>73.900000000000006</c:v>
                </c:pt>
                <c:pt idx="14015">
                  <c:v>74.8</c:v>
                </c:pt>
                <c:pt idx="14016">
                  <c:v>74.3</c:v>
                </c:pt>
                <c:pt idx="14017">
                  <c:v>73.8</c:v>
                </c:pt>
                <c:pt idx="14018">
                  <c:v>73.8</c:v>
                </c:pt>
                <c:pt idx="14019">
                  <c:v>73.599999999999994</c:v>
                </c:pt>
                <c:pt idx="14020">
                  <c:v>73.400000000000006</c:v>
                </c:pt>
                <c:pt idx="14021">
                  <c:v>74.7</c:v>
                </c:pt>
                <c:pt idx="14022">
                  <c:v>73.400000000000006</c:v>
                </c:pt>
                <c:pt idx="14023">
                  <c:v>72.900000000000006</c:v>
                </c:pt>
                <c:pt idx="14024">
                  <c:v>72.900000000000006</c:v>
                </c:pt>
                <c:pt idx="14025">
                  <c:v>72.900000000000006</c:v>
                </c:pt>
                <c:pt idx="14026">
                  <c:v>72.900000000000006</c:v>
                </c:pt>
                <c:pt idx="14027">
                  <c:v>70.2</c:v>
                </c:pt>
                <c:pt idx="14028">
                  <c:v>70.2</c:v>
                </c:pt>
                <c:pt idx="14029">
                  <c:v>71.2</c:v>
                </c:pt>
                <c:pt idx="14030">
                  <c:v>71.2</c:v>
                </c:pt>
                <c:pt idx="14031">
                  <c:v>71.2</c:v>
                </c:pt>
                <c:pt idx="14032">
                  <c:v>71.2</c:v>
                </c:pt>
                <c:pt idx="14033">
                  <c:v>71.2</c:v>
                </c:pt>
                <c:pt idx="14034">
                  <c:v>76.8</c:v>
                </c:pt>
                <c:pt idx="14035">
                  <c:v>78.400000000000006</c:v>
                </c:pt>
                <c:pt idx="14036">
                  <c:v>82.2</c:v>
                </c:pt>
                <c:pt idx="14037">
                  <c:v>90.5</c:v>
                </c:pt>
                <c:pt idx="14038">
                  <c:v>90.5</c:v>
                </c:pt>
                <c:pt idx="14039">
                  <c:v>90.7</c:v>
                </c:pt>
                <c:pt idx="14040">
                  <c:v>82.9</c:v>
                </c:pt>
                <c:pt idx="14041">
                  <c:v>83.8</c:v>
                </c:pt>
                <c:pt idx="14042">
                  <c:v>85.5</c:v>
                </c:pt>
                <c:pt idx="14043">
                  <c:v>87.3</c:v>
                </c:pt>
                <c:pt idx="14044">
                  <c:v>88.2</c:v>
                </c:pt>
                <c:pt idx="14045">
                  <c:v>71.2</c:v>
                </c:pt>
                <c:pt idx="14046">
                  <c:v>90.5</c:v>
                </c:pt>
                <c:pt idx="14047">
                  <c:v>91.9</c:v>
                </c:pt>
                <c:pt idx="14048">
                  <c:v>92.8</c:v>
                </c:pt>
                <c:pt idx="14049">
                  <c:v>91.6</c:v>
                </c:pt>
                <c:pt idx="14050">
                  <c:v>89.6</c:v>
                </c:pt>
                <c:pt idx="14051">
                  <c:v>90.7</c:v>
                </c:pt>
                <c:pt idx="14052">
                  <c:v>93.2</c:v>
                </c:pt>
                <c:pt idx="14053">
                  <c:v>94.3</c:v>
                </c:pt>
                <c:pt idx="14054">
                  <c:v>93.7</c:v>
                </c:pt>
                <c:pt idx="14055">
                  <c:v>94.5</c:v>
                </c:pt>
                <c:pt idx="14056">
                  <c:v>96.3</c:v>
                </c:pt>
                <c:pt idx="14057">
                  <c:v>97.3</c:v>
                </c:pt>
                <c:pt idx="14058">
                  <c:v>97</c:v>
                </c:pt>
                <c:pt idx="14059">
                  <c:v>97</c:v>
                </c:pt>
                <c:pt idx="14060">
                  <c:v>97.9</c:v>
                </c:pt>
                <c:pt idx="14061">
                  <c:v>98.2</c:v>
                </c:pt>
                <c:pt idx="14062">
                  <c:v>99.1</c:v>
                </c:pt>
                <c:pt idx="14063">
                  <c:v>100.2</c:v>
                </c:pt>
                <c:pt idx="14064">
                  <c:v>99.9</c:v>
                </c:pt>
                <c:pt idx="14065">
                  <c:v>99.5</c:v>
                </c:pt>
                <c:pt idx="14066">
                  <c:v>100.4</c:v>
                </c:pt>
                <c:pt idx="14067">
                  <c:v>95.4</c:v>
                </c:pt>
                <c:pt idx="14068">
                  <c:v>95.7</c:v>
                </c:pt>
                <c:pt idx="14069">
                  <c:v>96.1</c:v>
                </c:pt>
                <c:pt idx="14070">
                  <c:v>96.1</c:v>
                </c:pt>
                <c:pt idx="14071">
                  <c:v>96.1</c:v>
                </c:pt>
                <c:pt idx="14072">
                  <c:v>96.1</c:v>
                </c:pt>
                <c:pt idx="14073">
                  <c:v>96.1</c:v>
                </c:pt>
                <c:pt idx="14074">
                  <c:v>96.1</c:v>
                </c:pt>
                <c:pt idx="14075">
                  <c:v>96.1</c:v>
                </c:pt>
                <c:pt idx="14076">
                  <c:v>96.1</c:v>
                </c:pt>
                <c:pt idx="14077">
                  <c:v>96.1</c:v>
                </c:pt>
                <c:pt idx="14078">
                  <c:v>96.1</c:v>
                </c:pt>
                <c:pt idx="14079">
                  <c:v>96.1</c:v>
                </c:pt>
                <c:pt idx="14080">
                  <c:v>96.1</c:v>
                </c:pt>
                <c:pt idx="14081">
                  <c:v>96.1</c:v>
                </c:pt>
                <c:pt idx="14082">
                  <c:v>96.1</c:v>
                </c:pt>
                <c:pt idx="14083">
                  <c:v>96.1</c:v>
                </c:pt>
                <c:pt idx="14084">
                  <c:v>96.1</c:v>
                </c:pt>
                <c:pt idx="14085">
                  <c:v>77.400000000000006</c:v>
                </c:pt>
                <c:pt idx="14086">
                  <c:v>78.3</c:v>
                </c:pt>
                <c:pt idx="14087">
                  <c:v>77.7</c:v>
                </c:pt>
                <c:pt idx="14088">
                  <c:v>77.5</c:v>
                </c:pt>
                <c:pt idx="14089">
                  <c:v>77.400000000000006</c:v>
                </c:pt>
                <c:pt idx="14090">
                  <c:v>76.099999999999994</c:v>
                </c:pt>
                <c:pt idx="14091">
                  <c:v>75.400000000000006</c:v>
                </c:pt>
                <c:pt idx="14092">
                  <c:v>75</c:v>
                </c:pt>
                <c:pt idx="14093">
                  <c:v>74.8</c:v>
                </c:pt>
                <c:pt idx="14094">
                  <c:v>74.3</c:v>
                </c:pt>
                <c:pt idx="14095">
                  <c:v>74.3</c:v>
                </c:pt>
                <c:pt idx="14096">
                  <c:v>73.400000000000006</c:v>
                </c:pt>
                <c:pt idx="14097">
                  <c:v>73.599999999999994</c:v>
                </c:pt>
                <c:pt idx="14098">
                  <c:v>73</c:v>
                </c:pt>
                <c:pt idx="14099">
                  <c:v>74.5</c:v>
                </c:pt>
                <c:pt idx="14100">
                  <c:v>73.400000000000006</c:v>
                </c:pt>
                <c:pt idx="14101">
                  <c:v>73</c:v>
                </c:pt>
                <c:pt idx="14102">
                  <c:v>72.900000000000006</c:v>
                </c:pt>
                <c:pt idx="14103">
                  <c:v>73</c:v>
                </c:pt>
                <c:pt idx="14104">
                  <c:v>75</c:v>
                </c:pt>
                <c:pt idx="14105">
                  <c:v>73.599999999999994</c:v>
                </c:pt>
                <c:pt idx="14106">
                  <c:v>72.900000000000006</c:v>
                </c:pt>
                <c:pt idx="14107">
                  <c:v>72.7</c:v>
                </c:pt>
                <c:pt idx="14108">
                  <c:v>72.5</c:v>
                </c:pt>
                <c:pt idx="14109">
                  <c:v>72.5</c:v>
                </c:pt>
                <c:pt idx="14110">
                  <c:v>72.3</c:v>
                </c:pt>
                <c:pt idx="14111">
                  <c:v>73.400000000000006</c:v>
                </c:pt>
                <c:pt idx="14112">
                  <c:v>72</c:v>
                </c:pt>
                <c:pt idx="14113">
                  <c:v>71.8</c:v>
                </c:pt>
                <c:pt idx="14114">
                  <c:v>71.599999999999994</c:v>
                </c:pt>
                <c:pt idx="14115">
                  <c:v>71.599999999999994</c:v>
                </c:pt>
                <c:pt idx="14116">
                  <c:v>71.2</c:v>
                </c:pt>
                <c:pt idx="14117">
                  <c:v>71.2</c:v>
                </c:pt>
                <c:pt idx="14118">
                  <c:v>74.099999999999994</c:v>
                </c:pt>
                <c:pt idx="14119">
                  <c:v>74.099999999999994</c:v>
                </c:pt>
                <c:pt idx="14120">
                  <c:v>72.3</c:v>
                </c:pt>
                <c:pt idx="14121">
                  <c:v>70.900000000000006</c:v>
                </c:pt>
                <c:pt idx="14122">
                  <c:v>71.099999999999994</c:v>
                </c:pt>
                <c:pt idx="14123">
                  <c:v>70.7</c:v>
                </c:pt>
                <c:pt idx="14124">
                  <c:v>70.7</c:v>
                </c:pt>
                <c:pt idx="14125">
                  <c:v>71.2</c:v>
                </c:pt>
                <c:pt idx="14126">
                  <c:v>71.599999999999994</c:v>
                </c:pt>
                <c:pt idx="14127">
                  <c:v>74.099999999999994</c:v>
                </c:pt>
                <c:pt idx="14128">
                  <c:v>77.2</c:v>
                </c:pt>
                <c:pt idx="14129">
                  <c:v>81.099999999999994</c:v>
                </c:pt>
                <c:pt idx="14130">
                  <c:v>81.099999999999994</c:v>
                </c:pt>
                <c:pt idx="14131">
                  <c:v>83.5</c:v>
                </c:pt>
                <c:pt idx="14132">
                  <c:v>85.8</c:v>
                </c:pt>
                <c:pt idx="14133">
                  <c:v>89.6</c:v>
                </c:pt>
                <c:pt idx="14134">
                  <c:v>90.1</c:v>
                </c:pt>
                <c:pt idx="14135">
                  <c:v>81</c:v>
                </c:pt>
                <c:pt idx="14136">
                  <c:v>81.900000000000006</c:v>
                </c:pt>
                <c:pt idx="14137">
                  <c:v>82.8</c:v>
                </c:pt>
                <c:pt idx="14138">
                  <c:v>84.2</c:v>
                </c:pt>
                <c:pt idx="14139">
                  <c:v>85.5</c:v>
                </c:pt>
                <c:pt idx="14140">
                  <c:v>86.5</c:v>
                </c:pt>
                <c:pt idx="14141">
                  <c:v>88.2</c:v>
                </c:pt>
                <c:pt idx="14142">
                  <c:v>88.9</c:v>
                </c:pt>
                <c:pt idx="14143">
                  <c:v>89.8</c:v>
                </c:pt>
                <c:pt idx="14144">
                  <c:v>91.2</c:v>
                </c:pt>
                <c:pt idx="14145">
                  <c:v>91.9</c:v>
                </c:pt>
                <c:pt idx="14146">
                  <c:v>92.8</c:v>
                </c:pt>
                <c:pt idx="14147">
                  <c:v>93.9</c:v>
                </c:pt>
                <c:pt idx="14148">
                  <c:v>94.1</c:v>
                </c:pt>
                <c:pt idx="14149">
                  <c:v>92.8</c:v>
                </c:pt>
                <c:pt idx="14150">
                  <c:v>91</c:v>
                </c:pt>
                <c:pt idx="14151">
                  <c:v>93.9</c:v>
                </c:pt>
                <c:pt idx="14152">
                  <c:v>93.9</c:v>
                </c:pt>
                <c:pt idx="14153">
                  <c:v>93.9</c:v>
                </c:pt>
                <c:pt idx="14154">
                  <c:v>93.9</c:v>
                </c:pt>
                <c:pt idx="14155">
                  <c:v>93.9</c:v>
                </c:pt>
                <c:pt idx="14156">
                  <c:v>93.9</c:v>
                </c:pt>
                <c:pt idx="14157">
                  <c:v>93.9</c:v>
                </c:pt>
                <c:pt idx="14158">
                  <c:v>93.9</c:v>
                </c:pt>
                <c:pt idx="14159">
                  <c:v>93.9</c:v>
                </c:pt>
                <c:pt idx="14160">
                  <c:v>93.9</c:v>
                </c:pt>
                <c:pt idx="14161">
                  <c:v>93.9</c:v>
                </c:pt>
                <c:pt idx="14162">
                  <c:v>93.9</c:v>
                </c:pt>
                <c:pt idx="14163">
                  <c:v>93.9</c:v>
                </c:pt>
                <c:pt idx="14164">
                  <c:v>93.9</c:v>
                </c:pt>
                <c:pt idx="14165">
                  <c:v>93.9</c:v>
                </c:pt>
                <c:pt idx="14166">
                  <c:v>93.9</c:v>
                </c:pt>
                <c:pt idx="14167">
                  <c:v>98.8</c:v>
                </c:pt>
                <c:pt idx="14168">
                  <c:v>98.8</c:v>
                </c:pt>
                <c:pt idx="14169">
                  <c:v>98.8</c:v>
                </c:pt>
                <c:pt idx="14170">
                  <c:v>96.4</c:v>
                </c:pt>
                <c:pt idx="14171">
                  <c:v>92.3</c:v>
                </c:pt>
                <c:pt idx="14172">
                  <c:v>88.2</c:v>
                </c:pt>
                <c:pt idx="14173">
                  <c:v>85.3</c:v>
                </c:pt>
                <c:pt idx="14174">
                  <c:v>83.3</c:v>
                </c:pt>
                <c:pt idx="14175">
                  <c:v>81.7</c:v>
                </c:pt>
                <c:pt idx="14176">
                  <c:v>80.599999999999994</c:v>
                </c:pt>
                <c:pt idx="14177">
                  <c:v>79.3</c:v>
                </c:pt>
                <c:pt idx="14178">
                  <c:v>78.599999999999994</c:v>
                </c:pt>
                <c:pt idx="14179">
                  <c:v>77.900000000000006</c:v>
                </c:pt>
                <c:pt idx="14180">
                  <c:v>77.7</c:v>
                </c:pt>
                <c:pt idx="14181">
                  <c:v>77.2</c:v>
                </c:pt>
                <c:pt idx="14182">
                  <c:v>78.099999999999994</c:v>
                </c:pt>
                <c:pt idx="14183">
                  <c:v>77.2</c:v>
                </c:pt>
                <c:pt idx="14184">
                  <c:v>77</c:v>
                </c:pt>
                <c:pt idx="14185">
                  <c:v>76.099999999999994</c:v>
                </c:pt>
                <c:pt idx="14186">
                  <c:v>76.599999999999994</c:v>
                </c:pt>
                <c:pt idx="14187">
                  <c:v>76.099999999999994</c:v>
                </c:pt>
                <c:pt idx="14188">
                  <c:v>74.8</c:v>
                </c:pt>
                <c:pt idx="14189">
                  <c:v>73.900000000000006</c:v>
                </c:pt>
                <c:pt idx="14190">
                  <c:v>73.400000000000006</c:v>
                </c:pt>
                <c:pt idx="14191">
                  <c:v>73.400000000000006</c:v>
                </c:pt>
                <c:pt idx="14192">
                  <c:v>72.900000000000006</c:v>
                </c:pt>
                <c:pt idx="14193">
                  <c:v>72.5</c:v>
                </c:pt>
                <c:pt idx="14194">
                  <c:v>72.3</c:v>
                </c:pt>
                <c:pt idx="14195">
                  <c:v>72.099999999999994</c:v>
                </c:pt>
                <c:pt idx="14196">
                  <c:v>72.099999999999994</c:v>
                </c:pt>
                <c:pt idx="14197">
                  <c:v>71.8</c:v>
                </c:pt>
                <c:pt idx="14198">
                  <c:v>71.599999999999994</c:v>
                </c:pt>
                <c:pt idx="14199">
                  <c:v>71.400000000000006</c:v>
                </c:pt>
                <c:pt idx="14200">
                  <c:v>70.7</c:v>
                </c:pt>
                <c:pt idx="14201">
                  <c:v>71.099999999999994</c:v>
                </c:pt>
                <c:pt idx="14202">
                  <c:v>70.5</c:v>
                </c:pt>
                <c:pt idx="14203">
                  <c:v>70.3</c:v>
                </c:pt>
                <c:pt idx="14204">
                  <c:v>70.2</c:v>
                </c:pt>
                <c:pt idx="14205">
                  <c:v>70.3</c:v>
                </c:pt>
                <c:pt idx="14206">
                  <c:v>69.8</c:v>
                </c:pt>
                <c:pt idx="14207">
                  <c:v>69.8</c:v>
                </c:pt>
                <c:pt idx="14208">
                  <c:v>69.8</c:v>
                </c:pt>
                <c:pt idx="14209">
                  <c:v>69.8</c:v>
                </c:pt>
                <c:pt idx="14210">
                  <c:v>70.2</c:v>
                </c:pt>
                <c:pt idx="14211">
                  <c:v>69.8</c:v>
                </c:pt>
                <c:pt idx="14212">
                  <c:v>69.400000000000006</c:v>
                </c:pt>
                <c:pt idx="14213">
                  <c:v>69.400000000000006</c:v>
                </c:pt>
                <c:pt idx="14214">
                  <c:v>69.400000000000006</c:v>
                </c:pt>
                <c:pt idx="14215">
                  <c:v>69.400000000000006</c:v>
                </c:pt>
                <c:pt idx="14216">
                  <c:v>69.3</c:v>
                </c:pt>
                <c:pt idx="14217">
                  <c:v>69.400000000000006</c:v>
                </c:pt>
                <c:pt idx="14218">
                  <c:v>71.099999999999994</c:v>
                </c:pt>
                <c:pt idx="14219">
                  <c:v>70.2</c:v>
                </c:pt>
                <c:pt idx="14220">
                  <c:v>70.3</c:v>
                </c:pt>
                <c:pt idx="14221">
                  <c:v>70.7</c:v>
                </c:pt>
                <c:pt idx="14222">
                  <c:v>70.7</c:v>
                </c:pt>
                <c:pt idx="14223">
                  <c:v>74.099999999999994</c:v>
                </c:pt>
                <c:pt idx="14224">
                  <c:v>74.099999999999994</c:v>
                </c:pt>
                <c:pt idx="14225">
                  <c:v>74.7</c:v>
                </c:pt>
                <c:pt idx="14226">
                  <c:v>78.8</c:v>
                </c:pt>
                <c:pt idx="14227">
                  <c:v>82.8</c:v>
                </c:pt>
                <c:pt idx="14228">
                  <c:v>83.5</c:v>
                </c:pt>
                <c:pt idx="14229">
                  <c:v>83.5</c:v>
                </c:pt>
                <c:pt idx="14230">
                  <c:v>85.1</c:v>
                </c:pt>
                <c:pt idx="14231">
                  <c:v>87.6</c:v>
                </c:pt>
                <c:pt idx="14232">
                  <c:v>89.1</c:v>
                </c:pt>
                <c:pt idx="14233">
                  <c:v>89.8</c:v>
                </c:pt>
                <c:pt idx="14234">
                  <c:v>90</c:v>
                </c:pt>
                <c:pt idx="14235">
                  <c:v>91</c:v>
                </c:pt>
                <c:pt idx="14236">
                  <c:v>85.8</c:v>
                </c:pt>
                <c:pt idx="14237">
                  <c:v>86.9</c:v>
                </c:pt>
                <c:pt idx="14238">
                  <c:v>87.8</c:v>
                </c:pt>
                <c:pt idx="14239">
                  <c:v>88.2</c:v>
                </c:pt>
                <c:pt idx="14240">
                  <c:v>89.4</c:v>
                </c:pt>
                <c:pt idx="14241">
                  <c:v>90.3</c:v>
                </c:pt>
                <c:pt idx="14242">
                  <c:v>91.8</c:v>
                </c:pt>
                <c:pt idx="14243">
                  <c:v>91.9</c:v>
                </c:pt>
                <c:pt idx="14244">
                  <c:v>91.9</c:v>
                </c:pt>
                <c:pt idx="14245">
                  <c:v>92.8</c:v>
                </c:pt>
                <c:pt idx="14246">
                  <c:v>92.1</c:v>
                </c:pt>
                <c:pt idx="14247">
                  <c:v>92.1</c:v>
                </c:pt>
                <c:pt idx="14248">
                  <c:v>93.7</c:v>
                </c:pt>
                <c:pt idx="14249">
                  <c:v>94.8</c:v>
                </c:pt>
                <c:pt idx="14250">
                  <c:v>94.6</c:v>
                </c:pt>
                <c:pt idx="14251">
                  <c:v>95</c:v>
                </c:pt>
                <c:pt idx="14252">
                  <c:v>95.2</c:v>
                </c:pt>
                <c:pt idx="14253">
                  <c:v>95</c:v>
                </c:pt>
                <c:pt idx="14254">
                  <c:v>95.4</c:v>
                </c:pt>
                <c:pt idx="14255">
                  <c:v>94.6</c:v>
                </c:pt>
                <c:pt idx="14256">
                  <c:v>96.6</c:v>
                </c:pt>
                <c:pt idx="14257">
                  <c:v>98.6</c:v>
                </c:pt>
                <c:pt idx="14258">
                  <c:v>98.4</c:v>
                </c:pt>
                <c:pt idx="14259">
                  <c:v>98.1</c:v>
                </c:pt>
                <c:pt idx="14260">
                  <c:v>98.6</c:v>
                </c:pt>
                <c:pt idx="14261">
                  <c:v>99</c:v>
                </c:pt>
                <c:pt idx="14262">
                  <c:v>98.6</c:v>
                </c:pt>
                <c:pt idx="14263">
                  <c:v>98.8</c:v>
                </c:pt>
                <c:pt idx="14264">
                  <c:v>98.4</c:v>
                </c:pt>
                <c:pt idx="14265">
                  <c:v>97.3</c:v>
                </c:pt>
                <c:pt idx="14266">
                  <c:v>96.8</c:v>
                </c:pt>
                <c:pt idx="14267">
                  <c:v>93.9</c:v>
                </c:pt>
                <c:pt idx="14268">
                  <c:v>89.4</c:v>
                </c:pt>
                <c:pt idx="14269">
                  <c:v>86.5</c:v>
                </c:pt>
                <c:pt idx="14270">
                  <c:v>84.7</c:v>
                </c:pt>
                <c:pt idx="14271">
                  <c:v>83.1</c:v>
                </c:pt>
                <c:pt idx="14272">
                  <c:v>82.6</c:v>
                </c:pt>
                <c:pt idx="14273">
                  <c:v>81.7</c:v>
                </c:pt>
                <c:pt idx="14274">
                  <c:v>81.099999999999994</c:v>
                </c:pt>
                <c:pt idx="14275">
                  <c:v>80.599999999999994</c:v>
                </c:pt>
                <c:pt idx="14276">
                  <c:v>80.099999999999994</c:v>
                </c:pt>
                <c:pt idx="14277">
                  <c:v>79.7</c:v>
                </c:pt>
                <c:pt idx="14278">
                  <c:v>79.2</c:v>
                </c:pt>
                <c:pt idx="14279">
                  <c:v>78.8</c:v>
                </c:pt>
                <c:pt idx="14280">
                  <c:v>78.3</c:v>
                </c:pt>
                <c:pt idx="14281">
                  <c:v>78.3</c:v>
                </c:pt>
                <c:pt idx="14282">
                  <c:v>77.7</c:v>
                </c:pt>
                <c:pt idx="14283">
                  <c:v>77.400000000000006</c:v>
                </c:pt>
                <c:pt idx="14284">
                  <c:v>76.5</c:v>
                </c:pt>
                <c:pt idx="14285">
                  <c:v>76.5</c:v>
                </c:pt>
                <c:pt idx="14286">
                  <c:v>75.599999999999994</c:v>
                </c:pt>
                <c:pt idx="14287">
                  <c:v>73.8</c:v>
                </c:pt>
                <c:pt idx="14288">
                  <c:v>73.599999999999994</c:v>
                </c:pt>
                <c:pt idx="14289">
                  <c:v>75.400000000000006</c:v>
                </c:pt>
                <c:pt idx="14290">
                  <c:v>74.3</c:v>
                </c:pt>
                <c:pt idx="14291">
                  <c:v>76.5</c:v>
                </c:pt>
                <c:pt idx="14292">
                  <c:v>75.7</c:v>
                </c:pt>
                <c:pt idx="14293">
                  <c:v>74.7</c:v>
                </c:pt>
                <c:pt idx="14294">
                  <c:v>74.7</c:v>
                </c:pt>
                <c:pt idx="14295">
                  <c:v>74.099999999999994</c:v>
                </c:pt>
                <c:pt idx="14296">
                  <c:v>73.900000000000006</c:v>
                </c:pt>
                <c:pt idx="14297">
                  <c:v>74.099999999999994</c:v>
                </c:pt>
                <c:pt idx="14298">
                  <c:v>74.3</c:v>
                </c:pt>
                <c:pt idx="14299">
                  <c:v>73.900000000000006</c:v>
                </c:pt>
                <c:pt idx="14300">
                  <c:v>73.900000000000006</c:v>
                </c:pt>
                <c:pt idx="14301">
                  <c:v>73.8</c:v>
                </c:pt>
                <c:pt idx="14302">
                  <c:v>74.3</c:v>
                </c:pt>
                <c:pt idx="14303">
                  <c:v>73.900000000000006</c:v>
                </c:pt>
                <c:pt idx="14304">
                  <c:v>75</c:v>
                </c:pt>
                <c:pt idx="14305">
                  <c:v>74.5</c:v>
                </c:pt>
                <c:pt idx="14306">
                  <c:v>74.099999999999994</c:v>
                </c:pt>
                <c:pt idx="14307">
                  <c:v>75.599999999999994</c:v>
                </c:pt>
                <c:pt idx="14308">
                  <c:v>74.8</c:v>
                </c:pt>
                <c:pt idx="14309">
                  <c:v>74.099999999999994</c:v>
                </c:pt>
                <c:pt idx="14310">
                  <c:v>75.400000000000006</c:v>
                </c:pt>
                <c:pt idx="14311">
                  <c:v>74.5</c:v>
                </c:pt>
                <c:pt idx="14312">
                  <c:v>74.099999999999994</c:v>
                </c:pt>
                <c:pt idx="14313">
                  <c:v>73.599999999999994</c:v>
                </c:pt>
                <c:pt idx="14314">
                  <c:v>73</c:v>
                </c:pt>
                <c:pt idx="14315">
                  <c:v>72.5</c:v>
                </c:pt>
                <c:pt idx="14316">
                  <c:v>72.5</c:v>
                </c:pt>
                <c:pt idx="14317">
                  <c:v>73.2</c:v>
                </c:pt>
                <c:pt idx="14318">
                  <c:v>76.099999999999994</c:v>
                </c:pt>
                <c:pt idx="14319">
                  <c:v>78.400000000000006</c:v>
                </c:pt>
                <c:pt idx="14320">
                  <c:v>78.400000000000006</c:v>
                </c:pt>
                <c:pt idx="14321">
                  <c:v>78.400000000000006</c:v>
                </c:pt>
                <c:pt idx="14322">
                  <c:v>78.400000000000006</c:v>
                </c:pt>
                <c:pt idx="14323">
                  <c:v>78.400000000000006</c:v>
                </c:pt>
                <c:pt idx="14324">
                  <c:v>78.400000000000006</c:v>
                </c:pt>
                <c:pt idx="14325">
                  <c:v>78.400000000000006</c:v>
                </c:pt>
                <c:pt idx="14326">
                  <c:v>78.400000000000006</c:v>
                </c:pt>
                <c:pt idx="14327">
                  <c:v>78.400000000000006</c:v>
                </c:pt>
                <c:pt idx="14328">
                  <c:v>78.400000000000006</c:v>
                </c:pt>
                <c:pt idx="14329">
                  <c:v>78.400000000000006</c:v>
                </c:pt>
                <c:pt idx="14330">
                  <c:v>78.400000000000006</c:v>
                </c:pt>
                <c:pt idx="14331">
                  <c:v>78.400000000000006</c:v>
                </c:pt>
                <c:pt idx="14332">
                  <c:v>78.400000000000006</c:v>
                </c:pt>
                <c:pt idx="14333">
                  <c:v>78.400000000000006</c:v>
                </c:pt>
                <c:pt idx="14334">
                  <c:v>78.400000000000006</c:v>
                </c:pt>
                <c:pt idx="14335">
                  <c:v>90</c:v>
                </c:pt>
                <c:pt idx="14336">
                  <c:v>90.1</c:v>
                </c:pt>
                <c:pt idx="14337">
                  <c:v>91</c:v>
                </c:pt>
                <c:pt idx="14338">
                  <c:v>91.8</c:v>
                </c:pt>
                <c:pt idx="14339">
                  <c:v>91.8</c:v>
                </c:pt>
                <c:pt idx="14340">
                  <c:v>92.8</c:v>
                </c:pt>
                <c:pt idx="14341">
                  <c:v>93.6</c:v>
                </c:pt>
                <c:pt idx="14342">
                  <c:v>92.7</c:v>
                </c:pt>
                <c:pt idx="14343">
                  <c:v>92.8</c:v>
                </c:pt>
                <c:pt idx="14344">
                  <c:v>92.7</c:v>
                </c:pt>
                <c:pt idx="14345">
                  <c:v>92.8</c:v>
                </c:pt>
                <c:pt idx="14346">
                  <c:v>95.5</c:v>
                </c:pt>
                <c:pt idx="14347">
                  <c:v>96.4</c:v>
                </c:pt>
                <c:pt idx="14348">
                  <c:v>95.9</c:v>
                </c:pt>
                <c:pt idx="14349">
                  <c:v>94.3</c:v>
                </c:pt>
                <c:pt idx="14350">
                  <c:v>92.8</c:v>
                </c:pt>
                <c:pt idx="14351">
                  <c:v>94.1</c:v>
                </c:pt>
                <c:pt idx="14352">
                  <c:v>97.3</c:v>
                </c:pt>
                <c:pt idx="14353">
                  <c:v>98.4</c:v>
                </c:pt>
                <c:pt idx="14354">
                  <c:v>98.1</c:v>
                </c:pt>
                <c:pt idx="14355">
                  <c:v>95.7</c:v>
                </c:pt>
                <c:pt idx="14356">
                  <c:v>95.4</c:v>
                </c:pt>
                <c:pt idx="14357">
                  <c:v>96.1</c:v>
                </c:pt>
                <c:pt idx="14358">
                  <c:v>96.3</c:v>
                </c:pt>
                <c:pt idx="14359">
                  <c:v>95.5</c:v>
                </c:pt>
                <c:pt idx="14360">
                  <c:v>94.1</c:v>
                </c:pt>
                <c:pt idx="14361">
                  <c:v>91.4</c:v>
                </c:pt>
                <c:pt idx="14362">
                  <c:v>89.1</c:v>
                </c:pt>
                <c:pt idx="14363">
                  <c:v>87.8</c:v>
                </c:pt>
                <c:pt idx="14364">
                  <c:v>86.5</c:v>
                </c:pt>
                <c:pt idx="14365">
                  <c:v>85.1</c:v>
                </c:pt>
                <c:pt idx="14366">
                  <c:v>84.2</c:v>
                </c:pt>
                <c:pt idx="14367">
                  <c:v>83.1</c:v>
                </c:pt>
                <c:pt idx="14368">
                  <c:v>82.4</c:v>
                </c:pt>
                <c:pt idx="14369">
                  <c:v>81.900000000000006</c:v>
                </c:pt>
                <c:pt idx="14370">
                  <c:v>81.7</c:v>
                </c:pt>
                <c:pt idx="14371">
                  <c:v>81.099999999999994</c:v>
                </c:pt>
                <c:pt idx="14372">
                  <c:v>82</c:v>
                </c:pt>
                <c:pt idx="14373">
                  <c:v>81</c:v>
                </c:pt>
                <c:pt idx="14374">
                  <c:v>80.400000000000006</c:v>
                </c:pt>
                <c:pt idx="14375">
                  <c:v>80.2</c:v>
                </c:pt>
                <c:pt idx="14376">
                  <c:v>78.099999999999994</c:v>
                </c:pt>
                <c:pt idx="14377">
                  <c:v>79</c:v>
                </c:pt>
                <c:pt idx="14378">
                  <c:v>77.7</c:v>
                </c:pt>
                <c:pt idx="14379">
                  <c:v>77.2</c:v>
                </c:pt>
                <c:pt idx="14380">
                  <c:v>76.099999999999994</c:v>
                </c:pt>
                <c:pt idx="14381">
                  <c:v>75.599999999999994</c:v>
                </c:pt>
                <c:pt idx="14382">
                  <c:v>76.099999999999994</c:v>
                </c:pt>
                <c:pt idx="14383">
                  <c:v>75.2</c:v>
                </c:pt>
                <c:pt idx="14384">
                  <c:v>74.5</c:v>
                </c:pt>
                <c:pt idx="14385">
                  <c:v>73.900000000000006</c:v>
                </c:pt>
                <c:pt idx="14386">
                  <c:v>73.8</c:v>
                </c:pt>
                <c:pt idx="14387">
                  <c:v>73.400000000000006</c:v>
                </c:pt>
                <c:pt idx="14388">
                  <c:v>73.599999999999994</c:v>
                </c:pt>
                <c:pt idx="14389">
                  <c:v>72.7</c:v>
                </c:pt>
                <c:pt idx="14390">
                  <c:v>72.5</c:v>
                </c:pt>
                <c:pt idx="14391">
                  <c:v>72.7</c:v>
                </c:pt>
                <c:pt idx="14392">
                  <c:v>72.099999999999994</c:v>
                </c:pt>
                <c:pt idx="14393">
                  <c:v>72.3</c:v>
                </c:pt>
                <c:pt idx="14394">
                  <c:v>72.3</c:v>
                </c:pt>
                <c:pt idx="14395">
                  <c:v>73.900000000000006</c:v>
                </c:pt>
                <c:pt idx="14396">
                  <c:v>73</c:v>
                </c:pt>
                <c:pt idx="14397">
                  <c:v>73</c:v>
                </c:pt>
                <c:pt idx="14398">
                  <c:v>73</c:v>
                </c:pt>
                <c:pt idx="14399">
                  <c:v>72.3</c:v>
                </c:pt>
                <c:pt idx="14400">
                  <c:v>72.3</c:v>
                </c:pt>
                <c:pt idx="14401">
                  <c:v>72.3</c:v>
                </c:pt>
                <c:pt idx="14402">
                  <c:v>72</c:v>
                </c:pt>
                <c:pt idx="14403">
                  <c:v>72.7</c:v>
                </c:pt>
                <c:pt idx="14404">
                  <c:v>72.7</c:v>
                </c:pt>
                <c:pt idx="14405">
                  <c:v>68.900000000000006</c:v>
                </c:pt>
                <c:pt idx="14406">
                  <c:v>69.400000000000006</c:v>
                </c:pt>
                <c:pt idx="14407">
                  <c:v>73.8</c:v>
                </c:pt>
                <c:pt idx="14408">
                  <c:v>77.7</c:v>
                </c:pt>
                <c:pt idx="14409">
                  <c:v>77.7</c:v>
                </c:pt>
                <c:pt idx="14410">
                  <c:v>80.099999999999994</c:v>
                </c:pt>
                <c:pt idx="14411">
                  <c:v>82.9</c:v>
                </c:pt>
                <c:pt idx="14412">
                  <c:v>84.6</c:v>
                </c:pt>
                <c:pt idx="14413">
                  <c:v>84.7</c:v>
                </c:pt>
                <c:pt idx="14414">
                  <c:v>86</c:v>
                </c:pt>
                <c:pt idx="14415">
                  <c:v>71.400000000000006</c:v>
                </c:pt>
                <c:pt idx="14416">
                  <c:v>71.400000000000006</c:v>
                </c:pt>
                <c:pt idx="14417">
                  <c:v>71.400000000000006</c:v>
                </c:pt>
                <c:pt idx="14418">
                  <c:v>71.400000000000006</c:v>
                </c:pt>
                <c:pt idx="14419">
                  <c:v>71.400000000000006</c:v>
                </c:pt>
                <c:pt idx="14420">
                  <c:v>71.400000000000006</c:v>
                </c:pt>
                <c:pt idx="14421">
                  <c:v>71.400000000000006</c:v>
                </c:pt>
                <c:pt idx="14422">
                  <c:v>71.400000000000006</c:v>
                </c:pt>
                <c:pt idx="14423">
                  <c:v>71.400000000000006</c:v>
                </c:pt>
                <c:pt idx="14424">
                  <c:v>87.3</c:v>
                </c:pt>
                <c:pt idx="14425">
                  <c:v>88.2</c:v>
                </c:pt>
                <c:pt idx="14426">
                  <c:v>90</c:v>
                </c:pt>
                <c:pt idx="14427">
                  <c:v>90.3</c:v>
                </c:pt>
                <c:pt idx="14428">
                  <c:v>90</c:v>
                </c:pt>
                <c:pt idx="14429">
                  <c:v>90.5</c:v>
                </c:pt>
                <c:pt idx="14430">
                  <c:v>90.9</c:v>
                </c:pt>
                <c:pt idx="14431">
                  <c:v>92.7</c:v>
                </c:pt>
                <c:pt idx="14432">
                  <c:v>93.4</c:v>
                </c:pt>
                <c:pt idx="14433">
                  <c:v>92.1</c:v>
                </c:pt>
                <c:pt idx="14434">
                  <c:v>91.9</c:v>
                </c:pt>
                <c:pt idx="14435">
                  <c:v>93.6</c:v>
                </c:pt>
                <c:pt idx="14436">
                  <c:v>92.8</c:v>
                </c:pt>
                <c:pt idx="14437">
                  <c:v>93</c:v>
                </c:pt>
                <c:pt idx="14438">
                  <c:v>95.4</c:v>
                </c:pt>
                <c:pt idx="14439">
                  <c:v>96.6</c:v>
                </c:pt>
                <c:pt idx="14440">
                  <c:v>96.8</c:v>
                </c:pt>
                <c:pt idx="14441">
                  <c:v>96.3</c:v>
                </c:pt>
                <c:pt idx="14442">
                  <c:v>96.3</c:v>
                </c:pt>
                <c:pt idx="14443">
                  <c:v>97.9</c:v>
                </c:pt>
                <c:pt idx="14444">
                  <c:v>97.3</c:v>
                </c:pt>
                <c:pt idx="14445">
                  <c:v>96.6</c:v>
                </c:pt>
                <c:pt idx="14446">
                  <c:v>95.7</c:v>
                </c:pt>
                <c:pt idx="14447">
                  <c:v>95.5</c:v>
                </c:pt>
                <c:pt idx="14448">
                  <c:v>94.6</c:v>
                </c:pt>
                <c:pt idx="14449">
                  <c:v>94.8</c:v>
                </c:pt>
                <c:pt idx="14450">
                  <c:v>94.8</c:v>
                </c:pt>
                <c:pt idx="14451">
                  <c:v>90.1</c:v>
                </c:pt>
                <c:pt idx="14452">
                  <c:v>88.2</c:v>
                </c:pt>
                <c:pt idx="14453">
                  <c:v>84.6</c:v>
                </c:pt>
                <c:pt idx="14454">
                  <c:v>79.900000000000006</c:v>
                </c:pt>
                <c:pt idx="14455">
                  <c:v>79</c:v>
                </c:pt>
                <c:pt idx="14456">
                  <c:v>78.099999999999994</c:v>
                </c:pt>
                <c:pt idx="14457">
                  <c:v>76.599999999999994</c:v>
                </c:pt>
                <c:pt idx="14458">
                  <c:v>77.7</c:v>
                </c:pt>
                <c:pt idx="14459">
                  <c:v>77</c:v>
                </c:pt>
                <c:pt idx="14460">
                  <c:v>77.2</c:v>
                </c:pt>
                <c:pt idx="14461">
                  <c:v>76.599999999999994</c:v>
                </c:pt>
                <c:pt idx="14462">
                  <c:v>76.099999999999994</c:v>
                </c:pt>
                <c:pt idx="14463">
                  <c:v>76.099999999999994</c:v>
                </c:pt>
                <c:pt idx="14464">
                  <c:v>75.7</c:v>
                </c:pt>
                <c:pt idx="14465">
                  <c:v>75</c:v>
                </c:pt>
                <c:pt idx="14466">
                  <c:v>75</c:v>
                </c:pt>
                <c:pt idx="14467">
                  <c:v>74.8</c:v>
                </c:pt>
                <c:pt idx="14468">
                  <c:v>74.8</c:v>
                </c:pt>
                <c:pt idx="14469">
                  <c:v>74.099999999999994</c:v>
                </c:pt>
                <c:pt idx="14470">
                  <c:v>74.099999999999994</c:v>
                </c:pt>
                <c:pt idx="14471">
                  <c:v>74.099999999999994</c:v>
                </c:pt>
                <c:pt idx="14472">
                  <c:v>75.900000000000006</c:v>
                </c:pt>
                <c:pt idx="14473">
                  <c:v>75</c:v>
                </c:pt>
                <c:pt idx="14474">
                  <c:v>74.099999999999994</c:v>
                </c:pt>
                <c:pt idx="14475">
                  <c:v>73.400000000000006</c:v>
                </c:pt>
                <c:pt idx="14476">
                  <c:v>72.900000000000006</c:v>
                </c:pt>
                <c:pt idx="14477">
                  <c:v>74.099999999999994</c:v>
                </c:pt>
                <c:pt idx="14478">
                  <c:v>72.900000000000006</c:v>
                </c:pt>
                <c:pt idx="14479">
                  <c:v>72.099999999999994</c:v>
                </c:pt>
                <c:pt idx="14480">
                  <c:v>72</c:v>
                </c:pt>
                <c:pt idx="14481">
                  <c:v>72.900000000000006</c:v>
                </c:pt>
                <c:pt idx="14482">
                  <c:v>72</c:v>
                </c:pt>
                <c:pt idx="14483">
                  <c:v>71.400000000000006</c:v>
                </c:pt>
                <c:pt idx="14484">
                  <c:v>71.099999999999994</c:v>
                </c:pt>
                <c:pt idx="14485">
                  <c:v>70.7</c:v>
                </c:pt>
                <c:pt idx="14486">
                  <c:v>70.900000000000006</c:v>
                </c:pt>
                <c:pt idx="14487">
                  <c:v>70.900000000000006</c:v>
                </c:pt>
                <c:pt idx="14488">
                  <c:v>70.900000000000006</c:v>
                </c:pt>
                <c:pt idx="14489">
                  <c:v>72.3</c:v>
                </c:pt>
                <c:pt idx="14490">
                  <c:v>72.3</c:v>
                </c:pt>
                <c:pt idx="14491">
                  <c:v>70.3</c:v>
                </c:pt>
                <c:pt idx="14492">
                  <c:v>70</c:v>
                </c:pt>
                <c:pt idx="14493">
                  <c:v>70</c:v>
                </c:pt>
                <c:pt idx="14494">
                  <c:v>70.5</c:v>
                </c:pt>
                <c:pt idx="14495">
                  <c:v>71.8</c:v>
                </c:pt>
                <c:pt idx="14496">
                  <c:v>74.3</c:v>
                </c:pt>
                <c:pt idx="14497">
                  <c:v>77.2</c:v>
                </c:pt>
                <c:pt idx="14498">
                  <c:v>80.400000000000006</c:v>
                </c:pt>
                <c:pt idx="14499">
                  <c:v>84.4</c:v>
                </c:pt>
                <c:pt idx="14500">
                  <c:v>84</c:v>
                </c:pt>
                <c:pt idx="14501">
                  <c:v>87.8</c:v>
                </c:pt>
                <c:pt idx="14502">
                  <c:v>89.2</c:v>
                </c:pt>
                <c:pt idx="14503">
                  <c:v>91.2</c:v>
                </c:pt>
                <c:pt idx="14504">
                  <c:v>80.8</c:v>
                </c:pt>
                <c:pt idx="14505">
                  <c:v>81.900000000000006</c:v>
                </c:pt>
                <c:pt idx="14506">
                  <c:v>82.8</c:v>
                </c:pt>
                <c:pt idx="14507">
                  <c:v>84</c:v>
                </c:pt>
                <c:pt idx="14508">
                  <c:v>85.8</c:v>
                </c:pt>
                <c:pt idx="14509">
                  <c:v>86.5</c:v>
                </c:pt>
                <c:pt idx="14510">
                  <c:v>87.8</c:v>
                </c:pt>
                <c:pt idx="14511">
                  <c:v>88.9</c:v>
                </c:pt>
                <c:pt idx="14512">
                  <c:v>89.2</c:v>
                </c:pt>
                <c:pt idx="14513">
                  <c:v>90.1</c:v>
                </c:pt>
                <c:pt idx="14514">
                  <c:v>91.2</c:v>
                </c:pt>
                <c:pt idx="14515">
                  <c:v>92.3</c:v>
                </c:pt>
                <c:pt idx="14516">
                  <c:v>92.8</c:v>
                </c:pt>
                <c:pt idx="14517">
                  <c:v>93.2</c:v>
                </c:pt>
                <c:pt idx="14518">
                  <c:v>93</c:v>
                </c:pt>
                <c:pt idx="14519">
                  <c:v>92.5</c:v>
                </c:pt>
                <c:pt idx="14520">
                  <c:v>92.3</c:v>
                </c:pt>
                <c:pt idx="14521">
                  <c:v>93.6</c:v>
                </c:pt>
                <c:pt idx="14522">
                  <c:v>94.8</c:v>
                </c:pt>
                <c:pt idx="14523">
                  <c:v>94.8</c:v>
                </c:pt>
                <c:pt idx="14524">
                  <c:v>96.1</c:v>
                </c:pt>
                <c:pt idx="14525">
                  <c:v>95.7</c:v>
                </c:pt>
                <c:pt idx="14526">
                  <c:v>94.1</c:v>
                </c:pt>
                <c:pt idx="14527">
                  <c:v>93.9</c:v>
                </c:pt>
                <c:pt idx="14528">
                  <c:v>95.9</c:v>
                </c:pt>
                <c:pt idx="14529">
                  <c:v>97</c:v>
                </c:pt>
                <c:pt idx="14530">
                  <c:v>95.4</c:v>
                </c:pt>
                <c:pt idx="14531">
                  <c:v>95.2</c:v>
                </c:pt>
                <c:pt idx="14532">
                  <c:v>96.6</c:v>
                </c:pt>
                <c:pt idx="14533">
                  <c:v>95.7</c:v>
                </c:pt>
                <c:pt idx="14534">
                  <c:v>95.7</c:v>
                </c:pt>
                <c:pt idx="14535">
                  <c:v>97.3</c:v>
                </c:pt>
                <c:pt idx="14536">
                  <c:v>97</c:v>
                </c:pt>
                <c:pt idx="14537">
                  <c:v>92.8</c:v>
                </c:pt>
                <c:pt idx="14538">
                  <c:v>74.7</c:v>
                </c:pt>
                <c:pt idx="14539">
                  <c:v>73.599999999999994</c:v>
                </c:pt>
                <c:pt idx="14540">
                  <c:v>72.900000000000006</c:v>
                </c:pt>
                <c:pt idx="14541">
                  <c:v>73.599999999999994</c:v>
                </c:pt>
                <c:pt idx="14542">
                  <c:v>73.599999999999994</c:v>
                </c:pt>
                <c:pt idx="14543">
                  <c:v>73.400000000000006</c:v>
                </c:pt>
                <c:pt idx="14544">
                  <c:v>72.5</c:v>
                </c:pt>
                <c:pt idx="14545">
                  <c:v>72.5</c:v>
                </c:pt>
                <c:pt idx="14546">
                  <c:v>72.099999999999994</c:v>
                </c:pt>
                <c:pt idx="14547">
                  <c:v>72.099999999999994</c:v>
                </c:pt>
                <c:pt idx="14548">
                  <c:v>72.099999999999994</c:v>
                </c:pt>
                <c:pt idx="14549">
                  <c:v>72.099999999999994</c:v>
                </c:pt>
                <c:pt idx="14550">
                  <c:v>72</c:v>
                </c:pt>
                <c:pt idx="14551">
                  <c:v>71.099999999999994</c:v>
                </c:pt>
                <c:pt idx="14552">
                  <c:v>71.099999999999994</c:v>
                </c:pt>
                <c:pt idx="14553">
                  <c:v>71.099999999999994</c:v>
                </c:pt>
                <c:pt idx="14554">
                  <c:v>73.2</c:v>
                </c:pt>
                <c:pt idx="14555">
                  <c:v>73.2</c:v>
                </c:pt>
                <c:pt idx="14556">
                  <c:v>72.5</c:v>
                </c:pt>
                <c:pt idx="14557">
                  <c:v>69.400000000000006</c:v>
                </c:pt>
                <c:pt idx="14558">
                  <c:v>69.599999999999994</c:v>
                </c:pt>
                <c:pt idx="14559">
                  <c:v>70.2</c:v>
                </c:pt>
                <c:pt idx="14560">
                  <c:v>70.7</c:v>
                </c:pt>
                <c:pt idx="14561">
                  <c:v>70.7</c:v>
                </c:pt>
                <c:pt idx="14562">
                  <c:v>70.7</c:v>
                </c:pt>
                <c:pt idx="14563">
                  <c:v>70.7</c:v>
                </c:pt>
                <c:pt idx="14564">
                  <c:v>70.7</c:v>
                </c:pt>
                <c:pt idx="14565">
                  <c:v>70.7</c:v>
                </c:pt>
                <c:pt idx="14566">
                  <c:v>70.7</c:v>
                </c:pt>
                <c:pt idx="14567">
                  <c:v>70.7</c:v>
                </c:pt>
                <c:pt idx="14568">
                  <c:v>70.7</c:v>
                </c:pt>
                <c:pt idx="14569">
                  <c:v>70.7</c:v>
                </c:pt>
                <c:pt idx="14570">
                  <c:v>70.7</c:v>
                </c:pt>
                <c:pt idx="14571">
                  <c:v>90</c:v>
                </c:pt>
                <c:pt idx="14572">
                  <c:v>90</c:v>
                </c:pt>
                <c:pt idx="14573">
                  <c:v>82.8</c:v>
                </c:pt>
                <c:pt idx="14574">
                  <c:v>83.5</c:v>
                </c:pt>
                <c:pt idx="14575">
                  <c:v>84.7</c:v>
                </c:pt>
                <c:pt idx="14576">
                  <c:v>86</c:v>
                </c:pt>
                <c:pt idx="14577">
                  <c:v>87.8</c:v>
                </c:pt>
                <c:pt idx="14578">
                  <c:v>70.7</c:v>
                </c:pt>
                <c:pt idx="14579">
                  <c:v>70.7</c:v>
                </c:pt>
                <c:pt idx="14580">
                  <c:v>89.8</c:v>
                </c:pt>
                <c:pt idx="14581">
                  <c:v>90.1</c:v>
                </c:pt>
                <c:pt idx="14582">
                  <c:v>91</c:v>
                </c:pt>
                <c:pt idx="14583">
                  <c:v>91.6</c:v>
                </c:pt>
                <c:pt idx="14584">
                  <c:v>91.6</c:v>
                </c:pt>
                <c:pt idx="14585">
                  <c:v>92.5</c:v>
                </c:pt>
                <c:pt idx="14586">
                  <c:v>92.7</c:v>
                </c:pt>
                <c:pt idx="14587">
                  <c:v>92.1</c:v>
                </c:pt>
                <c:pt idx="14588">
                  <c:v>90.9</c:v>
                </c:pt>
                <c:pt idx="14589">
                  <c:v>90.5</c:v>
                </c:pt>
                <c:pt idx="14590">
                  <c:v>92.5</c:v>
                </c:pt>
                <c:pt idx="14591">
                  <c:v>93.6</c:v>
                </c:pt>
                <c:pt idx="14592">
                  <c:v>92.3</c:v>
                </c:pt>
                <c:pt idx="14593">
                  <c:v>90.7</c:v>
                </c:pt>
                <c:pt idx="14594">
                  <c:v>90.3</c:v>
                </c:pt>
                <c:pt idx="14595">
                  <c:v>90</c:v>
                </c:pt>
                <c:pt idx="14596">
                  <c:v>89.8</c:v>
                </c:pt>
                <c:pt idx="14597">
                  <c:v>91.6</c:v>
                </c:pt>
                <c:pt idx="14598">
                  <c:v>92.8</c:v>
                </c:pt>
                <c:pt idx="14599">
                  <c:v>93.4</c:v>
                </c:pt>
                <c:pt idx="14600">
                  <c:v>91.8</c:v>
                </c:pt>
                <c:pt idx="14601">
                  <c:v>88.7</c:v>
                </c:pt>
                <c:pt idx="14602">
                  <c:v>87.8</c:v>
                </c:pt>
                <c:pt idx="14603">
                  <c:v>91.9</c:v>
                </c:pt>
                <c:pt idx="14604">
                  <c:v>91.8</c:v>
                </c:pt>
                <c:pt idx="14605">
                  <c:v>91.8</c:v>
                </c:pt>
                <c:pt idx="14606">
                  <c:v>91.8</c:v>
                </c:pt>
                <c:pt idx="14607">
                  <c:v>91.8</c:v>
                </c:pt>
                <c:pt idx="14608">
                  <c:v>91.8</c:v>
                </c:pt>
                <c:pt idx="14609">
                  <c:v>91.8</c:v>
                </c:pt>
                <c:pt idx="14610">
                  <c:v>91.8</c:v>
                </c:pt>
                <c:pt idx="14611">
                  <c:v>91.8</c:v>
                </c:pt>
                <c:pt idx="14612">
                  <c:v>91.8</c:v>
                </c:pt>
                <c:pt idx="14613">
                  <c:v>82.6</c:v>
                </c:pt>
                <c:pt idx="14614">
                  <c:v>82</c:v>
                </c:pt>
                <c:pt idx="14615">
                  <c:v>83.8</c:v>
                </c:pt>
                <c:pt idx="14616">
                  <c:v>85.5</c:v>
                </c:pt>
                <c:pt idx="14617">
                  <c:v>83.3</c:v>
                </c:pt>
                <c:pt idx="14618">
                  <c:v>82.6</c:v>
                </c:pt>
                <c:pt idx="14619">
                  <c:v>82</c:v>
                </c:pt>
                <c:pt idx="14620">
                  <c:v>82.8</c:v>
                </c:pt>
                <c:pt idx="14621">
                  <c:v>81.900000000000006</c:v>
                </c:pt>
                <c:pt idx="14622">
                  <c:v>81.3</c:v>
                </c:pt>
                <c:pt idx="14623">
                  <c:v>81.900000000000006</c:v>
                </c:pt>
                <c:pt idx="14624">
                  <c:v>81.099999999999994</c:v>
                </c:pt>
                <c:pt idx="14625">
                  <c:v>81.900000000000006</c:v>
                </c:pt>
                <c:pt idx="14626">
                  <c:v>78.099999999999994</c:v>
                </c:pt>
                <c:pt idx="14627">
                  <c:v>76.099999999999994</c:v>
                </c:pt>
                <c:pt idx="14628">
                  <c:v>75.599999999999994</c:v>
                </c:pt>
                <c:pt idx="14629">
                  <c:v>74.3</c:v>
                </c:pt>
                <c:pt idx="14630">
                  <c:v>74.099999999999994</c:v>
                </c:pt>
                <c:pt idx="14631">
                  <c:v>74.099999999999994</c:v>
                </c:pt>
                <c:pt idx="14632">
                  <c:v>75.2</c:v>
                </c:pt>
                <c:pt idx="14633">
                  <c:v>74.5</c:v>
                </c:pt>
                <c:pt idx="14634">
                  <c:v>73.8</c:v>
                </c:pt>
                <c:pt idx="14635">
                  <c:v>73.400000000000006</c:v>
                </c:pt>
                <c:pt idx="14636">
                  <c:v>73.2</c:v>
                </c:pt>
                <c:pt idx="14637">
                  <c:v>73.8</c:v>
                </c:pt>
                <c:pt idx="14638">
                  <c:v>75.599999999999994</c:v>
                </c:pt>
                <c:pt idx="14639">
                  <c:v>73.400000000000006</c:v>
                </c:pt>
                <c:pt idx="14640">
                  <c:v>74.8</c:v>
                </c:pt>
                <c:pt idx="14641">
                  <c:v>73.599999999999994</c:v>
                </c:pt>
                <c:pt idx="14642">
                  <c:v>73</c:v>
                </c:pt>
                <c:pt idx="14643">
                  <c:v>72.7</c:v>
                </c:pt>
                <c:pt idx="14644">
                  <c:v>73.400000000000006</c:v>
                </c:pt>
                <c:pt idx="14645">
                  <c:v>72.5</c:v>
                </c:pt>
                <c:pt idx="14646">
                  <c:v>72.3</c:v>
                </c:pt>
                <c:pt idx="14647">
                  <c:v>72.3</c:v>
                </c:pt>
                <c:pt idx="14648">
                  <c:v>72.099999999999994</c:v>
                </c:pt>
                <c:pt idx="14649">
                  <c:v>73.599999999999994</c:v>
                </c:pt>
                <c:pt idx="14650">
                  <c:v>72.5</c:v>
                </c:pt>
                <c:pt idx="14651">
                  <c:v>71.8</c:v>
                </c:pt>
                <c:pt idx="14652">
                  <c:v>71.400000000000006</c:v>
                </c:pt>
                <c:pt idx="14653">
                  <c:v>71.400000000000006</c:v>
                </c:pt>
                <c:pt idx="14654">
                  <c:v>71.2</c:v>
                </c:pt>
                <c:pt idx="14655">
                  <c:v>71.400000000000006</c:v>
                </c:pt>
                <c:pt idx="14656">
                  <c:v>73</c:v>
                </c:pt>
                <c:pt idx="14657">
                  <c:v>71.599999999999994</c:v>
                </c:pt>
                <c:pt idx="14658">
                  <c:v>71.400000000000006</c:v>
                </c:pt>
                <c:pt idx="14659">
                  <c:v>71.8</c:v>
                </c:pt>
                <c:pt idx="14660">
                  <c:v>72.7</c:v>
                </c:pt>
                <c:pt idx="14661">
                  <c:v>72.7</c:v>
                </c:pt>
                <c:pt idx="14662">
                  <c:v>73.2</c:v>
                </c:pt>
                <c:pt idx="14663">
                  <c:v>74.099999999999994</c:v>
                </c:pt>
                <c:pt idx="14664">
                  <c:v>74.7</c:v>
                </c:pt>
                <c:pt idx="14665">
                  <c:v>75.400000000000006</c:v>
                </c:pt>
                <c:pt idx="14666">
                  <c:v>76.8</c:v>
                </c:pt>
                <c:pt idx="14667">
                  <c:v>77.2</c:v>
                </c:pt>
                <c:pt idx="14668">
                  <c:v>78.8</c:v>
                </c:pt>
                <c:pt idx="14669">
                  <c:v>79.5</c:v>
                </c:pt>
                <c:pt idx="14670">
                  <c:v>79.5</c:v>
                </c:pt>
                <c:pt idx="14671">
                  <c:v>80.400000000000006</c:v>
                </c:pt>
                <c:pt idx="14672">
                  <c:v>82.6</c:v>
                </c:pt>
                <c:pt idx="14673">
                  <c:v>82</c:v>
                </c:pt>
                <c:pt idx="14674">
                  <c:v>86.2</c:v>
                </c:pt>
                <c:pt idx="14675">
                  <c:v>87.1</c:v>
                </c:pt>
                <c:pt idx="14676">
                  <c:v>86.4</c:v>
                </c:pt>
                <c:pt idx="14677">
                  <c:v>86.7</c:v>
                </c:pt>
                <c:pt idx="14678">
                  <c:v>87.4</c:v>
                </c:pt>
                <c:pt idx="14679">
                  <c:v>88.2</c:v>
                </c:pt>
                <c:pt idx="14680">
                  <c:v>90.5</c:v>
                </c:pt>
                <c:pt idx="14681">
                  <c:v>93.7</c:v>
                </c:pt>
                <c:pt idx="14682">
                  <c:v>85.8</c:v>
                </c:pt>
                <c:pt idx="14683">
                  <c:v>86.2</c:v>
                </c:pt>
                <c:pt idx="14684">
                  <c:v>86.5</c:v>
                </c:pt>
                <c:pt idx="14685">
                  <c:v>86.7</c:v>
                </c:pt>
                <c:pt idx="14686">
                  <c:v>86.9</c:v>
                </c:pt>
                <c:pt idx="14687">
                  <c:v>88.3</c:v>
                </c:pt>
                <c:pt idx="14688">
                  <c:v>89.6</c:v>
                </c:pt>
                <c:pt idx="14689">
                  <c:v>89.1</c:v>
                </c:pt>
                <c:pt idx="14690">
                  <c:v>87.4</c:v>
                </c:pt>
                <c:pt idx="14691">
                  <c:v>90</c:v>
                </c:pt>
                <c:pt idx="14692">
                  <c:v>91.6</c:v>
                </c:pt>
                <c:pt idx="14693">
                  <c:v>89.2</c:v>
                </c:pt>
                <c:pt idx="14694">
                  <c:v>87.8</c:v>
                </c:pt>
                <c:pt idx="14695">
                  <c:v>89.8</c:v>
                </c:pt>
                <c:pt idx="14696">
                  <c:v>90.5</c:v>
                </c:pt>
                <c:pt idx="14697">
                  <c:v>90.3</c:v>
                </c:pt>
                <c:pt idx="14698">
                  <c:v>90.1</c:v>
                </c:pt>
                <c:pt idx="14699">
                  <c:v>88.2</c:v>
                </c:pt>
                <c:pt idx="14700">
                  <c:v>86.9</c:v>
                </c:pt>
                <c:pt idx="14701">
                  <c:v>85.6</c:v>
                </c:pt>
                <c:pt idx="14702">
                  <c:v>84</c:v>
                </c:pt>
                <c:pt idx="14703">
                  <c:v>83.7</c:v>
                </c:pt>
                <c:pt idx="14704">
                  <c:v>80.8</c:v>
                </c:pt>
                <c:pt idx="14705">
                  <c:v>76.5</c:v>
                </c:pt>
                <c:pt idx="14706">
                  <c:v>74.8</c:v>
                </c:pt>
                <c:pt idx="14707">
                  <c:v>74.5</c:v>
                </c:pt>
                <c:pt idx="14708">
                  <c:v>74.099999999999994</c:v>
                </c:pt>
                <c:pt idx="14709">
                  <c:v>74.099999999999994</c:v>
                </c:pt>
                <c:pt idx="14710">
                  <c:v>74.099999999999994</c:v>
                </c:pt>
                <c:pt idx="14711">
                  <c:v>74.099999999999994</c:v>
                </c:pt>
                <c:pt idx="14712">
                  <c:v>75.900000000000006</c:v>
                </c:pt>
                <c:pt idx="14713">
                  <c:v>75.900000000000006</c:v>
                </c:pt>
                <c:pt idx="14714">
                  <c:v>76.599999999999994</c:v>
                </c:pt>
                <c:pt idx="14715">
                  <c:v>75.599999999999994</c:v>
                </c:pt>
                <c:pt idx="14716">
                  <c:v>75.2</c:v>
                </c:pt>
                <c:pt idx="14717">
                  <c:v>75</c:v>
                </c:pt>
                <c:pt idx="14718">
                  <c:v>74.7</c:v>
                </c:pt>
                <c:pt idx="14719">
                  <c:v>75</c:v>
                </c:pt>
                <c:pt idx="14720">
                  <c:v>74.099999999999994</c:v>
                </c:pt>
                <c:pt idx="14721">
                  <c:v>73.900000000000006</c:v>
                </c:pt>
                <c:pt idx="14722">
                  <c:v>73.8</c:v>
                </c:pt>
                <c:pt idx="14723">
                  <c:v>73.400000000000006</c:v>
                </c:pt>
                <c:pt idx="14724">
                  <c:v>73.900000000000006</c:v>
                </c:pt>
                <c:pt idx="14725">
                  <c:v>74.7</c:v>
                </c:pt>
                <c:pt idx="14726">
                  <c:v>73.8</c:v>
                </c:pt>
                <c:pt idx="14727">
                  <c:v>73.400000000000006</c:v>
                </c:pt>
                <c:pt idx="14728">
                  <c:v>75</c:v>
                </c:pt>
                <c:pt idx="14729">
                  <c:v>73.8</c:v>
                </c:pt>
                <c:pt idx="14730">
                  <c:v>73.2</c:v>
                </c:pt>
                <c:pt idx="14731">
                  <c:v>72.7</c:v>
                </c:pt>
                <c:pt idx="14732">
                  <c:v>72.5</c:v>
                </c:pt>
                <c:pt idx="14733">
                  <c:v>73.900000000000006</c:v>
                </c:pt>
                <c:pt idx="14734">
                  <c:v>73.599999999999994</c:v>
                </c:pt>
                <c:pt idx="14735">
                  <c:v>74.3</c:v>
                </c:pt>
                <c:pt idx="14736">
                  <c:v>73.8</c:v>
                </c:pt>
                <c:pt idx="14737">
                  <c:v>73.400000000000006</c:v>
                </c:pt>
                <c:pt idx="14738">
                  <c:v>73</c:v>
                </c:pt>
                <c:pt idx="14739">
                  <c:v>72.900000000000006</c:v>
                </c:pt>
                <c:pt idx="14740">
                  <c:v>72.7</c:v>
                </c:pt>
                <c:pt idx="14741">
                  <c:v>73.400000000000006</c:v>
                </c:pt>
                <c:pt idx="14742">
                  <c:v>72.3</c:v>
                </c:pt>
                <c:pt idx="14743">
                  <c:v>72.099999999999994</c:v>
                </c:pt>
                <c:pt idx="14744">
                  <c:v>72.099999999999994</c:v>
                </c:pt>
                <c:pt idx="14745">
                  <c:v>72.099999999999994</c:v>
                </c:pt>
                <c:pt idx="14746">
                  <c:v>72.099999999999994</c:v>
                </c:pt>
                <c:pt idx="14747">
                  <c:v>71.599999999999994</c:v>
                </c:pt>
                <c:pt idx="14748">
                  <c:v>71.400000000000006</c:v>
                </c:pt>
                <c:pt idx="14749">
                  <c:v>71.2</c:v>
                </c:pt>
                <c:pt idx="14750">
                  <c:v>71.2</c:v>
                </c:pt>
                <c:pt idx="14751">
                  <c:v>71.099999999999994</c:v>
                </c:pt>
                <c:pt idx="14752">
                  <c:v>70.7</c:v>
                </c:pt>
                <c:pt idx="14753">
                  <c:v>70.3</c:v>
                </c:pt>
                <c:pt idx="14754">
                  <c:v>70.2</c:v>
                </c:pt>
                <c:pt idx="14755">
                  <c:v>70.5</c:v>
                </c:pt>
                <c:pt idx="14756">
                  <c:v>71.2</c:v>
                </c:pt>
                <c:pt idx="14757">
                  <c:v>73.599999999999994</c:v>
                </c:pt>
                <c:pt idx="14758">
                  <c:v>74.5</c:v>
                </c:pt>
                <c:pt idx="14759">
                  <c:v>73.900000000000006</c:v>
                </c:pt>
                <c:pt idx="14760">
                  <c:v>73.599999999999994</c:v>
                </c:pt>
                <c:pt idx="14761">
                  <c:v>74.7</c:v>
                </c:pt>
                <c:pt idx="14762">
                  <c:v>77.5</c:v>
                </c:pt>
                <c:pt idx="14763">
                  <c:v>79.5</c:v>
                </c:pt>
                <c:pt idx="14764">
                  <c:v>80.599999999999994</c:v>
                </c:pt>
                <c:pt idx="14765">
                  <c:v>79.7</c:v>
                </c:pt>
                <c:pt idx="14766">
                  <c:v>79.3</c:v>
                </c:pt>
                <c:pt idx="14767">
                  <c:v>81.3</c:v>
                </c:pt>
                <c:pt idx="14768">
                  <c:v>82.6</c:v>
                </c:pt>
                <c:pt idx="14769">
                  <c:v>84.6</c:v>
                </c:pt>
                <c:pt idx="14770">
                  <c:v>86.7</c:v>
                </c:pt>
                <c:pt idx="14771">
                  <c:v>86.5</c:v>
                </c:pt>
                <c:pt idx="14772">
                  <c:v>87.6</c:v>
                </c:pt>
                <c:pt idx="14773">
                  <c:v>88</c:v>
                </c:pt>
                <c:pt idx="14774">
                  <c:v>86.5</c:v>
                </c:pt>
                <c:pt idx="14775">
                  <c:v>84.9</c:v>
                </c:pt>
                <c:pt idx="14776">
                  <c:v>84.6</c:v>
                </c:pt>
                <c:pt idx="14777">
                  <c:v>87.4</c:v>
                </c:pt>
                <c:pt idx="14778">
                  <c:v>90.9</c:v>
                </c:pt>
                <c:pt idx="14779">
                  <c:v>90.5</c:v>
                </c:pt>
                <c:pt idx="14780">
                  <c:v>84.7</c:v>
                </c:pt>
                <c:pt idx="14781">
                  <c:v>86.4</c:v>
                </c:pt>
                <c:pt idx="14782">
                  <c:v>86.9</c:v>
                </c:pt>
                <c:pt idx="14783">
                  <c:v>86.9</c:v>
                </c:pt>
                <c:pt idx="14784">
                  <c:v>86.5</c:v>
                </c:pt>
                <c:pt idx="14785">
                  <c:v>86.9</c:v>
                </c:pt>
                <c:pt idx="14786">
                  <c:v>88</c:v>
                </c:pt>
                <c:pt idx="14787">
                  <c:v>88.3</c:v>
                </c:pt>
                <c:pt idx="14788">
                  <c:v>88.9</c:v>
                </c:pt>
                <c:pt idx="14789">
                  <c:v>93.4</c:v>
                </c:pt>
                <c:pt idx="14790">
                  <c:v>89.2</c:v>
                </c:pt>
                <c:pt idx="14791">
                  <c:v>89.6</c:v>
                </c:pt>
                <c:pt idx="14792">
                  <c:v>91</c:v>
                </c:pt>
                <c:pt idx="14793">
                  <c:v>91</c:v>
                </c:pt>
                <c:pt idx="14794">
                  <c:v>89.6</c:v>
                </c:pt>
                <c:pt idx="14795">
                  <c:v>89.2</c:v>
                </c:pt>
                <c:pt idx="14796">
                  <c:v>88.9</c:v>
                </c:pt>
                <c:pt idx="14797">
                  <c:v>87.3</c:v>
                </c:pt>
                <c:pt idx="14798">
                  <c:v>86.9</c:v>
                </c:pt>
                <c:pt idx="14799">
                  <c:v>86.2</c:v>
                </c:pt>
                <c:pt idx="14800">
                  <c:v>84.2</c:v>
                </c:pt>
                <c:pt idx="14801">
                  <c:v>82.2</c:v>
                </c:pt>
                <c:pt idx="14802">
                  <c:v>80.8</c:v>
                </c:pt>
                <c:pt idx="14803">
                  <c:v>79.5</c:v>
                </c:pt>
                <c:pt idx="14804">
                  <c:v>78.8</c:v>
                </c:pt>
                <c:pt idx="14805">
                  <c:v>77.5</c:v>
                </c:pt>
                <c:pt idx="14806">
                  <c:v>77</c:v>
                </c:pt>
                <c:pt idx="14807">
                  <c:v>79</c:v>
                </c:pt>
                <c:pt idx="14808">
                  <c:v>78.099999999999994</c:v>
                </c:pt>
                <c:pt idx="14809">
                  <c:v>77.2</c:v>
                </c:pt>
                <c:pt idx="14810">
                  <c:v>76.5</c:v>
                </c:pt>
                <c:pt idx="14811">
                  <c:v>75.7</c:v>
                </c:pt>
                <c:pt idx="14812">
                  <c:v>75.599999999999994</c:v>
                </c:pt>
                <c:pt idx="14813">
                  <c:v>75.900000000000006</c:v>
                </c:pt>
                <c:pt idx="14814">
                  <c:v>76.3</c:v>
                </c:pt>
                <c:pt idx="14815">
                  <c:v>75.900000000000006</c:v>
                </c:pt>
                <c:pt idx="14816">
                  <c:v>75.400000000000006</c:v>
                </c:pt>
                <c:pt idx="14817">
                  <c:v>75</c:v>
                </c:pt>
                <c:pt idx="14818">
                  <c:v>74.3</c:v>
                </c:pt>
                <c:pt idx="14819">
                  <c:v>73.8</c:v>
                </c:pt>
                <c:pt idx="14820">
                  <c:v>73.599999999999994</c:v>
                </c:pt>
                <c:pt idx="14821">
                  <c:v>73.599999999999994</c:v>
                </c:pt>
                <c:pt idx="14822">
                  <c:v>73.599999999999994</c:v>
                </c:pt>
                <c:pt idx="14823">
                  <c:v>73.599999999999994</c:v>
                </c:pt>
                <c:pt idx="14824">
                  <c:v>73</c:v>
                </c:pt>
                <c:pt idx="14825">
                  <c:v>72.900000000000006</c:v>
                </c:pt>
                <c:pt idx="14826">
                  <c:v>72.900000000000006</c:v>
                </c:pt>
                <c:pt idx="14827">
                  <c:v>74.3</c:v>
                </c:pt>
                <c:pt idx="14828">
                  <c:v>73</c:v>
                </c:pt>
                <c:pt idx="14829">
                  <c:v>72.5</c:v>
                </c:pt>
                <c:pt idx="14830">
                  <c:v>72.5</c:v>
                </c:pt>
                <c:pt idx="14831">
                  <c:v>72.099999999999994</c:v>
                </c:pt>
                <c:pt idx="14832">
                  <c:v>71.8</c:v>
                </c:pt>
                <c:pt idx="14833">
                  <c:v>71.599999999999994</c:v>
                </c:pt>
                <c:pt idx="14834">
                  <c:v>72</c:v>
                </c:pt>
                <c:pt idx="14835">
                  <c:v>71.400000000000006</c:v>
                </c:pt>
                <c:pt idx="14836">
                  <c:v>71.400000000000006</c:v>
                </c:pt>
                <c:pt idx="14837">
                  <c:v>70.7</c:v>
                </c:pt>
                <c:pt idx="14838">
                  <c:v>70.5</c:v>
                </c:pt>
                <c:pt idx="14839">
                  <c:v>70.3</c:v>
                </c:pt>
                <c:pt idx="14840">
                  <c:v>70.2</c:v>
                </c:pt>
                <c:pt idx="14841">
                  <c:v>70.7</c:v>
                </c:pt>
                <c:pt idx="14842">
                  <c:v>70.900000000000006</c:v>
                </c:pt>
                <c:pt idx="14843">
                  <c:v>71.2</c:v>
                </c:pt>
                <c:pt idx="14844">
                  <c:v>71.2</c:v>
                </c:pt>
                <c:pt idx="14845">
                  <c:v>70.900000000000006</c:v>
                </c:pt>
                <c:pt idx="14846">
                  <c:v>70.5</c:v>
                </c:pt>
                <c:pt idx="14847">
                  <c:v>70.3</c:v>
                </c:pt>
                <c:pt idx="14848">
                  <c:v>70.5</c:v>
                </c:pt>
                <c:pt idx="14849">
                  <c:v>71.599999999999994</c:v>
                </c:pt>
                <c:pt idx="14850">
                  <c:v>70.900000000000006</c:v>
                </c:pt>
                <c:pt idx="14851">
                  <c:v>71.8</c:v>
                </c:pt>
                <c:pt idx="14852">
                  <c:v>73.400000000000006</c:v>
                </c:pt>
                <c:pt idx="14853">
                  <c:v>75.900000000000006</c:v>
                </c:pt>
                <c:pt idx="14854">
                  <c:v>77.400000000000006</c:v>
                </c:pt>
                <c:pt idx="14855">
                  <c:v>78.099999999999994</c:v>
                </c:pt>
                <c:pt idx="14856">
                  <c:v>79.900000000000006</c:v>
                </c:pt>
                <c:pt idx="14857">
                  <c:v>81.7</c:v>
                </c:pt>
                <c:pt idx="14858">
                  <c:v>82.9</c:v>
                </c:pt>
                <c:pt idx="14859">
                  <c:v>84</c:v>
                </c:pt>
                <c:pt idx="14860">
                  <c:v>85.6</c:v>
                </c:pt>
                <c:pt idx="14861">
                  <c:v>85.5</c:v>
                </c:pt>
                <c:pt idx="14862">
                  <c:v>85.5</c:v>
                </c:pt>
                <c:pt idx="14863">
                  <c:v>85.8</c:v>
                </c:pt>
                <c:pt idx="14864">
                  <c:v>86.7</c:v>
                </c:pt>
                <c:pt idx="14865">
                  <c:v>86.9</c:v>
                </c:pt>
                <c:pt idx="14866">
                  <c:v>89.4</c:v>
                </c:pt>
                <c:pt idx="14867">
                  <c:v>89.8</c:v>
                </c:pt>
                <c:pt idx="14868">
                  <c:v>90.1</c:v>
                </c:pt>
                <c:pt idx="14869">
                  <c:v>90.1</c:v>
                </c:pt>
                <c:pt idx="14870">
                  <c:v>92.1</c:v>
                </c:pt>
                <c:pt idx="14871">
                  <c:v>90.3</c:v>
                </c:pt>
                <c:pt idx="14872">
                  <c:v>91.4</c:v>
                </c:pt>
                <c:pt idx="14873">
                  <c:v>88.2</c:v>
                </c:pt>
                <c:pt idx="14874">
                  <c:v>88.2</c:v>
                </c:pt>
                <c:pt idx="14875">
                  <c:v>88.9</c:v>
                </c:pt>
                <c:pt idx="14876">
                  <c:v>89.1</c:v>
                </c:pt>
                <c:pt idx="14877">
                  <c:v>88.7</c:v>
                </c:pt>
                <c:pt idx="14878">
                  <c:v>89.4</c:v>
                </c:pt>
                <c:pt idx="14879">
                  <c:v>91</c:v>
                </c:pt>
                <c:pt idx="14880">
                  <c:v>92.1</c:v>
                </c:pt>
                <c:pt idx="14881">
                  <c:v>91.8</c:v>
                </c:pt>
                <c:pt idx="14882">
                  <c:v>91.8</c:v>
                </c:pt>
                <c:pt idx="14883">
                  <c:v>91.2</c:v>
                </c:pt>
                <c:pt idx="14884">
                  <c:v>91.6</c:v>
                </c:pt>
                <c:pt idx="14885">
                  <c:v>92.7</c:v>
                </c:pt>
                <c:pt idx="14886">
                  <c:v>93</c:v>
                </c:pt>
                <c:pt idx="14887">
                  <c:v>91.4</c:v>
                </c:pt>
                <c:pt idx="14888">
                  <c:v>88.9</c:v>
                </c:pt>
                <c:pt idx="14889">
                  <c:v>87.3</c:v>
                </c:pt>
                <c:pt idx="14890">
                  <c:v>88.5</c:v>
                </c:pt>
                <c:pt idx="14891">
                  <c:v>91.4</c:v>
                </c:pt>
                <c:pt idx="14892">
                  <c:v>93</c:v>
                </c:pt>
                <c:pt idx="14893">
                  <c:v>92.3</c:v>
                </c:pt>
                <c:pt idx="14894">
                  <c:v>90</c:v>
                </c:pt>
                <c:pt idx="14895">
                  <c:v>91</c:v>
                </c:pt>
                <c:pt idx="14896">
                  <c:v>85.5</c:v>
                </c:pt>
                <c:pt idx="14897">
                  <c:v>83.8</c:v>
                </c:pt>
                <c:pt idx="14898">
                  <c:v>82.2</c:v>
                </c:pt>
                <c:pt idx="14899">
                  <c:v>81.099999999999994</c:v>
                </c:pt>
                <c:pt idx="14900">
                  <c:v>79.900000000000006</c:v>
                </c:pt>
                <c:pt idx="14901">
                  <c:v>78.8</c:v>
                </c:pt>
                <c:pt idx="14902">
                  <c:v>78.099999999999994</c:v>
                </c:pt>
                <c:pt idx="14903">
                  <c:v>77.7</c:v>
                </c:pt>
                <c:pt idx="14904">
                  <c:v>80.8</c:v>
                </c:pt>
                <c:pt idx="14905">
                  <c:v>78.8</c:v>
                </c:pt>
                <c:pt idx="14906">
                  <c:v>77.7</c:v>
                </c:pt>
                <c:pt idx="14907">
                  <c:v>77.5</c:v>
                </c:pt>
                <c:pt idx="14908">
                  <c:v>76.8</c:v>
                </c:pt>
                <c:pt idx="14909">
                  <c:v>76.599999999999994</c:v>
                </c:pt>
                <c:pt idx="14910">
                  <c:v>76.5</c:v>
                </c:pt>
                <c:pt idx="14911">
                  <c:v>76.3</c:v>
                </c:pt>
                <c:pt idx="14912">
                  <c:v>76.3</c:v>
                </c:pt>
                <c:pt idx="14913">
                  <c:v>76.3</c:v>
                </c:pt>
                <c:pt idx="14914">
                  <c:v>75.7</c:v>
                </c:pt>
                <c:pt idx="14915">
                  <c:v>74.7</c:v>
                </c:pt>
                <c:pt idx="14916">
                  <c:v>74.3</c:v>
                </c:pt>
                <c:pt idx="14917">
                  <c:v>73.400000000000006</c:v>
                </c:pt>
                <c:pt idx="14918">
                  <c:v>72.900000000000006</c:v>
                </c:pt>
                <c:pt idx="14919">
                  <c:v>72.099999999999994</c:v>
                </c:pt>
                <c:pt idx="14920">
                  <c:v>72.7</c:v>
                </c:pt>
                <c:pt idx="14921">
                  <c:v>72</c:v>
                </c:pt>
                <c:pt idx="14922">
                  <c:v>71.099999999999994</c:v>
                </c:pt>
                <c:pt idx="14923">
                  <c:v>70.7</c:v>
                </c:pt>
                <c:pt idx="14924">
                  <c:v>70.5</c:v>
                </c:pt>
                <c:pt idx="14925">
                  <c:v>71.599999999999994</c:v>
                </c:pt>
                <c:pt idx="14926">
                  <c:v>70.7</c:v>
                </c:pt>
                <c:pt idx="14927">
                  <c:v>70</c:v>
                </c:pt>
                <c:pt idx="14928">
                  <c:v>70</c:v>
                </c:pt>
                <c:pt idx="14929">
                  <c:v>69.599999999999994</c:v>
                </c:pt>
                <c:pt idx="14930">
                  <c:v>70.900000000000006</c:v>
                </c:pt>
                <c:pt idx="14931">
                  <c:v>70.7</c:v>
                </c:pt>
                <c:pt idx="14932">
                  <c:v>69.599999999999994</c:v>
                </c:pt>
                <c:pt idx="14933">
                  <c:v>69.099999999999994</c:v>
                </c:pt>
                <c:pt idx="14934">
                  <c:v>68.900000000000006</c:v>
                </c:pt>
                <c:pt idx="14935">
                  <c:v>68.5</c:v>
                </c:pt>
                <c:pt idx="14936">
                  <c:v>68.7</c:v>
                </c:pt>
                <c:pt idx="14937">
                  <c:v>68.5</c:v>
                </c:pt>
                <c:pt idx="14938">
                  <c:v>68.5</c:v>
                </c:pt>
                <c:pt idx="14939">
                  <c:v>69.3</c:v>
                </c:pt>
                <c:pt idx="14940">
                  <c:v>70.2</c:v>
                </c:pt>
                <c:pt idx="14941">
                  <c:v>70.2</c:v>
                </c:pt>
                <c:pt idx="14942">
                  <c:v>69.400000000000006</c:v>
                </c:pt>
                <c:pt idx="14943">
                  <c:v>69.400000000000006</c:v>
                </c:pt>
                <c:pt idx="14944">
                  <c:v>69.099999999999994</c:v>
                </c:pt>
                <c:pt idx="14945">
                  <c:v>69.099999999999994</c:v>
                </c:pt>
                <c:pt idx="14946">
                  <c:v>69.599999999999994</c:v>
                </c:pt>
                <c:pt idx="14947">
                  <c:v>70</c:v>
                </c:pt>
                <c:pt idx="14948">
                  <c:v>70.5</c:v>
                </c:pt>
                <c:pt idx="14949">
                  <c:v>72.5</c:v>
                </c:pt>
                <c:pt idx="14950">
                  <c:v>74.8</c:v>
                </c:pt>
                <c:pt idx="14951">
                  <c:v>76.8</c:v>
                </c:pt>
                <c:pt idx="14952">
                  <c:v>77.5</c:v>
                </c:pt>
                <c:pt idx="14953">
                  <c:v>77.7</c:v>
                </c:pt>
                <c:pt idx="14954">
                  <c:v>80.8</c:v>
                </c:pt>
                <c:pt idx="14955">
                  <c:v>82.4</c:v>
                </c:pt>
                <c:pt idx="14956">
                  <c:v>83.7</c:v>
                </c:pt>
                <c:pt idx="14957">
                  <c:v>84.2</c:v>
                </c:pt>
                <c:pt idx="14958">
                  <c:v>85.8</c:v>
                </c:pt>
                <c:pt idx="14959">
                  <c:v>86.9</c:v>
                </c:pt>
                <c:pt idx="14960">
                  <c:v>87.4</c:v>
                </c:pt>
                <c:pt idx="14961">
                  <c:v>88.3</c:v>
                </c:pt>
                <c:pt idx="14962">
                  <c:v>87.6</c:v>
                </c:pt>
                <c:pt idx="14963">
                  <c:v>88.5</c:v>
                </c:pt>
                <c:pt idx="14964">
                  <c:v>89.8</c:v>
                </c:pt>
                <c:pt idx="14965">
                  <c:v>89.4</c:v>
                </c:pt>
                <c:pt idx="14966">
                  <c:v>90.9</c:v>
                </c:pt>
                <c:pt idx="14967">
                  <c:v>89.1</c:v>
                </c:pt>
                <c:pt idx="14968">
                  <c:v>89.4</c:v>
                </c:pt>
                <c:pt idx="14969">
                  <c:v>90.5</c:v>
                </c:pt>
                <c:pt idx="14970">
                  <c:v>91.2</c:v>
                </c:pt>
                <c:pt idx="14971">
                  <c:v>91.9</c:v>
                </c:pt>
                <c:pt idx="14972">
                  <c:v>92.5</c:v>
                </c:pt>
                <c:pt idx="14973">
                  <c:v>92.5</c:v>
                </c:pt>
                <c:pt idx="14974">
                  <c:v>93.9</c:v>
                </c:pt>
                <c:pt idx="14975">
                  <c:v>95</c:v>
                </c:pt>
                <c:pt idx="14976">
                  <c:v>94.8</c:v>
                </c:pt>
                <c:pt idx="14977">
                  <c:v>94.6</c:v>
                </c:pt>
                <c:pt idx="14978">
                  <c:v>95.4</c:v>
                </c:pt>
                <c:pt idx="14979">
                  <c:v>95.9</c:v>
                </c:pt>
                <c:pt idx="14980">
                  <c:v>96.3</c:v>
                </c:pt>
                <c:pt idx="14981">
                  <c:v>96.8</c:v>
                </c:pt>
                <c:pt idx="14982">
                  <c:v>97.2</c:v>
                </c:pt>
                <c:pt idx="14983">
                  <c:v>96.6</c:v>
                </c:pt>
                <c:pt idx="14984">
                  <c:v>95.9</c:v>
                </c:pt>
                <c:pt idx="14985">
                  <c:v>93.9</c:v>
                </c:pt>
                <c:pt idx="14986">
                  <c:v>89.6</c:v>
                </c:pt>
                <c:pt idx="14987">
                  <c:v>87.1</c:v>
                </c:pt>
                <c:pt idx="14988">
                  <c:v>86</c:v>
                </c:pt>
                <c:pt idx="14989">
                  <c:v>85.6</c:v>
                </c:pt>
                <c:pt idx="14990">
                  <c:v>85.6</c:v>
                </c:pt>
                <c:pt idx="14991">
                  <c:v>85.5</c:v>
                </c:pt>
                <c:pt idx="14992">
                  <c:v>84.2</c:v>
                </c:pt>
                <c:pt idx="14993">
                  <c:v>82.6</c:v>
                </c:pt>
                <c:pt idx="14994">
                  <c:v>81.099999999999994</c:v>
                </c:pt>
                <c:pt idx="14995">
                  <c:v>80.099999999999994</c:v>
                </c:pt>
                <c:pt idx="14996">
                  <c:v>78.8</c:v>
                </c:pt>
                <c:pt idx="14997">
                  <c:v>77.900000000000006</c:v>
                </c:pt>
                <c:pt idx="14998">
                  <c:v>77.5</c:v>
                </c:pt>
                <c:pt idx="14999">
                  <c:v>75.599999999999994</c:v>
                </c:pt>
                <c:pt idx="15000">
                  <c:v>74.7</c:v>
                </c:pt>
                <c:pt idx="15001">
                  <c:v>75.400000000000006</c:v>
                </c:pt>
                <c:pt idx="15002">
                  <c:v>74.7</c:v>
                </c:pt>
                <c:pt idx="15003">
                  <c:v>74.7</c:v>
                </c:pt>
                <c:pt idx="15004">
                  <c:v>74.7</c:v>
                </c:pt>
                <c:pt idx="15005">
                  <c:v>73.8</c:v>
                </c:pt>
                <c:pt idx="15006">
                  <c:v>72.5</c:v>
                </c:pt>
                <c:pt idx="15007">
                  <c:v>71.099999999999994</c:v>
                </c:pt>
                <c:pt idx="15008">
                  <c:v>71.599999999999994</c:v>
                </c:pt>
                <c:pt idx="15009">
                  <c:v>71.8</c:v>
                </c:pt>
                <c:pt idx="15010">
                  <c:v>72.099999999999994</c:v>
                </c:pt>
                <c:pt idx="15011">
                  <c:v>70.900000000000006</c:v>
                </c:pt>
                <c:pt idx="15012">
                  <c:v>69.599999999999994</c:v>
                </c:pt>
                <c:pt idx="15013">
                  <c:v>69.400000000000006</c:v>
                </c:pt>
                <c:pt idx="15014">
                  <c:v>68.5</c:v>
                </c:pt>
                <c:pt idx="15015">
                  <c:v>70.900000000000006</c:v>
                </c:pt>
                <c:pt idx="15016">
                  <c:v>69.099999999999994</c:v>
                </c:pt>
                <c:pt idx="15017">
                  <c:v>68.2</c:v>
                </c:pt>
                <c:pt idx="15018">
                  <c:v>67.8</c:v>
                </c:pt>
                <c:pt idx="15019">
                  <c:v>67.5</c:v>
                </c:pt>
                <c:pt idx="15020">
                  <c:v>67.5</c:v>
                </c:pt>
                <c:pt idx="15021">
                  <c:v>67.3</c:v>
                </c:pt>
                <c:pt idx="15022">
                  <c:v>67.599999999999994</c:v>
                </c:pt>
                <c:pt idx="15023">
                  <c:v>67.3</c:v>
                </c:pt>
                <c:pt idx="15024">
                  <c:v>67.3</c:v>
                </c:pt>
                <c:pt idx="15025">
                  <c:v>67.3</c:v>
                </c:pt>
                <c:pt idx="15026">
                  <c:v>66.7</c:v>
                </c:pt>
                <c:pt idx="15027">
                  <c:v>66.2</c:v>
                </c:pt>
                <c:pt idx="15028">
                  <c:v>66.2</c:v>
                </c:pt>
                <c:pt idx="15029">
                  <c:v>65.5</c:v>
                </c:pt>
                <c:pt idx="15030">
                  <c:v>65.5</c:v>
                </c:pt>
                <c:pt idx="15031">
                  <c:v>65.3</c:v>
                </c:pt>
                <c:pt idx="15032">
                  <c:v>65.099999999999994</c:v>
                </c:pt>
                <c:pt idx="15033">
                  <c:v>64.8</c:v>
                </c:pt>
                <c:pt idx="15034">
                  <c:v>64.8</c:v>
                </c:pt>
                <c:pt idx="15035">
                  <c:v>65.5</c:v>
                </c:pt>
                <c:pt idx="15036">
                  <c:v>65.099999999999994</c:v>
                </c:pt>
                <c:pt idx="15037">
                  <c:v>64.900000000000006</c:v>
                </c:pt>
                <c:pt idx="15038">
                  <c:v>64.900000000000006</c:v>
                </c:pt>
                <c:pt idx="15039">
                  <c:v>64.8</c:v>
                </c:pt>
                <c:pt idx="15040">
                  <c:v>64.8</c:v>
                </c:pt>
                <c:pt idx="15041">
                  <c:v>66.2</c:v>
                </c:pt>
                <c:pt idx="15042">
                  <c:v>65.3</c:v>
                </c:pt>
                <c:pt idx="15043">
                  <c:v>66.900000000000006</c:v>
                </c:pt>
                <c:pt idx="15044">
                  <c:v>69.400000000000006</c:v>
                </c:pt>
                <c:pt idx="15045">
                  <c:v>73.400000000000006</c:v>
                </c:pt>
                <c:pt idx="15046">
                  <c:v>75.599999999999994</c:v>
                </c:pt>
                <c:pt idx="15047">
                  <c:v>78.099999999999994</c:v>
                </c:pt>
                <c:pt idx="15048">
                  <c:v>78.599999999999994</c:v>
                </c:pt>
                <c:pt idx="15049">
                  <c:v>82.9</c:v>
                </c:pt>
                <c:pt idx="15050">
                  <c:v>84.9</c:v>
                </c:pt>
                <c:pt idx="15051">
                  <c:v>87.3</c:v>
                </c:pt>
                <c:pt idx="15052">
                  <c:v>89.8</c:v>
                </c:pt>
                <c:pt idx="15053">
                  <c:v>85.8</c:v>
                </c:pt>
                <c:pt idx="15054">
                  <c:v>85.8</c:v>
                </c:pt>
                <c:pt idx="15055">
                  <c:v>89.1</c:v>
                </c:pt>
                <c:pt idx="15056">
                  <c:v>87.4</c:v>
                </c:pt>
                <c:pt idx="15057">
                  <c:v>88.9</c:v>
                </c:pt>
                <c:pt idx="15058">
                  <c:v>93.4</c:v>
                </c:pt>
                <c:pt idx="15059">
                  <c:v>88</c:v>
                </c:pt>
                <c:pt idx="15060">
                  <c:v>88.9</c:v>
                </c:pt>
                <c:pt idx="15061">
                  <c:v>88.5</c:v>
                </c:pt>
                <c:pt idx="15062">
                  <c:v>88.5</c:v>
                </c:pt>
                <c:pt idx="15063">
                  <c:v>90.1</c:v>
                </c:pt>
                <c:pt idx="15064">
                  <c:v>92.1</c:v>
                </c:pt>
                <c:pt idx="15065">
                  <c:v>92.8</c:v>
                </c:pt>
                <c:pt idx="15066">
                  <c:v>92.7</c:v>
                </c:pt>
                <c:pt idx="15067">
                  <c:v>92.3</c:v>
                </c:pt>
                <c:pt idx="15068">
                  <c:v>92.1</c:v>
                </c:pt>
                <c:pt idx="15069">
                  <c:v>93.9</c:v>
                </c:pt>
                <c:pt idx="15070">
                  <c:v>95.2</c:v>
                </c:pt>
                <c:pt idx="15071">
                  <c:v>96.1</c:v>
                </c:pt>
                <c:pt idx="15072">
                  <c:v>96.3</c:v>
                </c:pt>
                <c:pt idx="15073">
                  <c:v>95.7</c:v>
                </c:pt>
                <c:pt idx="15074">
                  <c:v>96.6</c:v>
                </c:pt>
                <c:pt idx="15075">
                  <c:v>98.1</c:v>
                </c:pt>
                <c:pt idx="15076">
                  <c:v>98.4</c:v>
                </c:pt>
                <c:pt idx="15077">
                  <c:v>97.2</c:v>
                </c:pt>
                <c:pt idx="15078">
                  <c:v>96.6</c:v>
                </c:pt>
                <c:pt idx="15079">
                  <c:v>95</c:v>
                </c:pt>
                <c:pt idx="15080">
                  <c:v>93.2</c:v>
                </c:pt>
                <c:pt idx="15081">
                  <c:v>92.3</c:v>
                </c:pt>
                <c:pt idx="15082">
                  <c:v>93</c:v>
                </c:pt>
                <c:pt idx="15083">
                  <c:v>95.2</c:v>
                </c:pt>
                <c:pt idx="15084">
                  <c:v>96.1</c:v>
                </c:pt>
                <c:pt idx="15085">
                  <c:v>95.5</c:v>
                </c:pt>
                <c:pt idx="15086">
                  <c:v>93</c:v>
                </c:pt>
                <c:pt idx="15087">
                  <c:v>90.3</c:v>
                </c:pt>
                <c:pt idx="15088">
                  <c:v>87.4</c:v>
                </c:pt>
                <c:pt idx="15089">
                  <c:v>84.7</c:v>
                </c:pt>
                <c:pt idx="15090">
                  <c:v>82.8</c:v>
                </c:pt>
                <c:pt idx="15091">
                  <c:v>81.3</c:v>
                </c:pt>
                <c:pt idx="15092">
                  <c:v>80.099999999999994</c:v>
                </c:pt>
                <c:pt idx="15093">
                  <c:v>78.599999999999994</c:v>
                </c:pt>
                <c:pt idx="15094">
                  <c:v>78.099999999999994</c:v>
                </c:pt>
                <c:pt idx="15095">
                  <c:v>77.400000000000006</c:v>
                </c:pt>
                <c:pt idx="15096">
                  <c:v>76.5</c:v>
                </c:pt>
                <c:pt idx="15097">
                  <c:v>76.599999999999994</c:v>
                </c:pt>
                <c:pt idx="15098">
                  <c:v>75.2</c:v>
                </c:pt>
                <c:pt idx="15099">
                  <c:v>74.099999999999994</c:v>
                </c:pt>
                <c:pt idx="15100">
                  <c:v>73.2</c:v>
                </c:pt>
                <c:pt idx="15101">
                  <c:v>72.099999999999994</c:v>
                </c:pt>
                <c:pt idx="15102">
                  <c:v>71.400000000000006</c:v>
                </c:pt>
                <c:pt idx="15103">
                  <c:v>72.5</c:v>
                </c:pt>
                <c:pt idx="15104">
                  <c:v>71.099999999999994</c:v>
                </c:pt>
                <c:pt idx="15105">
                  <c:v>70.2</c:v>
                </c:pt>
                <c:pt idx="15106">
                  <c:v>69.599999999999994</c:v>
                </c:pt>
                <c:pt idx="15107">
                  <c:v>69.400000000000006</c:v>
                </c:pt>
                <c:pt idx="15108">
                  <c:v>69.400000000000006</c:v>
                </c:pt>
                <c:pt idx="15109">
                  <c:v>68.5</c:v>
                </c:pt>
                <c:pt idx="15110">
                  <c:v>69.3</c:v>
                </c:pt>
                <c:pt idx="15111">
                  <c:v>68.900000000000006</c:v>
                </c:pt>
                <c:pt idx="15112">
                  <c:v>68</c:v>
                </c:pt>
                <c:pt idx="15113">
                  <c:v>67.3</c:v>
                </c:pt>
                <c:pt idx="15114">
                  <c:v>67.3</c:v>
                </c:pt>
                <c:pt idx="15115">
                  <c:v>66.7</c:v>
                </c:pt>
                <c:pt idx="15116">
                  <c:v>66.900000000000006</c:v>
                </c:pt>
                <c:pt idx="15117">
                  <c:v>66.2</c:v>
                </c:pt>
                <c:pt idx="15118">
                  <c:v>66.400000000000006</c:v>
                </c:pt>
                <c:pt idx="15119">
                  <c:v>66</c:v>
                </c:pt>
                <c:pt idx="15120">
                  <c:v>66</c:v>
                </c:pt>
                <c:pt idx="15121">
                  <c:v>65.5</c:v>
                </c:pt>
                <c:pt idx="15122">
                  <c:v>65.099999999999994</c:v>
                </c:pt>
                <c:pt idx="15123">
                  <c:v>64.599999999999994</c:v>
                </c:pt>
                <c:pt idx="15124">
                  <c:v>64.599999999999994</c:v>
                </c:pt>
                <c:pt idx="15125">
                  <c:v>66.599999999999994</c:v>
                </c:pt>
                <c:pt idx="15126">
                  <c:v>64.400000000000006</c:v>
                </c:pt>
                <c:pt idx="15127">
                  <c:v>64</c:v>
                </c:pt>
                <c:pt idx="15128">
                  <c:v>64</c:v>
                </c:pt>
                <c:pt idx="15129">
                  <c:v>64.400000000000006</c:v>
                </c:pt>
                <c:pt idx="15130">
                  <c:v>64.400000000000006</c:v>
                </c:pt>
                <c:pt idx="15131">
                  <c:v>64.8</c:v>
                </c:pt>
                <c:pt idx="15132">
                  <c:v>64.2</c:v>
                </c:pt>
                <c:pt idx="15133">
                  <c:v>63.9</c:v>
                </c:pt>
                <c:pt idx="15134">
                  <c:v>63.5</c:v>
                </c:pt>
                <c:pt idx="15135">
                  <c:v>63.3</c:v>
                </c:pt>
                <c:pt idx="15136">
                  <c:v>63.5</c:v>
                </c:pt>
                <c:pt idx="15137">
                  <c:v>63.7</c:v>
                </c:pt>
                <c:pt idx="15138">
                  <c:v>64</c:v>
                </c:pt>
                <c:pt idx="15139">
                  <c:v>67.3</c:v>
                </c:pt>
                <c:pt idx="15140">
                  <c:v>70.2</c:v>
                </c:pt>
                <c:pt idx="15141">
                  <c:v>71.599999999999994</c:v>
                </c:pt>
                <c:pt idx="15142">
                  <c:v>76.5</c:v>
                </c:pt>
                <c:pt idx="15143">
                  <c:v>66.900000000000006</c:v>
                </c:pt>
                <c:pt idx="15144">
                  <c:v>68.5</c:v>
                </c:pt>
                <c:pt idx="15145">
                  <c:v>71.400000000000006</c:v>
                </c:pt>
                <c:pt idx="15146">
                  <c:v>73.900000000000006</c:v>
                </c:pt>
                <c:pt idx="15147">
                  <c:v>76.3</c:v>
                </c:pt>
                <c:pt idx="15148">
                  <c:v>78.3</c:v>
                </c:pt>
                <c:pt idx="15149">
                  <c:v>79.900000000000006</c:v>
                </c:pt>
                <c:pt idx="15150">
                  <c:v>81.099999999999994</c:v>
                </c:pt>
                <c:pt idx="15151">
                  <c:v>90.3</c:v>
                </c:pt>
                <c:pt idx="15152">
                  <c:v>89.4</c:v>
                </c:pt>
                <c:pt idx="15153">
                  <c:v>92.5</c:v>
                </c:pt>
                <c:pt idx="15154">
                  <c:v>87.4</c:v>
                </c:pt>
                <c:pt idx="15155">
                  <c:v>87.8</c:v>
                </c:pt>
                <c:pt idx="15156">
                  <c:v>87.3</c:v>
                </c:pt>
                <c:pt idx="15157">
                  <c:v>88.2</c:v>
                </c:pt>
                <c:pt idx="15158">
                  <c:v>89.8</c:v>
                </c:pt>
                <c:pt idx="15159">
                  <c:v>90.7</c:v>
                </c:pt>
                <c:pt idx="15160">
                  <c:v>92.5</c:v>
                </c:pt>
                <c:pt idx="15161">
                  <c:v>93.9</c:v>
                </c:pt>
                <c:pt idx="15162">
                  <c:v>91.9</c:v>
                </c:pt>
                <c:pt idx="15163">
                  <c:v>89.4</c:v>
                </c:pt>
                <c:pt idx="15164">
                  <c:v>88.5</c:v>
                </c:pt>
                <c:pt idx="15165">
                  <c:v>90.1</c:v>
                </c:pt>
                <c:pt idx="15166">
                  <c:v>92.1</c:v>
                </c:pt>
                <c:pt idx="15167">
                  <c:v>93.9</c:v>
                </c:pt>
                <c:pt idx="15168">
                  <c:v>95.5</c:v>
                </c:pt>
                <c:pt idx="15169">
                  <c:v>95.4</c:v>
                </c:pt>
                <c:pt idx="15170">
                  <c:v>96.1</c:v>
                </c:pt>
                <c:pt idx="15171">
                  <c:v>94.5</c:v>
                </c:pt>
                <c:pt idx="15172">
                  <c:v>93.7</c:v>
                </c:pt>
                <c:pt idx="15173">
                  <c:v>97.2</c:v>
                </c:pt>
                <c:pt idx="15174">
                  <c:v>98.6</c:v>
                </c:pt>
                <c:pt idx="15175">
                  <c:v>98.2</c:v>
                </c:pt>
                <c:pt idx="15176">
                  <c:v>98.1</c:v>
                </c:pt>
                <c:pt idx="15177">
                  <c:v>98.8</c:v>
                </c:pt>
                <c:pt idx="15178">
                  <c:v>98.1</c:v>
                </c:pt>
                <c:pt idx="15179">
                  <c:v>96.3</c:v>
                </c:pt>
                <c:pt idx="15180">
                  <c:v>96.4</c:v>
                </c:pt>
                <c:pt idx="15181">
                  <c:v>97.3</c:v>
                </c:pt>
                <c:pt idx="15182">
                  <c:v>95.4</c:v>
                </c:pt>
                <c:pt idx="15183">
                  <c:v>91.6</c:v>
                </c:pt>
                <c:pt idx="15184">
                  <c:v>89.2</c:v>
                </c:pt>
                <c:pt idx="15185">
                  <c:v>87.1</c:v>
                </c:pt>
                <c:pt idx="15186">
                  <c:v>84.4</c:v>
                </c:pt>
                <c:pt idx="15187">
                  <c:v>82.2</c:v>
                </c:pt>
                <c:pt idx="15188">
                  <c:v>80.599999999999994</c:v>
                </c:pt>
                <c:pt idx="15189">
                  <c:v>79.3</c:v>
                </c:pt>
                <c:pt idx="15190">
                  <c:v>78.400000000000006</c:v>
                </c:pt>
                <c:pt idx="15191">
                  <c:v>77.7</c:v>
                </c:pt>
                <c:pt idx="15192">
                  <c:v>77.2</c:v>
                </c:pt>
                <c:pt idx="15193">
                  <c:v>77.5</c:v>
                </c:pt>
                <c:pt idx="15194">
                  <c:v>77</c:v>
                </c:pt>
                <c:pt idx="15195">
                  <c:v>75</c:v>
                </c:pt>
                <c:pt idx="15196">
                  <c:v>75.900000000000006</c:v>
                </c:pt>
                <c:pt idx="15197">
                  <c:v>74.099999999999994</c:v>
                </c:pt>
                <c:pt idx="15198">
                  <c:v>73.2</c:v>
                </c:pt>
                <c:pt idx="15199">
                  <c:v>72.7</c:v>
                </c:pt>
                <c:pt idx="15200">
                  <c:v>72.099999999999994</c:v>
                </c:pt>
                <c:pt idx="15201">
                  <c:v>71.599999999999994</c:v>
                </c:pt>
                <c:pt idx="15202">
                  <c:v>71.400000000000006</c:v>
                </c:pt>
                <c:pt idx="15203">
                  <c:v>70.5</c:v>
                </c:pt>
                <c:pt idx="15204">
                  <c:v>70.2</c:v>
                </c:pt>
                <c:pt idx="15205">
                  <c:v>70</c:v>
                </c:pt>
                <c:pt idx="15206">
                  <c:v>70.5</c:v>
                </c:pt>
                <c:pt idx="15207">
                  <c:v>69.8</c:v>
                </c:pt>
                <c:pt idx="15208">
                  <c:v>68.900000000000006</c:v>
                </c:pt>
                <c:pt idx="15209">
                  <c:v>68.400000000000006</c:v>
                </c:pt>
                <c:pt idx="15210">
                  <c:v>68.400000000000006</c:v>
                </c:pt>
                <c:pt idx="15211">
                  <c:v>68</c:v>
                </c:pt>
                <c:pt idx="15212">
                  <c:v>67.599999999999994</c:v>
                </c:pt>
                <c:pt idx="15213">
                  <c:v>67.3</c:v>
                </c:pt>
                <c:pt idx="15214">
                  <c:v>67.8</c:v>
                </c:pt>
                <c:pt idx="15215">
                  <c:v>68.400000000000006</c:v>
                </c:pt>
                <c:pt idx="15216">
                  <c:v>67.3</c:v>
                </c:pt>
                <c:pt idx="15217">
                  <c:v>66.7</c:v>
                </c:pt>
                <c:pt idx="15218">
                  <c:v>66.400000000000006</c:v>
                </c:pt>
                <c:pt idx="15219">
                  <c:v>66</c:v>
                </c:pt>
                <c:pt idx="15220">
                  <c:v>66.2</c:v>
                </c:pt>
                <c:pt idx="15221">
                  <c:v>65.5</c:v>
                </c:pt>
                <c:pt idx="15222">
                  <c:v>65.7</c:v>
                </c:pt>
                <c:pt idx="15223">
                  <c:v>65.7</c:v>
                </c:pt>
                <c:pt idx="15224">
                  <c:v>65.7</c:v>
                </c:pt>
                <c:pt idx="15225">
                  <c:v>65.099999999999994</c:v>
                </c:pt>
                <c:pt idx="15226">
                  <c:v>65.099999999999994</c:v>
                </c:pt>
                <c:pt idx="15227">
                  <c:v>64.900000000000006</c:v>
                </c:pt>
                <c:pt idx="15228">
                  <c:v>64.599999999999994</c:v>
                </c:pt>
                <c:pt idx="15229">
                  <c:v>64.400000000000006</c:v>
                </c:pt>
                <c:pt idx="15230">
                  <c:v>64.400000000000006</c:v>
                </c:pt>
                <c:pt idx="15231">
                  <c:v>64</c:v>
                </c:pt>
                <c:pt idx="15232">
                  <c:v>64.2</c:v>
                </c:pt>
                <c:pt idx="15233">
                  <c:v>64.2</c:v>
                </c:pt>
                <c:pt idx="15234">
                  <c:v>64</c:v>
                </c:pt>
                <c:pt idx="15235">
                  <c:v>65.5</c:v>
                </c:pt>
                <c:pt idx="15236">
                  <c:v>68.7</c:v>
                </c:pt>
                <c:pt idx="15237">
                  <c:v>72</c:v>
                </c:pt>
                <c:pt idx="15238">
                  <c:v>75.400000000000006</c:v>
                </c:pt>
                <c:pt idx="15239">
                  <c:v>74.5</c:v>
                </c:pt>
                <c:pt idx="15240">
                  <c:v>75.599999999999994</c:v>
                </c:pt>
                <c:pt idx="15241">
                  <c:v>76.5</c:v>
                </c:pt>
                <c:pt idx="15242">
                  <c:v>80.8</c:v>
                </c:pt>
                <c:pt idx="15243">
                  <c:v>81.099999999999994</c:v>
                </c:pt>
                <c:pt idx="15244">
                  <c:v>84.7</c:v>
                </c:pt>
                <c:pt idx="15245">
                  <c:v>85.1</c:v>
                </c:pt>
                <c:pt idx="15246">
                  <c:v>86.7</c:v>
                </c:pt>
                <c:pt idx="15247">
                  <c:v>88.3</c:v>
                </c:pt>
                <c:pt idx="15248">
                  <c:v>88.9</c:v>
                </c:pt>
                <c:pt idx="15249">
                  <c:v>90</c:v>
                </c:pt>
                <c:pt idx="15250">
                  <c:v>89.6</c:v>
                </c:pt>
                <c:pt idx="15251">
                  <c:v>90</c:v>
                </c:pt>
                <c:pt idx="15252">
                  <c:v>90.9</c:v>
                </c:pt>
                <c:pt idx="15253">
                  <c:v>87.6</c:v>
                </c:pt>
                <c:pt idx="15254">
                  <c:v>88.5</c:v>
                </c:pt>
                <c:pt idx="15255">
                  <c:v>89.6</c:v>
                </c:pt>
                <c:pt idx="15256">
                  <c:v>91.2</c:v>
                </c:pt>
                <c:pt idx="15257">
                  <c:v>92.1</c:v>
                </c:pt>
                <c:pt idx="15258">
                  <c:v>93</c:v>
                </c:pt>
                <c:pt idx="15259">
                  <c:v>93.6</c:v>
                </c:pt>
                <c:pt idx="15260">
                  <c:v>94.1</c:v>
                </c:pt>
                <c:pt idx="15261">
                  <c:v>95.2</c:v>
                </c:pt>
                <c:pt idx="15262">
                  <c:v>95.9</c:v>
                </c:pt>
                <c:pt idx="15263">
                  <c:v>95.5</c:v>
                </c:pt>
                <c:pt idx="15264">
                  <c:v>94.5</c:v>
                </c:pt>
                <c:pt idx="15265">
                  <c:v>94.6</c:v>
                </c:pt>
                <c:pt idx="15266">
                  <c:v>94.3</c:v>
                </c:pt>
                <c:pt idx="15267">
                  <c:v>92.5</c:v>
                </c:pt>
                <c:pt idx="15268">
                  <c:v>91.6</c:v>
                </c:pt>
                <c:pt idx="15269">
                  <c:v>91</c:v>
                </c:pt>
                <c:pt idx="15270">
                  <c:v>89.8</c:v>
                </c:pt>
                <c:pt idx="15271">
                  <c:v>91.2</c:v>
                </c:pt>
                <c:pt idx="15272">
                  <c:v>95.2</c:v>
                </c:pt>
                <c:pt idx="15273">
                  <c:v>97.3</c:v>
                </c:pt>
                <c:pt idx="15274">
                  <c:v>97.3</c:v>
                </c:pt>
                <c:pt idx="15275">
                  <c:v>97</c:v>
                </c:pt>
                <c:pt idx="15276">
                  <c:v>96.1</c:v>
                </c:pt>
                <c:pt idx="15277">
                  <c:v>95</c:v>
                </c:pt>
                <c:pt idx="15278">
                  <c:v>92.5</c:v>
                </c:pt>
                <c:pt idx="15279">
                  <c:v>89.6</c:v>
                </c:pt>
                <c:pt idx="15280">
                  <c:v>88.3</c:v>
                </c:pt>
                <c:pt idx="15281">
                  <c:v>86.7</c:v>
                </c:pt>
                <c:pt idx="15282">
                  <c:v>85.3</c:v>
                </c:pt>
                <c:pt idx="15283">
                  <c:v>82.4</c:v>
                </c:pt>
                <c:pt idx="15284">
                  <c:v>80.099999999999994</c:v>
                </c:pt>
                <c:pt idx="15285">
                  <c:v>80.099999999999994</c:v>
                </c:pt>
                <c:pt idx="15286">
                  <c:v>78.099999999999994</c:v>
                </c:pt>
                <c:pt idx="15287">
                  <c:v>77</c:v>
                </c:pt>
                <c:pt idx="15288">
                  <c:v>75.900000000000006</c:v>
                </c:pt>
                <c:pt idx="15289">
                  <c:v>77.400000000000006</c:v>
                </c:pt>
                <c:pt idx="15290">
                  <c:v>76.8</c:v>
                </c:pt>
                <c:pt idx="15291">
                  <c:v>75.2</c:v>
                </c:pt>
                <c:pt idx="15292">
                  <c:v>75.2</c:v>
                </c:pt>
                <c:pt idx="15293">
                  <c:v>73.599999999999994</c:v>
                </c:pt>
                <c:pt idx="15294">
                  <c:v>72.3</c:v>
                </c:pt>
                <c:pt idx="15295">
                  <c:v>72.900000000000006</c:v>
                </c:pt>
                <c:pt idx="15296">
                  <c:v>71.2</c:v>
                </c:pt>
                <c:pt idx="15297">
                  <c:v>70.7</c:v>
                </c:pt>
                <c:pt idx="15298">
                  <c:v>70.900000000000006</c:v>
                </c:pt>
                <c:pt idx="15299">
                  <c:v>71.099999999999994</c:v>
                </c:pt>
                <c:pt idx="15300">
                  <c:v>69.599999999999994</c:v>
                </c:pt>
                <c:pt idx="15301">
                  <c:v>70.2</c:v>
                </c:pt>
                <c:pt idx="15302">
                  <c:v>69.3</c:v>
                </c:pt>
                <c:pt idx="15303">
                  <c:v>68.2</c:v>
                </c:pt>
                <c:pt idx="15304">
                  <c:v>67.599999999999994</c:v>
                </c:pt>
                <c:pt idx="15305">
                  <c:v>68.2</c:v>
                </c:pt>
                <c:pt idx="15306">
                  <c:v>67.3</c:v>
                </c:pt>
                <c:pt idx="15307">
                  <c:v>66.7</c:v>
                </c:pt>
                <c:pt idx="15308">
                  <c:v>66</c:v>
                </c:pt>
                <c:pt idx="15309">
                  <c:v>68.7</c:v>
                </c:pt>
                <c:pt idx="15310">
                  <c:v>66.599999999999994</c:v>
                </c:pt>
                <c:pt idx="15311">
                  <c:v>65.8</c:v>
                </c:pt>
                <c:pt idx="15312">
                  <c:v>65.7</c:v>
                </c:pt>
                <c:pt idx="15313">
                  <c:v>65.3</c:v>
                </c:pt>
                <c:pt idx="15314">
                  <c:v>64.900000000000006</c:v>
                </c:pt>
                <c:pt idx="15315">
                  <c:v>66</c:v>
                </c:pt>
                <c:pt idx="15316">
                  <c:v>64.900000000000006</c:v>
                </c:pt>
                <c:pt idx="15317">
                  <c:v>64.2</c:v>
                </c:pt>
                <c:pt idx="15318">
                  <c:v>64.2</c:v>
                </c:pt>
                <c:pt idx="15319">
                  <c:v>64.2</c:v>
                </c:pt>
                <c:pt idx="15320">
                  <c:v>63.9</c:v>
                </c:pt>
                <c:pt idx="15321">
                  <c:v>65.3</c:v>
                </c:pt>
                <c:pt idx="15322">
                  <c:v>64.2</c:v>
                </c:pt>
                <c:pt idx="15323">
                  <c:v>63.3</c:v>
                </c:pt>
                <c:pt idx="15324">
                  <c:v>63</c:v>
                </c:pt>
                <c:pt idx="15325">
                  <c:v>63.1</c:v>
                </c:pt>
                <c:pt idx="15326">
                  <c:v>63.3</c:v>
                </c:pt>
                <c:pt idx="15327">
                  <c:v>63</c:v>
                </c:pt>
                <c:pt idx="15328">
                  <c:v>63.3</c:v>
                </c:pt>
                <c:pt idx="15329">
                  <c:v>62.6</c:v>
                </c:pt>
                <c:pt idx="15330">
                  <c:v>62.8</c:v>
                </c:pt>
                <c:pt idx="15331">
                  <c:v>65.7</c:v>
                </c:pt>
                <c:pt idx="15332">
                  <c:v>68</c:v>
                </c:pt>
                <c:pt idx="15333">
                  <c:v>70.2</c:v>
                </c:pt>
                <c:pt idx="15334">
                  <c:v>74.099999999999994</c:v>
                </c:pt>
                <c:pt idx="15335">
                  <c:v>75.400000000000006</c:v>
                </c:pt>
                <c:pt idx="15336">
                  <c:v>77.5</c:v>
                </c:pt>
                <c:pt idx="15337">
                  <c:v>80.099999999999994</c:v>
                </c:pt>
                <c:pt idx="15338">
                  <c:v>84.6</c:v>
                </c:pt>
                <c:pt idx="15339">
                  <c:v>84.4</c:v>
                </c:pt>
                <c:pt idx="15340">
                  <c:v>84.6</c:v>
                </c:pt>
                <c:pt idx="15341">
                  <c:v>89.4</c:v>
                </c:pt>
                <c:pt idx="15342">
                  <c:v>79.3</c:v>
                </c:pt>
                <c:pt idx="15343">
                  <c:v>80.599999999999994</c:v>
                </c:pt>
                <c:pt idx="15344">
                  <c:v>82</c:v>
                </c:pt>
                <c:pt idx="15345">
                  <c:v>83.3</c:v>
                </c:pt>
                <c:pt idx="15346">
                  <c:v>84.7</c:v>
                </c:pt>
                <c:pt idx="15347">
                  <c:v>86.4</c:v>
                </c:pt>
                <c:pt idx="15348">
                  <c:v>87.6</c:v>
                </c:pt>
                <c:pt idx="15349">
                  <c:v>88.7</c:v>
                </c:pt>
                <c:pt idx="15350">
                  <c:v>90.7</c:v>
                </c:pt>
                <c:pt idx="15351">
                  <c:v>91.9</c:v>
                </c:pt>
                <c:pt idx="15352">
                  <c:v>91.8</c:v>
                </c:pt>
                <c:pt idx="15353">
                  <c:v>91.6</c:v>
                </c:pt>
                <c:pt idx="15354">
                  <c:v>91.6</c:v>
                </c:pt>
                <c:pt idx="15355">
                  <c:v>92.8</c:v>
                </c:pt>
                <c:pt idx="15356">
                  <c:v>93.4</c:v>
                </c:pt>
                <c:pt idx="15357">
                  <c:v>94.3</c:v>
                </c:pt>
                <c:pt idx="15358">
                  <c:v>94.3</c:v>
                </c:pt>
                <c:pt idx="15359">
                  <c:v>94.3</c:v>
                </c:pt>
                <c:pt idx="15360">
                  <c:v>95</c:v>
                </c:pt>
                <c:pt idx="15361">
                  <c:v>95</c:v>
                </c:pt>
                <c:pt idx="15362">
                  <c:v>94.8</c:v>
                </c:pt>
                <c:pt idx="15363">
                  <c:v>95.2</c:v>
                </c:pt>
                <c:pt idx="15364">
                  <c:v>96.4</c:v>
                </c:pt>
                <c:pt idx="15365">
                  <c:v>97.5</c:v>
                </c:pt>
                <c:pt idx="15366">
                  <c:v>95.4</c:v>
                </c:pt>
                <c:pt idx="15367">
                  <c:v>93.6</c:v>
                </c:pt>
                <c:pt idx="15368">
                  <c:v>92.3</c:v>
                </c:pt>
                <c:pt idx="15369">
                  <c:v>93</c:v>
                </c:pt>
                <c:pt idx="15370">
                  <c:v>94.1</c:v>
                </c:pt>
                <c:pt idx="15371">
                  <c:v>94.5</c:v>
                </c:pt>
                <c:pt idx="15372">
                  <c:v>95.7</c:v>
                </c:pt>
                <c:pt idx="15373">
                  <c:v>95.5</c:v>
                </c:pt>
                <c:pt idx="15374">
                  <c:v>93.2</c:v>
                </c:pt>
                <c:pt idx="15375">
                  <c:v>90</c:v>
                </c:pt>
                <c:pt idx="15376">
                  <c:v>87.6</c:v>
                </c:pt>
                <c:pt idx="15377">
                  <c:v>85.6</c:v>
                </c:pt>
                <c:pt idx="15378">
                  <c:v>83.7</c:v>
                </c:pt>
                <c:pt idx="15379">
                  <c:v>82.4</c:v>
                </c:pt>
                <c:pt idx="15380">
                  <c:v>80.099999999999994</c:v>
                </c:pt>
                <c:pt idx="15381">
                  <c:v>78.8</c:v>
                </c:pt>
                <c:pt idx="15382">
                  <c:v>78.400000000000006</c:v>
                </c:pt>
                <c:pt idx="15383">
                  <c:v>76.599999999999994</c:v>
                </c:pt>
                <c:pt idx="15384">
                  <c:v>75.7</c:v>
                </c:pt>
                <c:pt idx="15385">
                  <c:v>77</c:v>
                </c:pt>
                <c:pt idx="15386">
                  <c:v>76.3</c:v>
                </c:pt>
                <c:pt idx="15387">
                  <c:v>75.7</c:v>
                </c:pt>
                <c:pt idx="15388">
                  <c:v>75</c:v>
                </c:pt>
                <c:pt idx="15389">
                  <c:v>73.400000000000006</c:v>
                </c:pt>
                <c:pt idx="15390">
                  <c:v>72.099999999999994</c:v>
                </c:pt>
                <c:pt idx="15391">
                  <c:v>71.400000000000006</c:v>
                </c:pt>
                <c:pt idx="15392">
                  <c:v>71.099999999999994</c:v>
                </c:pt>
                <c:pt idx="15393">
                  <c:v>70.7</c:v>
                </c:pt>
                <c:pt idx="15394">
                  <c:v>70.2</c:v>
                </c:pt>
                <c:pt idx="15395">
                  <c:v>69.8</c:v>
                </c:pt>
                <c:pt idx="15396">
                  <c:v>68.900000000000006</c:v>
                </c:pt>
                <c:pt idx="15397">
                  <c:v>68.5</c:v>
                </c:pt>
                <c:pt idx="15398">
                  <c:v>69.099999999999994</c:v>
                </c:pt>
                <c:pt idx="15399">
                  <c:v>68.5</c:v>
                </c:pt>
                <c:pt idx="15400">
                  <c:v>68</c:v>
                </c:pt>
                <c:pt idx="15401">
                  <c:v>67.5</c:v>
                </c:pt>
                <c:pt idx="15402">
                  <c:v>68.2</c:v>
                </c:pt>
                <c:pt idx="15403">
                  <c:v>67.599999999999994</c:v>
                </c:pt>
                <c:pt idx="15404">
                  <c:v>66.900000000000006</c:v>
                </c:pt>
                <c:pt idx="15405">
                  <c:v>67.099999999999994</c:v>
                </c:pt>
                <c:pt idx="15406">
                  <c:v>66.900000000000006</c:v>
                </c:pt>
                <c:pt idx="15407">
                  <c:v>66.599999999999994</c:v>
                </c:pt>
                <c:pt idx="15408">
                  <c:v>66</c:v>
                </c:pt>
                <c:pt idx="15409">
                  <c:v>66</c:v>
                </c:pt>
                <c:pt idx="15410">
                  <c:v>67.3</c:v>
                </c:pt>
                <c:pt idx="15411">
                  <c:v>66.599999999999994</c:v>
                </c:pt>
                <c:pt idx="15412">
                  <c:v>66</c:v>
                </c:pt>
                <c:pt idx="15413">
                  <c:v>65.5</c:v>
                </c:pt>
                <c:pt idx="15414">
                  <c:v>65.5</c:v>
                </c:pt>
                <c:pt idx="15415">
                  <c:v>64.8</c:v>
                </c:pt>
                <c:pt idx="15416">
                  <c:v>64.900000000000006</c:v>
                </c:pt>
                <c:pt idx="15417">
                  <c:v>64.900000000000006</c:v>
                </c:pt>
                <c:pt idx="15418">
                  <c:v>64.8</c:v>
                </c:pt>
                <c:pt idx="15419">
                  <c:v>64.8</c:v>
                </c:pt>
                <c:pt idx="15420">
                  <c:v>64.900000000000006</c:v>
                </c:pt>
                <c:pt idx="15421">
                  <c:v>64.8</c:v>
                </c:pt>
                <c:pt idx="15422">
                  <c:v>64.599999999999994</c:v>
                </c:pt>
                <c:pt idx="15423">
                  <c:v>64.8</c:v>
                </c:pt>
                <c:pt idx="15424">
                  <c:v>64.8</c:v>
                </c:pt>
                <c:pt idx="15425">
                  <c:v>64.8</c:v>
                </c:pt>
                <c:pt idx="15426">
                  <c:v>66</c:v>
                </c:pt>
                <c:pt idx="15427">
                  <c:v>66.599999999999994</c:v>
                </c:pt>
                <c:pt idx="15428">
                  <c:v>67.8</c:v>
                </c:pt>
                <c:pt idx="15429">
                  <c:v>68.400000000000006</c:v>
                </c:pt>
                <c:pt idx="15430">
                  <c:v>69.8</c:v>
                </c:pt>
                <c:pt idx="15431">
                  <c:v>72.3</c:v>
                </c:pt>
                <c:pt idx="15432">
                  <c:v>78.099999999999994</c:v>
                </c:pt>
                <c:pt idx="15433">
                  <c:v>82.2</c:v>
                </c:pt>
                <c:pt idx="15434">
                  <c:v>84.9</c:v>
                </c:pt>
                <c:pt idx="15435">
                  <c:v>84.2</c:v>
                </c:pt>
                <c:pt idx="15436">
                  <c:v>79</c:v>
                </c:pt>
                <c:pt idx="15437">
                  <c:v>81</c:v>
                </c:pt>
                <c:pt idx="15438">
                  <c:v>82</c:v>
                </c:pt>
                <c:pt idx="15439">
                  <c:v>82.9</c:v>
                </c:pt>
                <c:pt idx="15440">
                  <c:v>84</c:v>
                </c:pt>
                <c:pt idx="15441">
                  <c:v>85.6</c:v>
                </c:pt>
                <c:pt idx="15442">
                  <c:v>86.9</c:v>
                </c:pt>
                <c:pt idx="15443">
                  <c:v>91.8</c:v>
                </c:pt>
                <c:pt idx="15444">
                  <c:v>90.1</c:v>
                </c:pt>
                <c:pt idx="15445">
                  <c:v>90.7</c:v>
                </c:pt>
                <c:pt idx="15446">
                  <c:v>91.4</c:v>
                </c:pt>
                <c:pt idx="15447">
                  <c:v>91.4</c:v>
                </c:pt>
                <c:pt idx="15448">
                  <c:v>91</c:v>
                </c:pt>
                <c:pt idx="15449">
                  <c:v>92.3</c:v>
                </c:pt>
                <c:pt idx="15450">
                  <c:v>93.2</c:v>
                </c:pt>
                <c:pt idx="15451">
                  <c:v>93.2</c:v>
                </c:pt>
                <c:pt idx="15452">
                  <c:v>93.2</c:v>
                </c:pt>
                <c:pt idx="15453">
                  <c:v>94.5</c:v>
                </c:pt>
                <c:pt idx="15454">
                  <c:v>94.6</c:v>
                </c:pt>
                <c:pt idx="15455">
                  <c:v>96.1</c:v>
                </c:pt>
                <c:pt idx="15456">
                  <c:v>97.5</c:v>
                </c:pt>
                <c:pt idx="15457">
                  <c:v>96.4</c:v>
                </c:pt>
                <c:pt idx="15458">
                  <c:v>95.4</c:v>
                </c:pt>
                <c:pt idx="15459">
                  <c:v>95.5</c:v>
                </c:pt>
                <c:pt idx="15460">
                  <c:v>94.6</c:v>
                </c:pt>
                <c:pt idx="15461">
                  <c:v>94.6</c:v>
                </c:pt>
                <c:pt idx="15462">
                  <c:v>95.4</c:v>
                </c:pt>
                <c:pt idx="15463">
                  <c:v>95</c:v>
                </c:pt>
                <c:pt idx="15464">
                  <c:v>95.7</c:v>
                </c:pt>
                <c:pt idx="15465">
                  <c:v>96.8</c:v>
                </c:pt>
                <c:pt idx="15466">
                  <c:v>97</c:v>
                </c:pt>
                <c:pt idx="15467">
                  <c:v>95.9</c:v>
                </c:pt>
                <c:pt idx="15468">
                  <c:v>93.4</c:v>
                </c:pt>
                <c:pt idx="15469">
                  <c:v>91.8</c:v>
                </c:pt>
                <c:pt idx="15470">
                  <c:v>90.5</c:v>
                </c:pt>
                <c:pt idx="15471">
                  <c:v>88.9</c:v>
                </c:pt>
                <c:pt idx="15472">
                  <c:v>88.2</c:v>
                </c:pt>
                <c:pt idx="15473">
                  <c:v>87.4</c:v>
                </c:pt>
                <c:pt idx="15474">
                  <c:v>86.7</c:v>
                </c:pt>
                <c:pt idx="15475">
                  <c:v>85.6</c:v>
                </c:pt>
                <c:pt idx="15476">
                  <c:v>84.6</c:v>
                </c:pt>
                <c:pt idx="15477">
                  <c:v>83.3</c:v>
                </c:pt>
                <c:pt idx="15478">
                  <c:v>82.8</c:v>
                </c:pt>
                <c:pt idx="15479">
                  <c:v>82.2</c:v>
                </c:pt>
                <c:pt idx="15480">
                  <c:v>81</c:v>
                </c:pt>
                <c:pt idx="15481">
                  <c:v>79.5</c:v>
                </c:pt>
                <c:pt idx="15482">
                  <c:v>78.599999999999994</c:v>
                </c:pt>
                <c:pt idx="15483">
                  <c:v>77.900000000000006</c:v>
                </c:pt>
                <c:pt idx="15484">
                  <c:v>77.900000000000006</c:v>
                </c:pt>
                <c:pt idx="15485">
                  <c:v>78.599999999999994</c:v>
                </c:pt>
                <c:pt idx="15486">
                  <c:v>79.2</c:v>
                </c:pt>
                <c:pt idx="15487">
                  <c:v>78.599999999999994</c:v>
                </c:pt>
                <c:pt idx="15488">
                  <c:v>78.3</c:v>
                </c:pt>
                <c:pt idx="15489">
                  <c:v>78.3</c:v>
                </c:pt>
                <c:pt idx="15490">
                  <c:v>78.400000000000006</c:v>
                </c:pt>
                <c:pt idx="15491">
                  <c:v>78.3</c:v>
                </c:pt>
                <c:pt idx="15492">
                  <c:v>79.2</c:v>
                </c:pt>
                <c:pt idx="15493">
                  <c:v>78.599999999999994</c:v>
                </c:pt>
                <c:pt idx="15494">
                  <c:v>78.099999999999994</c:v>
                </c:pt>
                <c:pt idx="15495">
                  <c:v>77.400000000000006</c:v>
                </c:pt>
                <c:pt idx="15496">
                  <c:v>77</c:v>
                </c:pt>
                <c:pt idx="15497">
                  <c:v>76.099999999999994</c:v>
                </c:pt>
                <c:pt idx="15498">
                  <c:v>75.599999999999994</c:v>
                </c:pt>
                <c:pt idx="15499">
                  <c:v>75.2</c:v>
                </c:pt>
                <c:pt idx="15500">
                  <c:v>74.3</c:v>
                </c:pt>
                <c:pt idx="15501">
                  <c:v>69.099999999999994</c:v>
                </c:pt>
                <c:pt idx="15502">
                  <c:v>69.3</c:v>
                </c:pt>
                <c:pt idx="15503">
                  <c:v>69.099999999999994</c:v>
                </c:pt>
                <c:pt idx="15504">
                  <c:v>70.2</c:v>
                </c:pt>
                <c:pt idx="15505">
                  <c:v>69.400000000000006</c:v>
                </c:pt>
                <c:pt idx="15506">
                  <c:v>70.900000000000006</c:v>
                </c:pt>
                <c:pt idx="15507">
                  <c:v>69.3</c:v>
                </c:pt>
                <c:pt idx="15508">
                  <c:v>69.099999999999994</c:v>
                </c:pt>
                <c:pt idx="15509">
                  <c:v>71.099999999999994</c:v>
                </c:pt>
                <c:pt idx="15510">
                  <c:v>74.5</c:v>
                </c:pt>
                <c:pt idx="15511">
                  <c:v>78.099999999999994</c:v>
                </c:pt>
                <c:pt idx="15512">
                  <c:v>81.3</c:v>
                </c:pt>
                <c:pt idx="15513">
                  <c:v>81.099999999999994</c:v>
                </c:pt>
                <c:pt idx="15514">
                  <c:v>84.2</c:v>
                </c:pt>
                <c:pt idx="15515">
                  <c:v>81.099999999999994</c:v>
                </c:pt>
                <c:pt idx="15516">
                  <c:v>77.2</c:v>
                </c:pt>
                <c:pt idx="15517">
                  <c:v>79</c:v>
                </c:pt>
                <c:pt idx="15518">
                  <c:v>79.900000000000006</c:v>
                </c:pt>
                <c:pt idx="15519">
                  <c:v>79.900000000000006</c:v>
                </c:pt>
                <c:pt idx="15520">
                  <c:v>79.900000000000006</c:v>
                </c:pt>
                <c:pt idx="15521">
                  <c:v>80.8</c:v>
                </c:pt>
                <c:pt idx="15522">
                  <c:v>81.7</c:v>
                </c:pt>
                <c:pt idx="15523">
                  <c:v>82.4</c:v>
                </c:pt>
                <c:pt idx="15524">
                  <c:v>91</c:v>
                </c:pt>
                <c:pt idx="15525">
                  <c:v>91.9</c:v>
                </c:pt>
                <c:pt idx="15526">
                  <c:v>87.6</c:v>
                </c:pt>
                <c:pt idx="15527">
                  <c:v>88</c:v>
                </c:pt>
                <c:pt idx="15528">
                  <c:v>88.5</c:v>
                </c:pt>
                <c:pt idx="15529">
                  <c:v>88.9</c:v>
                </c:pt>
                <c:pt idx="15530">
                  <c:v>89.8</c:v>
                </c:pt>
                <c:pt idx="15531">
                  <c:v>90.5</c:v>
                </c:pt>
                <c:pt idx="15532">
                  <c:v>91</c:v>
                </c:pt>
                <c:pt idx="15533">
                  <c:v>91.9</c:v>
                </c:pt>
                <c:pt idx="15534">
                  <c:v>91</c:v>
                </c:pt>
                <c:pt idx="15535">
                  <c:v>90.5</c:v>
                </c:pt>
                <c:pt idx="15536">
                  <c:v>90.9</c:v>
                </c:pt>
                <c:pt idx="15537">
                  <c:v>89.6</c:v>
                </c:pt>
                <c:pt idx="15538">
                  <c:v>88.5</c:v>
                </c:pt>
                <c:pt idx="15539">
                  <c:v>87.6</c:v>
                </c:pt>
                <c:pt idx="15540">
                  <c:v>87.3</c:v>
                </c:pt>
                <c:pt idx="15541">
                  <c:v>86.7</c:v>
                </c:pt>
                <c:pt idx="15542">
                  <c:v>86.5</c:v>
                </c:pt>
                <c:pt idx="15543">
                  <c:v>85.8</c:v>
                </c:pt>
                <c:pt idx="15544">
                  <c:v>82.6</c:v>
                </c:pt>
                <c:pt idx="15545">
                  <c:v>78.599999999999994</c:v>
                </c:pt>
                <c:pt idx="15546">
                  <c:v>76.599999999999994</c:v>
                </c:pt>
                <c:pt idx="15547">
                  <c:v>75.900000000000006</c:v>
                </c:pt>
                <c:pt idx="15548">
                  <c:v>75.7</c:v>
                </c:pt>
                <c:pt idx="15549">
                  <c:v>78.3</c:v>
                </c:pt>
                <c:pt idx="15550">
                  <c:v>77.400000000000006</c:v>
                </c:pt>
                <c:pt idx="15551">
                  <c:v>77</c:v>
                </c:pt>
                <c:pt idx="15552">
                  <c:v>77.7</c:v>
                </c:pt>
                <c:pt idx="15553">
                  <c:v>77</c:v>
                </c:pt>
                <c:pt idx="15554">
                  <c:v>77</c:v>
                </c:pt>
                <c:pt idx="15555">
                  <c:v>76.5</c:v>
                </c:pt>
                <c:pt idx="15556">
                  <c:v>75.900000000000006</c:v>
                </c:pt>
                <c:pt idx="15557">
                  <c:v>77</c:v>
                </c:pt>
                <c:pt idx="15558">
                  <c:v>75.400000000000006</c:v>
                </c:pt>
                <c:pt idx="15559">
                  <c:v>75</c:v>
                </c:pt>
                <c:pt idx="15560">
                  <c:v>74.3</c:v>
                </c:pt>
                <c:pt idx="15561">
                  <c:v>75.599999999999994</c:v>
                </c:pt>
                <c:pt idx="15562">
                  <c:v>74.5</c:v>
                </c:pt>
                <c:pt idx="15563">
                  <c:v>75.2</c:v>
                </c:pt>
                <c:pt idx="15564">
                  <c:v>73.900000000000006</c:v>
                </c:pt>
                <c:pt idx="15565">
                  <c:v>73.900000000000006</c:v>
                </c:pt>
                <c:pt idx="15566">
                  <c:v>73.900000000000006</c:v>
                </c:pt>
                <c:pt idx="15567">
                  <c:v>73</c:v>
                </c:pt>
                <c:pt idx="15568">
                  <c:v>72.3</c:v>
                </c:pt>
                <c:pt idx="15569">
                  <c:v>72</c:v>
                </c:pt>
                <c:pt idx="15570">
                  <c:v>73.400000000000006</c:v>
                </c:pt>
                <c:pt idx="15571">
                  <c:v>71.599999999999994</c:v>
                </c:pt>
                <c:pt idx="15572">
                  <c:v>70.900000000000006</c:v>
                </c:pt>
                <c:pt idx="15573">
                  <c:v>70.3</c:v>
                </c:pt>
                <c:pt idx="15574">
                  <c:v>70.5</c:v>
                </c:pt>
                <c:pt idx="15575">
                  <c:v>69.8</c:v>
                </c:pt>
                <c:pt idx="15576">
                  <c:v>69.599999999999994</c:v>
                </c:pt>
                <c:pt idx="15577">
                  <c:v>69.3</c:v>
                </c:pt>
                <c:pt idx="15578">
                  <c:v>70.2</c:v>
                </c:pt>
                <c:pt idx="15579">
                  <c:v>69.599999999999994</c:v>
                </c:pt>
                <c:pt idx="15580">
                  <c:v>69.400000000000006</c:v>
                </c:pt>
                <c:pt idx="15581">
                  <c:v>69.400000000000006</c:v>
                </c:pt>
                <c:pt idx="15582">
                  <c:v>71.8</c:v>
                </c:pt>
                <c:pt idx="15583">
                  <c:v>72</c:v>
                </c:pt>
                <c:pt idx="15584">
                  <c:v>70.5</c:v>
                </c:pt>
                <c:pt idx="15585">
                  <c:v>69.8</c:v>
                </c:pt>
                <c:pt idx="15586">
                  <c:v>69.400000000000006</c:v>
                </c:pt>
                <c:pt idx="15587">
                  <c:v>69.400000000000006</c:v>
                </c:pt>
                <c:pt idx="15588">
                  <c:v>69.3</c:v>
                </c:pt>
                <c:pt idx="15589">
                  <c:v>69.599999999999994</c:v>
                </c:pt>
                <c:pt idx="15590">
                  <c:v>69.3</c:v>
                </c:pt>
                <c:pt idx="15591">
                  <c:v>69.099999999999994</c:v>
                </c:pt>
                <c:pt idx="15592">
                  <c:v>69.3</c:v>
                </c:pt>
                <c:pt idx="15593">
                  <c:v>69.099999999999994</c:v>
                </c:pt>
                <c:pt idx="15594">
                  <c:v>69.099999999999994</c:v>
                </c:pt>
                <c:pt idx="15595">
                  <c:v>71.099999999999994</c:v>
                </c:pt>
                <c:pt idx="15596">
                  <c:v>69.8</c:v>
                </c:pt>
                <c:pt idx="15597">
                  <c:v>69.3</c:v>
                </c:pt>
                <c:pt idx="15598">
                  <c:v>68.900000000000006</c:v>
                </c:pt>
                <c:pt idx="15599">
                  <c:v>68.7</c:v>
                </c:pt>
                <c:pt idx="15600">
                  <c:v>69.599999999999994</c:v>
                </c:pt>
                <c:pt idx="15601">
                  <c:v>69.400000000000006</c:v>
                </c:pt>
                <c:pt idx="15602">
                  <c:v>68.900000000000006</c:v>
                </c:pt>
                <c:pt idx="15603">
                  <c:v>68.7</c:v>
                </c:pt>
                <c:pt idx="15604">
                  <c:v>68.7</c:v>
                </c:pt>
                <c:pt idx="15605">
                  <c:v>69.3</c:v>
                </c:pt>
                <c:pt idx="15606">
                  <c:v>69.400000000000006</c:v>
                </c:pt>
                <c:pt idx="15607">
                  <c:v>70</c:v>
                </c:pt>
                <c:pt idx="15608">
                  <c:v>70.5</c:v>
                </c:pt>
                <c:pt idx="15609">
                  <c:v>71.099999999999994</c:v>
                </c:pt>
                <c:pt idx="15610">
                  <c:v>71.400000000000006</c:v>
                </c:pt>
                <c:pt idx="15611">
                  <c:v>71.8</c:v>
                </c:pt>
                <c:pt idx="15612">
                  <c:v>71.8</c:v>
                </c:pt>
                <c:pt idx="15613">
                  <c:v>72.7</c:v>
                </c:pt>
                <c:pt idx="15614">
                  <c:v>74.3</c:v>
                </c:pt>
                <c:pt idx="15615">
                  <c:v>74.8</c:v>
                </c:pt>
                <c:pt idx="15616">
                  <c:v>75.2</c:v>
                </c:pt>
                <c:pt idx="15617">
                  <c:v>75.900000000000006</c:v>
                </c:pt>
                <c:pt idx="15618">
                  <c:v>76.099999999999994</c:v>
                </c:pt>
                <c:pt idx="15619">
                  <c:v>77.900000000000006</c:v>
                </c:pt>
                <c:pt idx="15620">
                  <c:v>79.7</c:v>
                </c:pt>
                <c:pt idx="15621">
                  <c:v>79.7</c:v>
                </c:pt>
                <c:pt idx="15622">
                  <c:v>81.7</c:v>
                </c:pt>
                <c:pt idx="15623">
                  <c:v>83.7</c:v>
                </c:pt>
                <c:pt idx="15624">
                  <c:v>85.1</c:v>
                </c:pt>
                <c:pt idx="15625">
                  <c:v>85.8</c:v>
                </c:pt>
                <c:pt idx="15626">
                  <c:v>87.1</c:v>
                </c:pt>
                <c:pt idx="15627">
                  <c:v>89.4</c:v>
                </c:pt>
                <c:pt idx="15628">
                  <c:v>87.6</c:v>
                </c:pt>
                <c:pt idx="15629">
                  <c:v>88</c:v>
                </c:pt>
                <c:pt idx="15630">
                  <c:v>88.3</c:v>
                </c:pt>
                <c:pt idx="15631">
                  <c:v>89.1</c:v>
                </c:pt>
                <c:pt idx="15632">
                  <c:v>89.8</c:v>
                </c:pt>
                <c:pt idx="15633">
                  <c:v>90.3</c:v>
                </c:pt>
                <c:pt idx="15634">
                  <c:v>91.9</c:v>
                </c:pt>
                <c:pt idx="15635">
                  <c:v>93.6</c:v>
                </c:pt>
                <c:pt idx="15636">
                  <c:v>94.3</c:v>
                </c:pt>
                <c:pt idx="15637">
                  <c:v>95</c:v>
                </c:pt>
                <c:pt idx="15638">
                  <c:v>93</c:v>
                </c:pt>
                <c:pt idx="15639">
                  <c:v>91.4</c:v>
                </c:pt>
                <c:pt idx="15640">
                  <c:v>92.8</c:v>
                </c:pt>
                <c:pt idx="15641">
                  <c:v>94.6</c:v>
                </c:pt>
                <c:pt idx="15642">
                  <c:v>94.5</c:v>
                </c:pt>
                <c:pt idx="15643">
                  <c:v>94.1</c:v>
                </c:pt>
                <c:pt idx="15644">
                  <c:v>93.9</c:v>
                </c:pt>
                <c:pt idx="15645">
                  <c:v>92.7</c:v>
                </c:pt>
                <c:pt idx="15646">
                  <c:v>90.7</c:v>
                </c:pt>
                <c:pt idx="15647">
                  <c:v>88.7</c:v>
                </c:pt>
                <c:pt idx="15648">
                  <c:v>87.4</c:v>
                </c:pt>
                <c:pt idx="15649">
                  <c:v>86.2</c:v>
                </c:pt>
                <c:pt idx="15650">
                  <c:v>84.6</c:v>
                </c:pt>
                <c:pt idx="15651">
                  <c:v>83.3</c:v>
                </c:pt>
                <c:pt idx="15652">
                  <c:v>81.900000000000006</c:v>
                </c:pt>
                <c:pt idx="15653">
                  <c:v>81.3</c:v>
                </c:pt>
                <c:pt idx="15654">
                  <c:v>79.900000000000006</c:v>
                </c:pt>
                <c:pt idx="15655">
                  <c:v>80.099999999999994</c:v>
                </c:pt>
                <c:pt idx="15656">
                  <c:v>78.3</c:v>
                </c:pt>
                <c:pt idx="15657">
                  <c:v>79.2</c:v>
                </c:pt>
                <c:pt idx="15658">
                  <c:v>77.900000000000006</c:v>
                </c:pt>
                <c:pt idx="15659">
                  <c:v>77.7</c:v>
                </c:pt>
                <c:pt idx="15660">
                  <c:v>77.5</c:v>
                </c:pt>
                <c:pt idx="15661">
                  <c:v>78.3</c:v>
                </c:pt>
                <c:pt idx="15662">
                  <c:v>77.900000000000006</c:v>
                </c:pt>
                <c:pt idx="15663">
                  <c:v>78.400000000000006</c:v>
                </c:pt>
                <c:pt idx="15664">
                  <c:v>77.5</c:v>
                </c:pt>
                <c:pt idx="15665">
                  <c:v>76.599999999999994</c:v>
                </c:pt>
                <c:pt idx="15666">
                  <c:v>76.099999999999994</c:v>
                </c:pt>
                <c:pt idx="15667">
                  <c:v>76.599999999999994</c:v>
                </c:pt>
                <c:pt idx="15668">
                  <c:v>75.400000000000006</c:v>
                </c:pt>
                <c:pt idx="15669">
                  <c:v>74.7</c:v>
                </c:pt>
                <c:pt idx="15670">
                  <c:v>75.400000000000006</c:v>
                </c:pt>
                <c:pt idx="15671">
                  <c:v>74.099999999999994</c:v>
                </c:pt>
                <c:pt idx="15672">
                  <c:v>73</c:v>
                </c:pt>
                <c:pt idx="15673">
                  <c:v>73.400000000000006</c:v>
                </c:pt>
                <c:pt idx="15674">
                  <c:v>72.099999999999994</c:v>
                </c:pt>
                <c:pt idx="15675">
                  <c:v>71.599999999999994</c:v>
                </c:pt>
                <c:pt idx="15676">
                  <c:v>71.2</c:v>
                </c:pt>
                <c:pt idx="15677">
                  <c:v>71.8</c:v>
                </c:pt>
                <c:pt idx="15678">
                  <c:v>71.8</c:v>
                </c:pt>
                <c:pt idx="15679">
                  <c:v>71.8</c:v>
                </c:pt>
                <c:pt idx="15680">
                  <c:v>71.400000000000006</c:v>
                </c:pt>
                <c:pt idx="15681">
                  <c:v>72</c:v>
                </c:pt>
                <c:pt idx="15682">
                  <c:v>70.900000000000006</c:v>
                </c:pt>
                <c:pt idx="15683">
                  <c:v>70.5</c:v>
                </c:pt>
                <c:pt idx="15684">
                  <c:v>70.2</c:v>
                </c:pt>
                <c:pt idx="15685">
                  <c:v>70</c:v>
                </c:pt>
                <c:pt idx="15686">
                  <c:v>70.5</c:v>
                </c:pt>
                <c:pt idx="15687">
                  <c:v>70.2</c:v>
                </c:pt>
                <c:pt idx="15688">
                  <c:v>69.400000000000006</c:v>
                </c:pt>
                <c:pt idx="15689">
                  <c:v>68.900000000000006</c:v>
                </c:pt>
                <c:pt idx="15690">
                  <c:v>68.900000000000006</c:v>
                </c:pt>
                <c:pt idx="15691">
                  <c:v>70.2</c:v>
                </c:pt>
                <c:pt idx="15692">
                  <c:v>70.2</c:v>
                </c:pt>
                <c:pt idx="15693">
                  <c:v>70.5</c:v>
                </c:pt>
                <c:pt idx="15694">
                  <c:v>69.400000000000006</c:v>
                </c:pt>
                <c:pt idx="15695">
                  <c:v>68.7</c:v>
                </c:pt>
                <c:pt idx="15696">
                  <c:v>68.2</c:v>
                </c:pt>
                <c:pt idx="15697">
                  <c:v>68.2</c:v>
                </c:pt>
                <c:pt idx="15698">
                  <c:v>68.2</c:v>
                </c:pt>
                <c:pt idx="15699">
                  <c:v>68.2</c:v>
                </c:pt>
                <c:pt idx="15700">
                  <c:v>68.400000000000006</c:v>
                </c:pt>
                <c:pt idx="15701">
                  <c:v>68.400000000000006</c:v>
                </c:pt>
                <c:pt idx="15702">
                  <c:v>72.5</c:v>
                </c:pt>
                <c:pt idx="15703">
                  <c:v>75.400000000000006</c:v>
                </c:pt>
                <c:pt idx="15704">
                  <c:v>78.3</c:v>
                </c:pt>
                <c:pt idx="15705">
                  <c:v>79.7</c:v>
                </c:pt>
                <c:pt idx="15706">
                  <c:v>80.400000000000006</c:v>
                </c:pt>
                <c:pt idx="15707">
                  <c:v>81.099999999999994</c:v>
                </c:pt>
                <c:pt idx="15708">
                  <c:v>81.3</c:v>
                </c:pt>
                <c:pt idx="15709">
                  <c:v>82.2</c:v>
                </c:pt>
                <c:pt idx="15710">
                  <c:v>82.6</c:v>
                </c:pt>
                <c:pt idx="15711">
                  <c:v>83.1</c:v>
                </c:pt>
                <c:pt idx="15712">
                  <c:v>85.8</c:v>
                </c:pt>
                <c:pt idx="15713">
                  <c:v>85.6</c:v>
                </c:pt>
                <c:pt idx="15714">
                  <c:v>89.2</c:v>
                </c:pt>
                <c:pt idx="15715">
                  <c:v>90.5</c:v>
                </c:pt>
                <c:pt idx="15716">
                  <c:v>89.8</c:v>
                </c:pt>
                <c:pt idx="15717">
                  <c:v>91.8</c:v>
                </c:pt>
                <c:pt idx="15718">
                  <c:v>84.6</c:v>
                </c:pt>
                <c:pt idx="15719">
                  <c:v>86.9</c:v>
                </c:pt>
                <c:pt idx="15720">
                  <c:v>89.6</c:v>
                </c:pt>
                <c:pt idx="15721">
                  <c:v>91.2</c:v>
                </c:pt>
                <c:pt idx="15722">
                  <c:v>91.9</c:v>
                </c:pt>
                <c:pt idx="15723">
                  <c:v>91.8</c:v>
                </c:pt>
                <c:pt idx="15724">
                  <c:v>90.5</c:v>
                </c:pt>
                <c:pt idx="15725">
                  <c:v>90.3</c:v>
                </c:pt>
                <c:pt idx="15726">
                  <c:v>89.1</c:v>
                </c:pt>
                <c:pt idx="15727">
                  <c:v>85.3</c:v>
                </c:pt>
                <c:pt idx="15728">
                  <c:v>82.9</c:v>
                </c:pt>
                <c:pt idx="15729">
                  <c:v>82</c:v>
                </c:pt>
                <c:pt idx="15730">
                  <c:v>82.8</c:v>
                </c:pt>
                <c:pt idx="15731">
                  <c:v>83.5</c:v>
                </c:pt>
                <c:pt idx="15732">
                  <c:v>83.1</c:v>
                </c:pt>
                <c:pt idx="15733">
                  <c:v>82.9</c:v>
                </c:pt>
                <c:pt idx="15734">
                  <c:v>82.8</c:v>
                </c:pt>
                <c:pt idx="15735">
                  <c:v>80.8</c:v>
                </c:pt>
                <c:pt idx="15736">
                  <c:v>78.099999999999994</c:v>
                </c:pt>
                <c:pt idx="15737">
                  <c:v>76.8</c:v>
                </c:pt>
                <c:pt idx="15738">
                  <c:v>77.2</c:v>
                </c:pt>
                <c:pt idx="15739">
                  <c:v>77.900000000000006</c:v>
                </c:pt>
                <c:pt idx="15740">
                  <c:v>80.400000000000006</c:v>
                </c:pt>
                <c:pt idx="15741">
                  <c:v>83.1</c:v>
                </c:pt>
                <c:pt idx="15742">
                  <c:v>84.7</c:v>
                </c:pt>
                <c:pt idx="15743">
                  <c:v>83.7</c:v>
                </c:pt>
                <c:pt idx="15744">
                  <c:v>81</c:v>
                </c:pt>
                <c:pt idx="15745">
                  <c:v>79.3</c:v>
                </c:pt>
                <c:pt idx="15746">
                  <c:v>78.3</c:v>
                </c:pt>
                <c:pt idx="15747">
                  <c:v>77</c:v>
                </c:pt>
                <c:pt idx="15748">
                  <c:v>75.7</c:v>
                </c:pt>
                <c:pt idx="15749">
                  <c:v>76.599999999999994</c:v>
                </c:pt>
                <c:pt idx="15750">
                  <c:v>76.5</c:v>
                </c:pt>
                <c:pt idx="15751">
                  <c:v>74.8</c:v>
                </c:pt>
                <c:pt idx="15752">
                  <c:v>74.5</c:v>
                </c:pt>
                <c:pt idx="15753">
                  <c:v>73.8</c:v>
                </c:pt>
                <c:pt idx="15754">
                  <c:v>73.599999999999994</c:v>
                </c:pt>
                <c:pt idx="15755">
                  <c:v>73.8</c:v>
                </c:pt>
                <c:pt idx="15756">
                  <c:v>73.599999999999994</c:v>
                </c:pt>
                <c:pt idx="15757">
                  <c:v>73.400000000000006</c:v>
                </c:pt>
                <c:pt idx="15758">
                  <c:v>72.7</c:v>
                </c:pt>
                <c:pt idx="15759">
                  <c:v>72.099999999999994</c:v>
                </c:pt>
                <c:pt idx="15760">
                  <c:v>72.099999999999994</c:v>
                </c:pt>
                <c:pt idx="15761">
                  <c:v>71.8</c:v>
                </c:pt>
                <c:pt idx="15762">
                  <c:v>71.400000000000006</c:v>
                </c:pt>
                <c:pt idx="15763">
                  <c:v>72.7</c:v>
                </c:pt>
                <c:pt idx="15764">
                  <c:v>71.2</c:v>
                </c:pt>
                <c:pt idx="15765">
                  <c:v>70.900000000000006</c:v>
                </c:pt>
                <c:pt idx="15766">
                  <c:v>71.099999999999994</c:v>
                </c:pt>
                <c:pt idx="15767">
                  <c:v>70.900000000000006</c:v>
                </c:pt>
                <c:pt idx="15768">
                  <c:v>70.900000000000006</c:v>
                </c:pt>
                <c:pt idx="15769">
                  <c:v>70.3</c:v>
                </c:pt>
                <c:pt idx="15770">
                  <c:v>70.2</c:v>
                </c:pt>
                <c:pt idx="15771">
                  <c:v>70</c:v>
                </c:pt>
                <c:pt idx="15772">
                  <c:v>69.8</c:v>
                </c:pt>
                <c:pt idx="15773">
                  <c:v>69.8</c:v>
                </c:pt>
                <c:pt idx="15774">
                  <c:v>70</c:v>
                </c:pt>
                <c:pt idx="15775">
                  <c:v>69.8</c:v>
                </c:pt>
                <c:pt idx="15776">
                  <c:v>69.8</c:v>
                </c:pt>
                <c:pt idx="15777">
                  <c:v>69.400000000000006</c:v>
                </c:pt>
                <c:pt idx="15778">
                  <c:v>69.3</c:v>
                </c:pt>
                <c:pt idx="15779">
                  <c:v>68.900000000000006</c:v>
                </c:pt>
                <c:pt idx="15780">
                  <c:v>69.099999999999994</c:v>
                </c:pt>
                <c:pt idx="15781">
                  <c:v>68.900000000000006</c:v>
                </c:pt>
                <c:pt idx="15782">
                  <c:v>68.5</c:v>
                </c:pt>
                <c:pt idx="15783">
                  <c:v>68.5</c:v>
                </c:pt>
                <c:pt idx="15784">
                  <c:v>68.400000000000006</c:v>
                </c:pt>
                <c:pt idx="15785">
                  <c:v>68.2</c:v>
                </c:pt>
                <c:pt idx="15786">
                  <c:v>68</c:v>
                </c:pt>
                <c:pt idx="15787">
                  <c:v>67.8</c:v>
                </c:pt>
                <c:pt idx="15788">
                  <c:v>69.3</c:v>
                </c:pt>
                <c:pt idx="15789">
                  <c:v>68.7</c:v>
                </c:pt>
                <c:pt idx="15790">
                  <c:v>68.2</c:v>
                </c:pt>
                <c:pt idx="15791">
                  <c:v>68</c:v>
                </c:pt>
                <c:pt idx="15792">
                  <c:v>67.8</c:v>
                </c:pt>
                <c:pt idx="15793">
                  <c:v>67.5</c:v>
                </c:pt>
                <c:pt idx="15794">
                  <c:v>67.3</c:v>
                </c:pt>
                <c:pt idx="15795">
                  <c:v>67.8</c:v>
                </c:pt>
                <c:pt idx="15796">
                  <c:v>69.099999999999994</c:v>
                </c:pt>
                <c:pt idx="15797">
                  <c:v>72.7</c:v>
                </c:pt>
                <c:pt idx="15798">
                  <c:v>74.8</c:v>
                </c:pt>
                <c:pt idx="15799">
                  <c:v>77.7</c:v>
                </c:pt>
                <c:pt idx="15800">
                  <c:v>81</c:v>
                </c:pt>
                <c:pt idx="15801">
                  <c:v>73.599999999999994</c:v>
                </c:pt>
                <c:pt idx="15802">
                  <c:v>75.2</c:v>
                </c:pt>
                <c:pt idx="15803">
                  <c:v>76.3</c:v>
                </c:pt>
                <c:pt idx="15804">
                  <c:v>77.2</c:v>
                </c:pt>
                <c:pt idx="15805">
                  <c:v>78.099999999999994</c:v>
                </c:pt>
                <c:pt idx="15806">
                  <c:v>79.2</c:v>
                </c:pt>
                <c:pt idx="15807">
                  <c:v>80.099999999999994</c:v>
                </c:pt>
                <c:pt idx="15808">
                  <c:v>81.099999999999994</c:v>
                </c:pt>
                <c:pt idx="15809">
                  <c:v>90.7</c:v>
                </c:pt>
                <c:pt idx="15810">
                  <c:v>83.1</c:v>
                </c:pt>
                <c:pt idx="15811">
                  <c:v>84.6</c:v>
                </c:pt>
                <c:pt idx="15812">
                  <c:v>86.4</c:v>
                </c:pt>
                <c:pt idx="15813">
                  <c:v>87.1</c:v>
                </c:pt>
                <c:pt idx="15814">
                  <c:v>87.8</c:v>
                </c:pt>
                <c:pt idx="15815">
                  <c:v>89.4</c:v>
                </c:pt>
                <c:pt idx="15816">
                  <c:v>89.8</c:v>
                </c:pt>
                <c:pt idx="15817">
                  <c:v>89.8</c:v>
                </c:pt>
                <c:pt idx="15818">
                  <c:v>90</c:v>
                </c:pt>
                <c:pt idx="15819">
                  <c:v>90</c:v>
                </c:pt>
                <c:pt idx="15820">
                  <c:v>90.1</c:v>
                </c:pt>
                <c:pt idx="15821">
                  <c:v>90.5</c:v>
                </c:pt>
                <c:pt idx="15822">
                  <c:v>92.5</c:v>
                </c:pt>
                <c:pt idx="15823">
                  <c:v>94.1</c:v>
                </c:pt>
                <c:pt idx="15824">
                  <c:v>92.3</c:v>
                </c:pt>
                <c:pt idx="15825">
                  <c:v>92.7</c:v>
                </c:pt>
                <c:pt idx="15826">
                  <c:v>93.7</c:v>
                </c:pt>
                <c:pt idx="15827">
                  <c:v>92.8</c:v>
                </c:pt>
                <c:pt idx="15828">
                  <c:v>93.7</c:v>
                </c:pt>
                <c:pt idx="15829">
                  <c:v>94.1</c:v>
                </c:pt>
                <c:pt idx="15830">
                  <c:v>93.2</c:v>
                </c:pt>
                <c:pt idx="15831">
                  <c:v>94.5</c:v>
                </c:pt>
                <c:pt idx="15832">
                  <c:v>96.6</c:v>
                </c:pt>
                <c:pt idx="15833">
                  <c:v>95.7</c:v>
                </c:pt>
                <c:pt idx="15834">
                  <c:v>95.4</c:v>
                </c:pt>
                <c:pt idx="15835">
                  <c:v>95.2</c:v>
                </c:pt>
                <c:pt idx="15836">
                  <c:v>93.7</c:v>
                </c:pt>
                <c:pt idx="15837">
                  <c:v>94.8</c:v>
                </c:pt>
                <c:pt idx="15838">
                  <c:v>95.4</c:v>
                </c:pt>
                <c:pt idx="15839">
                  <c:v>93</c:v>
                </c:pt>
                <c:pt idx="15840">
                  <c:v>90</c:v>
                </c:pt>
                <c:pt idx="15841">
                  <c:v>87.8</c:v>
                </c:pt>
                <c:pt idx="15842">
                  <c:v>86.2</c:v>
                </c:pt>
                <c:pt idx="15843">
                  <c:v>84.4</c:v>
                </c:pt>
                <c:pt idx="15844">
                  <c:v>83.5</c:v>
                </c:pt>
                <c:pt idx="15845">
                  <c:v>81.5</c:v>
                </c:pt>
                <c:pt idx="15846">
                  <c:v>80.400000000000006</c:v>
                </c:pt>
                <c:pt idx="15847">
                  <c:v>79.5</c:v>
                </c:pt>
                <c:pt idx="15848">
                  <c:v>78.599999999999994</c:v>
                </c:pt>
                <c:pt idx="15849">
                  <c:v>77.900000000000006</c:v>
                </c:pt>
                <c:pt idx="15850">
                  <c:v>78.599999999999994</c:v>
                </c:pt>
                <c:pt idx="15851">
                  <c:v>78.3</c:v>
                </c:pt>
                <c:pt idx="15852">
                  <c:v>77.400000000000006</c:v>
                </c:pt>
                <c:pt idx="15853">
                  <c:v>77.400000000000006</c:v>
                </c:pt>
                <c:pt idx="15854">
                  <c:v>76.3</c:v>
                </c:pt>
                <c:pt idx="15855">
                  <c:v>75.900000000000006</c:v>
                </c:pt>
                <c:pt idx="15856">
                  <c:v>75.599999999999994</c:v>
                </c:pt>
                <c:pt idx="15857">
                  <c:v>74.8</c:v>
                </c:pt>
                <c:pt idx="15858">
                  <c:v>73.5</c:v>
                </c:pt>
                <c:pt idx="15859">
                  <c:v>72.099999999999994</c:v>
                </c:pt>
                <c:pt idx="15860">
                  <c:v>74</c:v>
                </c:pt>
                <c:pt idx="15861">
                  <c:v>72.5</c:v>
                </c:pt>
                <c:pt idx="15862">
                  <c:v>71.599999999999994</c:v>
                </c:pt>
                <c:pt idx="15863">
                  <c:v>71.400000000000006</c:v>
                </c:pt>
                <c:pt idx="15864">
                  <c:v>71.2</c:v>
                </c:pt>
                <c:pt idx="15865">
                  <c:v>70.7</c:v>
                </c:pt>
                <c:pt idx="15866">
                  <c:v>70.7</c:v>
                </c:pt>
                <c:pt idx="15867">
                  <c:v>70.5</c:v>
                </c:pt>
                <c:pt idx="15868">
                  <c:v>70.2</c:v>
                </c:pt>
                <c:pt idx="15869">
                  <c:v>70.2</c:v>
                </c:pt>
                <c:pt idx="15870">
                  <c:v>70.099999999999994</c:v>
                </c:pt>
                <c:pt idx="15871">
                  <c:v>71</c:v>
                </c:pt>
                <c:pt idx="15872">
                  <c:v>71.8</c:v>
                </c:pt>
                <c:pt idx="15873">
                  <c:v>70.099999999999994</c:v>
                </c:pt>
                <c:pt idx="15874">
                  <c:v>71.099999999999994</c:v>
                </c:pt>
                <c:pt idx="15875">
                  <c:v>69.8</c:v>
                </c:pt>
                <c:pt idx="15876">
                  <c:v>69.3</c:v>
                </c:pt>
                <c:pt idx="15877">
                  <c:v>70.5</c:v>
                </c:pt>
                <c:pt idx="15878">
                  <c:v>68.599999999999994</c:v>
                </c:pt>
                <c:pt idx="15879">
                  <c:v>68.099999999999994</c:v>
                </c:pt>
                <c:pt idx="15880">
                  <c:v>68.099999999999994</c:v>
                </c:pt>
                <c:pt idx="15881">
                  <c:v>69.400000000000006</c:v>
                </c:pt>
                <c:pt idx="15882">
                  <c:v>69.3</c:v>
                </c:pt>
                <c:pt idx="15883">
                  <c:v>68.099999999999994</c:v>
                </c:pt>
                <c:pt idx="15884">
                  <c:v>69.599999999999994</c:v>
                </c:pt>
                <c:pt idx="15885">
                  <c:v>69.599999999999994</c:v>
                </c:pt>
                <c:pt idx="15886">
                  <c:v>66.599999999999994</c:v>
                </c:pt>
                <c:pt idx="15887">
                  <c:v>66.599999999999994</c:v>
                </c:pt>
                <c:pt idx="15888">
                  <c:v>66.599999999999994</c:v>
                </c:pt>
                <c:pt idx="15889">
                  <c:v>66.7</c:v>
                </c:pt>
                <c:pt idx="15890">
                  <c:v>66.7</c:v>
                </c:pt>
                <c:pt idx="15891">
                  <c:v>66.7</c:v>
                </c:pt>
                <c:pt idx="15892">
                  <c:v>66.7</c:v>
                </c:pt>
                <c:pt idx="15893">
                  <c:v>67.099999999999994</c:v>
                </c:pt>
                <c:pt idx="15894">
                  <c:v>67.5</c:v>
                </c:pt>
                <c:pt idx="15895">
                  <c:v>68.2</c:v>
                </c:pt>
                <c:pt idx="15896">
                  <c:v>77.599999999999994</c:v>
                </c:pt>
                <c:pt idx="15897">
                  <c:v>70.7</c:v>
                </c:pt>
                <c:pt idx="15898">
                  <c:v>82.1</c:v>
                </c:pt>
                <c:pt idx="15899">
                  <c:v>89</c:v>
                </c:pt>
                <c:pt idx="15900">
                  <c:v>88.9</c:v>
                </c:pt>
                <c:pt idx="15901">
                  <c:v>90.5</c:v>
                </c:pt>
                <c:pt idx="15902">
                  <c:v>93.4</c:v>
                </c:pt>
                <c:pt idx="15903">
                  <c:v>84</c:v>
                </c:pt>
                <c:pt idx="15904">
                  <c:v>85.3</c:v>
                </c:pt>
                <c:pt idx="15905">
                  <c:v>86.4</c:v>
                </c:pt>
                <c:pt idx="15906">
                  <c:v>87.8</c:v>
                </c:pt>
                <c:pt idx="15907">
                  <c:v>90</c:v>
                </c:pt>
                <c:pt idx="15908">
                  <c:v>91.8</c:v>
                </c:pt>
                <c:pt idx="15909">
                  <c:v>92.7</c:v>
                </c:pt>
                <c:pt idx="15910">
                  <c:v>93.6</c:v>
                </c:pt>
                <c:pt idx="15911">
                  <c:v>94.1</c:v>
                </c:pt>
                <c:pt idx="15912">
                  <c:v>93.7</c:v>
                </c:pt>
                <c:pt idx="15913">
                  <c:v>94.6</c:v>
                </c:pt>
                <c:pt idx="15914">
                  <c:v>96.3</c:v>
                </c:pt>
                <c:pt idx="15915">
                  <c:v>96.3</c:v>
                </c:pt>
                <c:pt idx="15916">
                  <c:v>97</c:v>
                </c:pt>
                <c:pt idx="15917">
                  <c:v>98.1</c:v>
                </c:pt>
                <c:pt idx="15918">
                  <c:v>98.2</c:v>
                </c:pt>
                <c:pt idx="15919">
                  <c:v>98.1</c:v>
                </c:pt>
                <c:pt idx="15920">
                  <c:v>99</c:v>
                </c:pt>
                <c:pt idx="15921">
                  <c:v>100</c:v>
                </c:pt>
                <c:pt idx="15922">
                  <c:v>99.9</c:v>
                </c:pt>
                <c:pt idx="15923">
                  <c:v>99.5</c:v>
                </c:pt>
                <c:pt idx="15924">
                  <c:v>99.5</c:v>
                </c:pt>
                <c:pt idx="15925">
                  <c:v>99.9</c:v>
                </c:pt>
                <c:pt idx="15926">
                  <c:v>99.9</c:v>
                </c:pt>
                <c:pt idx="15927">
                  <c:v>99.5</c:v>
                </c:pt>
                <c:pt idx="15928">
                  <c:v>98.6</c:v>
                </c:pt>
                <c:pt idx="15929">
                  <c:v>98.8</c:v>
                </c:pt>
                <c:pt idx="15930">
                  <c:v>99</c:v>
                </c:pt>
                <c:pt idx="15931">
                  <c:v>98.6</c:v>
                </c:pt>
                <c:pt idx="15932">
                  <c:v>98.2</c:v>
                </c:pt>
                <c:pt idx="15933">
                  <c:v>97.3</c:v>
                </c:pt>
                <c:pt idx="15934">
                  <c:v>96.8</c:v>
                </c:pt>
                <c:pt idx="15935">
                  <c:v>95.2</c:v>
                </c:pt>
                <c:pt idx="15936">
                  <c:v>92.1</c:v>
                </c:pt>
                <c:pt idx="15937">
                  <c:v>89.2</c:v>
                </c:pt>
                <c:pt idx="15938">
                  <c:v>87.3</c:v>
                </c:pt>
                <c:pt idx="15939">
                  <c:v>85.3</c:v>
                </c:pt>
                <c:pt idx="15940">
                  <c:v>83.8</c:v>
                </c:pt>
                <c:pt idx="15941">
                  <c:v>82.2</c:v>
                </c:pt>
                <c:pt idx="15942">
                  <c:v>81.7</c:v>
                </c:pt>
                <c:pt idx="15943">
                  <c:v>80.400000000000006</c:v>
                </c:pt>
                <c:pt idx="15944">
                  <c:v>79.3</c:v>
                </c:pt>
                <c:pt idx="15945">
                  <c:v>78.3</c:v>
                </c:pt>
                <c:pt idx="15946">
                  <c:v>78.599999999999994</c:v>
                </c:pt>
                <c:pt idx="15947">
                  <c:v>77.7</c:v>
                </c:pt>
                <c:pt idx="15948">
                  <c:v>78.099999999999994</c:v>
                </c:pt>
                <c:pt idx="15949">
                  <c:v>77.5</c:v>
                </c:pt>
                <c:pt idx="15950">
                  <c:v>77.599999999999994</c:v>
                </c:pt>
                <c:pt idx="15951">
                  <c:v>75.7</c:v>
                </c:pt>
                <c:pt idx="15952">
                  <c:v>75.7</c:v>
                </c:pt>
                <c:pt idx="15953">
                  <c:v>75.7</c:v>
                </c:pt>
                <c:pt idx="15954">
                  <c:v>75.2</c:v>
                </c:pt>
                <c:pt idx="15955">
                  <c:v>74.7</c:v>
                </c:pt>
                <c:pt idx="15956">
                  <c:v>74.3</c:v>
                </c:pt>
                <c:pt idx="15957">
                  <c:v>73.400000000000006</c:v>
                </c:pt>
                <c:pt idx="15958">
                  <c:v>73</c:v>
                </c:pt>
                <c:pt idx="15959">
                  <c:v>72.5</c:v>
                </c:pt>
                <c:pt idx="15960">
                  <c:v>72.599999999999994</c:v>
                </c:pt>
                <c:pt idx="15961">
                  <c:v>72.099999999999994</c:v>
                </c:pt>
                <c:pt idx="15962">
                  <c:v>71.8</c:v>
                </c:pt>
                <c:pt idx="15963">
                  <c:v>71.5</c:v>
                </c:pt>
                <c:pt idx="15964">
                  <c:v>71.5</c:v>
                </c:pt>
                <c:pt idx="15965">
                  <c:v>71.400000000000006</c:v>
                </c:pt>
                <c:pt idx="15966">
                  <c:v>70.5</c:v>
                </c:pt>
                <c:pt idx="15967">
                  <c:v>70.099999999999994</c:v>
                </c:pt>
                <c:pt idx="15968">
                  <c:v>71.099999999999994</c:v>
                </c:pt>
                <c:pt idx="15969">
                  <c:v>72.5</c:v>
                </c:pt>
                <c:pt idx="15970">
                  <c:v>70.900000000000006</c:v>
                </c:pt>
                <c:pt idx="15971">
                  <c:v>70.3</c:v>
                </c:pt>
                <c:pt idx="15972">
                  <c:v>70.3</c:v>
                </c:pt>
                <c:pt idx="15973">
                  <c:v>70</c:v>
                </c:pt>
                <c:pt idx="15974">
                  <c:v>69.8</c:v>
                </c:pt>
                <c:pt idx="15975">
                  <c:v>69.400000000000006</c:v>
                </c:pt>
                <c:pt idx="15976">
                  <c:v>69.400000000000006</c:v>
                </c:pt>
                <c:pt idx="15977">
                  <c:v>70.099999999999994</c:v>
                </c:pt>
                <c:pt idx="15978">
                  <c:v>70.599999999999994</c:v>
                </c:pt>
                <c:pt idx="15979">
                  <c:v>70.599999999999994</c:v>
                </c:pt>
                <c:pt idx="15980">
                  <c:v>69.8</c:v>
                </c:pt>
                <c:pt idx="15981">
                  <c:v>69.400000000000006</c:v>
                </c:pt>
                <c:pt idx="15982">
                  <c:v>70.3</c:v>
                </c:pt>
                <c:pt idx="15983">
                  <c:v>69.400000000000006</c:v>
                </c:pt>
                <c:pt idx="15984">
                  <c:v>68.900000000000006</c:v>
                </c:pt>
                <c:pt idx="15985">
                  <c:v>68.400000000000006</c:v>
                </c:pt>
                <c:pt idx="15986">
                  <c:v>68.400000000000006</c:v>
                </c:pt>
                <c:pt idx="15987">
                  <c:v>69.599999999999994</c:v>
                </c:pt>
                <c:pt idx="15988">
                  <c:v>71.900000000000006</c:v>
                </c:pt>
                <c:pt idx="15989">
                  <c:v>75.5</c:v>
                </c:pt>
                <c:pt idx="15990">
                  <c:v>77.099999999999994</c:v>
                </c:pt>
                <c:pt idx="15991">
                  <c:v>80.099999999999994</c:v>
                </c:pt>
                <c:pt idx="15992">
                  <c:v>81.3</c:v>
                </c:pt>
                <c:pt idx="15993">
                  <c:v>82.1</c:v>
                </c:pt>
                <c:pt idx="15994">
                  <c:v>83.8</c:v>
                </c:pt>
                <c:pt idx="15995">
                  <c:v>85.1</c:v>
                </c:pt>
                <c:pt idx="15996">
                  <c:v>86.9</c:v>
                </c:pt>
                <c:pt idx="15997">
                  <c:v>85.1</c:v>
                </c:pt>
                <c:pt idx="15998">
                  <c:v>87.3</c:v>
                </c:pt>
                <c:pt idx="15999">
                  <c:v>88</c:v>
                </c:pt>
                <c:pt idx="16000">
                  <c:v>88.2</c:v>
                </c:pt>
                <c:pt idx="16001">
                  <c:v>89</c:v>
                </c:pt>
                <c:pt idx="16002">
                  <c:v>90</c:v>
                </c:pt>
                <c:pt idx="16003">
                  <c:v>90.6</c:v>
                </c:pt>
                <c:pt idx="16004">
                  <c:v>91.4</c:v>
                </c:pt>
                <c:pt idx="16005">
                  <c:v>88.5</c:v>
                </c:pt>
                <c:pt idx="16006">
                  <c:v>89.8</c:v>
                </c:pt>
                <c:pt idx="16007">
                  <c:v>89.4</c:v>
                </c:pt>
                <c:pt idx="16008">
                  <c:v>88.7</c:v>
                </c:pt>
                <c:pt idx="16009">
                  <c:v>88.9</c:v>
                </c:pt>
                <c:pt idx="16010">
                  <c:v>89.4</c:v>
                </c:pt>
                <c:pt idx="16011">
                  <c:v>89.6</c:v>
                </c:pt>
                <c:pt idx="16012">
                  <c:v>89.6</c:v>
                </c:pt>
                <c:pt idx="16013">
                  <c:v>89.6</c:v>
                </c:pt>
                <c:pt idx="16014">
                  <c:v>90</c:v>
                </c:pt>
                <c:pt idx="16015">
                  <c:v>92.3</c:v>
                </c:pt>
                <c:pt idx="16016">
                  <c:v>92.1</c:v>
                </c:pt>
                <c:pt idx="16017">
                  <c:v>93</c:v>
                </c:pt>
                <c:pt idx="16018">
                  <c:v>93.4</c:v>
                </c:pt>
                <c:pt idx="16019">
                  <c:v>92.3</c:v>
                </c:pt>
                <c:pt idx="16020">
                  <c:v>92.3</c:v>
                </c:pt>
                <c:pt idx="16021">
                  <c:v>93.4</c:v>
                </c:pt>
                <c:pt idx="16022">
                  <c:v>95.5</c:v>
                </c:pt>
                <c:pt idx="16023">
                  <c:v>96.4</c:v>
                </c:pt>
                <c:pt idx="16024">
                  <c:v>95.7</c:v>
                </c:pt>
                <c:pt idx="16025">
                  <c:v>95.4</c:v>
                </c:pt>
                <c:pt idx="16026">
                  <c:v>95</c:v>
                </c:pt>
                <c:pt idx="16027">
                  <c:v>94.6</c:v>
                </c:pt>
                <c:pt idx="16028">
                  <c:v>94.8</c:v>
                </c:pt>
                <c:pt idx="16029">
                  <c:v>94.5</c:v>
                </c:pt>
                <c:pt idx="16030">
                  <c:v>92.8</c:v>
                </c:pt>
                <c:pt idx="16031">
                  <c:v>90.7</c:v>
                </c:pt>
                <c:pt idx="16032">
                  <c:v>88.5</c:v>
                </c:pt>
                <c:pt idx="16033">
                  <c:v>86.7</c:v>
                </c:pt>
                <c:pt idx="16034">
                  <c:v>85.1</c:v>
                </c:pt>
                <c:pt idx="16035">
                  <c:v>83.3</c:v>
                </c:pt>
                <c:pt idx="16036">
                  <c:v>81.7</c:v>
                </c:pt>
                <c:pt idx="16037">
                  <c:v>80.400000000000006</c:v>
                </c:pt>
                <c:pt idx="16038">
                  <c:v>79.3</c:v>
                </c:pt>
                <c:pt idx="16039">
                  <c:v>78.400000000000006</c:v>
                </c:pt>
                <c:pt idx="16040">
                  <c:v>77.5</c:v>
                </c:pt>
                <c:pt idx="16041">
                  <c:v>76.5</c:v>
                </c:pt>
                <c:pt idx="16042">
                  <c:v>76.5</c:v>
                </c:pt>
                <c:pt idx="16043">
                  <c:v>75.5</c:v>
                </c:pt>
                <c:pt idx="16044">
                  <c:v>74.8</c:v>
                </c:pt>
                <c:pt idx="16045">
                  <c:v>74.400000000000006</c:v>
                </c:pt>
                <c:pt idx="16046">
                  <c:v>74</c:v>
                </c:pt>
                <c:pt idx="16047">
                  <c:v>74</c:v>
                </c:pt>
                <c:pt idx="16048">
                  <c:v>73.5</c:v>
                </c:pt>
                <c:pt idx="16049">
                  <c:v>73</c:v>
                </c:pt>
                <c:pt idx="16050">
                  <c:v>73.099999999999994</c:v>
                </c:pt>
                <c:pt idx="16051">
                  <c:v>74.3</c:v>
                </c:pt>
                <c:pt idx="16052">
                  <c:v>75.599999999999994</c:v>
                </c:pt>
                <c:pt idx="16053">
                  <c:v>76.900000000000006</c:v>
                </c:pt>
                <c:pt idx="16054">
                  <c:v>76.900000000000006</c:v>
                </c:pt>
                <c:pt idx="16055">
                  <c:v>76.900000000000006</c:v>
                </c:pt>
                <c:pt idx="16056">
                  <c:v>76.900000000000006</c:v>
                </c:pt>
                <c:pt idx="16057">
                  <c:v>76.900000000000006</c:v>
                </c:pt>
                <c:pt idx="16058">
                  <c:v>76.3</c:v>
                </c:pt>
                <c:pt idx="16059">
                  <c:v>75.900000000000006</c:v>
                </c:pt>
                <c:pt idx="16060">
                  <c:v>75.599999999999994</c:v>
                </c:pt>
                <c:pt idx="16061">
                  <c:v>75.3</c:v>
                </c:pt>
                <c:pt idx="16062">
                  <c:v>75.099999999999994</c:v>
                </c:pt>
                <c:pt idx="16063">
                  <c:v>75.599999999999994</c:v>
                </c:pt>
                <c:pt idx="16064">
                  <c:v>74.8</c:v>
                </c:pt>
                <c:pt idx="16065">
                  <c:v>74.400000000000006</c:v>
                </c:pt>
                <c:pt idx="16066">
                  <c:v>73.900000000000006</c:v>
                </c:pt>
                <c:pt idx="16067">
                  <c:v>73.5</c:v>
                </c:pt>
                <c:pt idx="16068">
                  <c:v>73.099999999999994</c:v>
                </c:pt>
                <c:pt idx="16069">
                  <c:v>73.8</c:v>
                </c:pt>
                <c:pt idx="16070">
                  <c:v>73.8</c:v>
                </c:pt>
                <c:pt idx="16071">
                  <c:v>73.8</c:v>
                </c:pt>
                <c:pt idx="16072">
                  <c:v>73.8</c:v>
                </c:pt>
                <c:pt idx="16073">
                  <c:v>73.8</c:v>
                </c:pt>
                <c:pt idx="16074">
                  <c:v>73.5</c:v>
                </c:pt>
                <c:pt idx="16075">
                  <c:v>74.599999999999994</c:v>
                </c:pt>
                <c:pt idx="16076">
                  <c:v>74</c:v>
                </c:pt>
                <c:pt idx="16077">
                  <c:v>74</c:v>
                </c:pt>
                <c:pt idx="16078">
                  <c:v>74.3</c:v>
                </c:pt>
                <c:pt idx="16079">
                  <c:v>74</c:v>
                </c:pt>
                <c:pt idx="16080">
                  <c:v>73.900000000000006</c:v>
                </c:pt>
                <c:pt idx="16081">
                  <c:v>73.900000000000006</c:v>
                </c:pt>
                <c:pt idx="16082">
                  <c:v>73.900000000000006</c:v>
                </c:pt>
                <c:pt idx="16083">
                  <c:v>74.3</c:v>
                </c:pt>
                <c:pt idx="16084">
                  <c:v>74.5</c:v>
                </c:pt>
                <c:pt idx="16085">
                  <c:v>74.8</c:v>
                </c:pt>
                <c:pt idx="16086">
                  <c:v>75.2</c:v>
                </c:pt>
                <c:pt idx="16087">
                  <c:v>75.599999999999994</c:v>
                </c:pt>
                <c:pt idx="16088">
                  <c:v>75.900000000000006</c:v>
                </c:pt>
                <c:pt idx="16089">
                  <c:v>76.099999999999994</c:v>
                </c:pt>
                <c:pt idx="16090">
                  <c:v>76.5</c:v>
                </c:pt>
                <c:pt idx="16091">
                  <c:v>76.5</c:v>
                </c:pt>
                <c:pt idx="16092">
                  <c:v>76.5</c:v>
                </c:pt>
                <c:pt idx="16093">
                  <c:v>76.5</c:v>
                </c:pt>
                <c:pt idx="16094">
                  <c:v>76.8</c:v>
                </c:pt>
                <c:pt idx="16095">
                  <c:v>78.3</c:v>
                </c:pt>
                <c:pt idx="16096">
                  <c:v>79</c:v>
                </c:pt>
                <c:pt idx="16097">
                  <c:v>78.400000000000006</c:v>
                </c:pt>
                <c:pt idx="16098">
                  <c:v>77.599999999999994</c:v>
                </c:pt>
                <c:pt idx="16099">
                  <c:v>78.099999999999994</c:v>
                </c:pt>
                <c:pt idx="16100">
                  <c:v>78.8</c:v>
                </c:pt>
                <c:pt idx="16101">
                  <c:v>77.8</c:v>
                </c:pt>
                <c:pt idx="16102">
                  <c:v>78.400000000000006</c:v>
                </c:pt>
                <c:pt idx="16103">
                  <c:v>79</c:v>
                </c:pt>
                <c:pt idx="16104">
                  <c:v>79.400000000000006</c:v>
                </c:pt>
                <c:pt idx="16105">
                  <c:v>81.7</c:v>
                </c:pt>
                <c:pt idx="16106">
                  <c:v>79.400000000000006</c:v>
                </c:pt>
                <c:pt idx="16107">
                  <c:v>80.099999999999994</c:v>
                </c:pt>
                <c:pt idx="16108">
                  <c:v>80.7</c:v>
                </c:pt>
                <c:pt idx="16109">
                  <c:v>80.3</c:v>
                </c:pt>
                <c:pt idx="16110">
                  <c:v>79.400000000000006</c:v>
                </c:pt>
                <c:pt idx="16111">
                  <c:v>79</c:v>
                </c:pt>
                <c:pt idx="16112">
                  <c:v>78.8</c:v>
                </c:pt>
                <c:pt idx="16113">
                  <c:v>78.3</c:v>
                </c:pt>
                <c:pt idx="16114">
                  <c:v>77.099999999999994</c:v>
                </c:pt>
                <c:pt idx="16115">
                  <c:v>78.099999999999994</c:v>
                </c:pt>
                <c:pt idx="16116">
                  <c:v>79.3</c:v>
                </c:pt>
                <c:pt idx="16117">
                  <c:v>83.5</c:v>
                </c:pt>
                <c:pt idx="16118">
                  <c:v>82.3</c:v>
                </c:pt>
                <c:pt idx="16119">
                  <c:v>82.8</c:v>
                </c:pt>
                <c:pt idx="16120">
                  <c:v>80.7</c:v>
                </c:pt>
                <c:pt idx="16121">
                  <c:v>80.3</c:v>
                </c:pt>
                <c:pt idx="16122">
                  <c:v>80.099999999999994</c:v>
                </c:pt>
                <c:pt idx="16123">
                  <c:v>79.900000000000006</c:v>
                </c:pt>
                <c:pt idx="16124">
                  <c:v>80.099999999999994</c:v>
                </c:pt>
                <c:pt idx="16125">
                  <c:v>79.400000000000006</c:v>
                </c:pt>
                <c:pt idx="16126">
                  <c:v>78.400000000000006</c:v>
                </c:pt>
                <c:pt idx="16127">
                  <c:v>77.8</c:v>
                </c:pt>
                <c:pt idx="16128">
                  <c:v>76.900000000000006</c:v>
                </c:pt>
                <c:pt idx="16129">
                  <c:v>76.5</c:v>
                </c:pt>
                <c:pt idx="16130">
                  <c:v>76.400000000000006</c:v>
                </c:pt>
                <c:pt idx="16131">
                  <c:v>76.400000000000006</c:v>
                </c:pt>
                <c:pt idx="16132">
                  <c:v>75.599999999999994</c:v>
                </c:pt>
                <c:pt idx="16133">
                  <c:v>76.5</c:v>
                </c:pt>
                <c:pt idx="16134">
                  <c:v>75.900000000000006</c:v>
                </c:pt>
                <c:pt idx="16135">
                  <c:v>76.900000000000006</c:v>
                </c:pt>
                <c:pt idx="16136">
                  <c:v>76</c:v>
                </c:pt>
                <c:pt idx="16137">
                  <c:v>76.400000000000006</c:v>
                </c:pt>
                <c:pt idx="16138">
                  <c:v>75.599999999999994</c:v>
                </c:pt>
                <c:pt idx="16139">
                  <c:v>75.900000000000006</c:v>
                </c:pt>
                <c:pt idx="16140">
                  <c:v>75.3</c:v>
                </c:pt>
                <c:pt idx="16141">
                  <c:v>75</c:v>
                </c:pt>
                <c:pt idx="16142">
                  <c:v>75.3</c:v>
                </c:pt>
                <c:pt idx="16143">
                  <c:v>75.599999999999994</c:v>
                </c:pt>
                <c:pt idx="16144">
                  <c:v>75.900000000000006</c:v>
                </c:pt>
                <c:pt idx="16145">
                  <c:v>75.900000000000006</c:v>
                </c:pt>
                <c:pt idx="16146">
                  <c:v>74.400000000000006</c:v>
                </c:pt>
                <c:pt idx="16147">
                  <c:v>74.3</c:v>
                </c:pt>
                <c:pt idx="16148">
                  <c:v>74.599999999999994</c:v>
                </c:pt>
                <c:pt idx="16149">
                  <c:v>76</c:v>
                </c:pt>
                <c:pt idx="16150">
                  <c:v>74.8</c:v>
                </c:pt>
                <c:pt idx="16151">
                  <c:v>74.8</c:v>
                </c:pt>
                <c:pt idx="16152">
                  <c:v>74.8</c:v>
                </c:pt>
                <c:pt idx="16153">
                  <c:v>75</c:v>
                </c:pt>
                <c:pt idx="16154">
                  <c:v>75.5</c:v>
                </c:pt>
                <c:pt idx="16155">
                  <c:v>74.400000000000006</c:v>
                </c:pt>
                <c:pt idx="16156">
                  <c:v>74</c:v>
                </c:pt>
                <c:pt idx="16157">
                  <c:v>74</c:v>
                </c:pt>
                <c:pt idx="16158">
                  <c:v>73.900000000000006</c:v>
                </c:pt>
                <c:pt idx="16159">
                  <c:v>73.900000000000006</c:v>
                </c:pt>
                <c:pt idx="16160">
                  <c:v>74.8</c:v>
                </c:pt>
                <c:pt idx="16161">
                  <c:v>74.3</c:v>
                </c:pt>
                <c:pt idx="16162">
                  <c:v>74</c:v>
                </c:pt>
                <c:pt idx="16163">
                  <c:v>74.400000000000006</c:v>
                </c:pt>
                <c:pt idx="16164">
                  <c:v>74</c:v>
                </c:pt>
                <c:pt idx="16165">
                  <c:v>73.8</c:v>
                </c:pt>
                <c:pt idx="16166">
                  <c:v>73.900000000000006</c:v>
                </c:pt>
                <c:pt idx="16167">
                  <c:v>73.8</c:v>
                </c:pt>
                <c:pt idx="16168">
                  <c:v>73.400000000000006</c:v>
                </c:pt>
                <c:pt idx="16169">
                  <c:v>73.099999999999994</c:v>
                </c:pt>
                <c:pt idx="16170">
                  <c:v>73.099999999999994</c:v>
                </c:pt>
                <c:pt idx="16171">
                  <c:v>75.099999999999994</c:v>
                </c:pt>
                <c:pt idx="16172">
                  <c:v>74.400000000000006</c:v>
                </c:pt>
                <c:pt idx="16173">
                  <c:v>73.8</c:v>
                </c:pt>
                <c:pt idx="16174">
                  <c:v>73.8</c:v>
                </c:pt>
                <c:pt idx="16175">
                  <c:v>73.099999999999994</c:v>
                </c:pt>
                <c:pt idx="16176">
                  <c:v>72.8</c:v>
                </c:pt>
                <c:pt idx="16177">
                  <c:v>72.599999999999994</c:v>
                </c:pt>
                <c:pt idx="16178">
                  <c:v>72.599999999999994</c:v>
                </c:pt>
                <c:pt idx="16179">
                  <c:v>72.599999999999994</c:v>
                </c:pt>
                <c:pt idx="16180">
                  <c:v>73</c:v>
                </c:pt>
                <c:pt idx="16181">
                  <c:v>73.400000000000006</c:v>
                </c:pt>
                <c:pt idx="16182">
                  <c:v>73.5</c:v>
                </c:pt>
                <c:pt idx="16183">
                  <c:v>73.900000000000006</c:v>
                </c:pt>
                <c:pt idx="16184">
                  <c:v>74.400000000000006</c:v>
                </c:pt>
                <c:pt idx="16185">
                  <c:v>74.400000000000006</c:v>
                </c:pt>
                <c:pt idx="16186">
                  <c:v>75.3</c:v>
                </c:pt>
                <c:pt idx="16187">
                  <c:v>75.3</c:v>
                </c:pt>
                <c:pt idx="16188">
                  <c:v>75.5</c:v>
                </c:pt>
                <c:pt idx="16189">
                  <c:v>76.3</c:v>
                </c:pt>
                <c:pt idx="16190">
                  <c:v>78.099999999999994</c:v>
                </c:pt>
                <c:pt idx="16191">
                  <c:v>78.3</c:v>
                </c:pt>
                <c:pt idx="16192">
                  <c:v>78.099999999999994</c:v>
                </c:pt>
                <c:pt idx="16193">
                  <c:v>80.3</c:v>
                </c:pt>
                <c:pt idx="16194">
                  <c:v>81.7</c:v>
                </c:pt>
                <c:pt idx="16195">
                  <c:v>81.400000000000006</c:v>
                </c:pt>
                <c:pt idx="16196">
                  <c:v>80.7</c:v>
                </c:pt>
                <c:pt idx="16197">
                  <c:v>82.6</c:v>
                </c:pt>
                <c:pt idx="16198">
                  <c:v>83</c:v>
                </c:pt>
                <c:pt idx="16199">
                  <c:v>83</c:v>
                </c:pt>
                <c:pt idx="16200">
                  <c:v>83.9</c:v>
                </c:pt>
                <c:pt idx="16201">
                  <c:v>83.9</c:v>
                </c:pt>
                <c:pt idx="16202">
                  <c:v>83.8</c:v>
                </c:pt>
                <c:pt idx="16203">
                  <c:v>84.8</c:v>
                </c:pt>
                <c:pt idx="16204">
                  <c:v>87.3</c:v>
                </c:pt>
                <c:pt idx="16205">
                  <c:v>86.4</c:v>
                </c:pt>
                <c:pt idx="16206">
                  <c:v>87.3</c:v>
                </c:pt>
                <c:pt idx="16207">
                  <c:v>85.3</c:v>
                </c:pt>
                <c:pt idx="16208">
                  <c:v>86.4</c:v>
                </c:pt>
                <c:pt idx="16209">
                  <c:v>87.3</c:v>
                </c:pt>
                <c:pt idx="16210">
                  <c:v>87.6</c:v>
                </c:pt>
                <c:pt idx="16211">
                  <c:v>87.6</c:v>
                </c:pt>
                <c:pt idx="16212">
                  <c:v>86.9</c:v>
                </c:pt>
                <c:pt idx="16213">
                  <c:v>90.6</c:v>
                </c:pt>
                <c:pt idx="16214">
                  <c:v>89.6</c:v>
                </c:pt>
                <c:pt idx="16215">
                  <c:v>88.9</c:v>
                </c:pt>
                <c:pt idx="16216">
                  <c:v>89.8</c:v>
                </c:pt>
                <c:pt idx="16217">
                  <c:v>89</c:v>
                </c:pt>
                <c:pt idx="16218">
                  <c:v>89.8</c:v>
                </c:pt>
                <c:pt idx="16219">
                  <c:v>89.6</c:v>
                </c:pt>
                <c:pt idx="16220">
                  <c:v>90</c:v>
                </c:pt>
                <c:pt idx="16221">
                  <c:v>86.7</c:v>
                </c:pt>
                <c:pt idx="16222">
                  <c:v>84.8</c:v>
                </c:pt>
                <c:pt idx="16223">
                  <c:v>81.900000000000006</c:v>
                </c:pt>
                <c:pt idx="16224">
                  <c:v>81</c:v>
                </c:pt>
                <c:pt idx="16225">
                  <c:v>79.900000000000006</c:v>
                </c:pt>
                <c:pt idx="16226">
                  <c:v>79.3</c:v>
                </c:pt>
                <c:pt idx="16227">
                  <c:v>79.3</c:v>
                </c:pt>
                <c:pt idx="16228">
                  <c:v>78.8</c:v>
                </c:pt>
                <c:pt idx="16229">
                  <c:v>78.099999999999994</c:v>
                </c:pt>
                <c:pt idx="16230">
                  <c:v>77.5</c:v>
                </c:pt>
                <c:pt idx="16231">
                  <c:v>77.400000000000006</c:v>
                </c:pt>
                <c:pt idx="16232">
                  <c:v>76.5</c:v>
                </c:pt>
                <c:pt idx="16233">
                  <c:v>76.5</c:v>
                </c:pt>
                <c:pt idx="16234">
                  <c:v>76.3</c:v>
                </c:pt>
                <c:pt idx="16235">
                  <c:v>76</c:v>
                </c:pt>
                <c:pt idx="16236">
                  <c:v>75.5</c:v>
                </c:pt>
                <c:pt idx="16237">
                  <c:v>75.5</c:v>
                </c:pt>
                <c:pt idx="16238">
                  <c:v>74.400000000000006</c:v>
                </c:pt>
                <c:pt idx="16239">
                  <c:v>74.8</c:v>
                </c:pt>
                <c:pt idx="16240">
                  <c:v>74.400000000000006</c:v>
                </c:pt>
                <c:pt idx="16241">
                  <c:v>74.400000000000006</c:v>
                </c:pt>
                <c:pt idx="16242">
                  <c:v>73.8</c:v>
                </c:pt>
                <c:pt idx="16243">
                  <c:v>72.599999999999994</c:v>
                </c:pt>
                <c:pt idx="16244">
                  <c:v>73.5</c:v>
                </c:pt>
                <c:pt idx="16245">
                  <c:v>73.400000000000006</c:v>
                </c:pt>
                <c:pt idx="16246">
                  <c:v>73</c:v>
                </c:pt>
                <c:pt idx="16247">
                  <c:v>72.599999999999994</c:v>
                </c:pt>
                <c:pt idx="16248">
                  <c:v>72.599999999999994</c:v>
                </c:pt>
                <c:pt idx="16249">
                  <c:v>73.5</c:v>
                </c:pt>
                <c:pt idx="16250">
                  <c:v>72.099999999999994</c:v>
                </c:pt>
                <c:pt idx="16251">
                  <c:v>73.099999999999994</c:v>
                </c:pt>
                <c:pt idx="16252">
                  <c:v>71.5</c:v>
                </c:pt>
                <c:pt idx="16253">
                  <c:v>72.599999999999994</c:v>
                </c:pt>
                <c:pt idx="16254">
                  <c:v>72.3</c:v>
                </c:pt>
                <c:pt idx="16255">
                  <c:v>72.099999999999994</c:v>
                </c:pt>
                <c:pt idx="16256">
                  <c:v>71.400000000000006</c:v>
                </c:pt>
                <c:pt idx="16257">
                  <c:v>72.599999999999994</c:v>
                </c:pt>
                <c:pt idx="16258">
                  <c:v>71.8</c:v>
                </c:pt>
                <c:pt idx="16259">
                  <c:v>71.5</c:v>
                </c:pt>
                <c:pt idx="16260">
                  <c:v>72.3</c:v>
                </c:pt>
                <c:pt idx="16261">
                  <c:v>71.900000000000006</c:v>
                </c:pt>
                <c:pt idx="16262">
                  <c:v>72.099999999999994</c:v>
                </c:pt>
                <c:pt idx="16263">
                  <c:v>71.400000000000006</c:v>
                </c:pt>
                <c:pt idx="16264">
                  <c:v>70.3</c:v>
                </c:pt>
                <c:pt idx="16265">
                  <c:v>71</c:v>
                </c:pt>
                <c:pt idx="16266">
                  <c:v>70.900000000000006</c:v>
                </c:pt>
                <c:pt idx="16267">
                  <c:v>70.3</c:v>
                </c:pt>
                <c:pt idx="16268">
                  <c:v>71.5</c:v>
                </c:pt>
                <c:pt idx="16269">
                  <c:v>70.900000000000006</c:v>
                </c:pt>
                <c:pt idx="16270">
                  <c:v>69.8</c:v>
                </c:pt>
                <c:pt idx="16271">
                  <c:v>70.5</c:v>
                </c:pt>
                <c:pt idx="16272">
                  <c:v>70.599999999999994</c:v>
                </c:pt>
                <c:pt idx="16273">
                  <c:v>70.3</c:v>
                </c:pt>
                <c:pt idx="16274">
                  <c:v>70.900000000000006</c:v>
                </c:pt>
                <c:pt idx="16275">
                  <c:v>71.400000000000006</c:v>
                </c:pt>
                <c:pt idx="16276">
                  <c:v>70.900000000000006</c:v>
                </c:pt>
                <c:pt idx="16277">
                  <c:v>71.099999999999994</c:v>
                </c:pt>
                <c:pt idx="16278">
                  <c:v>71.900000000000006</c:v>
                </c:pt>
                <c:pt idx="16279">
                  <c:v>72.3</c:v>
                </c:pt>
                <c:pt idx="16280">
                  <c:v>72.900000000000006</c:v>
                </c:pt>
                <c:pt idx="16281">
                  <c:v>73.2</c:v>
                </c:pt>
                <c:pt idx="16282">
                  <c:v>73.599999999999994</c:v>
                </c:pt>
                <c:pt idx="16283">
                  <c:v>73.900000000000006</c:v>
                </c:pt>
                <c:pt idx="16284">
                  <c:v>74.099999999999994</c:v>
                </c:pt>
                <c:pt idx="16285">
                  <c:v>74.8</c:v>
                </c:pt>
                <c:pt idx="16286">
                  <c:v>75.900000000000006</c:v>
                </c:pt>
                <c:pt idx="16287">
                  <c:v>76.8</c:v>
                </c:pt>
                <c:pt idx="16288">
                  <c:v>77.7</c:v>
                </c:pt>
                <c:pt idx="16289">
                  <c:v>78.3</c:v>
                </c:pt>
                <c:pt idx="16290">
                  <c:v>80.2</c:v>
                </c:pt>
                <c:pt idx="16291">
                  <c:v>81.3</c:v>
                </c:pt>
                <c:pt idx="16292">
                  <c:v>81.900000000000006</c:v>
                </c:pt>
                <c:pt idx="16293">
                  <c:v>82.4</c:v>
                </c:pt>
                <c:pt idx="16294">
                  <c:v>82.9</c:v>
                </c:pt>
                <c:pt idx="16295">
                  <c:v>84.2</c:v>
                </c:pt>
                <c:pt idx="16296">
                  <c:v>86.4</c:v>
                </c:pt>
                <c:pt idx="16297">
                  <c:v>87.8</c:v>
                </c:pt>
                <c:pt idx="16298">
                  <c:v>87.4</c:v>
                </c:pt>
                <c:pt idx="16299">
                  <c:v>87.1</c:v>
                </c:pt>
                <c:pt idx="16300">
                  <c:v>87.6</c:v>
                </c:pt>
                <c:pt idx="16301">
                  <c:v>88.3</c:v>
                </c:pt>
                <c:pt idx="16302">
                  <c:v>89.2</c:v>
                </c:pt>
                <c:pt idx="16303">
                  <c:v>90.7</c:v>
                </c:pt>
                <c:pt idx="16304">
                  <c:v>91.6</c:v>
                </c:pt>
                <c:pt idx="16305">
                  <c:v>89.4</c:v>
                </c:pt>
                <c:pt idx="16306">
                  <c:v>89.1</c:v>
                </c:pt>
                <c:pt idx="16307">
                  <c:v>90.9</c:v>
                </c:pt>
                <c:pt idx="16308">
                  <c:v>92.3</c:v>
                </c:pt>
                <c:pt idx="16309">
                  <c:v>93.7</c:v>
                </c:pt>
                <c:pt idx="16310">
                  <c:v>93.6</c:v>
                </c:pt>
                <c:pt idx="16311">
                  <c:v>93.4</c:v>
                </c:pt>
                <c:pt idx="16312">
                  <c:v>92.3</c:v>
                </c:pt>
                <c:pt idx="16313">
                  <c:v>89.6</c:v>
                </c:pt>
                <c:pt idx="16314">
                  <c:v>88</c:v>
                </c:pt>
                <c:pt idx="16315">
                  <c:v>88.2</c:v>
                </c:pt>
                <c:pt idx="16316">
                  <c:v>89.2</c:v>
                </c:pt>
                <c:pt idx="16317">
                  <c:v>88.9</c:v>
                </c:pt>
                <c:pt idx="16318">
                  <c:v>88</c:v>
                </c:pt>
                <c:pt idx="16319">
                  <c:v>88</c:v>
                </c:pt>
                <c:pt idx="16320">
                  <c:v>87.6</c:v>
                </c:pt>
                <c:pt idx="16321">
                  <c:v>86.9</c:v>
                </c:pt>
                <c:pt idx="16322">
                  <c:v>85.6</c:v>
                </c:pt>
                <c:pt idx="16323">
                  <c:v>83.7</c:v>
                </c:pt>
                <c:pt idx="16324">
                  <c:v>82.6</c:v>
                </c:pt>
                <c:pt idx="16325">
                  <c:v>81.7</c:v>
                </c:pt>
                <c:pt idx="16326">
                  <c:v>81.3</c:v>
                </c:pt>
                <c:pt idx="16327">
                  <c:v>80.400000000000006</c:v>
                </c:pt>
                <c:pt idx="16328">
                  <c:v>81.3</c:v>
                </c:pt>
                <c:pt idx="16329">
                  <c:v>78.3</c:v>
                </c:pt>
                <c:pt idx="16330">
                  <c:v>80.3</c:v>
                </c:pt>
                <c:pt idx="16331">
                  <c:v>79.3</c:v>
                </c:pt>
                <c:pt idx="16332">
                  <c:v>78.8</c:v>
                </c:pt>
                <c:pt idx="16333">
                  <c:v>77.599999999999994</c:v>
                </c:pt>
                <c:pt idx="16334">
                  <c:v>77.099999999999994</c:v>
                </c:pt>
                <c:pt idx="16335">
                  <c:v>77.099999999999994</c:v>
                </c:pt>
                <c:pt idx="16336">
                  <c:v>76.8</c:v>
                </c:pt>
                <c:pt idx="16337">
                  <c:v>75.599999999999994</c:v>
                </c:pt>
                <c:pt idx="16338">
                  <c:v>75</c:v>
                </c:pt>
                <c:pt idx="16339">
                  <c:v>74.3</c:v>
                </c:pt>
                <c:pt idx="16340">
                  <c:v>73.900000000000006</c:v>
                </c:pt>
                <c:pt idx="16341">
                  <c:v>73</c:v>
                </c:pt>
                <c:pt idx="16342">
                  <c:v>73.8</c:v>
                </c:pt>
                <c:pt idx="16343">
                  <c:v>72.599999999999994</c:v>
                </c:pt>
                <c:pt idx="16344">
                  <c:v>72.099999999999994</c:v>
                </c:pt>
                <c:pt idx="16345">
                  <c:v>72.5</c:v>
                </c:pt>
                <c:pt idx="16346">
                  <c:v>71.8</c:v>
                </c:pt>
                <c:pt idx="16347">
                  <c:v>71.099999999999994</c:v>
                </c:pt>
                <c:pt idx="16348">
                  <c:v>70.900000000000006</c:v>
                </c:pt>
                <c:pt idx="16349">
                  <c:v>73.5</c:v>
                </c:pt>
                <c:pt idx="16350">
                  <c:v>71.5</c:v>
                </c:pt>
                <c:pt idx="16351">
                  <c:v>70.3</c:v>
                </c:pt>
                <c:pt idx="16352">
                  <c:v>69.400000000000006</c:v>
                </c:pt>
                <c:pt idx="16353">
                  <c:v>69</c:v>
                </c:pt>
                <c:pt idx="16354">
                  <c:v>69</c:v>
                </c:pt>
                <c:pt idx="16355">
                  <c:v>68.099999999999994</c:v>
                </c:pt>
                <c:pt idx="16356">
                  <c:v>68.099999999999994</c:v>
                </c:pt>
                <c:pt idx="16357">
                  <c:v>68.099999999999994</c:v>
                </c:pt>
                <c:pt idx="16358">
                  <c:v>68</c:v>
                </c:pt>
                <c:pt idx="16359">
                  <c:v>67.599999999999994</c:v>
                </c:pt>
                <c:pt idx="16360">
                  <c:v>67.3</c:v>
                </c:pt>
                <c:pt idx="16361">
                  <c:v>67.3</c:v>
                </c:pt>
                <c:pt idx="16362">
                  <c:v>69.3</c:v>
                </c:pt>
                <c:pt idx="16363">
                  <c:v>68.599999999999994</c:v>
                </c:pt>
                <c:pt idx="16364">
                  <c:v>67.8</c:v>
                </c:pt>
                <c:pt idx="16365">
                  <c:v>66.5</c:v>
                </c:pt>
                <c:pt idx="16366">
                  <c:v>66.5</c:v>
                </c:pt>
                <c:pt idx="16367">
                  <c:v>65.900000000000006</c:v>
                </c:pt>
                <c:pt idx="16368">
                  <c:v>65.900000000000006</c:v>
                </c:pt>
                <c:pt idx="16369">
                  <c:v>65.8</c:v>
                </c:pt>
                <c:pt idx="16370">
                  <c:v>65.8</c:v>
                </c:pt>
                <c:pt idx="16371">
                  <c:v>66.900000000000006</c:v>
                </c:pt>
                <c:pt idx="16372">
                  <c:v>69.599999999999994</c:v>
                </c:pt>
                <c:pt idx="16373">
                  <c:v>72.599999999999994</c:v>
                </c:pt>
                <c:pt idx="16374">
                  <c:v>73.900000000000006</c:v>
                </c:pt>
                <c:pt idx="16375">
                  <c:v>76.400000000000006</c:v>
                </c:pt>
                <c:pt idx="16376">
                  <c:v>76.5</c:v>
                </c:pt>
                <c:pt idx="16377">
                  <c:v>72.3</c:v>
                </c:pt>
                <c:pt idx="16378">
                  <c:v>73.400000000000006</c:v>
                </c:pt>
                <c:pt idx="16379">
                  <c:v>75</c:v>
                </c:pt>
                <c:pt idx="16380">
                  <c:v>76.5</c:v>
                </c:pt>
                <c:pt idx="16381">
                  <c:v>78.099999999999994</c:v>
                </c:pt>
                <c:pt idx="16382">
                  <c:v>79.2</c:v>
                </c:pt>
                <c:pt idx="16383">
                  <c:v>80.8</c:v>
                </c:pt>
                <c:pt idx="16384">
                  <c:v>82.2</c:v>
                </c:pt>
                <c:pt idx="16385">
                  <c:v>83.1</c:v>
                </c:pt>
                <c:pt idx="16386">
                  <c:v>84.2</c:v>
                </c:pt>
                <c:pt idx="16387">
                  <c:v>85.3</c:v>
                </c:pt>
                <c:pt idx="16388">
                  <c:v>86</c:v>
                </c:pt>
                <c:pt idx="16389">
                  <c:v>86.7</c:v>
                </c:pt>
                <c:pt idx="16390">
                  <c:v>88</c:v>
                </c:pt>
                <c:pt idx="16391">
                  <c:v>88.9</c:v>
                </c:pt>
                <c:pt idx="16392">
                  <c:v>88.9</c:v>
                </c:pt>
                <c:pt idx="16393">
                  <c:v>90.1</c:v>
                </c:pt>
                <c:pt idx="16394">
                  <c:v>91</c:v>
                </c:pt>
                <c:pt idx="16395">
                  <c:v>90.9</c:v>
                </c:pt>
                <c:pt idx="16396">
                  <c:v>91</c:v>
                </c:pt>
                <c:pt idx="16397">
                  <c:v>92.7</c:v>
                </c:pt>
                <c:pt idx="16398">
                  <c:v>94.1</c:v>
                </c:pt>
                <c:pt idx="16399">
                  <c:v>93.9</c:v>
                </c:pt>
                <c:pt idx="16400">
                  <c:v>93.9</c:v>
                </c:pt>
                <c:pt idx="16401">
                  <c:v>94.5</c:v>
                </c:pt>
                <c:pt idx="16402">
                  <c:v>94.5</c:v>
                </c:pt>
                <c:pt idx="16403">
                  <c:v>95</c:v>
                </c:pt>
                <c:pt idx="16404">
                  <c:v>95.5</c:v>
                </c:pt>
                <c:pt idx="16405">
                  <c:v>95.2</c:v>
                </c:pt>
                <c:pt idx="16406">
                  <c:v>95.2</c:v>
                </c:pt>
                <c:pt idx="16407">
                  <c:v>95.7</c:v>
                </c:pt>
                <c:pt idx="16408">
                  <c:v>96.3</c:v>
                </c:pt>
                <c:pt idx="16409">
                  <c:v>96.3</c:v>
                </c:pt>
                <c:pt idx="16410">
                  <c:v>95.9</c:v>
                </c:pt>
                <c:pt idx="16411">
                  <c:v>95.4</c:v>
                </c:pt>
                <c:pt idx="16412">
                  <c:v>95.4</c:v>
                </c:pt>
                <c:pt idx="16413">
                  <c:v>94.3</c:v>
                </c:pt>
                <c:pt idx="16414">
                  <c:v>92.7</c:v>
                </c:pt>
                <c:pt idx="16415">
                  <c:v>90.9</c:v>
                </c:pt>
                <c:pt idx="16416">
                  <c:v>88.7</c:v>
                </c:pt>
                <c:pt idx="16417">
                  <c:v>86.9</c:v>
                </c:pt>
                <c:pt idx="16418">
                  <c:v>84.9</c:v>
                </c:pt>
                <c:pt idx="16419">
                  <c:v>82.9</c:v>
                </c:pt>
                <c:pt idx="16420">
                  <c:v>81.7</c:v>
                </c:pt>
                <c:pt idx="16421">
                  <c:v>80.2</c:v>
                </c:pt>
                <c:pt idx="16422">
                  <c:v>79.2</c:v>
                </c:pt>
                <c:pt idx="16423">
                  <c:v>78.3</c:v>
                </c:pt>
                <c:pt idx="16424">
                  <c:v>77.2</c:v>
                </c:pt>
                <c:pt idx="16425">
                  <c:v>76.3</c:v>
                </c:pt>
                <c:pt idx="16426">
                  <c:v>76.5</c:v>
                </c:pt>
                <c:pt idx="16427">
                  <c:v>76.5</c:v>
                </c:pt>
                <c:pt idx="16428">
                  <c:v>75.900000000000006</c:v>
                </c:pt>
                <c:pt idx="16429">
                  <c:v>76.3</c:v>
                </c:pt>
                <c:pt idx="16430">
                  <c:v>76</c:v>
                </c:pt>
                <c:pt idx="16431">
                  <c:v>74.400000000000006</c:v>
                </c:pt>
                <c:pt idx="16432">
                  <c:v>73.5</c:v>
                </c:pt>
                <c:pt idx="16433">
                  <c:v>73</c:v>
                </c:pt>
                <c:pt idx="16434">
                  <c:v>72.599999999999994</c:v>
                </c:pt>
                <c:pt idx="16435">
                  <c:v>71.900000000000006</c:v>
                </c:pt>
                <c:pt idx="16436">
                  <c:v>72.599999999999994</c:v>
                </c:pt>
                <c:pt idx="16437">
                  <c:v>71</c:v>
                </c:pt>
                <c:pt idx="16438">
                  <c:v>70.5</c:v>
                </c:pt>
                <c:pt idx="16439">
                  <c:v>70.3</c:v>
                </c:pt>
                <c:pt idx="16440">
                  <c:v>71.5</c:v>
                </c:pt>
                <c:pt idx="16441">
                  <c:v>72.099999999999994</c:v>
                </c:pt>
                <c:pt idx="16442">
                  <c:v>72.099999999999994</c:v>
                </c:pt>
                <c:pt idx="16443">
                  <c:v>72.3</c:v>
                </c:pt>
                <c:pt idx="16444">
                  <c:v>71.5</c:v>
                </c:pt>
                <c:pt idx="16445">
                  <c:v>70.900000000000006</c:v>
                </c:pt>
                <c:pt idx="16446">
                  <c:v>70.5</c:v>
                </c:pt>
                <c:pt idx="16447">
                  <c:v>70.099999999999994</c:v>
                </c:pt>
                <c:pt idx="16448">
                  <c:v>70</c:v>
                </c:pt>
                <c:pt idx="16449">
                  <c:v>69.400000000000006</c:v>
                </c:pt>
                <c:pt idx="16450">
                  <c:v>69.400000000000006</c:v>
                </c:pt>
                <c:pt idx="16451">
                  <c:v>69.3</c:v>
                </c:pt>
                <c:pt idx="16452">
                  <c:v>68.599999999999994</c:v>
                </c:pt>
                <c:pt idx="16453">
                  <c:v>68.400000000000006</c:v>
                </c:pt>
                <c:pt idx="16454">
                  <c:v>70.599999999999994</c:v>
                </c:pt>
                <c:pt idx="16455">
                  <c:v>69.3</c:v>
                </c:pt>
                <c:pt idx="16456">
                  <c:v>68.099999999999994</c:v>
                </c:pt>
                <c:pt idx="16457">
                  <c:v>68</c:v>
                </c:pt>
                <c:pt idx="16458">
                  <c:v>68.400000000000006</c:v>
                </c:pt>
                <c:pt idx="16459">
                  <c:v>67.5</c:v>
                </c:pt>
                <c:pt idx="16460">
                  <c:v>66.900000000000006</c:v>
                </c:pt>
                <c:pt idx="16461">
                  <c:v>66.900000000000006</c:v>
                </c:pt>
                <c:pt idx="16462">
                  <c:v>66.599999999999994</c:v>
                </c:pt>
                <c:pt idx="16463">
                  <c:v>66.900000000000006</c:v>
                </c:pt>
                <c:pt idx="16464">
                  <c:v>67.099999999999994</c:v>
                </c:pt>
                <c:pt idx="16465">
                  <c:v>66.900000000000006</c:v>
                </c:pt>
                <c:pt idx="16466">
                  <c:v>68.400000000000006</c:v>
                </c:pt>
                <c:pt idx="16467">
                  <c:v>67.5</c:v>
                </c:pt>
                <c:pt idx="16468">
                  <c:v>67.5</c:v>
                </c:pt>
                <c:pt idx="16469">
                  <c:v>67.8</c:v>
                </c:pt>
                <c:pt idx="16470">
                  <c:v>68.400000000000006</c:v>
                </c:pt>
                <c:pt idx="16471">
                  <c:v>71.900000000000006</c:v>
                </c:pt>
                <c:pt idx="16472">
                  <c:v>77.599999999999994</c:v>
                </c:pt>
                <c:pt idx="16473">
                  <c:v>82.6</c:v>
                </c:pt>
                <c:pt idx="16474">
                  <c:v>73.400000000000006</c:v>
                </c:pt>
                <c:pt idx="16475">
                  <c:v>75.7</c:v>
                </c:pt>
                <c:pt idx="16476">
                  <c:v>77.7</c:v>
                </c:pt>
                <c:pt idx="16477">
                  <c:v>79</c:v>
                </c:pt>
                <c:pt idx="16478">
                  <c:v>79.7</c:v>
                </c:pt>
                <c:pt idx="16479">
                  <c:v>80.400000000000006</c:v>
                </c:pt>
                <c:pt idx="16480">
                  <c:v>82.2</c:v>
                </c:pt>
                <c:pt idx="16481">
                  <c:v>83.7</c:v>
                </c:pt>
                <c:pt idx="16482">
                  <c:v>85.5</c:v>
                </c:pt>
                <c:pt idx="16483">
                  <c:v>87.4</c:v>
                </c:pt>
                <c:pt idx="16484">
                  <c:v>88.9</c:v>
                </c:pt>
                <c:pt idx="16485">
                  <c:v>88.7</c:v>
                </c:pt>
                <c:pt idx="16486">
                  <c:v>87.8</c:v>
                </c:pt>
                <c:pt idx="16487">
                  <c:v>89.2</c:v>
                </c:pt>
                <c:pt idx="16488">
                  <c:v>90.7</c:v>
                </c:pt>
                <c:pt idx="16489">
                  <c:v>89.8</c:v>
                </c:pt>
                <c:pt idx="16490">
                  <c:v>89.1</c:v>
                </c:pt>
                <c:pt idx="16491">
                  <c:v>90</c:v>
                </c:pt>
                <c:pt idx="16492">
                  <c:v>91.8</c:v>
                </c:pt>
                <c:pt idx="16493">
                  <c:v>94.1</c:v>
                </c:pt>
                <c:pt idx="16494">
                  <c:v>92.8</c:v>
                </c:pt>
                <c:pt idx="16495">
                  <c:v>90</c:v>
                </c:pt>
                <c:pt idx="16496">
                  <c:v>90.7</c:v>
                </c:pt>
                <c:pt idx="16497">
                  <c:v>93.7</c:v>
                </c:pt>
                <c:pt idx="16498">
                  <c:v>94.8</c:v>
                </c:pt>
                <c:pt idx="16499">
                  <c:v>93.9</c:v>
                </c:pt>
                <c:pt idx="16500">
                  <c:v>94.3</c:v>
                </c:pt>
                <c:pt idx="16501">
                  <c:v>95</c:v>
                </c:pt>
                <c:pt idx="16502">
                  <c:v>95.2</c:v>
                </c:pt>
                <c:pt idx="16503">
                  <c:v>96.3</c:v>
                </c:pt>
                <c:pt idx="16504">
                  <c:v>96.3</c:v>
                </c:pt>
                <c:pt idx="16505">
                  <c:v>95.4</c:v>
                </c:pt>
                <c:pt idx="16506">
                  <c:v>94.6</c:v>
                </c:pt>
                <c:pt idx="16507">
                  <c:v>93.2</c:v>
                </c:pt>
                <c:pt idx="16508">
                  <c:v>92.5</c:v>
                </c:pt>
                <c:pt idx="16509">
                  <c:v>91.6</c:v>
                </c:pt>
                <c:pt idx="16510">
                  <c:v>90.1</c:v>
                </c:pt>
                <c:pt idx="16511">
                  <c:v>88.9</c:v>
                </c:pt>
                <c:pt idx="16512">
                  <c:v>87.3</c:v>
                </c:pt>
                <c:pt idx="16513">
                  <c:v>85.3</c:v>
                </c:pt>
                <c:pt idx="16514">
                  <c:v>83.3</c:v>
                </c:pt>
                <c:pt idx="16515">
                  <c:v>81.900000000000006</c:v>
                </c:pt>
                <c:pt idx="16516">
                  <c:v>80.599999999999994</c:v>
                </c:pt>
                <c:pt idx="16517">
                  <c:v>79.900000000000006</c:v>
                </c:pt>
                <c:pt idx="16518">
                  <c:v>78.3</c:v>
                </c:pt>
                <c:pt idx="16519">
                  <c:v>78.5</c:v>
                </c:pt>
                <c:pt idx="16520">
                  <c:v>77.400000000000006</c:v>
                </c:pt>
                <c:pt idx="16521">
                  <c:v>77.099999999999994</c:v>
                </c:pt>
                <c:pt idx="16522">
                  <c:v>76.400000000000006</c:v>
                </c:pt>
                <c:pt idx="16523">
                  <c:v>75.3</c:v>
                </c:pt>
                <c:pt idx="16524">
                  <c:v>74.599999999999994</c:v>
                </c:pt>
                <c:pt idx="16525">
                  <c:v>73.8</c:v>
                </c:pt>
                <c:pt idx="16526">
                  <c:v>72.8</c:v>
                </c:pt>
                <c:pt idx="16527">
                  <c:v>72.599999999999994</c:v>
                </c:pt>
                <c:pt idx="16528">
                  <c:v>72.099999999999994</c:v>
                </c:pt>
                <c:pt idx="16529">
                  <c:v>71.900000000000006</c:v>
                </c:pt>
                <c:pt idx="16530">
                  <c:v>72.8</c:v>
                </c:pt>
                <c:pt idx="16531">
                  <c:v>72.8</c:v>
                </c:pt>
                <c:pt idx="16532">
                  <c:v>71.400000000000006</c:v>
                </c:pt>
                <c:pt idx="16533">
                  <c:v>70.900000000000006</c:v>
                </c:pt>
                <c:pt idx="16534">
                  <c:v>70.5</c:v>
                </c:pt>
                <c:pt idx="16535">
                  <c:v>71.099999999999994</c:v>
                </c:pt>
                <c:pt idx="16536">
                  <c:v>70</c:v>
                </c:pt>
                <c:pt idx="16537">
                  <c:v>70.3</c:v>
                </c:pt>
                <c:pt idx="16538">
                  <c:v>69.599999999999994</c:v>
                </c:pt>
                <c:pt idx="16539">
                  <c:v>71.099999999999994</c:v>
                </c:pt>
                <c:pt idx="16540">
                  <c:v>70</c:v>
                </c:pt>
                <c:pt idx="16541">
                  <c:v>71</c:v>
                </c:pt>
                <c:pt idx="16542">
                  <c:v>70.099999999999994</c:v>
                </c:pt>
                <c:pt idx="16543">
                  <c:v>70.3</c:v>
                </c:pt>
                <c:pt idx="16544">
                  <c:v>69.599999999999994</c:v>
                </c:pt>
                <c:pt idx="16545">
                  <c:v>69.8</c:v>
                </c:pt>
                <c:pt idx="16546">
                  <c:v>70.3</c:v>
                </c:pt>
                <c:pt idx="16547">
                  <c:v>69.400000000000006</c:v>
                </c:pt>
                <c:pt idx="16548">
                  <c:v>70.5</c:v>
                </c:pt>
                <c:pt idx="16549">
                  <c:v>68.599999999999994</c:v>
                </c:pt>
                <c:pt idx="16550">
                  <c:v>69.3</c:v>
                </c:pt>
                <c:pt idx="16551">
                  <c:v>68</c:v>
                </c:pt>
                <c:pt idx="16552">
                  <c:v>69.8</c:v>
                </c:pt>
                <c:pt idx="16553">
                  <c:v>68.400000000000006</c:v>
                </c:pt>
                <c:pt idx="16554">
                  <c:v>69</c:v>
                </c:pt>
                <c:pt idx="16555">
                  <c:v>68.400000000000006</c:v>
                </c:pt>
                <c:pt idx="16556">
                  <c:v>68.400000000000006</c:v>
                </c:pt>
                <c:pt idx="16557">
                  <c:v>68.599999999999994</c:v>
                </c:pt>
                <c:pt idx="16558">
                  <c:v>68.900000000000006</c:v>
                </c:pt>
                <c:pt idx="16559">
                  <c:v>69.3</c:v>
                </c:pt>
                <c:pt idx="16560">
                  <c:v>68.599999999999994</c:v>
                </c:pt>
                <c:pt idx="16561">
                  <c:v>69.599999999999994</c:v>
                </c:pt>
                <c:pt idx="16562">
                  <c:v>68.400000000000006</c:v>
                </c:pt>
                <c:pt idx="16563">
                  <c:v>68.400000000000006</c:v>
                </c:pt>
                <c:pt idx="16564">
                  <c:v>70.900000000000006</c:v>
                </c:pt>
                <c:pt idx="16565">
                  <c:v>69</c:v>
                </c:pt>
                <c:pt idx="16566">
                  <c:v>74.599999999999994</c:v>
                </c:pt>
                <c:pt idx="16567">
                  <c:v>78.3</c:v>
                </c:pt>
                <c:pt idx="16568">
                  <c:v>72.099999999999994</c:v>
                </c:pt>
                <c:pt idx="16569">
                  <c:v>73.400000000000006</c:v>
                </c:pt>
                <c:pt idx="16570">
                  <c:v>75.400000000000006</c:v>
                </c:pt>
                <c:pt idx="16571">
                  <c:v>77.400000000000006</c:v>
                </c:pt>
                <c:pt idx="16572">
                  <c:v>78.599999999999994</c:v>
                </c:pt>
                <c:pt idx="16573">
                  <c:v>79.5</c:v>
                </c:pt>
                <c:pt idx="16574">
                  <c:v>81</c:v>
                </c:pt>
                <c:pt idx="16575">
                  <c:v>89</c:v>
                </c:pt>
                <c:pt idx="16576">
                  <c:v>87.1</c:v>
                </c:pt>
                <c:pt idx="16577">
                  <c:v>83.8</c:v>
                </c:pt>
                <c:pt idx="16578">
                  <c:v>85.5</c:v>
                </c:pt>
                <c:pt idx="16579">
                  <c:v>87.1</c:v>
                </c:pt>
                <c:pt idx="16580">
                  <c:v>88.3</c:v>
                </c:pt>
                <c:pt idx="16581">
                  <c:v>88.5</c:v>
                </c:pt>
                <c:pt idx="16582">
                  <c:v>88.3</c:v>
                </c:pt>
                <c:pt idx="16583">
                  <c:v>89.1</c:v>
                </c:pt>
                <c:pt idx="16584">
                  <c:v>90</c:v>
                </c:pt>
                <c:pt idx="16585">
                  <c:v>91</c:v>
                </c:pt>
                <c:pt idx="16586">
                  <c:v>91.2</c:v>
                </c:pt>
                <c:pt idx="16587">
                  <c:v>90.1</c:v>
                </c:pt>
                <c:pt idx="16588">
                  <c:v>89.2</c:v>
                </c:pt>
                <c:pt idx="16589">
                  <c:v>90.7</c:v>
                </c:pt>
                <c:pt idx="16590">
                  <c:v>93.4</c:v>
                </c:pt>
                <c:pt idx="16591">
                  <c:v>93.4</c:v>
                </c:pt>
                <c:pt idx="16592">
                  <c:v>93.7</c:v>
                </c:pt>
                <c:pt idx="16593">
                  <c:v>93.4</c:v>
                </c:pt>
                <c:pt idx="16594">
                  <c:v>92.1</c:v>
                </c:pt>
                <c:pt idx="16595">
                  <c:v>92.5</c:v>
                </c:pt>
                <c:pt idx="16596">
                  <c:v>90.9</c:v>
                </c:pt>
                <c:pt idx="16597">
                  <c:v>89.2</c:v>
                </c:pt>
                <c:pt idx="16598">
                  <c:v>89.6</c:v>
                </c:pt>
                <c:pt idx="16599">
                  <c:v>89.4</c:v>
                </c:pt>
                <c:pt idx="16600">
                  <c:v>89.4</c:v>
                </c:pt>
                <c:pt idx="16601">
                  <c:v>90</c:v>
                </c:pt>
                <c:pt idx="16602">
                  <c:v>89.2</c:v>
                </c:pt>
                <c:pt idx="16603">
                  <c:v>87.4</c:v>
                </c:pt>
                <c:pt idx="16604">
                  <c:v>86.5</c:v>
                </c:pt>
                <c:pt idx="16605">
                  <c:v>87.1</c:v>
                </c:pt>
                <c:pt idx="16606">
                  <c:v>87.3</c:v>
                </c:pt>
                <c:pt idx="16607">
                  <c:v>86</c:v>
                </c:pt>
                <c:pt idx="16608">
                  <c:v>84.4</c:v>
                </c:pt>
                <c:pt idx="16609">
                  <c:v>83.1</c:v>
                </c:pt>
                <c:pt idx="16610">
                  <c:v>82.2</c:v>
                </c:pt>
                <c:pt idx="16611">
                  <c:v>81</c:v>
                </c:pt>
                <c:pt idx="16612">
                  <c:v>79.7</c:v>
                </c:pt>
                <c:pt idx="16613">
                  <c:v>78.8</c:v>
                </c:pt>
                <c:pt idx="16614">
                  <c:v>77.7</c:v>
                </c:pt>
                <c:pt idx="16615">
                  <c:v>80.3</c:v>
                </c:pt>
                <c:pt idx="16616">
                  <c:v>80.3</c:v>
                </c:pt>
                <c:pt idx="16617">
                  <c:v>79.400000000000006</c:v>
                </c:pt>
                <c:pt idx="16618">
                  <c:v>78.3</c:v>
                </c:pt>
                <c:pt idx="16619">
                  <c:v>76.900000000000006</c:v>
                </c:pt>
                <c:pt idx="16620">
                  <c:v>76.900000000000006</c:v>
                </c:pt>
                <c:pt idx="16621">
                  <c:v>75.599999999999994</c:v>
                </c:pt>
                <c:pt idx="16622">
                  <c:v>75</c:v>
                </c:pt>
                <c:pt idx="16623">
                  <c:v>74.599999999999994</c:v>
                </c:pt>
                <c:pt idx="16624">
                  <c:v>74.400000000000006</c:v>
                </c:pt>
                <c:pt idx="16625">
                  <c:v>73.8</c:v>
                </c:pt>
                <c:pt idx="16626">
                  <c:v>73</c:v>
                </c:pt>
                <c:pt idx="16627">
                  <c:v>74</c:v>
                </c:pt>
                <c:pt idx="16628">
                  <c:v>72.099999999999994</c:v>
                </c:pt>
                <c:pt idx="16629">
                  <c:v>71.8</c:v>
                </c:pt>
                <c:pt idx="16630">
                  <c:v>71.400000000000006</c:v>
                </c:pt>
                <c:pt idx="16631">
                  <c:v>72.099999999999994</c:v>
                </c:pt>
                <c:pt idx="16632">
                  <c:v>71.400000000000006</c:v>
                </c:pt>
                <c:pt idx="16633">
                  <c:v>71.5</c:v>
                </c:pt>
                <c:pt idx="16634">
                  <c:v>71.400000000000006</c:v>
                </c:pt>
                <c:pt idx="16635">
                  <c:v>71.099999999999994</c:v>
                </c:pt>
                <c:pt idx="16636">
                  <c:v>72.8</c:v>
                </c:pt>
                <c:pt idx="16637">
                  <c:v>71.900000000000006</c:v>
                </c:pt>
                <c:pt idx="16638">
                  <c:v>71.5</c:v>
                </c:pt>
                <c:pt idx="16639">
                  <c:v>70.900000000000006</c:v>
                </c:pt>
                <c:pt idx="16640">
                  <c:v>70.599999999999994</c:v>
                </c:pt>
                <c:pt idx="16641">
                  <c:v>70.3</c:v>
                </c:pt>
                <c:pt idx="16642">
                  <c:v>71.8</c:v>
                </c:pt>
                <c:pt idx="16643">
                  <c:v>70.099999999999994</c:v>
                </c:pt>
                <c:pt idx="16644">
                  <c:v>69.8</c:v>
                </c:pt>
                <c:pt idx="16645">
                  <c:v>69.400000000000006</c:v>
                </c:pt>
                <c:pt idx="16646">
                  <c:v>68.900000000000006</c:v>
                </c:pt>
                <c:pt idx="16647">
                  <c:v>69</c:v>
                </c:pt>
                <c:pt idx="16648">
                  <c:v>68.400000000000006</c:v>
                </c:pt>
                <c:pt idx="16649">
                  <c:v>68</c:v>
                </c:pt>
                <c:pt idx="16650">
                  <c:v>68.400000000000006</c:v>
                </c:pt>
                <c:pt idx="16651">
                  <c:v>69.3</c:v>
                </c:pt>
                <c:pt idx="16652">
                  <c:v>67.599999999999994</c:v>
                </c:pt>
                <c:pt idx="16653">
                  <c:v>67.3</c:v>
                </c:pt>
                <c:pt idx="16654">
                  <c:v>67.099999999999994</c:v>
                </c:pt>
                <c:pt idx="16655">
                  <c:v>67.099999999999994</c:v>
                </c:pt>
                <c:pt idx="16656">
                  <c:v>66.599999999999994</c:v>
                </c:pt>
                <c:pt idx="16657">
                  <c:v>66.599999999999994</c:v>
                </c:pt>
                <c:pt idx="16658">
                  <c:v>66.400000000000006</c:v>
                </c:pt>
                <c:pt idx="16659">
                  <c:v>66.900000000000006</c:v>
                </c:pt>
                <c:pt idx="16660">
                  <c:v>69</c:v>
                </c:pt>
                <c:pt idx="16661">
                  <c:v>71.400000000000006</c:v>
                </c:pt>
                <c:pt idx="16662">
                  <c:v>74.3</c:v>
                </c:pt>
                <c:pt idx="16663">
                  <c:v>77.099999999999994</c:v>
                </c:pt>
                <c:pt idx="16664">
                  <c:v>81.3</c:v>
                </c:pt>
                <c:pt idx="16665">
                  <c:v>83.5</c:v>
                </c:pt>
                <c:pt idx="16666">
                  <c:v>84.6</c:v>
                </c:pt>
                <c:pt idx="16667">
                  <c:v>75.599999999999994</c:v>
                </c:pt>
                <c:pt idx="16668">
                  <c:v>77.400000000000006</c:v>
                </c:pt>
                <c:pt idx="16669">
                  <c:v>78.3</c:v>
                </c:pt>
                <c:pt idx="16670">
                  <c:v>79.3</c:v>
                </c:pt>
                <c:pt idx="16671">
                  <c:v>80.2</c:v>
                </c:pt>
                <c:pt idx="16672">
                  <c:v>81.5</c:v>
                </c:pt>
                <c:pt idx="16673">
                  <c:v>83.1</c:v>
                </c:pt>
                <c:pt idx="16674">
                  <c:v>84.7</c:v>
                </c:pt>
                <c:pt idx="16675">
                  <c:v>86.2</c:v>
                </c:pt>
                <c:pt idx="16676">
                  <c:v>88.2</c:v>
                </c:pt>
                <c:pt idx="16677">
                  <c:v>90.1</c:v>
                </c:pt>
                <c:pt idx="16678">
                  <c:v>90.7</c:v>
                </c:pt>
                <c:pt idx="16679">
                  <c:v>91.8</c:v>
                </c:pt>
                <c:pt idx="16680">
                  <c:v>91.9</c:v>
                </c:pt>
                <c:pt idx="16681">
                  <c:v>93.2</c:v>
                </c:pt>
                <c:pt idx="16682">
                  <c:v>94.8</c:v>
                </c:pt>
                <c:pt idx="16683">
                  <c:v>94.6</c:v>
                </c:pt>
                <c:pt idx="16684">
                  <c:v>95.4</c:v>
                </c:pt>
                <c:pt idx="16685">
                  <c:v>95.7</c:v>
                </c:pt>
                <c:pt idx="16686">
                  <c:v>93.2</c:v>
                </c:pt>
                <c:pt idx="16687">
                  <c:v>91.8</c:v>
                </c:pt>
                <c:pt idx="16688">
                  <c:v>93.9</c:v>
                </c:pt>
                <c:pt idx="16689">
                  <c:v>95.5</c:v>
                </c:pt>
                <c:pt idx="16690">
                  <c:v>96.3</c:v>
                </c:pt>
                <c:pt idx="16691">
                  <c:v>96.3</c:v>
                </c:pt>
                <c:pt idx="16692">
                  <c:v>95.9</c:v>
                </c:pt>
                <c:pt idx="16693">
                  <c:v>95.9</c:v>
                </c:pt>
                <c:pt idx="16694">
                  <c:v>96.8</c:v>
                </c:pt>
                <c:pt idx="16695">
                  <c:v>96.3</c:v>
                </c:pt>
                <c:pt idx="16696">
                  <c:v>94.6</c:v>
                </c:pt>
                <c:pt idx="16697">
                  <c:v>94.6</c:v>
                </c:pt>
                <c:pt idx="16698">
                  <c:v>93.4</c:v>
                </c:pt>
                <c:pt idx="16699">
                  <c:v>90.7</c:v>
                </c:pt>
                <c:pt idx="16700">
                  <c:v>89.2</c:v>
                </c:pt>
                <c:pt idx="16701">
                  <c:v>88.3</c:v>
                </c:pt>
                <c:pt idx="16702">
                  <c:v>87.1</c:v>
                </c:pt>
                <c:pt idx="16703">
                  <c:v>86.4</c:v>
                </c:pt>
                <c:pt idx="16704">
                  <c:v>85.5</c:v>
                </c:pt>
                <c:pt idx="16705">
                  <c:v>84.2</c:v>
                </c:pt>
                <c:pt idx="16706">
                  <c:v>82.9</c:v>
                </c:pt>
                <c:pt idx="16707">
                  <c:v>82.2</c:v>
                </c:pt>
                <c:pt idx="16708">
                  <c:v>81.5</c:v>
                </c:pt>
                <c:pt idx="16709">
                  <c:v>80.400000000000006</c:v>
                </c:pt>
                <c:pt idx="16710">
                  <c:v>79.900000000000006</c:v>
                </c:pt>
                <c:pt idx="16711">
                  <c:v>78.8</c:v>
                </c:pt>
                <c:pt idx="16712">
                  <c:v>81.7</c:v>
                </c:pt>
                <c:pt idx="16713">
                  <c:v>81.400000000000006</c:v>
                </c:pt>
                <c:pt idx="16714">
                  <c:v>79.900000000000006</c:v>
                </c:pt>
                <c:pt idx="16715">
                  <c:v>78.8</c:v>
                </c:pt>
                <c:pt idx="16716">
                  <c:v>78.8</c:v>
                </c:pt>
                <c:pt idx="16717">
                  <c:v>77.599999999999994</c:v>
                </c:pt>
                <c:pt idx="16718">
                  <c:v>77.5</c:v>
                </c:pt>
                <c:pt idx="16719">
                  <c:v>76.3</c:v>
                </c:pt>
                <c:pt idx="16720">
                  <c:v>76.8</c:v>
                </c:pt>
                <c:pt idx="16721">
                  <c:v>76</c:v>
                </c:pt>
                <c:pt idx="16722">
                  <c:v>73.900000000000006</c:v>
                </c:pt>
                <c:pt idx="16723">
                  <c:v>73.599999999999994</c:v>
                </c:pt>
                <c:pt idx="16724">
                  <c:v>73</c:v>
                </c:pt>
                <c:pt idx="16725">
                  <c:v>72.5</c:v>
                </c:pt>
                <c:pt idx="16726">
                  <c:v>72.099999999999994</c:v>
                </c:pt>
                <c:pt idx="16727">
                  <c:v>72</c:v>
                </c:pt>
                <c:pt idx="16728">
                  <c:v>72</c:v>
                </c:pt>
                <c:pt idx="16729">
                  <c:v>71.599999999999994</c:v>
                </c:pt>
                <c:pt idx="16730">
                  <c:v>71.099999999999994</c:v>
                </c:pt>
                <c:pt idx="16731">
                  <c:v>70.3</c:v>
                </c:pt>
                <c:pt idx="16732">
                  <c:v>69.599999999999994</c:v>
                </c:pt>
                <c:pt idx="16733">
                  <c:v>70.599999999999994</c:v>
                </c:pt>
                <c:pt idx="16734">
                  <c:v>71.5</c:v>
                </c:pt>
                <c:pt idx="16735">
                  <c:v>70</c:v>
                </c:pt>
                <c:pt idx="16736">
                  <c:v>69.400000000000006</c:v>
                </c:pt>
                <c:pt idx="16737">
                  <c:v>69</c:v>
                </c:pt>
                <c:pt idx="16738">
                  <c:v>68.400000000000006</c:v>
                </c:pt>
                <c:pt idx="16739">
                  <c:v>68.400000000000006</c:v>
                </c:pt>
                <c:pt idx="16740">
                  <c:v>68.400000000000006</c:v>
                </c:pt>
                <c:pt idx="16741">
                  <c:v>67.8</c:v>
                </c:pt>
                <c:pt idx="16742">
                  <c:v>67.5</c:v>
                </c:pt>
                <c:pt idx="16743">
                  <c:v>67.5</c:v>
                </c:pt>
                <c:pt idx="16744">
                  <c:v>67.599999999999994</c:v>
                </c:pt>
                <c:pt idx="16745">
                  <c:v>66.599999999999994</c:v>
                </c:pt>
                <c:pt idx="16746">
                  <c:v>66.400000000000006</c:v>
                </c:pt>
                <c:pt idx="16747">
                  <c:v>68.599999999999994</c:v>
                </c:pt>
                <c:pt idx="16748">
                  <c:v>67.3</c:v>
                </c:pt>
                <c:pt idx="16749">
                  <c:v>67.099999999999994</c:v>
                </c:pt>
                <c:pt idx="16750">
                  <c:v>66.5</c:v>
                </c:pt>
                <c:pt idx="16751">
                  <c:v>66.599999999999994</c:v>
                </c:pt>
                <c:pt idx="16752">
                  <c:v>66.5</c:v>
                </c:pt>
                <c:pt idx="16753">
                  <c:v>66.400000000000006</c:v>
                </c:pt>
                <c:pt idx="16754">
                  <c:v>66.400000000000006</c:v>
                </c:pt>
                <c:pt idx="16755">
                  <c:v>67.099999999999994</c:v>
                </c:pt>
                <c:pt idx="16756">
                  <c:v>69</c:v>
                </c:pt>
                <c:pt idx="16757">
                  <c:v>72.5</c:v>
                </c:pt>
                <c:pt idx="16758">
                  <c:v>75.099999999999994</c:v>
                </c:pt>
                <c:pt idx="16759">
                  <c:v>77.599999999999994</c:v>
                </c:pt>
                <c:pt idx="16760">
                  <c:v>81</c:v>
                </c:pt>
                <c:pt idx="16761">
                  <c:v>70.7</c:v>
                </c:pt>
                <c:pt idx="16762">
                  <c:v>72.5</c:v>
                </c:pt>
                <c:pt idx="16763">
                  <c:v>75.400000000000006</c:v>
                </c:pt>
                <c:pt idx="16764">
                  <c:v>77.900000000000006</c:v>
                </c:pt>
                <c:pt idx="16765">
                  <c:v>79.900000000000006</c:v>
                </c:pt>
                <c:pt idx="16766">
                  <c:v>81.3</c:v>
                </c:pt>
                <c:pt idx="16767">
                  <c:v>82.6</c:v>
                </c:pt>
                <c:pt idx="16768">
                  <c:v>84.2</c:v>
                </c:pt>
                <c:pt idx="16769">
                  <c:v>85.8</c:v>
                </c:pt>
                <c:pt idx="16770">
                  <c:v>87.3</c:v>
                </c:pt>
                <c:pt idx="16771">
                  <c:v>89.1</c:v>
                </c:pt>
                <c:pt idx="16772">
                  <c:v>90.9</c:v>
                </c:pt>
                <c:pt idx="16773">
                  <c:v>91.9</c:v>
                </c:pt>
                <c:pt idx="16774">
                  <c:v>93.4</c:v>
                </c:pt>
                <c:pt idx="16775">
                  <c:v>94.6</c:v>
                </c:pt>
                <c:pt idx="16776">
                  <c:v>95.2</c:v>
                </c:pt>
                <c:pt idx="16777">
                  <c:v>95.4</c:v>
                </c:pt>
                <c:pt idx="16778">
                  <c:v>93.6</c:v>
                </c:pt>
                <c:pt idx="16779">
                  <c:v>93.9</c:v>
                </c:pt>
                <c:pt idx="16780">
                  <c:v>95.9</c:v>
                </c:pt>
                <c:pt idx="16781">
                  <c:v>95.7</c:v>
                </c:pt>
                <c:pt idx="16782">
                  <c:v>94.3</c:v>
                </c:pt>
                <c:pt idx="16783">
                  <c:v>93</c:v>
                </c:pt>
                <c:pt idx="16784">
                  <c:v>93.9</c:v>
                </c:pt>
                <c:pt idx="16785">
                  <c:v>95.4</c:v>
                </c:pt>
                <c:pt idx="16786">
                  <c:v>95.2</c:v>
                </c:pt>
                <c:pt idx="16787">
                  <c:v>95.5</c:v>
                </c:pt>
                <c:pt idx="16788">
                  <c:v>95.7</c:v>
                </c:pt>
                <c:pt idx="16789">
                  <c:v>95.5</c:v>
                </c:pt>
                <c:pt idx="16790">
                  <c:v>96.3</c:v>
                </c:pt>
                <c:pt idx="16791">
                  <c:v>96.8</c:v>
                </c:pt>
                <c:pt idx="16792">
                  <c:v>95.7</c:v>
                </c:pt>
                <c:pt idx="16793">
                  <c:v>93.9</c:v>
                </c:pt>
                <c:pt idx="16794">
                  <c:v>92.1</c:v>
                </c:pt>
                <c:pt idx="16795">
                  <c:v>92.1</c:v>
                </c:pt>
                <c:pt idx="16796">
                  <c:v>93.4</c:v>
                </c:pt>
                <c:pt idx="16797">
                  <c:v>93.4</c:v>
                </c:pt>
                <c:pt idx="16798">
                  <c:v>93.2</c:v>
                </c:pt>
                <c:pt idx="16799">
                  <c:v>93.6</c:v>
                </c:pt>
                <c:pt idx="16800">
                  <c:v>92.5</c:v>
                </c:pt>
                <c:pt idx="16801">
                  <c:v>89.6</c:v>
                </c:pt>
                <c:pt idx="16802">
                  <c:v>87.8</c:v>
                </c:pt>
                <c:pt idx="16803">
                  <c:v>86</c:v>
                </c:pt>
                <c:pt idx="16804">
                  <c:v>84.2</c:v>
                </c:pt>
                <c:pt idx="16805">
                  <c:v>82.6</c:v>
                </c:pt>
                <c:pt idx="16806">
                  <c:v>81.5</c:v>
                </c:pt>
                <c:pt idx="16807">
                  <c:v>79.900000000000006</c:v>
                </c:pt>
                <c:pt idx="16808">
                  <c:v>79</c:v>
                </c:pt>
                <c:pt idx="16809">
                  <c:v>76.900000000000006</c:v>
                </c:pt>
                <c:pt idx="16810">
                  <c:v>76</c:v>
                </c:pt>
                <c:pt idx="16811">
                  <c:v>75.099999999999994</c:v>
                </c:pt>
                <c:pt idx="16812">
                  <c:v>74.3</c:v>
                </c:pt>
                <c:pt idx="16813">
                  <c:v>76.599999999999994</c:v>
                </c:pt>
                <c:pt idx="16814">
                  <c:v>73.8</c:v>
                </c:pt>
                <c:pt idx="16815">
                  <c:v>74.599999999999994</c:v>
                </c:pt>
                <c:pt idx="16816">
                  <c:v>74</c:v>
                </c:pt>
                <c:pt idx="16817">
                  <c:v>73.900000000000006</c:v>
                </c:pt>
                <c:pt idx="16818">
                  <c:v>71.5</c:v>
                </c:pt>
                <c:pt idx="16819">
                  <c:v>71.8</c:v>
                </c:pt>
                <c:pt idx="16820">
                  <c:v>71.099999999999994</c:v>
                </c:pt>
                <c:pt idx="16821">
                  <c:v>71</c:v>
                </c:pt>
                <c:pt idx="16822">
                  <c:v>70.099999999999994</c:v>
                </c:pt>
                <c:pt idx="16823">
                  <c:v>72.099999999999994</c:v>
                </c:pt>
                <c:pt idx="16824">
                  <c:v>71.900000000000006</c:v>
                </c:pt>
                <c:pt idx="16825">
                  <c:v>70.3</c:v>
                </c:pt>
                <c:pt idx="16826">
                  <c:v>71</c:v>
                </c:pt>
                <c:pt idx="16827">
                  <c:v>71.900000000000006</c:v>
                </c:pt>
                <c:pt idx="16828">
                  <c:v>70</c:v>
                </c:pt>
                <c:pt idx="16829">
                  <c:v>71.400000000000006</c:v>
                </c:pt>
                <c:pt idx="16830">
                  <c:v>70.099999999999994</c:v>
                </c:pt>
                <c:pt idx="16831">
                  <c:v>69.3</c:v>
                </c:pt>
                <c:pt idx="16832">
                  <c:v>70.099999999999994</c:v>
                </c:pt>
                <c:pt idx="16833">
                  <c:v>68.900000000000006</c:v>
                </c:pt>
                <c:pt idx="16834">
                  <c:v>68.400000000000006</c:v>
                </c:pt>
                <c:pt idx="16835">
                  <c:v>68</c:v>
                </c:pt>
                <c:pt idx="16836">
                  <c:v>68</c:v>
                </c:pt>
                <c:pt idx="16837">
                  <c:v>69.400000000000006</c:v>
                </c:pt>
                <c:pt idx="16838">
                  <c:v>68.099999999999994</c:v>
                </c:pt>
                <c:pt idx="16839">
                  <c:v>67.8</c:v>
                </c:pt>
                <c:pt idx="16840">
                  <c:v>69.3</c:v>
                </c:pt>
                <c:pt idx="16841">
                  <c:v>68.400000000000006</c:v>
                </c:pt>
                <c:pt idx="16842">
                  <c:v>67.5</c:v>
                </c:pt>
                <c:pt idx="16843">
                  <c:v>67.099999999999994</c:v>
                </c:pt>
                <c:pt idx="16844">
                  <c:v>69.400000000000006</c:v>
                </c:pt>
                <c:pt idx="16845">
                  <c:v>67.599999999999994</c:v>
                </c:pt>
                <c:pt idx="16846">
                  <c:v>67.3</c:v>
                </c:pt>
                <c:pt idx="16847">
                  <c:v>66.599999999999994</c:v>
                </c:pt>
                <c:pt idx="16848">
                  <c:v>66.599999999999994</c:v>
                </c:pt>
                <c:pt idx="16849">
                  <c:v>67.3</c:v>
                </c:pt>
                <c:pt idx="16850">
                  <c:v>66.900000000000006</c:v>
                </c:pt>
                <c:pt idx="16851">
                  <c:v>67.099999999999994</c:v>
                </c:pt>
                <c:pt idx="16852">
                  <c:v>67.8</c:v>
                </c:pt>
                <c:pt idx="16853">
                  <c:v>68.400000000000006</c:v>
                </c:pt>
                <c:pt idx="16854">
                  <c:v>69.400000000000006</c:v>
                </c:pt>
                <c:pt idx="16855">
                  <c:v>71.400000000000006</c:v>
                </c:pt>
                <c:pt idx="16856">
                  <c:v>73.8</c:v>
                </c:pt>
                <c:pt idx="16857">
                  <c:v>81.900000000000006</c:v>
                </c:pt>
                <c:pt idx="16858">
                  <c:v>85.7</c:v>
                </c:pt>
                <c:pt idx="16859">
                  <c:v>77.900000000000006</c:v>
                </c:pt>
                <c:pt idx="16860">
                  <c:v>81.099999999999994</c:v>
                </c:pt>
                <c:pt idx="16861">
                  <c:v>82.9</c:v>
                </c:pt>
                <c:pt idx="16862">
                  <c:v>84.2</c:v>
                </c:pt>
                <c:pt idx="16863">
                  <c:v>85.5</c:v>
                </c:pt>
                <c:pt idx="16864">
                  <c:v>86.5</c:v>
                </c:pt>
                <c:pt idx="16865">
                  <c:v>87.3</c:v>
                </c:pt>
                <c:pt idx="16866">
                  <c:v>88.5</c:v>
                </c:pt>
                <c:pt idx="16867">
                  <c:v>89.8</c:v>
                </c:pt>
                <c:pt idx="16868">
                  <c:v>91.4</c:v>
                </c:pt>
                <c:pt idx="16869">
                  <c:v>92.5</c:v>
                </c:pt>
                <c:pt idx="16870">
                  <c:v>93.7</c:v>
                </c:pt>
                <c:pt idx="16871">
                  <c:v>94.8</c:v>
                </c:pt>
                <c:pt idx="16872">
                  <c:v>93.9</c:v>
                </c:pt>
                <c:pt idx="16873">
                  <c:v>92.3</c:v>
                </c:pt>
                <c:pt idx="16874">
                  <c:v>92.5</c:v>
                </c:pt>
                <c:pt idx="16875">
                  <c:v>93.9</c:v>
                </c:pt>
                <c:pt idx="16876">
                  <c:v>94.3</c:v>
                </c:pt>
                <c:pt idx="16877">
                  <c:v>94.6</c:v>
                </c:pt>
                <c:pt idx="16878">
                  <c:v>96.4</c:v>
                </c:pt>
                <c:pt idx="16879">
                  <c:v>98.1</c:v>
                </c:pt>
                <c:pt idx="16880">
                  <c:v>97.7</c:v>
                </c:pt>
                <c:pt idx="16881">
                  <c:v>97</c:v>
                </c:pt>
                <c:pt idx="16882">
                  <c:v>96.3</c:v>
                </c:pt>
                <c:pt idx="16883">
                  <c:v>95</c:v>
                </c:pt>
                <c:pt idx="16884">
                  <c:v>96.3</c:v>
                </c:pt>
                <c:pt idx="16885">
                  <c:v>99.3</c:v>
                </c:pt>
                <c:pt idx="16886">
                  <c:v>99.1</c:v>
                </c:pt>
                <c:pt idx="16887">
                  <c:v>97</c:v>
                </c:pt>
                <c:pt idx="16888">
                  <c:v>95.7</c:v>
                </c:pt>
                <c:pt idx="16889">
                  <c:v>94.6</c:v>
                </c:pt>
                <c:pt idx="16890">
                  <c:v>92.8</c:v>
                </c:pt>
                <c:pt idx="16891">
                  <c:v>90.3</c:v>
                </c:pt>
                <c:pt idx="16892">
                  <c:v>88.7</c:v>
                </c:pt>
                <c:pt idx="16893">
                  <c:v>88.9</c:v>
                </c:pt>
                <c:pt idx="16894">
                  <c:v>89.1</c:v>
                </c:pt>
                <c:pt idx="16895">
                  <c:v>88</c:v>
                </c:pt>
                <c:pt idx="16896">
                  <c:v>86.7</c:v>
                </c:pt>
                <c:pt idx="16897">
                  <c:v>85.1</c:v>
                </c:pt>
                <c:pt idx="16898">
                  <c:v>83.7</c:v>
                </c:pt>
                <c:pt idx="16899">
                  <c:v>82.4</c:v>
                </c:pt>
                <c:pt idx="16900">
                  <c:v>81.099999999999994</c:v>
                </c:pt>
                <c:pt idx="16901">
                  <c:v>79.7</c:v>
                </c:pt>
                <c:pt idx="16902">
                  <c:v>78.8</c:v>
                </c:pt>
                <c:pt idx="16903">
                  <c:v>78.599999999999994</c:v>
                </c:pt>
                <c:pt idx="16904">
                  <c:v>78.099999999999994</c:v>
                </c:pt>
                <c:pt idx="16905">
                  <c:v>79.599999999999994</c:v>
                </c:pt>
                <c:pt idx="16906">
                  <c:v>80.5</c:v>
                </c:pt>
                <c:pt idx="16907">
                  <c:v>79.599999999999994</c:v>
                </c:pt>
                <c:pt idx="16908">
                  <c:v>80.3</c:v>
                </c:pt>
                <c:pt idx="16909">
                  <c:v>79.599999999999994</c:v>
                </c:pt>
                <c:pt idx="16910">
                  <c:v>76.900000000000006</c:v>
                </c:pt>
                <c:pt idx="16911">
                  <c:v>77.099999999999994</c:v>
                </c:pt>
                <c:pt idx="16912">
                  <c:v>76.400000000000006</c:v>
                </c:pt>
                <c:pt idx="16913">
                  <c:v>75.900000000000006</c:v>
                </c:pt>
                <c:pt idx="16914">
                  <c:v>75.099999999999994</c:v>
                </c:pt>
                <c:pt idx="16915">
                  <c:v>74.400000000000006</c:v>
                </c:pt>
                <c:pt idx="16916">
                  <c:v>73.8</c:v>
                </c:pt>
                <c:pt idx="16917">
                  <c:v>73.8</c:v>
                </c:pt>
                <c:pt idx="16918">
                  <c:v>73</c:v>
                </c:pt>
                <c:pt idx="16919">
                  <c:v>72.3</c:v>
                </c:pt>
                <c:pt idx="16920">
                  <c:v>72.5</c:v>
                </c:pt>
                <c:pt idx="16921">
                  <c:v>71.8</c:v>
                </c:pt>
                <c:pt idx="16922">
                  <c:v>71.099999999999994</c:v>
                </c:pt>
                <c:pt idx="16923">
                  <c:v>70.5</c:v>
                </c:pt>
                <c:pt idx="16924">
                  <c:v>70.5</c:v>
                </c:pt>
                <c:pt idx="16925">
                  <c:v>70</c:v>
                </c:pt>
                <c:pt idx="16926">
                  <c:v>71.400000000000006</c:v>
                </c:pt>
                <c:pt idx="16927">
                  <c:v>70</c:v>
                </c:pt>
                <c:pt idx="16928">
                  <c:v>69.400000000000006</c:v>
                </c:pt>
                <c:pt idx="16929">
                  <c:v>68.900000000000006</c:v>
                </c:pt>
                <c:pt idx="16930">
                  <c:v>68.400000000000006</c:v>
                </c:pt>
                <c:pt idx="16931">
                  <c:v>68</c:v>
                </c:pt>
                <c:pt idx="16932">
                  <c:v>68.400000000000006</c:v>
                </c:pt>
                <c:pt idx="16933">
                  <c:v>68</c:v>
                </c:pt>
                <c:pt idx="16934">
                  <c:v>67.599999999999994</c:v>
                </c:pt>
                <c:pt idx="16935">
                  <c:v>67.3</c:v>
                </c:pt>
                <c:pt idx="16936">
                  <c:v>67.3</c:v>
                </c:pt>
                <c:pt idx="16937">
                  <c:v>67.099999999999994</c:v>
                </c:pt>
                <c:pt idx="16938">
                  <c:v>66.5</c:v>
                </c:pt>
                <c:pt idx="16939">
                  <c:v>66.099999999999994</c:v>
                </c:pt>
                <c:pt idx="16940">
                  <c:v>68.099999999999994</c:v>
                </c:pt>
                <c:pt idx="16941">
                  <c:v>66.5</c:v>
                </c:pt>
                <c:pt idx="16942">
                  <c:v>66.099999999999994</c:v>
                </c:pt>
                <c:pt idx="16943">
                  <c:v>65.900000000000006</c:v>
                </c:pt>
                <c:pt idx="16944">
                  <c:v>65.900000000000006</c:v>
                </c:pt>
                <c:pt idx="16945">
                  <c:v>65.5</c:v>
                </c:pt>
                <c:pt idx="16946">
                  <c:v>65.8</c:v>
                </c:pt>
                <c:pt idx="16947">
                  <c:v>65.8</c:v>
                </c:pt>
                <c:pt idx="16948">
                  <c:v>68</c:v>
                </c:pt>
                <c:pt idx="16949">
                  <c:v>71.900000000000006</c:v>
                </c:pt>
                <c:pt idx="16950">
                  <c:v>73</c:v>
                </c:pt>
                <c:pt idx="16951">
                  <c:v>78.400000000000006</c:v>
                </c:pt>
                <c:pt idx="16952">
                  <c:v>79</c:v>
                </c:pt>
                <c:pt idx="16953">
                  <c:v>81</c:v>
                </c:pt>
                <c:pt idx="16954">
                  <c:v>83</c:v>
                </c:pt>
                <c:pt idx="16955">
                  <c:v>85.5</c:v>
                </c:pt>
                <c:pt idx="16956">
                  <c:v>82.8</c:v>
                </c:pt>
                <c:pt idx="16957">
                  <c:v>82.3</c:v>
                </c:pt>
                <c:pt idx="16958">
                  <c:v>88.9</c:v>
                </c:pt>
                <c:pt idx="16959">
                  <c:v>86.4</c:v>
                </c:pt>
                <c:pt idx="16960">
                  <c:v>87.3</c:v>
                </c:pt>
                <c:pt idx="16961">
                  <c:v>91.8</c:v>
                </c:pt>
                <c:pt idx="16962">
                  <c:v>93.4</c:v>
                </c:pt>
                <c:pt idx="16963">
                  <c:v>85.1</c:v>
                </c:pt>
                <c:pt idx="16964">
                  <c:v>87.3</c:v>
                </c:pt>
                <c:pt idx="16965">
                  <c:v>88.3</c:v>
                </c:pt>
                <c:pt idx="16966">
                  <c:v>89.4</c:v>
                </c:pt>
                <c:pt idx="16967">
                  <c:v>90</c:v>
                </c:pt>
                <c:pt idx="16968">
                  <c:v>89.8</c:v>
                </c:pt>
                <c:pt idx="16969">
                  <c:v>90</c:v>
                </c:pt>
                <c:pt idx="16970">
                  <c:v>91.6</c:v>
                </c:pt>
                <c:pt idx="16971">
                  <c:v>93.4</c:v>
                </c:pt>
                <c:pt idx="16972">
                  <c:v>94.5</c:v>
                </c:pt>
                <c:pt idx="16973">
                  <c:v>94.5</c:v>
                </c:pt>
                <c:pt idx="16974">
                  <c:v>95.4</c:v>
                </c:pt>
                <c:pt idx="16975">
                  <c:v>95.9</c:v>
                </c:pt>
                <c:pt idx="16976">
                  <c:v>97.5</c:v>
                </c:pt>
                <c:pt idx="16977">
                  <c:v>97.7</c:v>
                </c:pt>
                <c:pt idx="16978">
                  <c:v>96.6</c:v>
                </c:pt>
                <c:pt idx="16979">
                  <c:v>96.3</c:v>
                </c:pt>
                <c:pt idx="16980">
                  <c:v>96.8</c:v>
                </c:pt>
                <c:pt idx="16981">
                  <c:v>97.7</c:v>
                </c:pt>
                <c:pt idx="16982">
                  <c:v>96.6</c:v>
                </c:pt>
                <c:pt idx="16983">
                  <c:v>93.7</c:v>
                </c:pt>
                <c:pt idx="16984">
                  <c:v>92.5</c:v>
                </c:pt>
                <c:pt idx="16985">
                  <c:v>91.9</c:v>
                </c:pt>
                <c:pt idx="16986">
                  <c:v>90.5</c:v>
                </c:pt>
                <c:pt idx="16987">
                  <c:v>88.5</c:v>
                </c:pt>
                <c:pt idx="16988">
                  <c:v>86.4</c:v>
                </c:pt>
                <c:pt idx="16989">
                  <c:v>85.8</c:v>
                </c:pt>
                <c:pt idx="16990">
                  <c:v>86</c:v>
                </c:pt>
                <c:pt idx="16991">
                  <c:v>85.5</c:v>
                </c:pt>
                <c:pt idx="16992">
                  <c:v>84.6</c:v>
                </c:pt>
                <c:pt idx="16993">
                  <c:v>83.7</c:v>
                </c:pt>
                <c:pt idx="16994">
                  <c:v>82.9</c:v>
                </c:pt>
                <c:pt idx="16995">
                  <c:v>82.1</c:v>
                </c:pt>
                <c:pt idx="16996">
                  <c:v>81.7</c:v>
                </c:pt>
                <c:pt idx="16997">
                  <c:v>81.3</c:v>
                </c:pt>
                <c:pt idx="16998">
                  <c:v>81</c:v>
                </c:pt>
                <c:pt idx="16999">
                  <c:v>81</c:v>
                </c:pt>
                <c:pt idx="17000">
                  <c:v>81</c:v>
                </c:pt>
                <c:pt idx="17001">
                  <c:v>79</c:v>
                </c:pt>
                <c:pt idx="17002">
                  <c:v>77.599999999999994</c:v>
                </c:pt>
                <c:pt idx="17003">
                  <c:v>76</c:v>
                </c:pt>
                <c:pt idx="17004">
                  <c:v>77.599999999999994</c:v>
                </c:pt>
                <c:pt idx="17005">
                  <c:v>77.599999999999994</c:v>
                </c:pt>
                <c:pt idx="17006">
                  <c:v>76.3</c:v>
                </c:pt>
                <c:pt idx="17007">
                  <c:v>76</c:v>
                </c:pt>
                <c:pt idx="17008">
                  <c:v>75.599999999999994</c:v>
                </c:pt>
                <c:pt idx="17009">
                  <c:v>75</c:v>
                </c:pt>
                <c:pt idx="17010">
                  <c:v>74.3</c:v>
                </c:pt>
                <c:pt idx="17011">
                  <c:v>73.8</c:v>
                </c:pt>
                <c:pt idx="17012">
                  <c:v>73</c:v>
                </c:pt>
                <c:pt idx="17013">
                  <c:v>72.8</c:v>
                </c:pt>
                <c:pt idx="17014">
                  <c:v>73.5</c:v>
                </c:pt>
                <c:pt idx="17015">
                  <c:v>72.5</c:v>
                </c:pt>
                <c:pt idx="17016">
                  <c:v>72.3</c:v>
                </c:pt>
                <c:pt idx="17017">
                  <c:v>73.099999999999994</c:v>
                </c:pt>
                <c:pt idx="17018">
                  <c:v>73.099999999999994</c:v>
                </c:pt>
                <c:pt idx="17019">
                  <c:v>72.599999999999994</c:v>
                </c:pt>
                <c:pt idx="17020">
                  <c:v>72.5</c:v>
                </c:pt>
                <c:pt idx="17021">
                  <c:v>71.5</c:v>
                </c:pt>
                <c:pt idx="17022">
                  <c:v>70.900000000000006</c:v>
                </c:pt>
                <c:pt idx="17023">
                  <c:v>70.3</c:v>
                </c:pt>
                <c:pt idx="17024">
                  <c:v>71.099999999999994</c:v>
                </c:pt>
                <c:pt idx="17025">
                  <c:v>70</c:v>
                </c:pt>
                <c:pt idx="17026">
                  <c:v>69.3</c:v>
                </c:pt>
                <c:pt idx="17027">
                  <c:v>69.8</c:v>
                </c:pt>
                <c:pt idx="17028">
                  <c:v>69.3</c:v>
                </c:pt>
                <c:pt idx="17029">
                  <c:v>68.900000000000006</c:v>
                </c:pt>
                <c:pt idx="17030">
                  <c:v>68.099999999999994</c:v>
                </c:pt>
                <c:pt idx="17031">
                  <c:v>67.8</c:v>
                </c:pt>
                <c:pt idx="17032">
                  <c:v>68.400000000000006</c:v>
                </c:pt>
                <c:pt idx="17033">
                  <c:v>68.599999999999994</c:v>
                </c:pt>
                <c:pt idx="17034">
                  <c:v>68</c:v>
                </c:pt>
                <c:pt idx="17035">
                  <c:v>67.3</c:v>
                </c:pt>
                <c:pt idx="17036">
                  <c:v>67.3</c:v>
                </c:pt>
                <c:pt idx="17037">
                  <c:v>69.599999999999994</c:v>
                </c:pt>
                <c:pt idx="17038">
                  <c:v>68</c:v>
                </c:pt>
                <c:pt idx="17039">
                  <c:v>67.5</c:v>
                </c:pt>
                <c:pt idx="17040">
                  <c:v>67.099999999999994</c:v>
                </c:pt>
                <c:pt idx="17041">
                  <c:v>66.900000000000006</c:v>
                </c:pt>
                <c:pt idx="17042">
                  <c:v>66.900000000000006</c:v>
                </c:pt>
                <c:pt idx="17043">
                  <c:v>67.5</c:v>
                </c:pt>
                <c:pt idx="17044">
                  <c:v>68.599999999999994</c:v>
                </c:pt>
                <c:pt idx="17045">
                  <c:v>71</c:v>
                </c:pt>
                <c:pt idx="17046">
                  <c:v>69.8</c:v>
                </c:pt>
                <c:pt idx="17047">
                  <c:v>71.400000000000006</c:v>
                </c:pt>
                <c:pt idx="17048">
                  <c:v>73.5</c:v>
                </c:pt>
                <c:pt idx="17049">
                  <c:v>75.599999999999994</c:v>
                </c:pt>
                <c:pt idx="17050">
                  <c:v>77.400000000000006</c:v>
                </c:pt>
                <c:pt idx="17051">
                  <c:v>75.3</c:v>
                </c:pt>
                <c:pt idx="17052">
                  <c:v>82.8</c:v>
                </c:pt>
                <c:pt idx="17053">
                  <c:v>73.2</c:v>
                </c:pt>
                <c:pt idx="17054">
                  <c:v>74.3</c:v>
                </c:pt>
                <c:pt idx="17055">
                  <c:v>75.2</c:v>
                </c:pt>
                <c:pt idx="17056">
                  <c:v>75.400000000000006</c:v>
                </c:pt>
                <c:pt idx="17057">
                  <c:v>75.7</c:v>
                </c:pt>
                <c:pt idx="17058">
                  <c:v>76.5</c:v>
                </c:pt>
                <c:pt idx="17059">
                  <c:v>78.400000000000006</c:v>
                </c:pt>
                <c:pt idx="17060">
                  <c:v>79</c:v>
                </c:pt>
                <c:pt idx="17061">
                  <c:v>79.7</c:v>
                </c:pt>
                <c:pt idx="17062">
                  <c:v>81</c:v>
                </c:pt>
                <c:pt idx="17063">
                  <c:v>83.1</c:v>
                </c:pt>
                <c:pt idx="17064">
                  <c:v>83.3</c:v>
                </c:pt>
                <c:pt idx="17065">
                  <c:v>82.8</c:v>
                </c:pt>
                <c:pt idx="17066">
                  <c:v>83.1</c:v>
                </c:pt>
                <c:pt idx="17067">
                  <c:v>84.6</c:v>
                </c:pt>
                <c:pt idx="17068">
                  <c:v>86.5</c:v>
                </c:pt>
                <c:pt idx="17069">
                  <c:v>87.8</c:v>
                </c:pt>
                <c:pt idx="17070">
                  <c:v>88.7</c:v>
                </c:pt>
                <c:pt idx="17071">
                  <c:v>88.5</c:v>
                </c:pt>
                <c:pt idx="17072">
                  <c:v>88.3</c:v>
                </c:pt>
                <c:pt idx="17073">
                  <c:v>87.6</c:v>
                </c:pt>
                <c:pt idx="17074">
                  <c:v>86.9</c:v>
                </c:pt>
                <c:pt idx="17075">
                  <c:v>88</c:v>
                </c:pt>
                <c:pt idx="17076">
                  <c:v>88.5</c:v>
                </c:pt>
                <c:pt idx="17077">
                  <c:v>88.9</c:v>
                </c:pt>
                <c:pt idx="17078">
                  <c:v>89.2</c:v>
                </c:pt>
                <c:pt idx="17079">
                  <c:v>89.2</c:v>
                </c:pt>
                <c:pt idx="17080">
                  <c:v>89.2</c:v>
                </c:pt>
                <c:pt idx="17081">
                  <c:v>88.9</c:v>
                </c:pt>
                <c:pt idx="17082">
                  <c:v>87.4</c:v>
                </c:pt>
                <c:pt idx="17083">
                  <c:v>86.7</c:v>
                </c:pt>
                <c:pt idx="17084">
                  <c:v>85.6</c:v>
                </c:pt>
                <c:pt idx="17085">
                  <c:v>85.6</c:v>
                </c:pt>
                <c:pt idx="17086">
                  <c:v>85.1</c:v>
                </c:pt>
                <c:pt idx="17087">
                  <c:v>84.2</c:v>
                </c:pt>
                <c:pt idx="17088">
                  <c:v>83.3</c:v>
                </c:pt>
                <c:pt idx="17089">
                  <c:v>82.4</c:v>
                </c:pt>
                <c:pt idx="17090">
                  <c:v>81.400000000000006</c:v>
                </c:pt>
                <c:pt idx="17091">
                  <c:v>80.3</c:v>
                </c:pt>
                <c:pt idx="17092">
                  <c:v>79.599999999999994</c:v>
                </c:pt>
                <c:pt idx="17093">
                  <c:v>79.400000000000006</c:v>
                </c:pt>
                <c:pt idx="17094">
                  <c:v>80.7</c:v>
                </c:pt>
                <c:pt idx="17095">
                  <c:v>79.3</c:v>
                </c:pt>
                <c:pt idx="17096">
                  <c:v>79.3</c:v>
                </c:pt>
                <c:pt idx="17097">
                  <c:v>79.599999999999994</c:v>
                </c:pt>
                <c:pt idx="17098">
                  <c:v>79.3</c:v>
                </c:pt>
                <c:pt idx="17099">
                  <c:v>76.900000000000006</c:v>
                </c:pt>
                <c:pt idx="17100">
                  <c:v>76</c:v>
                </c:pt>
                <c:pt idx="17101">
                  <c:v>78.099999999999994</c:v>
                </c:pt>
                <c:pt idx="17102">
                  <c:v>75.5</c:v>
                </c:pt>
                <c:pt idx="17103">
                  <c:v>74.8</c:v>
                </c:pt>
                <c:pt idx="17104">
                  <c:v>76</c:v>
                </c:pt>
                <c:pt idx="17105">
                  <c:v>74.3</c:v>
                </c:pt>
                <c:pt idx="17106">
                  <c:v>73.8</c:v>
                </c:pt>
                <c:pt idx="17107">
                  <c:v>72.5</c:v>
                </c:pt>
                <c:pt idx="17108">
                  <c:v>71.900000000000006</c:v>
                </c:pt>
                <c:pt idx="17109">
                  <c:v>71.400000000000006</c:v>
                </c:pt>
                <c:pt idx="17110">
                  <c:v>70.900000000000006</c:v>
                </c:pt>
                <c:pt idx="17111">
                  <c:v>70</c:v>
                </c:pt>
                <c:pt idx="17112">
                  <c:v>71.5</c:v>
                </c:pt>
                <c:pt idx="17113">
                  <c:v>69</c:v>
                </c:pt>
                <c:pt idx="17114">
                  <c:v>68</c:v>
                </c:pt>
                <c:pt idx="17115">
                  <c:v>67.099999999999994</c:v>
                </c:pt>
                <c:pt idx="17116">
                  <c:v>66.5</c:v>
                </c:pt>
                <c:pt idx="17117">
                  <c:v>65.900000000000006</c:v>
                </c:pt>
                <c:pt idx="17118">
                  <c:v>65.5</c:v>
                </c:pt>
                <c:pt idx="17119">
                  <c:v>64.8</c:v>
                </c:pt>
                <c:pt idx="17120">
                  <c:v>63.9</c:v>
                </c:pt>
                <c:pt idx="17121">
                  <c:v>63.2</c:v>
                </c:pt>
                <c:pt idx="17122">
                  <c:v>62.4</c:v>
                </c:pt>
                <c:pt idx="17123">
                  <c:v>62.5</c:v>
                </c:pt>
                <c:pt idx="17124">
                  <c:v>61.7</c:v>
                </c:pt>
                <c:pt idx="17125">
                  <c:v>61.3</c:v>
                </c:pt>
                <c:pt idx="17126">
                  <c:v>61.1</c:v>
                </c:pt>
                <c:pt idx="17127">
                  <c:v>60.3</c:v>
                </c:pt>
                <c:pt idx="17128">
                  <c:v>60.2</c:v>
                </c:pt>
                <c:pt idx="17129">
                  <c:v>60.2</c:v>
                </c:pt>
                <c:pt idx="17130">
                  <c:v>60.3</c:v>
                </c:pt>
                <c:pt idx="17131">
                  <c:v>59.3</c:v>
                </c:pt>
                <c:pt idx="17132">
                  <c:v>58.8</c:v>
                </c:pt>
                <c:pt idx="17133">
                  <c:v>58.5</c:v>
                </c:pt>
                <c:pt idx="17134">
                  <c:v>61.5</c:v>
                </c:pt>
                <c:pt idx="17135">
                  <c:v>59</c:v>
                </c:pt>
                <c:pt idx="17136">
                  <c:v>57.8</c:v>
                </c:pt>
                <c:pt idx="17137">
                  <c:v>58.5</c:v>
                </c:pt>
                <c:pt idx="17138">
                  <c:v>57.7</c:v>
                </c:pt>
                <c:pt idx="17139">
                  <c:v>57.5</c:v>
                </c:pt>
                <c:pt idx="17140">
                  <c:v>60</c:v>
                </c:pt>
                <c:pt idx="17141">
                  <c:v>62.2</c:v>
                </c:pt>
                <c:pt idx="17142">
                  <c:v>64.900000000000006</c:v>
                </c:pt>
                <c:pt idx="17143">
                  <c:v>68.400000000000006</c:v>
                </c:pt>
                <c:pt idx="17144">
                  <c:v>72.3</c:v>
                </c:pt>
                <c:pt idx="17145">
                  <c:v>61.3</c:v>
                </c:pt>
                <c:pt idx="17146">
                  <c:v>62.8</c:v>
                </c:pt>
                <c:pt idx="17147">
                  <c:v>65.099999999999994</c:v>
                </c:pt>
                <c:pt idx="17148">
                  <c:v>68.400000000000006</c:v>
                </c:pt>
                <c:pt idx="17149">
                  <c:v>71.2</c:v>
                </c:pt>
                <c:pt idx="17150">
                  <c:v>72.7</c:v>
                </c:pt>
                <c:pt idx="17151">
                  <c:v>73.900000000000006</c:v>
                </c:pt>
                <c:pt idx="17152">
                  <c:v>75.400000000000006</c:v>
                </c:pt>
                <c:pt idx="17153">
                  <c:v>76.8</c:v>
                </c:pt>
                <c:pt idx="17154">
                  <c:v>78.099999999999994</c:v>
                </c:pt>
                <c:pt idx="17155">
                  <c:v>79.2</c:v>
                </c:pt>
                <c:pt idx="17156">
                  <c:v>80.2</c:v>
                </c:pt>
                <c:pt idx="17157">
                  <c:v>81.7</c:v>
                </c:pt>
                <c:pt idx="17158">
                  <c:v>82.6</c:v>
                </c:pt>
                <c:pt idx="17159">
                  <c:v>82.4</c:v>
                </c:pt>
                <c:pt idx="17160">
                  <c:v>84.2</c:v>
                </c:pt>
                <c:pt idx="17161">
                  <c:v>86.9</c:v>
                </c:pt>
                <c:pt idx="17162">
                  <c:v>87.3</c:v>
                </c:pt>
                <c:pt idx="17163">
                  <c:v>86.7</c:v>
                </c:pt>
                <c:pt idx="17164">
                  <c:v>90</c:v>
                </c:pt>
                <c:pt idx="17165">
                  <c:v>86.4</c:v>
                </c:pt>
                <c:pt idx="17166">
                  <c:v>87.1</c:v>
                </c:pt>
                <c:pt idx="17167">
                  <c:v>88.5</c:v>
                </c:pt>
                <c:pt idx="17168">
                  <c:v>89.2</c:v>
                </c:pt>
                <c:pt idx="17169">
                  <c:v>89.2</c:v>
                </c:pt>
                <c:pt idx="17170">
                  <c:v>77.599999999999994</c:v>
                </c:pt>
                <c:pt idx="17171">
                  <c:v>77.599999999999994</c:v>
                </c:pt>
                <c:pt idx="17172">
                  <c:v>79.099999999999994</c:v>
                </c:pt>
                <c:pt idx="17173">
                  <c:v>80.3</c:v>
                </c:pt>
                <c:pt idx="17174">
                  <c:v>79.099999999999994</c:v>
                </c:pt>
                <c:pt idx="17175">
                  <c:v>78.400000000000006</c:v>
                </c:pt>
                <c:pt idx="17176">
                  <c:v>77.400000000000006</c:v>
                </c:pt>
                <c:pt idx="17177">
                  <c:v>77.5</c:v>
                </c:pt>
                <c:pt idx="17178">
                  <c:v>78.099999999999994</c:v>
                </c:pt>
                <c:pt idx="17179">
                  <c:v>79.3</c:v>
                </c:pt>
                <c:pt idx="17180">
                  <c:v>80.099999999999994</c:v>
                </c:pt>
                <c:pt idx="17181">
                  <c:v>79.400000000000006</c:v>
                </c:pt>
                <c:pt idx="17182">
                  <c:v>77.099999999999994</c:v>
                </c:pt>
                <c:pt idx="17183">
                  <c:v>76.900000000000006</c:v>
                </c:pt>
                <c:pt idx="17184">
                  <c:v>76.400000000000006</c:v>
                </c:pt>
                <c:pt idx="17185">
                  <c:v>76.5</c:v>
                </c:pt>
                <c:pt idx="17186">
                  <c:v>76.3</c:v>
                </c:pt>
                <c:pt idx="17187">
                  <c:v>79.400000000000006</c:v>
                </c:pt>
                <c:pt idx="17188">
                  <c:v>77.5</c:v>
                </c:pt>
                <c:pt idx="17189">
                  <c:v>77.400000000000006</c:v>
                </c:pt>
                <c:pt idx="17190">
                  <c:v>80.3</c:v>
                </c:pt>
                <c:pt idx="17191">
                  <c:v>79.599999999999994</c:v>
                </c:pt>
                <c:pt idx="17192">
                  <c:v>77.599999999999994</c:v>
                </c:pt>
                <c:pt idx="17193">
                  <c:v>78.3</c:v>
                </c:pt>
                <c:pt idx="17194">
                  <c:v>78.3</c:v>
                </c:pt>
                <c:pt idx="17195">
                  <c:v>79.099999999999994</c:v>
                </c:pt>
                <c:pt idx="17196">
                  <c:v>78.400000000000006</c:v>
                </c:pt>
                <c:pt idx="17197">
                  <c:v>79.099999999999994</c:v>
                </c:pt>
                <c:pt idx="17198">
                  <c:v>78.3</c:v>
                </c:pt>
                <c:pt idx="17199">
                  <c:v>77.5</c:v>
                </c:pt>
                <c:pt idx="17200">
                  <c:v>76</c:v>
                </c:pt>
                <c:pt idx="17201">
                  <c:v>75.099999999999994</c:v>
                </c:pt>
                <c:pt idx="17202">
                  <c:v>74</c:v>
                </c:pt>
                <c:pt idx="17203">
                  <c:v>71.5</c:v>
                </c:pt>
                <c:pt idx="17204">
                  <c:v>71</c:v>
                </c:pt>
                <c:pt idx="17205">
                  <c:v>70.5</c:v>
                </c:pt>
                <c:pt idx="17206">
                  <c:v>69.599999999999994</c:v>
                </c:pt>
                <c:pt idx="17207">
                  <c:v>69.3</c:v>
                </c:pt>
                <c:pt idx="17208">
                  <c:v>69</c:v>
                </c:pt>
                <c:pt idx="17209">
                  <c:v>69</c:v>
                </c:pt>
                <c:pt idx="17210">
                  <c:v>69</c:v>
                </c:pt>
                <c:pt idx="17211">
                  <c:v>69</c:v>
                </c:pt>
                <c:pt idx="17212">
                  <c:v>69</c:v>
                </c:pt>
                <c:pt idx="17213">
                  <c:v>69</c:v>
                </c:pt>
                <c:pt idx="17214">
                  <c:v>69</c:v>
                </c:pt>
                <c:pt idx="17215">
                  <c:v>69</c:v>
                </c:pt>
                <c:pt idx="17216">
                  <c:v>69</c:v>
                </c:pt>
                <c:pt idx="17217">
                  <c:v>69</c:v>
                </c:pt>
                <c:pt idx="17218">
                  <c:v>69</c:v>
                </c:pt>
                <c:pt idx="17219">
                  <c:v>69</c:v>
                </c:pt>
                <c:pt idx="17220">
                  <c:v>69</c:v>
                </c:pt>
                <c:pt idx="17221">
                  <c:v>69</c:v>
                </c:pt>
                <c:pt idx="17222">
                  <c:v>69</c:v>
                </c:pt>
                <c:pt idx="17223">
                  <c:v>69</c:v>
                </c:pt>
                <c:pt idx="17224">
                  <c:v>55.9</c:v>
                </c:pt>
                <c:pt idx="17225">
                  <c:v>55.9</c:v>
                </c:pt>
                <c:pt idx="17226">
                  <c:v>55.9</c:v>
                </c:pt>
                <c:pt idx="17227">
                  <c:v>55.6</c:v>
                </c:pt>
                <c:pt idx="17228">
                  <c:v>55</c:v>
                </c:pt>
                <c:pt idx="17229">
                  <c:v>54.9</c:v>
                </c:pt>
                <c:pt idx="17230">
                  <c:v>54.7</c:v>
                </c:pt>
                <c:pt idx="17231">
                  <c:v>54</c:v>
                </c:pt>
                <c:pt idx="17232">
                  <c:v>59.5</c:v>
                </c:pt>
                <c:pt idx="17233">
                  <c:v>57.9</c:v>
                </c:pt>
                <c:pt idx="17234">
                  <c:v>56.5</c:v>
                </c:pt>
                <c:pt idx="17235">
                  <c:v>55.8</c:v>
                </c:pt>
                <c:pt idx="17236">
                  <c:v>55</c:v>
                </c:pt>
                <c:pt idx="17237">
                  <c:v>54.7</c:v>
                </c:pt>
                <c:pt idx="17238">
                  <c:v>54.1</c:v>
                </c:pt>
                <c:pt idx="17239">
                  <c:v>53.8</c:v>
                </c:pt>
                <c:pt idx="17240">
                  <c:v>53.2</c:v>
                </c:pt>
                <c:pt idx="17241">
                  <c:v>59.5</c:v>
                </c:pt>
                <c:pt idx="17242">
                  <c:v>60.6</c:v>
                </c:pt>
                <c:pt idx="17243">
                  <c:v>61.5</c:v>
                </c:pt>
                <c:pt idx="17244">
                  <c:v>63</c:v>
                </c:pt>
                <c:pt idx="17245">
                  <c:v>64.8</c:v>
                </c:pt>
                <c:pt idx="17246">
                  <c:v>66</c:v>
                </c:pt>
                <c:pt idx="17247">
                  <c:v>67.5</c:v>
                </c:pt>
                <c:pt idx="17248">
                  <c:v>68.5</c:v>
                </c:pt>
                <c:pt idx="17249">
                  <c:v>68.599999999999994</c:v>
                </c:pt>
                <c:pt idx="17250">
                  <c:v>68.599999999999994</c:v>
                </c:pt>
                <c:pt idx="17251">
                  <c:v>68.599999999999994</c:v>
                </c:pt>
                <c:pt idx="17252">
                  <c:v>68.599999999999994</c:v>
                </c:pt>
                <c:pt idx="17253">
                  <c:v>68.599999999999994</c:v>
                </c:pt>
                <c:pt idx="17254">
                  <c:v>68.599999999999994</c:v>
                </c:pt>
                <c:pt idx="17255">
                  <c:v>68.599999999999994</c:v>
                </c:pt>
                <c:pt idx="17256">
                  <c:v>73</c:v>
                </c:pt>
                <c:pt idx="17257">
                  <c:v>72.7</c:v>
                </c:pt>
                <c:pt idx="17258">
                  <c:v>72.7</c:v>
                </c:pt>
                <c:pt idx="17259">
                  <c:v>75</c:v>
                </c:pt>
                <c:pt idx="17260">
                  <c:v>74.5</c:v>
                </c:pt>
                <c:pt idx="17261">
                  <c:v>73.599999999999994</c:v>
                </c:pt>
                <c:pt idx="17262">
                  <c:v>74.099999999999994</c:v>
                </c:pt>
                <c:pt idx="17263">
                  <c:v>76.099999999999994</c:v>
                </c:pt>
                <c:pt idx="17264">
                  <c:v>77.2</c:v>
                </c:pt>
                <c:pt idx="17265">
                  <c:v>75.7</c:v>
                </c:pt>
                <c:pt idx="17266">
                  <c:v>73.900000000000006</c:v>
                </c:pt>
                <c:pt idx="17267">
                  <c:v>73.2</c:v>
                </c:pt>
                <c:pt idx="17268">
                  <c:v>74.7</c:v>
                </c:pt>
                <c:pt idx="17269">
                  <c:v>76.099999999999994</c:v>
                </c:pt>
                <c:pt idx="17270">
                  <c:v>75.599999999999994</c:v>
                </c:pt>
                <c:pt idx="17271">
                  <c:v>74.8</c:v>
                </c:pt>
                <c:pt idx="17272">
                  <c:v>74.5</c:v>
                </c:pt>
                <c:pt idx="17273">
                  <c:v>73.900000000000006</c:v>
                </c:pt>
                <c:pt idx="17274">
                  <c:v>73.599999999999994</c:v>
                </c:pt>
                <c:pt idx="17275">
                  <c:v>72.900000000000006</c:v>
                </c:pt>
                <c:pt idx="17276">
                  <c:v>72.099999999999994</c:v>
                </c:pt>
                <c:pt idx="17277">
                  <c:v>71.099999999999994</c:v>
                </c:pt>
                <c:pt idx="17278">
                  <c:v>69.099999999999994</c:v>
                </c:pt>
                <c:pt idx="17279">
                  <c:v>66.599999999999994</c:v>
                </c:pt>
                <c:pt idx="17280">
                  <c:v>64.8</c:v>
                </c:pt>
                <c:pt idx="17281">
                  <c:v>63.5</c:v>
                </c:pt>
                <c:pt idx="17282">
                  <c:v>62.8</c:v>
                </c:pt>
                <c:pt idx="17283">
                  <c:v>62.1</c:v>
                </c:pt>
                <c:pt idx="17284">
                  <c:v>61</c:v>
                </c:pt>
                <c:pt idx="17285">
                  <c:v>61.3</c:v>
                </c:pt>
                <c:pt idx="17286">
                  <c:v>59.4</c:v>
                </c:pt>
                <c:pt idx="17287">
                  <c:v>59.4</c:v>
                </c:pt>
                <c:pt idx="17288">
                  <c:v>58.8</c:v>
                </c:pt>
                <c:pt idx="17289">
                  <c:v>58.3</c:v>
                </c:pt>
                <c:pt idx="17290">
                  <c:v>57.6</c:v>
                </c:pt>
                <c:pt idx="17291">
                  <c:v>56.8</c:v>
                </c:pt>
                <c:pt idx="17292">
                  <c:v>55.8</c:v>
                </c:pt>
                <c:pt idx="17293">
                  <c:v>55.8</c:v>
                </c:pt>
                <c:pt idx="17294">
                  <c:v>55.4</c:v>
                </c:pt>
                <c:pt idx="17295">
                  <c:v>55.4</c:v>
                </c:pt>
                <c:pt idx="17296">
                  <c:v>54.9</c:v>
                </c:pt>
                <c:pt idx="17297">
                  <c:v>54</c:v>
                </c:pt>
                <c:pt idx="17298">
                  <c:v>53.8</c:v>
                </c:pt>
                <c:pt idx="17299">
                  <c:v>67.099999999999994</c:v>
                </c:pt>
                <c:pt idx="17300">
                  <c:v>75.599999999999994</c:v>
                </c:pt>
                <c:pt idx="17301">
                  <c:v>75.599999999999994</c:v>
                </c:pt>
                <c:pt idx="17302">
                  <c:v>75.599999999999994</c:v>
                </c:pt>
                <c:pt idx="17303">
                  <c:v>75.599999999999994</c:v>
                </c:pt>
                <c:pt idx="17304">
                  <c:v>75.599999999999994</c:v>
                </c:pt>
                <c:pt idx="17305">
                  <c:v>75.599999999999994</c:v>
                </c:pt>
                <c:pt idx="17306">
                  <c:v>75.599999999999994</c:v>
                </c:pt>
                <c:pt idx="17307">
                  <c:v>75.599999999999994</c:v>
                </c:pt>
                <c:pt idx="17308">
                  <c:v>75.599999999999994</c:v>
                </c:pt>
                <c:pt idx="17309">
                  <c:v>75.599999999999994</c:v>
                </c:pt>
                <c:pt idx="17310">
                  <c:v>75.599999999999994</c:v>
                </c:pt>
                <c:pt idx="17311">
                  <c:v>75.599999999999994</c:v>
                </c:pt>
                <c:pt idx="17312">
                  <c:v>75.599999999999994</c:v>
                </c:pt>
                <c:pt idx="17313">
                  <c:v>75.599999999999994</c:v>
                </c:pt>
                <c:pt idx="17314">
                  <c:v>75.599999999999994</c:v>
                </c:pt>
                <c:pt idx="17315">
                  <c:v>75.599999999999994</c:v>
                </c:pt>
                <c:pt idx="17316">
                  <c:v>75.599999999999994</c:v>
                </c:pt>
                <c:pt idx="17317">
                  <c:v>77.7</c:v>
                </c:pt>
                <c:pt idx="17318">
                  <c:v>77.7</c:v>
                </c:pt>
                <c:pt idx="17319">
                  <c:v>77.7</c:v>
                </c:pt>
                <c:pt idx="17320">
                  <c:v>77.7</c:v>
                </c:pt>
                <c:pt idx="17321">
                  <c:v>77.7</c:v>
                </c:pt>
                <c:pt idx="17322">
                  <c:v>77.7</c:v>
                </c:pt>
                <c:pt idx="17323">
                  <c:v>77.7</c:v>
                </c:pt>
                <c:pt idx="17324">
                  <c:v>77.7</c:v>
                </c:pt>
                <c:pt idx="17325">
                  <c:v>77.7</c:v>
                </c:pt>
                <c:pt idx="17326">
                  <c:v>80.599999999999994</c:v>
                </c:pt>
                <c:pt idx="17327">
                  <c:v>80.400000000000006</c:v>
                </c:pt>
                <c:pt idx="17328">
                  <c:v>79.7</c:v>
                </c:pt>
                <c:pt idx="17329">
                  <c:v>79.2</c:v>
                </c:pt>
                <c:pt idx="17330">
                  <c:v>79.5</c:v>
                </c:pt>
                <c:pt idx="17331">
                  <c:v>79</c:v>
                </c:pt>
                <c:pt idx="17332">
                  <c:v>78.099999999999994</c:v>
                </c:pt>
                <c:pt idx="17333">
                  <c:v>77.7</c:v>
                </c:pt>
                <c:pt idx="17334">
                  <c:v>76.599999999999994</c:v>
                </c:pt>
                <c:pt idx="17335">
                  <c:v>75.599999999999994</c:v>
                </c:pt>
                <c:pt idx="17336">
                  <c:v>73.599999999999994</c:v>
                </c:pt>
                <c:pt idx="17337">
                  <c:v>71.2</c:v>
                </c:pt>
                <c:pt idx="17338">
                  <c:v>71.2</c:v>
                </c:pt>
                <c:pt idx="17339">
                  <c:v>68.400000000000006</c:v>
                </c:pt>
                <c:pt idx="17340">
                  <c:v>67.5</c:v>
                </c:pt>
                <c:pt idx="17341">
                  <c:v>68</c:v>
                </c:pt>
                <c:pt idx="17342">
                  <c:v>67.099999999999994</c:v>
                </c:pt>
                <c:pt idx="17343">
                  <c:v>66.400000000000006</c:v>
                </c:pt>
                <c:pt idx="17344">
                  <c:v>64.900000000000006</c:v>
                </c:pt>
                <c:pt idx="17345">
                  <c:v>63.3</c:v>
                </c:pt>
                <c:pt idx="17346">
                  <c:v>62.8</c:v>
                </c:pt>
                <c:pt idx="17347">
                  <c:v>62.1</c:v>
                </c:pt>
                <c:pt idx="17348">
                  <c:v>61.3</c:v>
                </c:pt>
                <c:pt idx="17349">
                  <c:v>61</c:v>
                </c:pt>
                <c:pt idx="17350">
                  <c:v>60.6</c:v>
                </c:pt>
                <c:pt idx="17351">
                  <c:v>60.1</c:v>
                </c:pt>
                <c:pt idx="17352">
                  <c:v>59.7</c:v>
                </c:pt>
                <c:pt idx="17353">
                  <c:v>59</c:v>
                </c:pt>
                <c:pt idx="17354">
                  <c:v>59.2</c:v>
                </c:pt>
                <c:pt idx="17355">
                  <c:v>58.3</c:v>
                </c:pt>
                <c:pt idx="17356">
                  <c:v>58.1</c:v>
                </c:pt>
                <c:pt idx="17357">
                  <c:v>57.9</c:v>
                </c:pt>
                <c:pt idx="17358">
                  <c:v>57.4</c:v>
                </c:pt>
                <c:pt idx="17359">
                  <c:v>57</c:v>
                </c:pt>
                <c:pt idx="17360">
                  <c:v>56.3</c:v>
                </c:pt>
                <c:pt idx="17361">
                  <c:v>56.3</c:v>
                </c:pt>
                <c:pt idx="17362">
                  <c:v>56.1</c:v>
                </c:pt>
                <c:pt idx="17363">
                  <c:v>56.1</c:v>
                </c:pt>
                <c:pt idx="17364">
                  <c:v>56.1</c:v>
                </c:pt>
                <c:pt idx="17365">
                  <c:v>56.3</c:v>
                </c:pt>
                <c:pt idx="17366">
                  <c:v>56.3</c:v>
                </c:pt>
                <c:pt idx="17367">
                  <c:v>56.3</c:v>
                </c:pt>
                <c:pt idx="17368">
                  <c:v>56.3</c:v>
                </c:pt>
                <c:pt idx="17369">
                  <c:v>56.1</c:v>
                </c:pt>
                <c:pt idx="17370">
                  <c:v>56.1</c:v>
                </c:pt>
                <c:pt idx="17371">
                  <c:v>56.2</c:v>
                </c:pt>
                <c:pt idx="17372">
                  <c:v>55.9</c:v>
                </c:pt>
                <c:pt idx="17373">
                  <c:v>57</c:v>
                </c:pt>
                <c:pt idx="17374">
                  <c:v>56.7</c:v>
                </c:pt>
                <c:pt idx="17375">
                  <c:v>57.8</c:v>
                </c:pt>
                <c:pt idx="17376">
                  <c:v>55.8</c:v>
                </c:pt>
                <c:pt idx="17377">
                  <c:v>55.8</c:v>
                </c:pt>
                <c:pt idx="17378">
                  <c:v>57</c:v>
                </c:pt>
                <c:pt idx="17379">
                  <c:v>59.8</c:v>
                </c:pt>
                <c:pt idx="17380">
                  <c:v>61.2</c:v>
                </c:pt>
                <c:pt idx="17381">
                  <c:v>63.7</c:v>
                </c:pt>
                <c:pt idx="17382">
                  <c:v>66.400000000000006</c:v>
                </c:pt>
                <c:pt idx="17383">
                  <c:v>67.3</c:v>
                </c:pt>
                <c:pt idx="17384">
                  <c:v>69.3</c:v>
                </c:pt>
                <c:pt idx="17385">
                  <c:v>71.099999999999994</c:v>
                </c:pt>
                <c:pt idx="17386">
                  <c:v>73.5</c:v>
                </c:pt>
                <c:pt idx="17387">
                  <c:v>74.2</c:v>
                </c:pt>
                <c:pt idx="17388">
                  <c:v>74.8</c:v>
                </c:pt>
                <c:pt idx="17389">
                  <c:v>75.400000000000006</c:v>
                </c:pt>
                <c:pt idx="17390">
                  <c:v>76.599999999999994</c:v>
                </c:pt>
                <c:pt idx="17391">
                  <c:v>79.2</c:v>
                </c:pt>
                <c:pt idx="17392">
                  <c:v>80.2</c:v>
                </c:pt>
                <c:pt idx="17393">
                  <c:v>78.599999999999994</c:v>
                </c:pt>
                <c:pt idx="17394">
                  <c:v>78</c:v>
                </c:pt>
                <c:pt idx="17395">
                  <c:v>78.400000000000006</c:v>
                </c:pt>
                <c:pt idx="17396">
                  <c:v>78.5</c:v>
                </c:pt>
                <c:pt idx="17397">
                  <c:v>80.8</c:v>
                </c:pt>
                <c:pt idx="17398">
                  <c:v>80.099999999999994</c:v>
                </c:pt>
                <c:pt idx="17399">
                  <c:v>81.5</c:v>
                </c:pt>
                <c:pt idx="17400">
                  <c:v>81.7</c:v>
                </c:pt>
                <c:pt idx="17401">
                  <c:v>81.3</c:v>
                </c:pt>
                <c:pt idx="17402">
                  <c:v>84.2</c:v>
                </c:pt>
                <c:pt idx="17403">
                  <c:v>87.1</c:v>
                </c:pt>
                <c:pt idx="17404">
                  <c:v>85.5</c:v>
                </c:pt>
                <c:pt idx="17405">
                  <c:v>85.7</c:v>
                </c:pt>
                <c:pt idx="17406">
                  <c:v>82.5</c:v>
                </c:pt>
                <c:pt idx="17407">
                  <c:v>85.1</c:v>
                </c:pt>
                <c:pt idx="17408">
                  <c:v>83.1</c:v>
                </c:pt>
                <c:pt idx="17409">
                  <c:v>83.7</c:v>
                </c:pt>
                <c:pt idx="17410">
                  <c:v>85.5</c:v>
                </c:pt>
                <c:pt idx="17411">
                  <c:v>87.4</c:v>
                </c:pt>
                <c:pt idx="17412">
                  <c:v>87.4</c:v>
                </c:pt>
                <c:pt idx="17413">
                  <c:v>82.9</c:v>
                </c:pt>
                <c:pt idx="17414">
                  <c:v>83.9</c:v>
                </c:pt>
                <c:pt idx="17415">
                  <c:v>84.1</c:v>
                </c:pt>
                <c:pt idx="17416">
                  <c:v>81.599999999999994</c:v>
                </c:pt>
                <c:pt idx="17417">
                  <c:v>82.7</c:v>
                </c:pt>
                <c:pt idx="17418">
                  <c:v>82.9</c:v>
                </c:pt>
                <c:pt idx="17419">
                  <c:v>82.3</c:v>
                </c:pt>
                <c:pt idx="17420">
                  <c:v>79</c:v>
                </c:pt>
                <c:pt idx="17421">
                  <c:v>76.099999999999994</c:v>
                </c:pt>
                <c:pt idx="17422">
                  <c:v>74.7</c:v>
                </c:pt>
                <c:pt idx="17423">
                  <c:v>73</c:v>
                </c:pt>
                <c:pt idx="17424">
                  <c:v>72.5</c:v>
                </c:pt>
                <c:pt idx="17425">
                  <c:v>71</c:v>
                </c:pt>
                <c:pt idx="17426">
                  <c:v>69.3</c:v>
                </c:pt>
                <c:pt idx="17427">
                  <c:v>69.099999999999994</c:v>
                </c:pt>
                <c:pt idx="17428">
                  <c:v>68.599999999999994</c:v>
                </c:pt>
                <c:pt idx="17429">
                  <c:v>67.900000000000006</c:v>
                </c:pt>
                <c:pt idx="17430">
                  <c:v>66.099999999999994</c:v>
                </c:pt>
                <c:pt idx="17431">
                  <c:v>66.7</c:v>
                </c:pt>
                <c:pt idx="17432">
                  <c:v>65.900000000000006</c:v>
                </c:pt>
                <c:pt idx="17433">
                  <c:v>65.900000000000006</c:v>
                </c:pt>
                <c:pt idx="17434">
                  <c:v>64.5</c:v>
                </c:pt>
                <c:pt idx="17435">
                  <c:v>63.6</c:v>
                </c:pt>
                <c:pt idx="17436">
                  <c:v>63.3</c:v>
                </c:pt>
                <c:pt idx="17437">
                  <c:v>62.9</c:v>
                </c:pt>
                <c:pt idx="17438">
                  <c:v>62.2</c:v>
                </c:pt>
                <c:pt idx="17439">
                  <c:v>61.4</c:v>
                </c:pt>
                <c:pt idx="17440">
                  <c:v>61.3</c:v>
                </c:pt>
                <c:pt idx="17441">
                  <c:v>61.3</c:v>
                </c:pt>
                <c:pt idx="17442">
                  <c:v>60.3</c:v>
                </c:pt>
                <c:pt idx="17443">
                  <c:v>61</c:v>
                </c:pt>
                <c:pt idx="17444">
                  <c:v>60.1</c:v>
                </c:pt>
                <c:pt idx="17445">
                  <c:v>59.6</c:v>
                </c:pt>
                <c:pt idx="17446">
                  <c:v>59.6</c:v>
                </c:pt>
                <c:pt idx="17447">
                  <c:v>58.5</c:v>
                </c:pt>
                <c:pt idx="17448">
                  <c:v>59.7</c:v>
                </c:pt>
                <c:pt idx="17449">
                  <c:v>61</c:v>
                </c:pt>
                <c:pt idx="17450">
                  <c:v>59.1</c:v>
                </c:pt>
                <c:pt idx="17451">
                  <c:v>58.1</c:v>
                </c:pt>
                <c:pt idx="17452">
                  <c:v>59.7</c:v>
                </c:pt>
                <c:pt idx="17453">
                  <c:v>59.2</c:v>
                </c:pt>
                <c:pt idx="17454">
                  <c:v>58.4</c:v>
                </c:pt>
                <c:pt idx="17455">
                  <c:v>58.1</c:v>
                </c:pt>
                <c:pt idx="17456">
                  <c:v>58.4</c:v>
                </c:pt>
                <c:pt idx="17457">
                  <c:v>58.3</c:v>
                </c:pt>
                <c:pt idx="17458">
                  <c:v>57.7</c:v>
                </c:pt>
                <c:pt idx="17459">
                  <c:v>57</c:v>
                </c:pt>
                <c:pt idx="17460">
                  <c:v>56.8</c:v>
                </c:pt>
                <c:pt idx="17461">
                  <c:v>66.3</c:v>
                </c:pt>
                <c:pt idx="17462">
                  <c:v>69.099999999999994</c:v>
                </c:pt>
                <c:pt idx="17463">
                  <c:v>71.5</c:v>
                </c:pt>
                <c:pt idx="17464">
                  <c:v>73.400000000000006</c:v>
                </c:pt>
                <c:pt idx="17465">
                  <c:v>74.400000000000006</c:v>
                </c:pt>
                <c:pt idx="17466">
                  <c:v>75.5</c:v>
                </c:pt>
                <c:pt idx="17467">
                  <c:v>76.7</c:v>
                </c:pt>
                <c:pt idx="17468">
                  <c:v>78.5</c:v>
                </c:pt>
                <c:pt idx="17469">
                  <c:v>79</c:v>
                </c:pt>
                <c:pt idx="17470">
                  <c:v>79.599999999999994</c:v>
                </c:pt>
                <c:pt idx="17471">
                  <c:v>80.900000000000006</c:v>
                </c:pt>
                <c:pt idx="17472">
                  <c:v>81.5</c:v>
                </c:pt>
                <c:pt idx="17473">
                  <c:v>82.4</c:v>
                </c:pt>
                <c:pt idx="17474">
                  <c:v>83.4</c:v>
                </c:pt>
                <c:pt idx="17475">
                  <c:v>84.5</c:v>
                </c:pt>
                <c:pt idx="17476">
                  <c:v>85.7</c:v>
                </c:pt>
                <c:pt idx="17477">
                  <c:v>84.1</c:v>
                </c:pt>
                <c:pt idx="17478">
                  <c:v>84.1</c:v>
                </c:pt>
                <c:pt idx="17479">
                  <c:v>85.6</c:v>
                </c:pt>
                <c:pt idx="17480">
                  <c:v>85.1</c:v>
                </c:pt>
                <c:pt idx="17481">
                  <c:v>87.3</c:v>
                </c:pt>
                <c:pt idx="17482">
                  <c:v>87.3</c:v>
                </c:pt>
                <c:pt idx="17483">
                  <c:v>89.3</c:v>
                </c:pt>
                <c:pt idx="17484">
                  <c:v>89.1</c:v>
                </c:pt>
                <c:pt idx="17485">
                  <c:v>89.2</c:v>
                </c:pt>
                <c:pt idx="17486">
                  <c:v>91.3</c:v>
                </c:pt>
                <c:pt idx="17487">
                  <c:v>90.5</c:v>
                </c:pt>
                <c:pt idx="17488">
                  <c:v>90.3</c:v>
                </c:pt>
                <c:pt idx="17489">
                  <c:v>93</c:v>
                </c:pt>
                <c:pt idx="17490">
                  <c:v>92</c:v>
                </c:pt>
                <c:pt idx="17491">
                  <c:v>88.2</c:v>
                </c:pt>
                <c:pt idx="17492">
                  <c:v>88.2</c:v>
                </c:pt>
                <c:pt idx="17493">
                  <c:v>87.8</c:v>
                </c:pt>
                <c:pt idx="17494">
                  <c:v>86.7</c:v>
                </c:pt>
                <c:pt idx="17495">
                  <c:v>85.5</c:v>
                </c:pt>
                <c:pt idx="17496">
                  <c:v>85.1</c:v>
                </c:pt>
                <c:pt idx="17497">
                  <c:v>84.2</c:v>
                </c:pt>
                <c:pt idx="17498">
                  <c:v>83.1</c:v>
                </c:pt>
                <c:pt idx="17499">
                  <c:v>81.7</c:v>
                </c:pt>
                <c:pt idx="17500">
                  <c:v>79.900000000000006</c:v>
                </c:pt>
                <c:pt idx="17501">
                  <c:v>77.900000000000006</c:v>
                </c:pt>
                <c:pt idx="17502">
                  <c:v>76.3</c:v>
                </c:pt>
                <c:pt idx="17503">
                  <c:v>74.8</c:v>
                </c:pt>
                <c:pt idx="17504">
                  <c:v>73.400000000000006</c:v>
                </c:pt>
                <c:pt idx="17505">
                  <c:v>72.3</c:v>
                </c:pt>
                <c:pt idx="17506">
                  <c:v>70.900000000000006</c:v>
                </c:pt>
                <c:pt idx="17507">
                  <c:v>71.400000000000006</c:v>
                </c:pt>
                <c:pt idx="17508">
                  <c:v>69.2</c:v>
                </c:pt>
                <c:pt idx="17509">
                  <c:v>68.5</c:v>
                </c:pt>
                <c:pt idx="17510">
                  <c:v>67.400000000000006</c:v>
                </c:pt>
                <c:pt idx="17511">
                  <c:v>66.900000000000006</c:v>
                </c:pt>
                <c:pt idx="17512">
                  <c:v>66.2</c:v>
                </c:pt>
                <c:pt idx="17513">
                  <c:v>66.900000000000006</c:v>
                </c:pt>
                <c:pt idx="17514">
                  <c:v>65.8</c:v>
                </c:pt>
                <c:pt idx="17515">
                  <c:v>65.099999999999994</c:v>
                </c:pt>
                <c:pt idx="17516">
                  <c:v>65</c:v>
                </c:pt>
                <c:pt idx="17517">
                  <c:v>64.099999999999994</c:v>
                </c:pt>
                <c:pt idx="17518">
                  <c:v>63.4</c:v>
                </c:pt>
                <c:pt idx="17519">
                  <c:v>63.3</c:v>
                </c:pt>
                <c:pt idx="17520">
                  <c:v>62.5</c:v>
                </c:pt>
                <c:pt idx="17521">
                  <c:v>61.6</c:v>
                </c:pt>
                <c:pt idx="17522">
                  <c:v>60.8</c:v>
                </c:pt>
                <c:pt idx="17523">
                  <c:v>61.4</c:v>
                </c:pt>
                <c:pt idx="17524">
                  <c:v>61.1</c:v>
                </c:pt>
                <c:pt idx="17525">
                  <c:v>60.7</c:v>
                </c:pt>
                <c:pt idx="17526">
                  <c:v>62.5</c:v>
                </c:pt>
                <c:pt idx="17527">
                  <c:v>63.2</c:v>
                </c:pt>
                <c:pt idx="17528">
                  <c:v>61.4</c:v>
                </c:pt>
                <c:pt idx="17529">
                  <c:v>60.5</c:v>
                </c:pt>
                <c:pt idx="17530">
                  <c:v>60.4</c:v>
                </c:pt>
                <c:pt idx="17531">
                  <c:v>61</c:v>
                </c:pt>
                <c:pt idx="17532">
                  <c:v>61.3</c:v>
                </c:pt>
                <c:pt idx="17533">
                  <c:v>62.6</c:v>
                </c:pt>
                <c:pt idx="17534">
                  <c:v>62.1</c:v>
                </c:pt>
                <c:pt idx="17535">
                  <c:v>62.3</c:v>
                </c:pt>
                <c:pt idx="17536">
                  <c:v>61.9</c:v>
                </c:pt>
                <c:pt idx="17537">
                  <c:v>61.8</c:v>
                </c:pt>
                <c:pt idx="17538">
                  <c:v>63</c:v>
                </c:pt>
                <c:pt idx="17539">
                  <c:v>62</c:v>
                </c:pt>
                <c:pt idx="17540">
                  <c:v>61.8</c:v>
                </c:pt>
                <c:pt idx="17541">
                  <c:v>61.3</c:v>
                </c:pt>
                <c:pt idx="17542">
                  <c:v>60.9</c:v>
                </c:pt>
                <c:pt idx="17543">
                  <c:v>61.2</c:v>
                </c:pt>
                <c:pt idx="17544">
                  <c:v>63</c:v>
                </c:pt>
                <c:pt idx="17545">
                  <c:v>62.7</c:v>
                </c:pt>
                <c:pt idx="17546">
                  <c:v>63</c:v>
                </c:pt>
                <c:pt idx="17547">
                  <c:v>62.9</c:v>
                </c:pt>
                <c:pt idx="17548">
                  <c:v>62.8</c:v>
                </c:pt>
                <c:pt idx="17549">
                  <c:v>63.2</c:v>
                </c:pt>
                <c:pt idx="17550">
                  <c:v>63.1</c:v>
                </c:pt>
                <c:pt idx="17551">
                  <c:v>63.5</c:v>
                </c:pt>
                <c:pt idx="17552">
                  <c:v>65</c:v>
                </c:pt>
                <c:pt idx="17553">
                  <c:v>66.599999999999994</c:v>
                </c:pt>
                <c:pt idx="17554">
                  <c:v>68.8</c:v>
                </c:pt>
                <c:pt idx="17555">
                  <c:v>69.8</c:v>
                </c:pt>
                <c:pt idx="17556">
                  <c:v>70.7</c:v>
                </c:pt>
                <c:pt idx="17557">
                  <c:v>71.8</c:v>
                </c:pt>
                <c:pt idx="17558">
                  <c:v>72.900000000000006</c:v>
                </c:pt>
                <c:pt idx="17559">
                  <c:v>74.5</c:v>
                </c:pt>
                <c:pt idx="17560">
                  <c:v>76.099999999999994</c:v>
                </c:pt>
                <c:pt idx="17561">
                  <c:v>77</c:v>
                </c:pt>
                <c:pt idx="17562">
                  <c:v>75.2</c:v>
                </c:pt>
                <c:pt idx="17563">
                  <c:v>77</c:v>
                </c:pt>
                <c:pt idx="17564">
                  <c:v>77.7</c:v>
                </c:pt>
                <c:pt idx="17565">
                  <c:v>78.599999999999994</c:v>
                </c:pt>
                <c:pt idx="17566">
                  <c:v>79.7</c:v>
                </c:pt>
                <c:pt idx="17567">
                  <c:v>81</c:v>
                </c:pt>
                <c:pt idx="17568">
                  <c:v>82.4</c:v>
                </c:pt>
                <c:pt idx="17569">
                  <c:v>82.9</c:v>
                </c:pt>
                <c:pt idx="17570">
                  <c:v>84.9</c:v>
                </c:pt>
                <c:pt idx="17571">
                  <c:v>86.1</c:v>
                </c:pt>
                <c:pt idx="17572">
                  <c:v>87</c:v>
                </c:pt>
                <c:pt idx="17573">
                  <c:v>86.7</c:v>
                </c:pt>
                <c:pt idx="17574">
                  <c:v>86</c:v>
                </c:pt>
                <c:pt idx="17575">
                  <c:v>86.5</c:v>
                </c:pt>
                <c:pt idx="17576">
                  <c:v>87.5</c:v>
                </c:pt>
                <c:pt idx="17577">
                  <c:v>89.6</c:v>
                </c:pt>
                <c:pt idx="17578">
                  <c:v>90.6</c:v>
                </c:pt>
                <c:pt idx="17579">
                  <c:v>88.5</c:v>
                </c:pt>
                <c:pt idx="17580">
                  <c:v>90.2</c:v>
                </c:pt>
                <c:pt idx="17581">
                  <c:v>90.4</c:v>
                </c:pt>
                <c:pt idx="17582">
                  <c:v>86.5</c:v>
                </c:pt>
                <c:pt idx="17583">
                  <c:v>87.4</c:v>
                </c:pt>
                <c:pt idx="17584">
                  <c:v>89.4</c:v>
                </c:pt>
                <c:pt idx="17585">
                  <c:v>91.6</c:v>
                </c:pt>
                <c:pt idx="17586">
                  <c:v>90.9</c:v>
                </c:pt>
                <c:pt idx="17587">
                  <c:v>88.9</c:v>
                </c:pt>
                <c:pt idx="17588">
                  <c:v>88.9</c:v>
                </c:pt>
                <c:pt idx="17589">
                  <c:v>89.4</c:v>
                </c:pt>
                <c:pt idx="17590">
                  <c:v>89.1</c:v>
                </c:pt>
                <c:pt idx="17591">
                  <c:v>88.7</c:v>
                </c:pt>
                <c:pt idx="17592">
                  <c:v>87.6</c:v>
                </c:pt>
                <c:pt idx="17593">
                  <c:v>86.2</c:v>
                </c:pt>
                <c:pt idx="17594">
                  <c:v>84.9</c:v>
                </c:pt>
                <c:pt idx="17595">
                  <c:v>83.7</c:v>
                </c:pt>
                <c:pt idx="17596">
                  <c:v>82.2</c:v>
                </c:pt>
                <c:pt idx="17597">
                  <c:v>80.599999999999994</c:v>
                </c:pt>
                <c:pt idx="17598">
                  <c:v>79.3</c:v>
                </c:pt>
                <c:pt idx="17599">
                  <c:v>78.3</c:v>
                </c:pt>
                <c:pt idx="17600">
                  <c:v>77.2</c:v>
                </c:pt>
                <c:pt idx="17601">
                  <c:v>76.5</c:v>
                </c:pt>
                <c:pt idx="17602">
                  <c:v>75.7</c:v>
                </c:pt>
                <c:pt idx="17603">
                  <c:v>75.400000000000006</c:v>
                </c:pt>
                <c:pt idx="17604">
                  <c:v>78.599999999999994</c:v>
                </c:pt>
                <c:pt idx="17605">
                  <c:v>77.5</c:v>
                </c:pt>
                <c:pt idx="17606">
                  <c:v>77.7</c:v>
                </c:pt>
                <c:pt idx="17607">
                  <c:v>76.099999999999994</c:v>
                </c:pt>
                <c:pt idx="17608">
                  <c:v>75.099999999999994</c:v>
                </c:pt>
                <c:pt idx="17609">
                  <c:v>75.599999999999994</c:v>
                </c:pt>
                <c:pt idx="17610">
                  <c:v>74.099999999999994</c:v>
                </c:pt>
                <c:pt idx="17611">
                  <c:v>73</c:v>
                </c:pt>
                <c:pt idx="17612">
                  <c:v>73.2</c:v>
                </c:pt>
                <c:pt idx="17613">
                  <c:v>74</c:v>
                </c:pt>
                <c:pt idx="17614">
                  <c:v>74</c:v>
                </c:pt>
                <c:pt idx="17615">
                  <c:v>72.5</c:v>
                </c:pt>
                <c:pt idx="17616">
                  <c:v>71.599999999999994</c:v>
                </c:pt>
                <c:pt idx="17617">
                  <c:v>72.3</c:v>
                </c:pt>
                <c:pt idx="17618">
                  <c:v>71.5</c:v>
                </c:pt>
                <c:pt idx="17619">
                  <c:v>70.3</c:v>
                </c:pt>
                <c:pt idx="17620">
                  <c:v>69.599999999999994</c:v>
                </c:pt>
                <c:pt idx="17621">
                  <c:v>69.400000000000006</c:v>
                </c:pt>
                <c:pt idx="17622">
                  <c:v>70.400000000000006</c:v>
                </c:pt>
                <c:pt idx="17623">
                  <c:v>70.400000000000006</c:v>
                </c:pt>
                <c:pt idx="17624">
                  <c:v>69.3</c:v>
                </c:pt>
                <c:pt idx="17625">
                  <c:v>69.400000000000006</c:v>
                </c:pt>
                <c:pt idx="17626">
                  <c:v>69.599999999999994</c:v>
                </c:pt>
                <c:pt idx="17627">
                  <c:v>69.7</c:v>
                </c:pt>
                <c:pt idx="17628">
                  <c:v>69.2</c:v>
                </c:pt>
                <c:pt idx="17629">
                  <c:v>68.5</c:v>
                </c:pt>
                <c:pt idx="17630">
                  <c:v>69</c:v>
                </c:pt>
                <c:pt idx="17631">
                  <c:v>68.400000000000006</c:v>
                </c:pt>
                <c:pt idx="17632">
                  <c:v>67.599999999999994</c:v>
                </c:pt>
                <c:pt idx="17633">
                  <c:v>66.900000000000006</c:v>
                </c:pt>
                <c:pt idx="17634">
                  <c:v>66.599999999999994</c:v>
                </c:pt>
                <c:pt idx="17635">
                  <c:v>66.099999999999994</c:v>
                </c:pt>
                <c:pt idx="17636">
                  <c:v>66</c:v>
                </c:pt>
                <c:pt idx="17637">
                  <c:v>66</c:v>
                </c:pt>
                <c:pt idx="17638">
                  <c:v>65.8</c:v>
                </c:pt>
                <c:pt idx="17639">
                  <c:v>65.3</c:v>
                </c:pt>
                <c:pt idx="17640">
                  <c:v>66.3</c:v>
                </c:pt>
                <c:pt idx="17641">
                  <c:v>65.599999999999994</c:v>
                </c:pt>
                <c:pt idx="17642">
                  <c:v>64.900000000000006</c:v>
                </c:pt>
                <c:pt idx="17643">
                  <c:v>64.2</c:v>
                </c:pt>
                <c:pt idx="17644">
                  <c:v>64.2</c:v>
                </c:pt>
                <c:pt idx="17645">
                  <c:v>64.8</c:v>
                </c:pt>
                <c:pt idx="17646">
                  <c:v>65.2</c:v>
                </c:pt>
                <c:pt idx="17647">
                  <c:v>65.599999999999994</c:v>
                </c:pt>
                <c:pt idx="17648">
                  <c:v>67</c:v>
                </c:pt>
                <c:pt idx="17649">
                  <c:v>67.7</c:v>
                </c:pt>
                <c:pt idx="17650">
                  <c:v>69</c:v>
                </c:pt>
                <c:pt idx="17651">
                  <c:v>70.099999999999994</c:v>
                </c:pt>
                <c:pt idx="17652">
                  <c:v>70.2</c:v>
                </c:pt>
                <c:pt idx="17653">
                  <c:v>70.900000000000006</c:v>
                </c:pt>
                <c:pt idx="17654">
                  <c:v>72.099999999999994</c:v>
                </c:pt>
                <c:pt idx="17655">
                  <c:v>72.7</c:v>
                </c:pt>
                <c:pt idx="17656">
                  <c:v>73.400000000000006</c:v>
                </c:pt>
                <c:pt idx="17657">
                  <c:v>74.900000000000006</c:v>
                </c:pt>
                <c:pt idx="17658">
                  <c:v>76.099999999999994</c:v>
                </c:pt>
                <c:pt idx="17659">
                  <c:v>77</c:v>
                </c:pt>
                <c:pt idx="17660">
                  <c:v>77.2</c:v>
                </c:pt>
                <c:pt idx="17661">
                  <c:v>78.900000000000006</c:v>
                </c:pt>
                <c:pt idx="17662">
                  <c:v>79.2</c:v>
                </c:pt>
                <c:pt idx="17663">
                  <c:v>80.3</c:v>
                </c:pt>
                <c:pt idx="17664">
                  <c:v>81.400000000000006</c:v>
                </c:pt>
                <c:pt idx="17665">
                  <c:v>83.1</c:v>
                </c:pt>
                <c:pt idx="17666">
                  <c:v>83.2</c:v>
                </c:pt>
                <c:pt idx="17667">
                  <c:v>84.4</c:v>
                </c:pt>
                <c:pt idx="17668">
                  <c:v>84.2</c:v>
                </c:pt>
                <c:pt idx="17669">
                  <c:v>85.2</c:v>
                </c:pt>
                <c:pt idx="17670">
                  <c:v>85.6</c:v>
                </c:pt>
                <c:pt idx="17671">
                  <c:v>86.4</c:v>
                </c:pt>
                <c:pt idx="17672">
                  <c:v>88.9</c:v>
                </c:pt>
                <c:pt idx="17673">
                  <c:v>89.4</c:v>
                </c:pt>
                <c:pt idx="17674">
                  <c:v>90.2</c:v>
                </c:pt>
                <c:pt idx="17675">
                  <c:v>91.8</c:v>
                </c:pt>
                <c:pt idx="17676">
                  <c:v>91</c:v>
                </c:pt>
                <c:pt idx="17677">
                  <c:v>89.7</c:v>
                </c:pt>
                <c:pt idx="17678">
                  <c:v>90.3</c:v>
                </c:pt>
                <c:pt idx="17679">
                  <c:v>90.8</c:v>
                </c:pt>
                <c:pt idx="17680">
                  <c:v>89.9</c:v>
                </c:pt>
                <c:pt idx="17681">
                  <c:v>92.2</c:v>
                </c:pt>
                <c:pt idx="17682">
                  <c:v>92</c:v>
                </c:pt>
                <c:pt idx="17683">
                  <c:v>92.1</c:v>
                </c:pt>
                <c:pt idx="17684">
                  <c:v>92.1</c:v>
                </c:pt>
                <c:pt idx="17685">
                  <c:v>92.7</c:v>
                </c:pt>
                <c:pt idx="17686">
                  <c:v>91.5</c:v>
                </c:pt>
                <c:pt idx="17687">
                  <c:v>92.4</c:v>
                </c:pt>
                <c:pt idx="17688">
                  <c:v>86.4</c:v>
                </c:pt>
                <c:pt idx="17689">
                  <c:v>85.3</c:v>
                </c:pt>
                <c:pt idx="17690">
                  <c:v>84</c:v>
                </c:pt>
                <c:pt idx="17691">
                  <c:v>82.8</c:v>
                </c:pt>
                <c:pt idx="17692">
                  <c:v>81</c:v>
                </c:pt>
                <c:pt idx="17693">
                  <c:v>79.2</c:v>
                </c:pt>
                <c:pt idx="17694">
                  <c:v>77.400000000000006</c:v>
                </c:pt>
                <c:pt idx="17695">
                  <c:v>75.7</c:v>
                </c:pt>
                <c:pt idx="17696">
                  <c:v>74.5</c:v>
                </c:pt>
                <c:pt idx="17697">
                  <c:v>73.599999999999994</c:v>
                </c:pt>
                <c:pt idx="17698">
                  <c:v>73</c:v>
                </c:pt>
                <c:pt idx="17699">
                  <c:v>72.7</c:v>
                </c:pt>
                <c:pt idx="17700">
                  <c:v>71.8</c:v>
                </c:pt>
                <c:pt idx="17701">
                  <c:v>72.3</c:v>
                </c:pt>
                <c:pt idx="17702">
                  <c:v>71.2</c:v>
                </c:pt>
                <c:pt idx="17703">
                  <c:v>70.400000000000006</c:v>
                </c:pt>
                <c:pt idx="17704">
                  <c:v>69.2</c:v>
                </c:pt>
                <c:pt idx="17705">
                  <c:v>68.7</c:v>
                </c:pt>
                <c:pt idx="17706">
                  <c:v>68.400000000000006</c:v>
                </c:pt>
                <c:pt idx="17707">
                  <c:v>68.599999999999994</c:v>
                </c:pt>
                <c:pt idx="17708">
                  <c:v>67.2</c:v>
                </c:pt>
                <c:pt idx="17709">
                  <c:v>66.5</c:v>
                </c:pt>
                <c:pt idx="17710">
                  <c:v>65.599999999999994</c:v>
                </c:pt>
                <c:pt idx="17711">
                  <c:v>65.400000000000006</c:v>
                </c:pt>
                <c:pt idx="17712">
                  <c:v>66.099999999999994</c:v>
                </c:pt>
                <c:pt idx="17713">
                  <c:v>65.400000000000006</c:v>
                </c:pt>
                <c:pt idx="17714">
                  <c:v>64.2</c:v>
                </c:pt>
                <c:pt idx="17715">
                  <c:v>63.7</c:v>
                </c:pt>
                <c:pt idx="17716">
                  <c:v>62.7</c:v>
                </c:pt>
                <c:pt idx="17717">
                  <c:v>62.2</c:v>
                </c:pt>
                <c:pt idx="17718">
                  <c:v>67.099999999999994</c:v>
                </c:pt>
                <c:pt idx="17719">
                  <c:v>66.400000000000006</c:v>
                </c:pt>
                <c:pt idx="17720">
                  <c:v>66.400000000000006</c:v>
                </c:pt>
                <c:pt idx="17721">
                  <c:v>66</c:v>
                </c:pt>
                <c:pt idx="17722">
                  <c:v>65.7</c:v>
                </c:pt>
                <c:pt idx="17723">
                  <c:v>65.3</c:v>
                </c:pt>
                <c:pt idx="17724">
                  <c:v>64.900000000000006</c:v>
                </c:pt>
                <c:pt idx="17725">
                  <c:v>64.599999999999994</c:v>
                </c:pt>
                <c:pt idx="17726">
                  <c:v>64.400000000000006</c:v>
                </c:pt>
                <c:pt idx="17727">
                  <c:v>64</c:v>
                </c:pt>
                <c:pt idx="17728">
                  <c:v>66.3</c:v>
                </c:pt>
                <c:pt idx="17729">
                  <c:v>65.8</c:v>
                </c:pt>
                <c:pt idx="17730">
                  <c:v>64.900000000000006</c:v>
                </c:pt>
                <c:pt idx="17731">
                  <c:v>64.8</c:v>
                </c:pt>
                <c:pt idx="17732">
                  <c:v>64.7</c:v>
                </c:pt>
                <c:pt idx="17733">
                  <c:v>64.8</c:v>
                </c:pt>
                <c:pt idx="17734">
                  <c:v>64.7</c:v>
                </c:pt>
                <c:pt idx="17735">
                  <c:v>65.5</c:v>
                </c:pt>
                <c:pt idx="17736">
                  <c:v>65</c:v>
                </c:pt>
                <c:pt idx="17737">
                  <c:v>63.9</c:v>
                </c:pt>
                <c:pt idx="17738">
                  <c:v>62.8</c:v>
                </c:pt>
                <c:pt idx="17739">
                  <c:v>62.4</c:v>
                </c:pt>
                <c:pt idx="17740">
                  <c:v>63</c:v>
                </c:pt>
                <c:pt idx="17741">
                  <c:v>63.2</c:v>
                </c:pt>
                <c:pt idx="17742">
                  <c:v>63.4</c:v>
                </c:pt>
                <c:pt idx="17743">
                  <c:v>63.5</c:v>
                </c:pt>
                <c:pt idx="17744">
                  <c:v>65.2</c:v>
                </c:pt>
                <c:pt idx="17745">
                  <c:v>66.3</c:v>
                </c:pt>
                <c:pt idx="17746">
                  <c:v>67.2</c:v>
                </c:pt>
                <c:pt idx="17747">
                  <c:v>67.8</c:v>
                </c:pt>
                <c:pt idx="17748">
                  <c:v>68.400000000000006</c:v>
                </c:pt>
                <c:pt idx="17749">
                  <c:v>69.3</c:v>
                </c:pt>
                <c:pt idx="17750">
                  <c:v>70</c:v>
                </c:pt>
                <c:pt idx="17751">
                  <c:v>70.5</c:v>
                </c:pt>
                <c:pt idx="17752">
                  <c:v>71.599999999999994</c:v>
                </c:pt>
                <c:pt idx="17753">
                  <c:v>73.5</c:v>
                </c:pt>
                <c:pt idx="17754">
                  <c:v>74.7</c:v>
                </c:pt>
                <c:pt idx="17755">
                  <c:v>75.599999999999994</c:v>
                </c:pt>
                <c:pt idx="17756">
                  <c:v>77.400000000000006</c:v>
                </c:pt>
                <c:pt idx="17757">
                  <c:v>76.599999999999994</c:v>
                </c:pt>
                <c:pt idx="17758">
                  <c:v>78.2</c:v>
                </c:pt>
                <c:pt idx="17759">
                  <c:v>78.5</c:v>
                </c:pt>
                <c:pt idx="17760">
                  <c:v>80.8</c:v>
                </c:pt>
                <c:pt idx="17761">
                  <c:v>81.7</c:v>
                </c:pt>
                <c:pt idx="17762">
                  <c:v>81.3</c:v>
                </c:pt>
                <c:pt idx="17763">
                  <c:v>81.8</c:v>
                </c:pt>
                <c:pt idx="17764">
                  <c:v>82.6</c:v>
                </c:pt>
                <c:pt idx="17765">
                  <c:v>84.7</c:v>
                </c:pt>
                <c:pt idx="17766">
                  <c:v>86</c:v>
                </c:pt>
                <c:pt idx="17767">
                  <c:v>85.2</c:v>
                </c:pt>
                <c:pt idx="17768">
                  <c:v>88.5</c:v>
                </c:pt>
                <c:pt idx="17769">
                  <c:v>89.2</c:v>
                </c:pt>
                <c:pt idx="17770">
                  <c:v>89.6</c:v>
                </c:pt>
                <c:pt idx="17771">
                  <c:v>90.2</c:v>
                </c:pt>
                <c:pt idx="17772">
                  <c:v>89.4</c:v>
                </c:pt>
                <c:pt idx="17773">
                  <c:v>88.9</c:v>
                </c:pt>
                <c:pt idx="17774">
                  <c:v>89.9</c:v>
                </c:pt>
                <c:pt idx="17775">
                  <c:v>89.9</c:v>
                </c:pt>
                <c:pt idx="17776">
                  <c:v>91.5</c:v>
                </c:pt>
                <c:pt idx="17777">
                  <c:v>91.7</c:v>
                </c:pt>
                <c:pt idx="17778">
                  <c:v>92.5</c:v>
                </c:pt>
                <c:pt idx="17779">
                  <c:v>92.8</c:v>
                </c:pt>
                <c:pt idx="17780">
                  <c:v>91.3</c:v>
                </c:pt>
                <c:pt idx="17781">
                  <c:v>93.9</c:v>
                </c:pt>
                <c:pt idx="17782">
                  <c:v>93.6</c:v>
                </c:pt>
                <c:pt idx="17783">
                  <c:v>92.9</c:v>
                </c:pt>
                <c:pt idx="17784">
                  <c:v>92.1</c:v>
                </c:pt>
                <c:pt idx="17785">
                  <c:v>90.7</c:v>
                </c:pt>
                <c:pt idx="17786">
                  <c:v>85.1</c:v>
                </c:pt>
                <c:pt idx="17787">
                  <c:v>83.8</c:v>
                </c:pt>
                <c:pt idx="17788">
                  <c:v>82.4</c:v>
                </c:pt>
                <c:pt idx="17789">
                  <c:v>81</c:v>
                </c:pt>
                <c:pt idx="17790">
                  <c:v>79.3</c:v>
                </c:pt>
                <c:pt idx="17791">
                  <c:v>77.7</c:v>
                </c:pt>
                <c:pt idx="17792">
                  <c:v>76.5</c:v>
                </c:pt>
                <c:pt idx="17793">
                  <c:v>75.5</c:v>
                </c:pt>
                <c:pt idx="17794">
                  <c:v>73.400000000000006</c:v>
                </c:pt>
                <c:pt idx="17795">
                  <c:v>73.8</c:v>
                </c:pt>
                <c:pt idx="17796">
                  <c:v>74.400000000000006</c:v>
                </c:pt>
                <c:pt idx="17797">
                  <c:v>75</c:v>
                </c:pt>
                <c:pt idx="17798">
                  <c:v>74.400000000000006</c:v>
                </c:pt>
                <c:pt idx="17799">
                  <c:v>73.599999999999994</c:v>
                </c:pt>
                <c:pt idx="17800">
                  <c:v>74.099999999999994</c:v>
                </c:pt>
                <c:pt idx="17801">
                  <c:v>73.7</c:v>
                </c:pt>
                <c:pt idx="17802">
                  <c:v>72.5</c:v>
                </c:pt>
                <c:pt idx="17803">
                  <c:v>71.7</c:v>
                </c:pt>
                <c:pt idx="17804">
                  <c:v>70.5</c:v>
                </c:pt>
                <c:pt idx="17805">
                  <c:v>68.599999999999994</c:v>
                </c:pt>
                <c:pt idx="17806">
                  <c:v>67.099999999999994</c:v>
                </c:pt>
                <c:pt idx="17807">
                  <c:v>64.099999999999994</c:v>
                </c:pt>
                <c:pt idx="17808">
                  <c:v>63.7</c:v>
                </c:pt>
                <c:pt idx="17809">
                  <c:v>63</c:v>
                </c:pt>
                <c:pt idx="17810">
                  <c:v>63.2</c:v>
                </c:pt>
                <c:pt idx="17811">
                  <c:v>62.7</c:v>
                </c:pt>
                <c:pt idx="17812">
                  <c:v>62.9</c:v>
                </c:pt>
                <c:pt idx="17813">
                  <c:v>63</c:v>
                </c:pt>
                <c:pt idx="17814">
                  <c:v>63</c:v>
                </c:pt>
                <c:pt idx="17815">
                  <c:v>63.2</c:v>
                </c:pt>
                <c:pt idx="17816">
                  <c:v>63.6</c:v>
                </c:pt>
                <c:pt idx="17817">
                  <c:v>63.9</c:v>
                </c:pt>
                <c:pt idx="17818">
                  <c:v>64</c:v>
                </c:pt>
                <c:pt idx="17819">
                  <c:v>64.099999999999994</c:v>
                </c:pt>
                <c:pt idx="17820">
                  <c:v>64</c:v>
                </c:pt>
                <c:pt idx="17821">
                  <c:v>65.5</c:v>
                </c:pt>
                <c:pt idx="17822">
                  <c:v>64.400000000000006</c:v>
                </c:pt>
                <c:pt idx="17823">
                  <c:v>64.099999999999994</c:v>
                </c:pt>
                <c:pt idx="17824">
                  <c:v>64</c:v>
                </c:pt>
                <c:pt idx="17825">
                  <c:v>63.4</c:v>
                </c:pt>
                <c:pt idx="17826">
                  <c:v>62.6</c:v>
                </c:pt>
                <c:pt idx="17827">
                  <c:v>62.4</c:v>
                </c:pt>
                <c:pt idx="17828">
                  <c:v>62.3</c:v>
                </c:pt>
                <c:pt idx="17829">
                  <c:v>62.1</c:v>
                </c:pt>
                <c:pt idx="17830">
                  <c:v>62.1</c:v>
                </c:pt>
                <c:pt idx="17831">
                  <c:v>62.4</c:v>
                </c:pt>
                <c:pt idx="17832">
                  <c:v>62.5</c:v>
                </c:pt>
                <c:pt idx="17833">
                  <c:v>63</c:v>
                </c:pt>
                <c:pt idx="17834">
                  <c:v>65</c:v>
                </c:pt>
                <c:pt idx="17835">
                  <c:v>66.3</c:v>
                </c:pt>
                <c:pt idx="17836">
                  <c:v>67.7</c:v>
                </c:pt>
                <c:pt idx="17837">
                  <c:v>68.599999999999994</c:v>
                </c:pt>
                <c:pt idx="17838">
                  <c:v>69.2</c:v>
                </c:pt>
                <c:pt idx="17839">
                  <c:v>71</c:v>
                </c:pt>
                <c:pt idx="17840">
                  <c:v>72.400000000000006</c:v>
                </c:pt>
                <c:pt idx="17841">
                  <c:v>73</c:v>
                </c:pt>
                <c:pt idx="17842">
                  <c:v>74.2</c:v>
                </c:pt>
                <c:pt idx="17843">
                  <c:v>74.599999999999994</c:v>
                </c:pt>
                <c:pt idx="17844">
                  <c:v>76.099999999999994</c:v>
                </c:pt>
                <c:pt idx="17845">
                  <c:v>77.599999999999994</c:v>
                </c:pt>
                <c:pt idx="17846">
                  <c:v>77.900000000000006</c:v>
                </c:pt>
                <c:pt idx="17847">
                  <c:v>78.8</c:v>
                </c:pt>
                <c:pt idx="17848">
                  <c:v>79.599999999999994</c:v>
                </c:pt>
                <c:pt idx="17849">
                  <c:v>80.8</c:v>
                </c:pt>
                <c:pt idx="17850">
                  <c:v>81.400000000000006</c:v>
                </c:pt>
                <c:pt idx="17851">
                  <c:v>82.5</c:v>
                </c:pt>
                <c:pt idx="17852">
                  <c:v>84.7</c:v>
                </c:pt>
                <c:pt idx="17853">
                  <c:v>83.3</c:v>
                </c:pt>
                <c:pt idx="17854">
                  <c:v>83.8</c:v>
                </c:pt>
                <c:pt idx="17855">
                  <c:v>85.2</c:v>
                </c:pt>
                <c:pt idx="17856">
                  <c:v>86.8</c:v>
                </c:pt>
                <c:pt idx="17857">
                  <c:v>88.1</c:v>
                </c:pt>
                <c:pt idx="17858">
                  <c:v>87.1</c:v>
                </c:pt>
                <c:pt idx="17859">
                  <c:v>90.9</c:v>
                </c:pt>
                <c:pt idx="17860">
                  <c:v>89.9</c:v>
                </c:pt>
                <c:pt idx="17861">
                  <c:v>92.3</c:v>
                </c:pt>
                <c:pt idx="17862">
                  <c:v>91.9</c:v>
                </c:pt>
                <c:pt idx="17863">
                  <c:v>91.1</c:v>
                </c:pt>
                <c:pt idx="17864">
                  <c:v>91.3</c:v>
                </c:pt>
                <c:pt idx="17865">
                  <c:v>92.2</c:v>
                </c:pt>
                <c:pt idx="17866">
                  <c:v>93.1</c:v>
                </c:pt>
                <c:pt idx="17867">
                  <c:v>92.4</c:v>
                </c:pt>
                <c:pt idx="17868">
                  <c:v>93.8</c:v>
                </c:pt>
                <c:pt idx="17869">
                  <c:v>94.1</c:v>
                </c:pt>
                <c:pt idx="17870">
                  <c:v>94.4</c:v>
                </c:pt>
                <c:pt idx="17871">
                  <c:v>94.1</c:v>
                </c:pt>
                <c:pt idx="17872">
                  <c:v>93.3</c:v>
                </c:pt>
                <c:pt idx="17873">
                  <c:v>87.3</c:v>
                </c:pt>
                <c:pt idx="17874">
                  <c:v>86.5</c:v>
                </c:pt>
                <c:pt idx="17875">
                  <c:v>85.6</c:v>
                </c:pt>
                <c:pt idx="17876">
                  <c:v>83.7</c:v>
                </c:pt>
                <c:pt idx="17877">
                  <c:v>81.900000000000006</c:v>
                </c:pt>
                <c:pt idx="17878">
                  <c:v>79.2</c:v>
                </c:pt>
                <c:pt idx="17879">
                  <c:v>77.400000000000006</c:v>
                </c:pt>
                <c:pt idx="17880">
                  <c:v>75.400000000000006</c:v>
                </c:pt>
                <c:pt idx="17881">
                  <c:v>73.8</c:v>
                </c:pt>
                <c:pt idx="17882">
                  <c:v>73</c:v>
                </c:pt>
                <c:pt idx="17883">
                  <c:v>75.900000000000006</c:v>
                </c:pt>
                <c:pt idx="17884">
                  <c:v>74.3</c:v>
                </c:pt>
                <c:pt idx="17885">
                  <c:v>72.8</c:v>
                </c:pt>
                <c:pt idx="17886">
                  <c:v>73.2</c:v>
                </c:pt>
                <c:pt idx="17887">
                  <c:v>72.599999999999994</c:v>
                </c:pt>
                <c:pt idx="17888">
                  <c:v>71.599999999999994</c:v>
                </c:pt>
                <c:pt idx="17889">
                  <c:v>72.2</c:v>
                </c:pt>
                <c:pt idx="17890">
                  <c:v>71.2</c:v>
                </c:pt>
                <c:pt idx="17891">
                  <c:v>70.099999999999994</c:v>
                </c:pt>
                <c:pt idx="17892">
                  <c:v>70</c:v>
                </c:pt>
                <c:pt idx="17893">
                  <c:v>70</c:v>
                </c:pt>
                <c:pt idx="17894">
                  <c:v>69.8</c:v>
                </c:pt>
                <c:pt idx="17895">
                  <c:v>69.2</c:v>
                </c:pt>
                <c:pt idx="17896">
                  <c:v>67.7</c:v>
                </c:pt>
                <c:pt idx="17897">
                  <c:v>68.099999999999994</c:v>
                </c:pt>
                <c:pt idx="17898">
                  <c:v>69.7</c:v>
                </c:pt>
                <c:pt idx="17899">
                  <c:v>69.8</c:v>
                </c:pt>
                <c:pt idx="17900">
                  <c:v>69.900000000000006</c:v>
                </c:pt>
                <c:pt idx="17901">
                  <c:v>69.8</c:v>
                </c:pt>
                <c:pt idx="17902">
                  <c:v>69.8</c:v>
                </c:pt>
                <c:pt idx="17903">
                  <c:v>69.7</c:v>
                </c:pt>
                <c:pt idx="17904">
                  <c:v>69.2</c:v>
                </c:pt>
                <c:pt idx="17905">
                  <c:v>69</c:v>
                </c:pt>
                <c:pt idx="17906">
                  <c:v>68.900000000000006</c:v>
                </c:pt>
                <c:pt idx="17907">
                  <c:v>69.400000000000006</c:v>
                </c:pt>
                <c:pt idx="17908">
                  <c:v>68.7</c:v>
                </c:pt>
                <c:pt idx="17909">
                  <c:v>68.2</c:v>
                </c:pt>
                <c:pt idx="17910">
                  <c:v>67.900000000000006</c:v>
                </c:pt>
                <c:pt idx="17911">
                  <c:v>67.7</c:v>
                </c:pt>
                <c:pt idx="17912">
                  <c:v>67.3</c:v>
                </c:pt>
                <c:pt idx="17913">
                  <c:v>67.3</c:v>
                </c:pt>
                <c:pt idx="17914">
                  <c:v>67.2</c:v>
                </c:pt>
                <c:pt idx="17915">
                  <c:v>67.099999999999994</c:v>
                </c:pt>
                <c:pt idx="17916">
                  <c:v>67.2</c:v>
                </c:pt>
                <c:pt idx="17917">
                  <c:v>68.099999999999994</c:v>
                </c:pt>
                <c:pt idx="17918">
                  <c:v>68.5</c:v>
                </c:pt>
                <c:pt idx="17919">
                  <c:v>68.7</c:v>
                </c:pt>
                <c:pt idx="17920">
                  <c:v>69.099999999999994</c:v>
                </c:pt>
                <c:pt idx="17921">
                  <c:v>69.900000000000006</c:v>
                </c:pt>
                <c:pt idx="17922">
                  <c:v>70.099999999999994</c:v>
                </c:pt>
                <c:pt idx="17923">
                  <c:v>70.5</c:v>
                </c:pt>
                <c:pt idx="17924">
                  <c:v>71.2</c:v>
                </c:pt>
                <c:pt idx="17925">
                  <c:v>71.7</c:v>
                </c:pt>
                <c:pt idx="17926">
                  <c:v>72.2</c:v>
                </c:pt>
                <c:pt idx="17927">
                  <c:v>72.900000000000006</c:v>
                </c:pt>
                <c:pt idx="17928">
                  <c:v>73.400000000000006</c:v>
                </c:pt>
                <c:pt idx="17929">
                  <c:v>74.3</c:v>
                </c:pt>
                <c:pt idx="17930">
                  <c:v>75</c:v>
                </c:pt>
                <c:pt idx="17931">
                  <c:v>76</c:v>
                </c:pt>
                <c:pt idx="17932">
                  <c:v>77</c:v>
                </c:pt>
                <c:pt idx="17933">
                  <c:v>77.2</c:v>
                </c:pt>
                <c:pt idx="17934">
                  <c:v>78.099999999999994</c:v>
                </c:pt>
                <c:pt idx="17935">
                  <c:v>78.599999999999994</c:v>
                </c:pt>
                <c:pt idx="17936">
                  <c:v>79.8</c:v>
                </c:pt>
                <c:pt idx="17937">
                  <c:v>80.099999999999994</c:v>
                </c:pt>
                <c:pt idx="17938">
                  <c:v>80</c:v>
                </c:pt>
                <c:pt idx="17939">
                  <c:v>81.099999999999994</c:v>
                </c:pt>
                <c:pt idx="17940">
                  <c:v>80.5</c:v>
                </c:pt>
                <c:pt idx="17941">
                  <c:v>81.400000000000006</c:v>
                </c:pt>
                <c:pt idx="17942">
                  <c:v>82.3</c:v>
                </c:pt>
                <c:pt idx="17943">
                  <c:v>82.2</c:v>
                </c:pt>
                <c:pt idx="17944">
                  <c:v>85.1</c:v>
                </c:pt>
                <c:pt idx="17945">
                  <c:v>83.4</c:v>
                </c:pt>
                <c:pt idx="17946">
                  <c:v>84.4</c:v>
                </c:pt>
                <c:pt idx="17947">
                  <c:v>84.9</c:v>
                </c:pt>
                <c:pt idx="17948">
                  <c:v>83.7</c:v>
                </c:pt>
                <c:pt idx="17949">
                  <c:v>83.8</c:v>
                </c:pt>
                <c:pt idx="17950">
                  <c:v>84.6</c:v>
                </c:pt>
                <c:pt idx="17951">
                  <c:v>84.4</c:v>
                </c:pt>
                <c:pt idx="17952">
                  <c:v>85.8</c:v>
                </c:pt>
                <c:pt idx="17953">
                  <c:v>86</c:v>
                </c:pt>
                <c:pt idx="17954">
                  <c:v>85.4</c:v>
                </c:pt>
                <c:pt idx="17955">
                  <c:v>86.2</c:v>
                </c:pt>
                <c:pt idx="17956">
                  <c:v>85.4</c:v>
                </c:pt>
                <c:pt idx="17957">
                  <c:v>85.3</c:v>
                </c:pt>
                <c:pt idx="17958">
                  <c:v>86.1</c:v>
                </c:pt>
                <c:pt idx="17959">
                  <c:v>85.7</c:v>
                </c:pt>
                <c:pt idx="17960">
                  <c:v>81.3</c:v>
                </c:pt>
                <c:pt idx="17961">
                  <c:v>80.599999999999994</c:v>
                </c:pt>
                <c:pt idx="17962">
                  <c:v>79.900000000000006</c:v>
                </c:pt>
                <c:pt idx="17963">
                  <c:v>78.8</c:v>
                </c:pt>
                <c:pt idx="17964">
                  <c:v>77.5</c:v>
                </c:pt>
                <c:pt idx="17965">
                  <c:v>77</c:v>
                </c:pt>
                <c:pt idx="17966">
                  <c:v>76.099999999999994</c:v>
                </c:pt>
                <c:pt idx="17967">
                  <c:v>75</c:v>
                </c:pt>
                <c:pt idx="17968">
                  <c:v>75.099999999999994</c:v>
                </c:pt>
                <c:pt idx="17969">
                  <c:v>73.599999999999994</c:v>
                </c:pt>
                <c:pt idx="17970">
                  <c:v>73.599999999999994</c:v>
                </c:pt>
                <c:pt idx="17971">
                  <c:v>72.099999999999994</c:v>
                </c:pt>
                <c:pt idx="17972">
                  <c:v>71.099999999999994</c:v>
                </c:pt>
                <c:pt idx="17973">
                  <c:v>71.400000000000006</c:v>
                </c:pt>
                <c:pt idx="17974">
                  <c:v>69.900000000000006</c:v>
                </c:pt>
                <c:pt idx="17975">
                  <c:v>69.3</c:v>
                </c:pt>
                <c:pt idx="17976">
                  <c:v>69.599999999999994</c:v>
                </c:pt>
                <c:pt idx="17977">
                  <c:v>68.900000000000006</c:v>
                </c:pt>
                <c:pt idx="17978">
                  <c:v>68.5</c:v>
                </c:pt>
                <c:pt idx="17979">
                  <c:v>67.099999999999994</c:v>
                </c:pt>
                <c:pt idx="17980">
                  <c:v>66.900000000000006</c:v>
                </c:pt>
                <c:pt idx="17981">
                  <c:v>66.7</c:v>
                </c:pt>
                <c:pt idx="17982">
                  <c:v>66</c:v>
                </c:pt>
                <c:pt idx="17983">
                  <c:v>65.5</c:v>
                </c:pt>
                <c:pt idx="17984">
                  <c:v>65.099999999999994</c:v>
                </c:pt>
                <c:pt idx="17985">
                  <c:v>64.599999999999994</c:v>
                </c:pt>
                <c:pt idx="17986">
                  <c:v>64.099999999999994</c:v>
                </c:pt>
                <c:pt idx="17987">
                  <c:v>63.6</c:v>
                </c:pt>
                <c:pt idx="17988">
                  <c:v>63</c:v>
                </c:pt>
                <c:pt idx="17989">
                  <c:v>62.8</c:v>
                </c:pt>
                <c:pt idx="17990">
                  <c:v>62.2</c:v>
                </c:pt>
                <c:pt idx="17991">
                  <c:v>61.6</c:v>
                </c:pt>
                <c:pt idx="17992">
                  <c:v>61.3</c:v>
                </c:pt>
                <c:pt idx="17993">
                  <c:v>60.9</c:v>
                </c:pt>
                <c:pt idx="17994">
                  <c:v>60.3</c:v>
                </c:pt>
                <c:pt idx="17995">
                  <c:v>59.6</c:v>
                </c:pt>
                <c:pt idx="17996">
                  <c:v>59.1</c:v>
                </c:pt>
                <c:pt idx="17997">
                  <c:v>58.8</c:v>
                </c:pt>
                <c:pt idx="17998">
                  <c:v>58.5</c:v>
                </c:pt>
                <c:pt idx="17999">
                  <c:v>57.8</c:v>
                </c:pt>
                <c:pt idx="18000">
                  <c:v>57.2</c:v>
                </c:pt>
                <c:pt idx="18001">
                  <c:v>56.6</c:v>
                </c:pt>
                <c:pt idx="18002">
                  <c:v>56</c:v>
                </c:pt>
                <c:pt idx="18003">
                  <c:v>55.4</c:v>
                </c:pt>
                <c:pt idx="18004">
                  <c:v>55.1</c:v>
                </c:pt>
                <c:pt idx="18005">
                  <c:v>65.8</c:v>
                </c:pt>
                <c:pt idx="18006">
                  <c:v>67.400000000000006</c:v>
                </c:pt>
                <c:pt idx="18007">
                  <c:v>68.400000000000006</c:v>
                </c:pt>
                <c:pt idx="18008">
                  <c:v>70.099999999999994</c:v>
                </c:pt>
                <c:pt idx="18009">
                  <c:v>70.900000000000006</c:v>
                </c:pt>
                <c:pt idx="18010">
                  <c:v>72.8</c:v>
                </c:pt>
                <c:pt idx="18011">
                  <c:v>73.900000000000006</c:v>
                </c:pt>
                <c:pt idx="18012">
                  <c:v>75.599999999999994</c:v>
                </c:pt>
                <c:pt idx="18013">
                  <c:v>76.2</c:v>
                </c:pt>
                <c:pt idx="18014">
                  <c:v>77.8</c:v>
                </c:pt>
                <c:pt idx="18015">
                  <c:v>78.7</c:v>
                </c:pt>
                <c:pt idx="18016">
                  <c:v>78.900000000000006</c:v>
                </c:pt>
                <c:pt idx="18017">
                  <c:v>79.5</c:v>
                </c:pt>
                <c:pt idx="18018">
                  <c:v>79.599999999999994</c:v>
                </c:pt>
                <c:pt idx="18019">
                  <c:v>82</c:v>
                </c:pt>
                <c:pt idx="18020">
                  <c:v>81.599999999999994</c:v>
                </c:pt>
                <c:pt idx="18021">
                  <c:v>81.7</c:v>
                </c:pt>
                <c:pt idx="18022">
                  <c:v>82.9</c:v>
                </c:pt>
                <c:pt idx="18023">
                  <c:v>84</c:v>
                </c:pt>
                <c:pt idx="18024">
                  <c:v>86.5</c:v>
                </c:pt>
                <c:pt idx="18025">
                  <c:v>84.8</c:v>
                </c:pt>
                <c:pt idx="18026">
                  <c:v>88.7</c:v>
                </c:pt>
                <c:pt idx="18027">
                  <c:v>86.6</c:v>
                </c:pt>
                <c:pt idx="18028">
                  <c:v>85.2</c:v>
                </c:pt>
                <c:pt idx="18029">
                  <c:v>86.5</c:v>
                </c:pt>
                <c:pt idx="18030">
                  <c:v>87.2</c:v>
                </c:pt>
                <c:pt idx="18031">
                  <c:v>87.1</c:v>
                </c:pt>
                <c:pt idx="18032">
                  <c:v>85.8</c:v>
                </c:pt>
                <c:pt idx="18033">
                  <c:v>88.4</c:v>
                </c:pt>
                <c:pt idx="18034">
                  <c:v>86.8</c:v>
                </c:pt>
                <c:pt idx="18035">
                  <c:v>83.3</c:v>
                </c:pt>
                <c:pt idx="18036">
                  <c:v>82.6</c:v>
                </c:pt>
                <c:pt idx="18037">
                  <c:v>82.2</c:v>
                </c:pt>
                <c:pt idx="18038">
                  <c:v>81.7</c:v>
                </c:pt>
                <c:pt idx="18039">
                  <c:v>81</c:v>
                </c:pt>
                <c:pt idx="18040">
                  <c:v>80.099999999999994</c:v>
                </c:pt>
                <c:pt idx="18041">
                  <c:v>79</c:v>
                </c:pt>
                <c:pt idx="18042">
                  <c:v>77.5</c:v>
                </c:pt>
                <c:pt idx="18043">
                  <c:v>75.900000000000006</c:v>
                </c:pt>
                <c:pt idx="18044">
                  <c:v>74.5</c:v>
                </c:pt>
                <c:pt idx="18045">
                  <c:v>73</c:v>
                </c:pt>
                <c:pt idx="18046">
                  <c:v>70.3</c:v>
                </c:pt>
                <c:pt idx="18047">
                  <c:v>69.599999999999994</c:v>
                </c:pt>
                <c:pt idx="18048">
                  <c:v>67.7</c:v>
                </c:pt>
                <c:pt idx="18049">
                  <c:v>66.5</c:v>
                </c:pt>
                <c:pt idx="18050">
                  <c:v>65.400000000000006</c:v>
                </c:pt>
                <c:pt idx="18051">
                  <c:v>64.8</c:v>
                </c:pt>
                <c:pt idx="18052">
                  <c:v>64</c:v>
                </c:pt>
                <c:pt idx="18053">
                  <c:v>62.7</c:v>
                </c:pt>
                <c:pt idx="18054">
                  <c:v>62.1</c:v>
                </c:pt>
                <c:pt idx="18055">
                  <c:v>62.4</c:v>
                </c:pt>
                <c:pt idx="18056">
                  <c:v>62.2</c:v>
                </c:pt>
                <c:pt idx="18057">
                  <c:v>61.5</c:v>
                </c:pt>
                <c:pt idx="18058">
                  <c:v>61.5</c:v>
                </c:pt>
                <c:pt idx="18059">
                  <c:v>61</c:v>
                </c:pt>
                <c:pt idx="18060">
                  <c:v>59.4</c:v>
                </c:pt>
                <c:pt idx="18061">
                  <c:v>58.5</c:v>
                </c:pt>
                <c:pt idx="18062">
                  <c:v>65.599999999999994</c:v>
                </c:pt>
                <c:pt idx="18063">
                  <c:v>76.7</c:v>
                </c:pt>
                <c:pt idx="18064">
                  <c:v>77.2</c:v>
                </c:pt>
                <c:pt idx="18065">
                  <c:v>83.9</c:v>
                </c:pt>
                <c:pt idx="18066">
                  <c:v>83.9</c:v>
                </c:pt>
                <c:pt idx="18067">
                  <c:v>83.1</c:v>
                </c:pt>
                <c:pt idx="18068">
                  <c:v>82.3</c:v>
                </c:pt>
                <c:pt idx="18069">
                  <c:v>84.6</c:v>
                </c:pt>
                <c:pt idx="18070">
                  <c:v>82.8</c:v>
                </c:pt>
                <c:pt idx="18071">
                  <c:v>79.5</c:v>
                </c:pt>
                <c:pt idx="18072">
                  <c:v>80.099999999999994</c:v>
                </c:pt>
                <c:pt idx="18073">
                  <c:v>80.099999999999994</c:v>
                </c:pt>
                <c:pt idx="18074">
                  <c:v>79</c:v>
                </c:pt>
                <c:pt idx="18075">
                  <c:v>77.900000000000006</c:v>
                </c:pt>
                <c:pt idx="18076">
                  <c:v>76.599999999999994</c:v>
                </c:pt>
                <c:pt idx="18077">
                  <c:v>74.8</c:v>
                </c:pt>
                <c:pt idx="18078">
                  <c:v>73</c:v>
                </c:pt>
                <c:pt idx="18079">
                  <c:v>71.2</c:v>
                </c:pt>
                <c:pt idx="18080">
                  <c:v>69.099999999999994</c:v>
                </c:pt>
                <c:pt idx="18081">
                  <c:v>69.900000000000006</c:v>
                </c:pt>
                <c:pt idx="18082">
                  <c:v>68.099999999999994</c:v>
                </c:pt>
                <c:pt idx="18083">
                  <c:v>65.599999999999994</c:v>
                </c:pt>
                <c:pt idx="18084">
                  <c:v>64.5</c:v>
                </c:pt>
                <c:pt idx="18085">
                  <c:v>63.6</c:v>
                </c:pt>
                <c:pt idx="18086">
                  <c:v>64.599999999999994</c:v>
                </c:pt>
                <c:pt idx="18087">
                  <c:v>63.3</c:v>
                </c:pt>
                <c:pt idx="18088">
                  <c:v>62.2</c:v>
                </c:pt>
                <c:pt idx="18089">
                  <c:v>61.2</c:v>
                </c:pt>
                <c:pt idx="18090">
                  <c:v>60.7</c:v>
                </c:pt>
                <c:pt idx="18091">
                  <c:v>59.6</c:v>
                </c:pt>
                <c:pt idx="18092">
                  <c:v>60.8</c:v>
                </c:pt>
                <c:pt idx="18093">
                  <c:v>58.8</c:v>
                </c:pt>
                <c:pt idx="18094">
                  <c:v>59</c:v>
                </c:pt>
                <c:pt idx="18095">
                  <c:v>58</c:v>
                </c:pt>
                <c:pt idx="18096">
                  <c:v>56.3</c:v>
                </c:pt>
                <c:pt idx="18097">
                  <c:v>64.8</c:v>
                </c:pt>
                <c:pt idx="18098">
                  <c:v>66.400000000000006</c:v>
                </c:pt>
                <c:pt idx="18099">
                  <c:v>67.400000000000006</c:v>
                </c:pt>
                <c:pt idx="18100">
                  <c:v>68.5</c:v>
                </c:pt>
                <c:pt idx="18101">
                  <c:v>69.7</c:v>
                </c:pt>
                <c:pt idx="18102">
                  <c:v>70.7</c:v>
                </c:pt>
                <c:pt idx="18103">
                  <c:v>72.400000000000006</c:v>
                </c:pt>
                <c:pt idx="18104">
                  <c:v>73.099999999999994</c:v>
                </c:pt>
                <c:pt idx="18105">
                  <c:v>72.900000000000006</c:v>
                </c:pt>
                <c:pt idx="18106">
                  <c:v>73.900000000000006</c:v>
                </c:pt>
                <c:pt idx="18107">
                  <c:v>74.900000000000006</c:v>
                </c:pt>
                <c:pt idx="18108">
                  <c:v>75.5</c:v>
                </c:pt>
                <c:pt idx="18109">
                  <c:v>77.400000000000006</c:v>
                </c:pt>
                <c:pt idx="18110">
                  <c:v>76.599999999999994</c:v>
                </c:pt>
                <c:pt idx="18111">
                  <c:v>78</c:v>
                </c:pt>
                <c:pt idx="18112">
                  <c:v>78.099999999999994</c:v>
                </c:pt>
                <c:pt idx="18113">
                  <c:v>79.7</c:v>
                </c:pt>
                <c:pt idx="18114">
                  <c:v>79.5</c:v>
                </c:pt>
                <c:pt idx="18115">
                  <c:v>81.099999999999994</c:v>
                </c:pt>
                <c:pt idx="18116">
                  <c:v>83.3</c:v>
                </c:pt>
                <c:pt idx="18117">
                  <c:v>82.1</c:v>
                </c:pt>
                <c:pt idx="18118">
                  <c:v>82</c:v>
                </c:pt>
                <c:pt idx="18119">
                  <c:v>83</c:v>
                </c:pt>
                <c:pt idx="18120">
                  <c:v>82.1</c:v>
                </c:pt>
                <c:pt idx="18121">
                  <c:v>84</c:v>
                </c:pt>
                <c:pt idx="18122">
                  <c:v>84.2</c:v>
                </c:pt>
                <c:pt idx="18123">
                  <c:v>82.9</c:v>
                </c:pt>
                <c:pt idx="18124">
                  <c:v>85.3</c:v>
                </c:pt>
                <c:pt idx="18125">
                  <c:v>86</c:v>
                </c:pt>
                <c:pt idx="18126">
                  <c:v>83</c:v>
                </c:pt>
                <c:pt idx="18127">
                  <c:v>80.099999999999994</c:v>
                </c:pt>
                <c:pt idx="18128">
                  <c:v>79.7</c:v>
                </c:pt>
                <c:pt idx="18129">
                  <c:v>78.599999999999994</c:v>
                </c:pt>
                <c:pt idx="18130">
                  <c:v>77.400000000000006</c:v>
                </c:pt>
                <c:pt idx="18131">
                  <c:v>75.900000000000006</c:v>
                </c:pt>
                <c:pt idx="18132">
                  <c:v>74.3</c:v>
                </c:pt>
                <c:pt idx="18133">
                  <c:v>72.7</c:v>
                </c:pt>
                <c:pt idx="18134">
                  <c:v>70.900000000000006</c:v>
                </c:pt>
                <c:pt idx="18135">
                  <c:v>69.099999999999994</c:v>
                </c:pt>
                <c:pt idx="18136">
                  <c:v>67.3</c:v>
                </c:pt>
                <c:pt idx="18137">
                  <c:v>67.400000000000006</c:v>
                </c:pt>
                <c:pt idx="18138">
                  <c:v>64.7</c:v>
                </c:pt>
                <c:pt idx="18139">
                  <c:v>63.6</c:v>
                </c:pt>
                <c:pt idx="18140">
                  <c:v>63.5</c:v>
                </c:pt>
                <c:pt idx="18141">
                  <c:v>61.6</c:v>
                </c:pt>
                <c:pt idx="18142">
                  <c:v>60.7</c:v>
                </c:pt>
                <c:pt idx="18143">
                  <c:v>59.6</c:v>
                </c:pt>
                <c:pt idx="18144">
                  <c:v>58.5</c:v>
                </c:pt>
                <c:pt idx="18145">
                  <c:v>58.2</c:v>
                </c:pt>
                <c:pt idx="18146">
                  <c:v>57.5</c:v>
                </c:pt>
                <c:pt idx="18147">
                  <c:v>56.9</c:v>
                </c:pt>
                <c:pt idx="18148">
                  <c:v>56</c:v>
                </c:pt>
                <c:pt idx="18149">
                  <c:v>64.599999999999994</c:v>
                </c:pt>
                <c:pt idx="18150">
                  <c:v>65.400000000000006</c:v>
                </c:pt>
                <c:pt idx="18151">
                  <c:v>66.5</c:v>
                </c:pt>
                <c:pt idx="18152">
                  <c:v>68.7</c:v>
                </c:pt>
                <c:pt idx="18153">
                  <c:v>69</c:v>
                </c:pt>
                <c:pt idx="18154">
                  <c:v>70.3</c:v>
                </c:pt>
                <c:pt idx="18155">
                  <c:v>70.8</c:v>
                </c:pt>
                <c:pt idx="18156">
                  <c:v>73</c:v>
                </c:pt>
                <c:pt idx="18157">
                  <c:v>73.7</c:v>
                </c:pt>
                <c:pt idx="18158">
                  <c:v>74.5</c:v>
                </c:pt>
                <c:pt idx="18159">
                  <c:v>76.2</c:v>
                </c:pt>
                <c:pt idx="18160">
                  <c:v>77</c:v>
                </c:pt>
                <c:pt idx="18161">
                  <c:v>76.599999999999994</c:v>
                </c:pt>
                <c:pt idx="18162">
                  <c:v>78.099999999999994</c:v>
                </c:pt>
                <c:pt idx="18163">
                  <c:v>79.099999999999994</c:v>
                </c:pt>
                <c:pt idx="18164">
                  <c:v>79.2</c:v>
                </c:pt>
                <c:pt idx="18165">
                  <c:v>80.3</c:v>
                </c:pt>
                <c:pt idx="18166">
                  <c:v>81.2</c:v>
                </c:pt>
                <c:pt idx="18167">
                  <c:v>82.5</c:v>
                </c:pt>
                <c:pt idx="18168">
                  <c:v>81.900000000000006</c:v>
                </c:pt>
                <c:pt idx="18169">
                  <c:v>82.5</c:v>
                </c:pt>
                <c:pt idx="18170">
                  <c:v>85.8</c:v>
                </c:pt>
                <c:pt idx="18171">
                  <c:v>85.8</c:v>
                </c:pt>
                <c:pt idx="18172">
                  <c:v>84</c:v>
                </c:pt>
                <c:pt idx="18173">
                  <c:v>84.4</c:v>
                </c:pt>
                <c:pt idx="18174">
                  <c:v>85.1</c:v>
                </c:pt>
                <c:pt idx="18175">
                  <c:v>84.7</c:v>
                </c:pt>
                <c:pt idx="18176">
                  <c:v>83.7</c:v>
                </c:pt>
                <c:pt idx="18177">
                  <c:v>82.8</c:v>
                </c:pt>
                <c:pt idx="18178">
                  <c:v>81.3</c:v>
                </c:pt>
                <c:pt idx="18179">
                  <c:v>81</c:v>
                </c:pt>
                <c:pt idx="18180">
                  <c:v>80.099999999999994</c:v>
                </c:pt>
                <c:pt idx="18181">
                  <c:v>79.900000000000006</c:v>
                </c:pt>
                <c:pt idx="18182">
                  <c:v>79.3</c:v>
                </c:pt>
                <c:pt idx="18183">
                  <c:v>78.8</c:v>
                </c:pt>
                <c:pt idx="18184">
                  <c:v>77.400000000000006</c:v>
                </c:pt>
                <c:pt idx="18185">
                  <c:v>75.7</c:v>
                </c:pt>
                <c:pt idx="18186">
                  <c:v>73.8</c:v>
                </c:pt>
                <c:pt idx="18187">
                  <c:v>71.8</c:v>
                </c:pt>
                <c:pt idx="18188">
                  <c:v>68.900000000000006</c:v>
                </c:pt>
                <c:pt idx="18189">
                  <c:v>68</c:v>
                </c:pt>
                <c:pt idx="18190">
                  <c:v>66.7</c:v>
                </c:pt>
                <c:pt idx="18191">
                  <c:v>66.8</c:v>
                </c:pt>
                <c:pt idx="18192">
                  <c:v>65.900000000000006</c:v>
                </c:pt>
                <c:pt idx="18193">
                  <c:v>64.5</c:v>
                </c:pt>
                <c:pt idx="18194">
                  <c:v>62.6</c:v>
                </c:pt>
                <c:pt idx="18195">
                  <c:v>61.4</c:v>
                </c:pt>
                <c:pt idx="18196">
                  <c:v>60.5</c:v>
                </c:pt>
                <c:pt idx="18197">
                  <c:v>60</c:v>
                </c:pt>
                <c:pt idx="18198">
                  <c:v>60.9</c:v>
                </c:pt>
                <c:pt idx="18199">
                  <c:v>59.1</c:v>
                </c:pt>
                <c:pt idx="18200">
                  <c:v>58.4</c:v>
                </c:pt>
                <c:pt idx="18201">
                  <c:v>58.4</c:v>
                </c:pt>
                <c:pt idx="18202">
                  <c:v>56.5</c:v>
                </c:pt>
                <c:pt idx="18203">
                  <c:v>56.3</c:v>
                </c:pt>
                <c:pt idx="18204">
                  <c:v>67.400000000000006</c:v>
                </c:pt>
                <c:pt idx="18205">
                  <c:v>69</c:v>
                </c:pt>
                <c:pt idx="18206">
                  <c:v>71.5</c:v>
                </c:pt>
                <c:pt idx="18207">
                  <c:v>74.8</c:v>
                </c:pt>
                <c:pt idx="18208">
                  <c:v>75.099999999999994</c:v>
                </c:pt>
                <c:pt idx="18209">
                  <c:v>75.5</c:v>
                </c:pt>
                <c:pt idx="18210">
                  <c:v>76.7</c:v>
                </c:pt>
                <c:pt idx="18211">
                  <c:v>77.7</c:v>
                </c:pt>
                <c:pt idx="18212">
                  <c:v>78.099999999999994</c:v>
                </c:pt>
                <c:pt idx="18213">
                  <c:v>79.3</c:v>
                </c:pt>
                <c:pt idx="18214">
                  <c:v>81.8</c:v>
                </c:pt>
                <c:pt idx="18215">
                  <c:v>82.8</c:v>
                </c:pt>
                <c:pt idx="18216">
                  <c:v>83.4</c:v>
                </c:pt>
                <c:pt idx="18217">
                  <c:v>81.7</c:v>
                </c:pt>
                <c:pt idx="18218">
                  <c:v>85.3</c:v>
                </c:pt>
                <c:pt idx="18219">
                  <c:v>86.6</c:v>
                </c:pt>
                <c:pt idx="18220">
                  <c:v>84.6</c:v>
                </c:pt>
                <c:pt idx="18221">
                  <c:v>88</c:v>
                </c:pt>
                <c:pt idx="18222">
                  <c:v>85.3</c:v>
                </c:pt>
                <c:pt idx="18223">
                  <c:v>86.8</c:v>
                </c:pt>
                <c:pt idx="18224">
                  <c:v>86</c:v>
                </c:pt>
                <c:pt idx="18225">
                  <c:v>87.4</c:v>
                </c:pt>
                <c:pt idx="18226">
                  <c:v>88.9</c:v>
                </c:pt>
                <c:pt idx="18227">
                  <c:v>89.3</c:v>
                </c:pt>
                <c:pt idx="18228">
                  <c:v>90</c:v>
                </c:pt>
                <c:pt idx="18229">
                  <c:v>87.9</c:v>
                </c:pt>
                <c:pt idx="18230">
                  <c:v>87.5</c:v>
                </c:pt>
                <c:pt idx="18231">
                  <c:v>87</c:v>
                </c:pt>
                <c:pt idx="18232">
                  <c:v>84.9</c:v>
                </c:pt>
                <c:pt idx="18233">
                  <c:v>84.2</c:v>
                </c:pt>
                <c:pt idx="18234">
                  <c:v>83.8</c:v>
                </c:pt>
                <c:pt idx="18235">
                  <c:v>83.5</c:v>
                </c:pt>
                <c:pt idx="18236">
                  <c:v>83.1</c:v>
                </c:pt>
                <c:pt idx="18237">
                  <c:v>82.8</c:v>
                </c:pt>
                <c:pt idx="18238">
                  <c:v>81.900000000000006</c:v>
                </c:pt>
                <c:pt idx="18239">
                  <c:v>80.099999999999994</c:v>
                </c:pt>
                <c:pt idx="18240">
                  <c:v>77.900000000000006</c:v>
                </c:pt>
                <c:pt idx="18241">
                  <c:v>76.599999999999994</c:v>
                </c:pt>
                <c:pt idx="18242">
                  <c:v>74.400000000000006</c:v>
                </c:pt>
                <c:pt idx="18243">
                  <c:v>72.599999999999994</c:v>
                </c:pt>
                <c:pt idx="18244">
                  <c:v>72.599999999999994</c:v>
                </c:pt>
                <c:pt idx="18245">
                  <c:v>70.599999999999994</c:v>
                </c:pt>
                <c:pt idx="18246">
                  <c:v>69.2</c:v>
                </c:pt>
                <c:pt idx="18247">
                  <c:v>67.7</c:v>
                </c:pt>
                <c:pt idx="18248">
                  <c:v>66.8</c:v>
                </c:pt>
                <c:pt idx="18249">
                  <c:v>65.900000000000006</c:v>
                </c:pt>
                <c:pt idx="18250">
                  <c:v>66.5</c:v>
                </c:pt>
                <c:pt idx="18251">
                  <c:v>64.900000000000006</c:v>
                </c:pt>
                <c:pt idx="18252">
                  <c:v>63.9</c:v>
                </c:pt>
                <c:pt idx="18253">
                  <c:v>63.3</c:v>
                </c:pt>
                <c:pt idx="18254">
                  <c:v>64.599999999999994</c:v>
                </c:pt>
                <c:pt idx="18255">
                  <c:v>62.6</c:v>
                </c:pt>
                <c:pt idx="18256">
                  <c:v>60.7</c:v>
                </c:pt>
                <c:pt idx="18257">
                  <c:v>59.2</c:v>
                </c:pt>
                <c:pt idx="18258">
                  <c:v>58.4</c:v>
                </c:pt>
                <c:pt idx="18259">
                  <c:v>57.9</c:v>
                </c:pt>
                <c:pt idx="18260">
                  <c:v>57</c:v>
                </c:pt>
                <c:pt idx="18261">
                  <c:v>56.8</c:v>
                </c:pt>
                <c:pt idx="18262">
                  <c:v>56.7</c:v>
                </c:pt>
                <c:pt idx="18263">
                  <c:v>57.2</c:v>
                </c:pt>
                <c:pt idx="18264">
                  <c:v>57.4</c:v>
                </c:pt>
                <c:pt idx="18265">
                  <c:v>57.3</c:v>
                </c:pt>
                <c:pt idx="18266">
                  <c:v>57.2</c:v>
                </c:pt>
                <c:pt idx="18267">
                  <c:v>57.3</c:v>
                </c:pt>
                <c:pt idx="18268">
                  <c:v>57.1</c:v>
                </c:pt>
                <c:pt idx="18269">
                  <c:v>56.7</c:v>
                </c:pt>
                <c:pt idx="18270">
                  <c:v>56.5</c:v>
                </c:pt>
                <c:pt idx="18271">
                  <c:v>72.7</c:v>
                </c:pt>
                <c:pt idx="18272">
                  <c:v>72.8</c:v>
                </c:pt>
                <c:pt idx="18273">
                  <c:v>73</c:v>
                </c:pt>
                <c:pt idx="18274">
                  <c:v>74.599999999999994</c:v>
                </c:pt>
                <c:pt idx="18275">
                  <c:v>75.7</c:v>
                </c:pt>
                <c:pt idx="18276">
                  <c:v>76.400000000000006</c:v>
                </c:pt>
                <c:pt idx="18277">
                  <c:v>77.400000000000006</c:v>
                </c:pt>
                <c:pt idx="18278">
                  <c:v>78.7</c:v>
                </c:pt>
                <c:pt idx="18279">
                  <c:v>80.2</c:v>
                </c:pt>
                <c:pt idx="18280">
                  <c:v>80.400000000000006</c:v>
                </c:pt>
                <c:pt idx="18281">
                  <c:v>80.7</c:v>
                </c:pt>
                <c:pt idx="18282">
                  <c:v>82.5</c:v>
                </c:pt>
                <c:pt idx="18283">
                  <c:v>85.1</c:v>
                </c:pt>
                <c:pt idx="18284">
                  <c:v>85.1</c:v>
                </c:pt>
                <c:pt idx="18285">
                  <c:v>86.7</c:v>
                </c:pt>
                <c:pt idx="18286">
                  <c:v>84.7</c:v>
                </c:pt>
                <c:pt idx="18287">
                  <c:v>87.5</c:v>
                </c:pt>
                <c:pt idx="18288">
                  <c:v>86.6</c:v>
                </c:pt>
                <c:pt idx="18289">
                  <c:v>87.9</c:v>
                </c:pt>
                <c:pt idx="18290">
                  <c:v>87.1</c:v>
                </c:pt>
                <c:pt idx="18291">
                  <c:v>87.2</c:v>
                </c:pt>
                <c:pt idx="18292">
                  <c:v>88.4</c:v>
                </c:pt>
                <c:pt idx="18293">
                  <c:v>88.5</c:v>
                </c:pt>
                <c:pt idx="18294">
                  <c:v>87.8</c:v>
                </c:pt>
                <c:pt idx="18295">
                  <c:v>88</c:v>
                </c:pt>
                <c:pt idx="18296">
                  <c:v>87.2</c:v>
                </c:pt>
                <c:pt idx="18297">
                  <c:v>88.5</c:v>
                </c:pt>
                <c:pt idx="18298">
                  <c:v>87.4</c:v>
                </c:pt>
                <c:pt idx="18299">
                  <c:v>86</c:v>
                </c:pt>
                <c:pt idx="18300">
                  <c:v>86.4</c:v>
                </c:pt>
                <c:pt idx="18301">
                  <c:v>86.1</c:v>
                </c:pt>
                <c:pt idx="18302">
                  <c:v>85</c:v>
                </c:pt>
                <c:pt idx="18303">
                  <c:v>85.4</c:v>
                </c:pt>
                <c:pt idx="18304">
                  <c:v>84.6</c:v>
                </c:pt>
                <c:pt idx="18305">
                  <c:v>82.7</c:v>
                </c:pt>
                <c:pt idx="18306">
                  <c:v>80.8</c:v>
                </c:pt>
                <c:pt idx="18307">
                  <c:v>80.8</c:v>
                </c:pt>
                <c:pt idx="18308">
                  <c:v>80.8</c:v>
                </c:pt>
                <c:pt idx="18309">
                  <c:v>80.8</c:v>
                </c:pt>
                <c:pt idx="18310">
                  <c:v>72.2</c:v>
                </c:pt>
                <c:pt idx="18311">
                  <c:v>71.8</c:v>
                </c:pt>
                <c:pt idx="18312">
                  <c:v>70.099999999999994</c:v>
                </c:pt>
                <c:pt idx="18313">
                  <c:v>68.8</c:v>
                </c:pt>
                <c:pt idx="18314">
                  <c:v>68.3</c:v>
                </c:pt>
                <c:pt idx="18315">
                  <c:v>68.400000000000006</c:v>
                </c:pt>
                <c:pt idx="18316">
                  <c:v>66.3</c:v>
                </c:pt>
                <c:pt idx="18317">
                  <c:v>65.599999999999994</c:v>
                </c:pt>
                <c:pt idx="18318">
                  <c:v>65.599999999999994</c:v>
                </c:pt>
                <c:pt idx="18319">
                  <c:v>66.2</c:v>
                </c:pt>
                <c:pt idx="18320">
                  <c:v>64.599999999999994</c:v>
                </c:pt>
                <c:pt idx="18321">
                  <c:v>64.7</c:v>
                </c:pt>
                <c:pt idx="18322">
                  <c:v>65.8</c:v>
                </c:pt>
                <c:pt idx="18323">
                  <c:v>65</c:v>
                </c:pt>
                <c:pt idx="18324">
                  <c:v>65.2</c:v>
                </c:pt>
                <c:pt idx="18325">
                  <c:v>66</c:v>
                </c:pt>
                <c:pt idx="18326">
                  <c:v>63.9</c:v>
                </c:pt>
                <c:pt idx="18327">
                  <c:v>62.9</c:v>
                </c:pt>
                <c:pt idx="18328">
                  <c:v>60.6</c:v>
                </c:pt>
                <c:pt idx="18329">
                  <c:v>60.7</c:v>
                </c:pt>
                <c:pt idx="18330">
                  <c:v>60.4</c:v>
                </c:pt>
                <c:pt idx="18331">
                  <c:v>59.9</c:v>
                </c:pt>
                <c:pt idx="18332">
                  <c:v>59.4</c:v>
                </c:pt>
                <c:pt idx="18333">
                  <c:v>66.400000000000006</c:v>
                </c:pt>
                <c:pt idx="18334">
                  <c:v>67.400000000000006</c:v>
                </c:pt>
                <c:pt idx="18335">
                  <c:v>67.7</c:v>
                </c:pt>
                <c:pt idx="18336">
                  <c:v>68.3</c:v>
                </c:pt>
                <c:pt idx="18337">
                  <c:v>69.400000000000006</c:v>
                </c:pt>
                <c:pt idx="18338">
                  <c:v>70.8</c:v>
                </c:pt>
                <c:pt idx="18339">
                  <c:v>74.400000000000006</c:v>
                </c:pt>
                <c:pt idx="18340">
                  <c:v>74.7</c:v>
                </c:pt>
                <c:pt idx="18341">
                  <c:v>74.7</c:v>
                </c:pt>
                <c:pt idx="18342">
                  <c:v>75.2</c:v>
                </c:pt>
                <c:pt idx="18343">
                  <c:v>77.2</c:v>
                </c:pt>
                <c:pt idx="18344">
                  <c:v>77.8</c:v>
                </c:pt>
                <c:pt idx="18345">
                  <c:v>79.099999999999994</c:v>
                </c:pt>
                <c:pt idx="18346">
                  <c:v>80.2</c:v>
                </c:pt>
                <c:pt idx="18347">
                  <c:v>80.900000000000006</c:v>
                </c:pt>
                <c:pt idx="18348">
                  <c:v>83.2</c:v>
                </c:pt>
                <c:pt idx="18349">
                  <c:v>82</c:v>
                </c:pt>
                <c:pt idx="18350">
                  <c:v>81.099999999999994</c:v>
                </c:pt>
                <c:pt idx="18351">
                  <c:v>81.400000000000006</c:v>
                </c:pt>
                <c:pt idx="18352">
                  <c:v>83.7</c:v>
                </c:pt>
                <c:pt idx="18353">
                  <c:v>84</c:v>
                </c:pt>
                <c:pt idx="18354">
                  <c:v>84.2</c:v>
                </c:pt>
                <c:pt idx="18355">
                  <c:v>86.3</c:v>
                </c:pt>
                <c:pt idx="18356">
                  <c:v>83.4</c:v>
                </c:pt>
                <c:pt idx="18357">
                  <c:v>82.7</c:v>
                </c:pt>
                <c:pt idx="18358">
                  <c:v>83.7</c:v>
                </c:pt>
                <c:pt idx="18359">
                  <c:v>83.7</c:v>
                </c:pt>
                <c:pt idx="18360">
                  <c:v>83</c:v>
                </c:pt>
                <c:pt idx="18361">
                  <c:v>83.2</c:v>
                </c:pt>
                <c:pt idx="18362">
                  <c:v>82.4</c:v>
                </c:pt>
                <c:pt idx="18363">
                  <c:v>82.4</c:v>
                </c:pt>
                <c:pt idx="18364">
                  <c:v>82.7</c:v>
                </c:pt>
                <c:pt idx="18365">
                  <c:v>83.4</c:v>
                </c:pt>
                <c:pt idx="18366">
                  <c:v>82.9</c:v>
                </c:pt>
                <c:pt idx="18367">
                  <c:v>84.7</c:v>
                </c:pt>
                <c:pt idx="18368">
                  <c:v>83.2</c:v>
                </c:pt>
                <c:pt idx="18369">
                  <c:v>82.7</c:v>
                </c:pt>
                <c:pt idx="18370">
                  <c:v>83.2</c:v>
                </c:pt>
                <c:pt idx="18371">
                  <c:v>81.7</c:v>
                </c:pt>
                <c:pt idx="18372">
                  <c:v>81.2</c:v>
                </c:pt>
                <c:pt idx="18373">
                  <c:v>78.5</c:v>
                </c:pt>
                <c:pt idx="18374">
                  <c:v>77.099999999999994</c:v>
                </c:pt>
                <c:pt idx="18375">
                  <c:v>77.7</c:v>
                </c:pt>
                <c:pt idx="18376">
                  <c:v>75.400000000000006</c:v>
                </c:pt>
                <c:pt idx="18377">
                  <c:v>73.400000000000006</c:v>
                </c:pt>
                <c:pt idx="18378">
                  <c:v>73.8</c:v>
                </c:pt>
                <c:pt idx="18379">
                  <c:v>73.099999999999994</c:v>
                </c:pt>
                <c:pt idx="18380">
                  <c:v>73.5</c:v>
                </c:pt>
                <c:pt idx="18381">
                  <c:v>73</c:v>
                </c:pt>
                <c:pt idx="18382">
                  <c:v>72.599999999999994</c:v>
                </c:pt>
                <c:pt idx="18383">
                  <c:v>71.599999999999994</c:v>
                </c:pt>
                <c:pt idx="18384">
                  <c:v>69.599999999999994</c:v>
                </c:pt>
                <c:pt idx="18385">
                  <c:v>69.2</c:v>
                </c:pt>
                <c:pt idx="18386">
                  <c:v>71.400000000000006</c:v>
                </c:pt>
                <c:pt idx="18387">
                  <c:v>72.3</c:v>
                </c:pt>
                <c:pt idx="18388">
                  <c:v>72.2</c:v>
                </c:pt>
                <c:pt idx="18389">
                  <c:v>73.099999999999994</c:v>
                </c:pt>
                <c:pt idx="18390">
                  <c:v>72.400000000000006</c:v>
                </c:pt>
                <c:pt idx="18391">
                  <c:v>71.5</c:v>
                </c:pt>
                <c:pt idx="18392">
                  <c:v>71.3</c:v>
                </c:pt>
                <c:pt idx="18393">
                  <c:v>70.900000000000006</c:v>
                </c:pt>
                <c:pt idx="18394">
                  <c:v>70.400000000000006</c:v>
                </c:pt>
                <c:pt idx="18395">
                  <c:v>69.7</c:v>
                </c:pt>
                <c:pt idx="18396">
                  <c:v>70</c:v>
                </c:pt>
                <c:pt idx="18397">
                  <c:v>70</c:v>
                </c:pt>
                <c:pt idx="18398">
                  <c:v>69.900000000000006</c:v>
                </c:pt>
                <c:pt idx="18399">
                  <c:v>69.900000000000006</c:v>
                </c:pt>
                <c:pt idx="18400">
                  <c:v>69.900000000000006</c:v>
                </c:pt>
                <c:pt idx="18401">
                  <c:v>71</c:v>
                </c:pt>
                <c:pt idx="18402">
                  <c:v>69.900000000000006</c:v>
                </c:pt>
                <c:pt idx="18403">
                  <c:v>69.8</c:v>
                </c:pt>
                <c:pt idx="18404">
                  <c:v>69.8</c:v>
                </c:pt>
                <c:pt idx="18405">
                  <c:v>69.8</c:v>
                </c:pt>
                <c:pt idx="18406">
                  <c:v>70.8</c:v>
                </c:pt>
                <c:pt idx="18407">
                  <c:v>70.099999999999994</c:v>
                </c:pt>
                <c:pt idx="18408">
                  <c:v>69.900000000000006</c:v>
                </c:pt>
                <c:pt idx="18409">
                  <c:v>70</c:v>
                </c:pt>
                <c:pt idx="18410">
                  <c:v>69.900000000000006</c:v>
                </c:pt>
                <c:pt idx="18411">
                  <c:v>69.599999999999994</c:v>
                </c:pt>
                <c:pt idx="18412">
                  <c:v>71.599999999999994</c:v>
                </c:pt>
                <c:pt idx="18413">
                  <c:v>70.3</c:v>
                </c:pt>
                <c:pt idx="18414">
                  <c:v>69.7</c:v>
                </c:pt>
                <c:pt idx="18415">
                  <c:v>71.599999999999994</c:v>
                </c:pt>
                <c:pt idx="18416">
                  <c:v>68.900000000000006</c:v>
                </c:pt>
                <c:pt idx="18417">
                  <c:v>68.400000000000006</c:v>
                </c:pt>
                <c:pt idx="18418">
                  <c:v>70.3</c:v>
                </c:pt>
                <c:pt idx="18419">
                  <c:v>70</c:v>
                </c:pt>
                <c:pt idx="18420">
                  <c:v>69.900000000000006</c:v>
                </c:pt>
                <c:pt idx="18421">
                  <c:v>71.599999999999994</c:v>
                </c:pt>
                <c:pt idx="18422">
                  <c:v>71.5</c:v>
                </c:pt>
                <c:pt idx="18423">
                  <c:v>71</c:v>
                </c:pt>
                <c:pt idx="18424">
                  <c:v>68</c:v>
                </c:pt>
                <c:pt idx="18425">
                  <c:v>69.599999999999994</c:v>
                </c:pt>
                <c:pt idx="18426">
                  <c:v>72</c:v>
                </c:pt>
                <c:pt idx="18427">
                  <c:v>72</c:v>
                </c:pt>
                <c:pt idx="18428">
                  <c:v>70.2</c:v>
                </c:pt>
                <c:pt idx="18429">
                  <c:v>69.7</c:v>
                </c:pt>
                <c:pt idx="18430">
                  <c:v>69.599999999999994</c:v>
                </c:pt>
                <c:pt idx="18431">
                  <c:v>69.400000000000006</c:v>
                </c:pt>
                <c:pt idx="18432">
                  <c:v>69.5</c:v>
                </c:pt>
                <c:pt idx="18433">
                  <c:v>70.3</c:v>
                </c:pt>
                <c:pt idx="18434">
                  <c:v>70.5</c:v>
                </c:pt>
                <c:pt idx="18435">
                  <c:v>73.2</c:v>
                </c:pt>
                <c:pt idx="18436">
                  <c:v>73.900000000000006</c:v>
                </c:pt>
                <c:pt idx="18437">
                  <c:v>74.099999999999994</c:v>
                </c:pt>
                <c:pt idx="18438">
                  <c:v>74.3</c:v>
                </c:pt>
                <c:pt idx="18439">
                  <c:v>73.900000000000006</c:v>
                </c:pt>
                <c:pt idx="18440">
                  <c:v>75.599999999999994</c:v>
                </c:pt>
                <c:pt idx="18441">
                  <c:v>75.7</c:v>
                </c:pt>
                <c:pt idx="18442">
                  <c:v>75.900000000000006</c:v>
                </c:pt>
                <c:pt idx="18443">
                  <c:v>75.5</c:v>
                </c:pt>
                <c:pt idx="18444">
                  <c:v>76.2</c:v>
                </c:pt>
                <c:pt idx="18445">
                  <c:v>76.900000000000006</c:v>
                </c:pt>
                <c:pt idx="18446">
                  <c:v>78.8</c:v>
                </c:pt>
                <c:pt idx="18447">
                  <c:v>81</c:v>
                </c:pt>
                <c:pt idx="18448">
                  <c:v>81.3</c:v>
                </c:pt>
                <c:pt idx="18449">
                  <c:v>81.5</c:v>
                </c:pt>
                <c:pt idx="18450">
                  <c:v>81.599999999999994</c:v>
                </c:pt>
                <c:pt idx="18451">
                  <c:v>79.2</c:v>
                </c:pt>
                <c:pt idx="18452">
                  <c:v>78.099999999999994</c:v>
                </c:pt>
                <c:pt idx="18453">
                  <c:v>77.400000000000006</c:v>
                </c:pt>
                <c:pt idx="18454">
                  <c:v>75.3</c:v>
                </c:pt>
                <c:pt idx="18455">
                  <c:v>72.8</c:v>
                </c:pt>
                <c:pt idx="18456">
                  <c:v>70.5</c:v>
                </c:pt>
                <c:pt idx="18457">
                  <c:v>70.400000000000006</c:v>
                </c:pt>
                <c:pt idx="18458">
                  <c:v>68.3</c:v>
                </c:pt>
                <c:pt idx="18459">
                  <c:v>67.3</c:v>
                </c:pt>
                <c:pt idx="18460">
                  <c:v>66.8</c:v>
                </c:pt>
                <c:pt idx="18461">
                  <c:v>66.2</c:v>
                </c:pt>
                <c:pt idx="18462">
                  <c:v>67.3</c:v>
                </c:pt>
                <c:pt idx="18463">
                  <c:v>66.3</c:v>
                </c:pt>
                <c:pt idx="18464">
                  <c:v>65.400000000000006</c:v>
                </c:pt>
                <c:pt idx="18465">
                  <c:v>65.900000000000006</c:v>
                </c:pt>
                <c:pt idx="18466">
                  <c:v>64.900000000000006</c:v>
                </c:pt>
                <c:pt idx="18467">
                  <c:v>64.5</c:v>
                </c:pt>
                <c:pt idx="18468">
                  <c:v>66</c:v>
                </c:pt>
                <c:pt idx="18469">
                  <c:v>64.599999999999994</c:v>
                </c:pt>
                <c:pt idx="18470">
                  <c:v>64.099999999999994</c:v>
                </c:pt>
                <c:pt idx="18471">
                  <c:v>64</c:v>
                </c:pt>
                <c:pt idx="18472">
                  <c:v>64.099999999999994</c:v>
                </c:pt>
                <c:pt idx="18473">
                  <c:v>64</c:v>
                </c:pt>
                <c:pt idx="18474">
                  <c:v>64</c:v>
                </c:pt>
                <c:pt idx="18475">
                  <c:v>63.8</c:v>
                </c:pt>
                <c:pt idx="18476">
                  <c:v>64.7</c:v>
                </c:pt>
                <c:pt idx="18477">
                  <c:v>64.2</c:v>
                </c:pt>
                <c:pt idx="18478">
                  <c:v>63.3</c:v>
                </c:pt>
                <c:pt idx="18479">
                  <c:v>62.9</c:v>
                </c:pt>
                <c:pt idx="18480">
                  <c:v>62.4</c:v>
                </c:pt>
                <c:pt idx="18481">
                  <c:v>62</c:v>
                </c:pt>
                <c:pt idx="18482">
                  <c:v>62</c:v>
                </c:pt>
                <c:pt idx="18483">
                  <c:v>61.9</c:v>
                </c:pt>
                <c:pt idx="18484">
                  <c:v>61.4</c:v>
                </c:pt>
                <c:pt idx="18485">
                  <c:v>61.2</c:v>
                </c:pt>
                <c:pt idx="18486">
                  <c:v>61.3</c:v>
                </c:pt>
                <c:pt idx="18487">
                  <c:v>61.5</c:v>
                </c:pt>
                <c:pt idx="18488">
                  <c:v>61.4</c:v>
                </c:pt>
                <c:pt idx="18489">
                  <c:v>61.5</c:v>
                </c:pt>
                <c:pt idx="18490">
                  <c:v>61.5</c:v>
                </c:pt>
                <c:pt idx="18491">
                  <c:v>61.4</c:v>
                </c:pt>
                <c:pt idx="18492">
                  <c:v>61.3</c:v>
                </c:pt>
                <c:pt idx="18493">
                  <c:v>61.1</c:v>
                </c:pt>
                <c:pt idx="18494">
                  <c:v>61</c:v>
                </c:pt>
                <c:pt idx="18495">
                  <c:v>60.8</c:v>
                </c:pt>
                <c:pt idx="18496">
                  <c:v>60.8</c:v>
                </c:pt>
                <c:pt idx="18497">
                  <c:v>60.7</c:v>
                </c:pt>
                <c:pt idx="18498">
                  <c:v>60.6</c:v>
                </c:pt>
                <c:pt idx="18499">
                  <c:v>60.7</c:v>
                </c:pt>
                <c:pt idx="18500">
                  <c:v>60.5</c:v>
                </c:pt>
                <c:pt idx="18501">
                  <c:v>60.4</c:v>
                </c:pt>
                <c:pt idx="18502">
                  <c:v>61.4</c:v>
                </c:pt>
                <c:pt idx="18503">
                  <c:v>60.7</c:v>
                </c:pt>
                <c:pt idx="18504">
                  <c:v>60.6</c:v>
                </c:pt>
                <c:pt idx="18505">
                  <c:v>61.5</c:v>
                </c:pt>
                <c:pt idx="18506">
                  <c:v>63.4</c:v>
                </c:pt>
                <c:pt idx="18507">
                  <c:v>66</c:v>
                </c:pt>
                <c:pt idx="18508">
                  <c:v>67.900000000000006</c:v>
                </c:pt>
                <c:pt idx="18509">
                  <c:v>69.3</c:v>
                </c:pt>
                <c:pt idx="18510">
                  <c:v>70</c:v>
                </c:pt>
                <c:pt idx="18511">
                  <c:v>70.3</c:v>
                </c:pt>
                <c:pt idx="18512">
                  <c:v>72.099999999999994</c:v>
                </c:pt>
                <c:pt idx="18513">
                  <c:v>73.900000000000006</c:v>
                </c:pt>
                <c:pt idx="18514">
                  <c:v>75.400000000000006</c:v>
                </c:pt>
                <c:pt idx="18515">
                  <c:v>77.099999999999994</c:v>
                </c:pt>
                <c:pt idx="18516">
                  <c:v>78.099999999999994</c:v>
                </c:pt>
                <c:pt idx="18517">
                  <c:v>79.8</c:v>
                </c:pt>
                <c:pt idx="18518">
                  <c:v>78.599999999999994</c:v>
                </c:pt>
                <c:pt idx="18519">
                  <c:v>80.5</c:v>
                </c:pt>
                <c:pt idx="18520">
                  <c:v>82.5</c:v>
                </c:pt>
                <c:pt idx="18521">
                  <c:v>82.5</c:v>
                </c:pt>
                <c:pt idx="18522">
                  <c:v>82.8</c:v>
                </c:pt>
                <c:pt idx="18523">
                  <c:v>84.2</c:v>
                </c:pt>
                <c:pt idx="18524">
                  <c:v>83.9</c:v>
                </c:pt>
                <c:pt idx="18525">
                  <c:v>86.3</c:v>
                </c:pt>
                <c:pt idx="18526">
                  <c:v>86.1</c:v>
                </c:pt>
                <c:pt idx="18527">
                  <c:v>87.1</c:v>
                </c:pt>
                <c:pt idx="18528">
                  <c:v>85.9</c:v>
                </c:pt>
                <c:pt idx="18529">
                  <c:v>88</c:v>
                </c:pt>
                <c:pt idx="18530">
                  <c:v>87.5</c:v>
                </c:pt>
                <c:pt idx="18531">
                  <c:v>84.4</c:v>
                </c:pt>
                <c:pt idx="18532">
                  <c:v>85.9</c:v>
                </c:pt>
                <c:pt idx="18533">
                  <c:v>87.5</c:v>
                </c:pt>
                <c:pt idx="18534">
                  <c:v>88.6</c:v>
                </c:pt>
                <c:pt idx="18535">
                  <c:v>87.5</c:v>
                </c:pt>
                <c:pt idx="18536">
                  <c:v>87.1</c:v>
                </c:pt>
                <c:pt idx="18537">
                  <c:v>86.7</c:v>
                </c:pt>
                <c:pt idx="18538">
                  <c:v>82.8</c:v>
                </c:pt>
                <c:pt idx="18539">
                  <c:v>81.900000000000006</c:v>
                </c:pt>
                <c:pt idx="18540">
                  <c:v>80.8</c:v>
                </c:pt>
                <c:pt idx="18541">
                  <c:v>78.400000000000006</c:v>
                </c:pt>
                <c:pt idx="18542">
                  <c:v>77</c:v>
                </c:pt>
                <c:pt idx="18543">
                  <c:v>76.099999999999994</c:v>
                </c:pt>
                <c:pt idx="18544">
                  <c:v>74.8</c:v>
                </c:pt>
                <c:pt idx="18545">
                  <c:v>73.2</c:v>
                </c:pt>
                <c:pt idx="18546">
                  <c:v>73.599999999999994</c:v>
                </c:pt>
                <c:pt idx="18547">
                  <c:v>70.3</c:v>
                </c:pt>
                <c:pt idx="18548">
                  <c:v>69.2</c:v>
                </c:pt>
                <c:pt idx="18549">
                  <c:v>70.3</c:v>
                </c:pt>
                <c:pt idx="18550">
                  <c:v>71.400000000000006</c:v>
                </c:pt>
                <c:pt idx="18551">
                  <c:v>67.900000000000006</c:v>
                </c:pt>
                <c:pt idx="18552">
                  <c:v>67.599999999999994</c:v>
                </c:pt>
                <c:pt idx="18553">
                  <c:v>68.8</c:v>
                </c:pt>
                <c:pt idx="18554">
                  <c:v>66.7</c:v>
                </c:pt>
                <c:pt idx="18555">
                  <c:v>67.099999999999994</c:v>
                </c:pt>
                <c:pt idx="18556">
                  <c:v>66.5</c:v>
                </c:pt>
                <c:pt idx="18557">
                  <c:v>65</c:v>
                </c:pt>
                <c:pt idx="18558">
                  <c:v>64.5</c:v>
                </c:pt>
                <c:pt idx="18559">
                  <c:v>63.4</c:v>
                </c:pt>
                <c:pt idx="18560">
                  <c:v>63.3</c:v>
                </c:pt>
                <c:pt idx="18561">
                  <c:v>64.5</c:v>
                </c:pt>
                <c:pt idx="18562">
                  <c:v>65.8</c:v>
                </c:pt>
                <c:pt idx="18563">
                  <c:v>67</c:v>
                </c:pt>
                <c:pt idx="18564">
                  <c:v>67.5</c:v>
                </c:pt>
                <c:pt idx="18565">
                  <c:v>66.099999999999994</c:v>
                </c:pt>
                <c:pt idx="18566">
                  <c:v>64.400000000000006</c:v>
                </c:pt>
                <c:pt idx="18567">
                  <c:v>64.2</c:v>
                </c:pt>
                <c:pt idx="18568">
                  <c:v>63.6</c:v>
                </c:pt>
                <c:pt idx="18569">
                  <c:v>63</c:v>
                </c:pt>
                <c:pt idx="18570">
                  <c:v>62.9</c:v>
                </c:pt>
                <c:pt idx="18571">
                  <c:v>62.9</c:v>
                </c:pt>
                <c:pt idx="18572">
                  <c:v>63</c:v>
                </c:pt>
                <c:pt idx="18573">
                  <c:v>63.1</c:v>
                </c:pt>
                <c:pt idx="18574">
                  <c:v>63.5</c:v>
                </c:pt>
                <c:pt idx="18575">
                  <c:v>63.9</c:v>
                </c:pt>
                <c:pt idx="18576">
                  <c:v>64.099999999999994</c:v>
                </c:pt>
                <c:pt idx="18577">
                  <c:v>64.7</c:v>
                </c:pt>
                <c:pt idx="18578">
                  <c:v>65.2</c:v>
                </c:pt>
                <c:pt idx="18579">
                  <c:v>66</c:v>
                </c:pt>
                <c:pt idx="18580">
                  <c:v>66.5</c:v>
                </c:pt>
                <c:pt idx="18581">
                  <c:v>65.3</c:v>
                </c:pt>
                <c:pt idx="18582">
                  <c:v>64.900000000000006</c:v>
                </c:pt>
                <c:pt idx="18583">
                  <c:v>65</c:v>
                </c:pt>
                <c:pt idx="18584">
                  <c:v>65.599999999999994</c:v>
                </c:pt>
                <c:pt idx="18585">
                  <c:v>68.7</c:v>
                </c:pt>
                <c:pt idx="18586">
                  <c:v>69.599999999999994</c:v>
                </c:pt>
                <c:pt idx="18587">
                  <c:v>71.400000000000006</c:v>
                </c:pt>
                <c:pt idx="18588">
                  <c:v>71.900000000000006</c:v>
                </c:pt>
                <c:pt idx="18589">
                  <c:v>73.2</c:v>
                </c:pt>
                <c:pt idx="18590">
                  <c:v>74.599999999999994</c:v>
                </c:pt>
                <c:pt idx="18591">
                  <c:v>76</c:v>
                </c:pt>
                <c:pt idx="18592">
                  <c:v>77.900000000000006</c:v>
                </c:pt>
                <c:pt idx="18593">
                  <c:v>80</c:v>
                </c:pt>
                <c:pt idx="18594">
                  <c:v>79.900000000000006</c:v>
                </c:pt>
                <c:pt idx="18595">
                  <c:v>80</c:v>
                </c:pt>
                <c:pt idx="18596">
                  <c:v>80.400000000000006</c:v>
                </c:pt>
                <c:pt idx="18597">
                  <c:v>80.099999999999994</c:v>
                </c:pt>
                <c:pt idx="18598">
                  <c:v>81.400000000000006</c:v>
                </c:pt>
                <c:pt idx="18599">
                  <c:v>82.3</c:v>
                </c:pt>
                <c:pt idx="18600">
                  <c:v>83.1</c:v>
                </c:pt>
                <c:pt idx="18601">
                  <c:v>83.5</c:v>
                </c:pt>
                <c:pt idx="18602">
                  <c:v>86.2</c:v>
                </c:pt>
                <c:pt idx="18603">
                  <c:v>87.5</c:v>
                </c:pt>
                <c:pt idx="18604">
                  <c:v>88.3</c:v>
                </c:pt>
                <c:pt idx="18605">
                  <c:v>86.9</c:v>
                </c:pt>
                <c:pt idx="18606">
                  <c:v>88</c:v>
                </c:pt>
                <c:pt idx="18607">
                  <c:v>90.3</c:v>
                </c:pt>
                <c:pt idx="18608">
                  <c:v>89.4</c:v>
                </c:pt>
                <c:pt idx="18609">
                  <c:v>87.8</c:v>
                </c:pt>
                <c:pt idx="18610">
                  <c:v>89.4</c:v>
                </c:pt>
                <c:pt idx="18611">
                  <c:v>89.7</c:v>
                </c:pt>
                <c:pt idx="18612">
                  <c:v>90.3</c:v>
                </c:pt>
                <c:pt idx="18613">
                  <c:v>87.8</c:v>
                </c:pt>
                <c:pt idx="18614">
                  <c:v>84.9</c:v>
                </c:pt>
                <c:pt idx="18615">
                  <c:v>84.6</c:v>
                </c:pt>
                <c:pt idx="18616">
                  <c:v>84</c:v>
                </c:pt>
                <c:pt idx="18617">
                  <c:v>81.5</c:v>
                </c:pt>
                <c:pt idx="18618">
                  <c:v>79.5</c:v>
                </c:pt>
                <c:pt idx="18619">
                  <c:v>78.400000000000006</c:v>
                </c:pt>
                <c:pt idx="18620">
                  <c:v>75.7</c:v>
                </c:pt>
                <c:pt idx="18621">
                  <c:v>73.2</c:v>
                </c:pt>
                <c:pt idx="18622">
                  <c:v>72</c:v>
                </c:pt>
                <c:pt idx="18623">
                  <c:v>71.599999999999994</c:v>
                </c:pt>
                <c:pt idx="18624">
                  <c:v>70.3</c:v>
                </c:pt>
                <c:pt idx="18625">
                  <c:v>69.3</c:v>
                </c:pt>
                <c:pt idx="18626">
                  <c:v>67.8</c:v>
                </c:pt>
                <c:pt idx="18627">
                  <c:v>67.2</c:v>
                </c:pt>
                <c:pt idx="18628">
                  <c:v>66</c:v>
                </c:pt>
                <c:pt idx="18629">
                  <c:v>69.3</c:v>
                </c:pt>
                <c:pt idx="18630">
                  <c:v>68.400000000000006</c:v>
                </c:pt>
                <c:pt idx="18631">
                  <c:v>67.900000000000006</c:v>
                </c:pt>
                <c:pt idx="18632">
                  <c:v>66.5</c:v>
                </c:pt>
                <c:pt idx="18633">
                  <c:v>66.400000000000006</c:v>
                </c:pt>
                <c:pt idx="18634">
                  <c:v>66.7</c:v>
                </c:pt>
                <c:pt idx="18635">
                  <c:v>66.8</c:v>
                </c:pt>
                <c:pt idx="18636">
                  <c:v>66.7</c:v>
                </c:pt>
                <c:pt idx="18637">
                  <c:v>67.8</c:v>
                </c:pt>
                <c:pt idx="18638">
                  <c:v>66.7</c:v>
                </c:pt>
                <c:pt idx="18639">
                  <c:v>66.3</c:v>
                </c:pt>
                <c:pt idx="18640">
                  <c:v>66.5</c:v>
                </c:pt>
                <c:pt idx="18641">
                  <c:v>66.7</c:v>
                </c:pt>
                <c:pt idx="18642">
                  <c:v>66.3</c:v>
                </c:pt>
                <c:pt idx="18643">
                  <c:v>66.2</c:v>
                </c:pt>
                <c:pt idx="18644">
                  <c:v>66.2</c:v>
                </c:pt>
                <c:pt idx="18645">
                  <c:v>66.599999999999994</c:v>
                </c:pt>
                <c:pt idx="18646">
                  <c:v>66.7</c:v>
                </c:pt>
                <c:pt idx="18647">
                  <c:v>67.3</c:v>
                </c:pt>
                <c:pt idx="18648">
                  <c:v>68.8</c:v>
                </c:pt>
                <c:pt idx="18649">
                  <c:v>70.900000000000006</c:v>
                </c:pt>
                <c:pt idx="18650">
                  <c:v>73.5</c:v>
                </c:pt>
                <c:pt idx="18651">
                  <c:v>74.400000000000006</c:v>
                </c:pt>
                <c:pt idx="18652">
                  <c:v>76.8</c:v>
                </c:pt>
                <c:pt idx="18653">
                  <c:v>78.400000000000006</c:v>
                </c:pt>
                <c:pt idx="18654">
                  <c:v>78.8</c:v>
                </c:pt>
                <c:pt idx="18655">
                  <c:v>81.400000000000006</c:v>
                </c:pt>
                <c:pt idx="18656">
                  <c:v>83.7</c:v>
                </c:pt>
                <c:pt idx="18657">
                  <c:v>84.1</c:v>
                </c:pt>
                <c:pt idx="18658">
                  <c:v>85.6</c:v>
                </c:pt>
                <c:pt idx="18659">
                  <c:v>84.7</c:v>
                </c:pt>
                <c:pt idx="18660">
                  <c:v>85.1</c:v>
                </c:pt>
                <c:pt idx="18661">
                  <c:v>86</c:v>
                </c:pt>
                <c:pt idx="18662">
                  <c:v>85.3</c:v>
                </c:pt>
                <c:pt idx="18663">
                  <c:v>86.7</c:v>
                </c:pt>
                <c:pt idx="18664">
                  <c:v>87.2</c:v>
                </c:pt>
                <c:pt idx="18665">
                  <c:v>86.5</c:v>
                </c:pt>
                <c:pt idx="18666">
                  <c:v>87.2</c:v>
                </c:pt>
                <c:pt idx="18667">
                  <c:v>87.6</c:v>
                </c:pt>
                <c:pt idx="18668">
                  <c:v>89.3</c:v>
                </c:pt>
                <c:pt idx="18669">
                  <c:v>89</c:v>
                </c:pt>
                <c:pt idx="18670">
                  <c:v>88.2</c:v>
                </c:pt>
                <c:pt idx="18671">
                  <c:v>87.8</c:v>
                </c:pt>
                <c:pt idx="18672">
                  <c:v>88.6</c:v>
                </c:pt>
                <c:pt idx="18673">
                  <c:v>88.3</c:v>
                </c:pt>
                <c:pt idx="18674">
                  <c:v>89</c:v>
                </c:pt>
                <c:pt idx="18675">
                  <c:v>88.5</c:v>
                </c:pt>
                <c:pt idx="18676">
                  <c:v>87.5</c:v>
                </c:pt>
                <c:pt idx="18677">
                  <c:v>87.9</c:v>
                </c:pt>
                <c:pt idx="18678">
                  <c:v>88.9</c:v>
                </c:pt>
                <c:pt idx="18679">
                  <c:v>89.6</c:v>
                </c:pt>
                <c:pt idx="18680">
                  <c:v>89.2</c:v>
                </c:pt>
                <c:pt idx="18681">
                  <c:v>89.3</c:v>
                </c:pt>
                <c:pt idx="18682">
                  <c:v>89.3</c:v>
                </c:pt>
                <c:pt idx="18683">
                  <c:v>84.9</c:v>
                </c:pt>
                <c:pt idx="18684">
                  <c:v>83.8</c:v>
                </c:pt>
                <c:pt idx="18685">
                  <c:v>82.4</c:v>
                </c:pt>
                <c:pt idx="18686">
                  <c:v>80.599999999999994</c:v>
                </c:pt>
                <c:pt idx="18687">
                  <c:v>79.5</c:v>
                </c:pt>
                <c:pt idx="18688">
                  <c:v>77</c:v>
                </c:pt>
                <c:pt idx="18689">
                  <c:v>75.900000000000006</c:v>
                </c:pt>
                <c:pt idx="18690">
                  <c:v>75.400000000000006</c:v>
                </c:pt>
                <c:pt idx="18691">
                  <c:v>76.099999999999994</c:v>
                </c:pt>
                <c:pt idx="18692">
                  <c:v>75.900000000000006</c:v>
                </c:pt>
                <c:pt idx="18693">
                  <c:v>75.5</c:v>
                </c:pt>
                <c:pt idx="18694">
                  <c:v>74.8</c:v>
                </c:pt>
                <c:pt idx="18695">
                  <c:v>74</c:v>
                </c:pt>
                <c:pt idx="18696">
                  <c:v>73.400000000000006</c:v>
                </c:pt>
                <c:pt idx="18697">
                  <c:v>72.2</c:v>
                </c:pt>
                <c:pt idx="18698">
                  <c:v>70.5</c:v>
                </c:pt>
                <c:pt idx="18699">
                  <c:v>71.099999999999994</c:v>
                </c:pt>
                <c:pt idx="18700">
                  <c:v>69.3</c:v>
                </c:pt>
                <c:pt idx="18701">
                  <c:v>68.599999999999994</c:v>
                </c:pt>
                <c:pt idx="18702">
                  <c:v>67.8</c:v>
                </c:pt>
                <c:pt idx="18703">
                  <c:v>67.2</c:v>
                </c:pt>
                <c:pt idx="18704">
                  <c:v>67</c:v>
                </c:pt>
                <c:pt idx="18705">
                  <c:v>66.7</c:v>
                </c:pt>
                <c:pt idx="18706">
                  <c:v>67.5</c:v>
                </c:pt>
                <c:pt idx="18707">
                  <c:v>68</c:v>
                </c:pt>
                <c:pt idx="18708">
                  <c:v>66.400000000000006</c:v>
                </c:pt>
                <c:pt idx="18709">
                  <c:v>65.8</c:v>
                </c:pt>
                <c:pt idx="18710">
                  <c:v>65</c:v>
                </c:pt>
                <c:pt idx="18711">
                  <c:v>64.400000000000006</c:v>
                </c:pt>
                <c:pt idx="18712">
                  <c:v>64.7</c:v>
                </c:pt>
                <c:pt idx="18713">
                  <c:v>64.7</c:v>
                </c:pt>
                <c:pt idx="18714">
                  <c:v>63.9</c:v>
                </c:pt>
                <c:pt idx="18715">
                  <c:v>63.7</c:v>
                </c:pt>
                <c:pt idx="18716">
                  <c:v>63.1</c:v>
                </c:pt>
                <c:pt idx="18717">
                  <c:v>62.6</c:v>
                </c:pt>
                <c:pt idx="18718">
                  <c:v>62.4</c:v>
                </c:pt>
                <c:pt idx="18719">
                  <c:v>62.1</c:v>
                </c:pt>
                <c:pt idx="18720">
                  <c:v>64.400000000000006</c:v>
                </c:pt>
                <c:pt idx="18721">
                  <c:v>62.9</c:v>
                </c:pt>
                <c:pt idx="18722">
                  <c:v>62</c:v>
                </c:pt>
                <c:pt idx="18723">
                  <c:v>62.4</c:v>
                </c:pt>
                <c:pt idx="18724">
                  <c:v>62.8</c:v>
                </c:pt>
                <c:pt idx="18725">
                  <c:v>61.8</c:v>
                </c:pt>
                <c:pt idx="18726">
                  <c:v>61.5</c:v>
                </c:pt>
                <c:pt idx="18727">
                  <c:v>62</c:v>
                </c:pt>
                <c:pt idx="18728">
                  <c:v>62.1</c:v>
                </c:pt>
                <c:pt idx="18729">
                  <c:v>62.1</c:v>
                </c:pt>
                <c:pt idx="18730">
                  <c:v>62.2</c:v>
                </c:pt>
                <c:pt idx="18731">
                  <c:v>62.2</c:v>
                </c:pt>
                <c:pt idx="18732">
                  <c:v>62.4</c:v>
                </c:pt>
                <c:pt idx="18733">
                  <c:v>62.2</c:v>
                </c:pt>
                <c:pt idx="18734">
                  <c:v>62.3</c:v>
                </c:pt>
                <c:pt idx="18735">
                  <c:v>63.5</c:v>
                </c:pt>
                <c:pt idx="18736">
                  <c:v>62.6</c:v>
                </c:pt>
                <c:pt idx="18737">
                  <c:v>62.3</c:v>
                </c:pt>
                <c:pt idx="18738">
                  <c:v>62.5</c:v>
                </c:pt>
                <c:pt idx="18739">
                  <c:v>63.8</c:v>
                </c:pt>
                <c:pt idx="18740">
                  <c:v>63.4</c:v>
                </c:pt>
                <c:pt idx="18741">
                  <c:v>69.5</c:v>
                </c:pt>
                <c:pt idx="18742">
                  <c:v>71.400000000000006</c:v>
                </c:pt>
                <c:pt idx="18743">
                  <c:v>73.5</c:v>
                </c:pt>
                <c:pt idx="18744">
                  <c:v>75.099999999999994</c:v>
                </c:pt>
                <c:pt idx="18745">
                  <c:v>77.400000000000006</c:v>
                </c:pt>
                <c:pt idx="18746">
                  <c:v>79.599999999999994</c:v>
                </c:pt>
                <c:pt idx="18747">
                  <c:v>80.5</c:v>
                </c:pt>
                <c:pt idx="18748">
                  <c:v>81.3</c:v>
                </c:pt>
                <c:pt idx="18749">
                  <c:v>82</c:v>
                </c:pt>
                <c:pt idx="18750">
                  <c:v>82.8</c:v>
                </c:pt>
                <c:pt idx="18751">
                  <c:v>83.7</c:v>
                </c:pt>
                <c:pt idx="18752">
                  <c:v>84.4</c:v>
                </c:pt>
                <c:pt idx="18753">
                  <c:v>84.2</c:v>
                </c:pt>
                <c:pt idx="18754">
                  <c:v>84.9</c:v>
                </c:pt>
                <c:pt idx="18755">
                  <c:v>84.4</c:v>
                </c:pt>
                <c:pt idx="18756">
                  <c:v>84.2</c:v>
                </c:pt>
                <c:pt idx="18757">
                  <c:v>83.8</c:v>
                </c:pt>
                <c:pt idx="18758">
                  <c:v>83.3</c:v>
                </c:pt>
                <c:pt idx="18759">
                  <c:v>84</c:v>
                </c:pt>
                <c:pt idx="18760">
                  <c:v>84.7</c:v>
                </c:pt>
                <c:pt idx="18761">
                  <c:v>86.7</c:v>
                </c:pt>
                <c:pt idx="18762">
                  <c:v>86.9</c:v>
                </c:pt>
                <c:pt idx="18763">
                  <c:v>87.8</c:v>
                </c:pt>
                <c:pt idx="18764">
                  <c:v>87.1</c:v>
                </c:pt>
                <c:pt idx="18765">
                  <c:v>88</c:v>
                </c:pt>
                <c:pt idx="18766">
                  <c:v>89.3</c:v>
                </c:pt>
                <c:pt idx="18767">
                  <c:v>88.2</c:v>
                </c:pt>
                <c:pt idx="18768">
                  <c:v>88.6</c:v>
                </c:pt>
                <c:pt idx="18769">
                  <c:v>88.4</c:v>
                </c:pt>
                <c:pt idx="18770">
                  <c:v>89.2</c:v>
                </c:pt>
                <c:pt idx="18771">
                  <c:v>86.9</c:v>
                </c:pt>
                <c:pt idx="18772">
                  <c:v>86</c:v>
                </c:pt>
                <c:pt idx="18773">
                  <c:v>86.6</c:v>
                </c:pt>
                <c:pt idx="18774">
                  <c:v>87.3</c:v>
                </c:pt>
                <c:pt idx="18775">
                  <c:v>86.3</c:v>
                </c:pt>
                <c:pt idx="18776">
                  <c:v>85.6</c:v>
                </c:pt>
                <c:pt idx="18777">
                  <c:v>85.3</c:v>
                </c:pt>
                <c:pt idx="18778">
                  <c:v>82.7</c:v>
                </c:pt>
                <c:pt idx="18779">
                  <c:v>81.400000000000006</c:v>
                </c:pt>
                <c:pt idx="18780">
                  <c:v>80.7</c:v>
                </c:pt>
                <c:pt idx="18781">
                  <c:v>80.400000000000006</c:v>
                </c:pt>
                <c:pt idx="18782">
                  <c:v>79.900000000000006</c:v>
                </c:pt>
                <c:pt idx="18783">
                  <c:v>79.599999999999994</c:v>
                </c:pt>
                <c:pt idx="18784">
                  <c:v>79.3</c:v>
                </c:pt>
                <c:pt idx="18785">
                  <c:v>78.8</c:v>
                </c:pt>
                <c:pt idx="18786">
                  <c:v>77.599999999999994</c:v>
                </c:pt>
                <c:pt idx="18787">
                  <c:v>76.8</c:v>
                </c:pt>
                <c:pt idx="18788">
                  <c:v>75.7</c:v>
                </c:pt>
                <c:pt idx="18789">
                  <c:v>76</c:v>
                </c:pt>
                <c:pt idx="18790">
                  <c:v>76</c:v>
                </c:pt>
                <c:pt idx="18791">
                  <c:v>74</c:v>
                </c:pt>
                <c:pt idx="18792">
                  <c:v>74.8</c:v>
                </c:pt>
                <c:pt idx="18793">
                  <c:v>73.3</c:v>
                </c:pt>
                <c:pt idx="18794">
                  <c:v>73.5</c:v>
                </c:pt>
                <c:pt idx="18795">
                  <c:v>73.599999999999994</c:v>
                </c:pt>
                <c:pt idx="18796">
                  <c:v>72.2</c:v>
                </c:pt>
                <c:pt idx="18797">
                  <c:v>72</c:v>
                </c:pt>
                <c:pt idx="18798">
                  <c:v>72.5</c:v>
                </c:pt>
                <c:pt idx="18799">
                  <c:v>72</c:v>
                </c:pt>
                <c:pt idx="18800">
                  <c:v>71.900000000000006</c:v>
                </c:pt>
                <c:pt idx="18801">
                  <c:v>69.8</c:v>
                </c:pt>
                <c:pt idx="18802">
                  <c:v>68.2</c:v>
                </c:pt>
                <c:pt idx="18803">
                  <c:v>67.099999999999994</c:v>
                </c:pt>
                <c:pt idx="18804">
                  <c:v>66</c:v>
                </c:pt>
                <c:pt idx="18805">
                  <c:v>65.3</c:v>
                </c:pt>
                <c:pt idx="18806">
                  <c:v>64.8</c:v>
                </c:pt>
                <c:pt idx="18807">
                  <c:v>64.900000000000006</c:v>
                </c:pt>
                <c:pt idx="18808">
                  <c:v>63.9</c:v>
                </c:pt>
                <c:pt idx="18809">
                  <c:v>63.6</c:v>
                </c:pt>
                <c:pt idx="18810">
                  <c:v>63.1</c:v>
                </c:pt>
                <c:pt idx="18811">
                  <c:v>62.7</c:v>
                </c:pt>
                <c:pt idx="18812">
                  <c:v>62.2</c:v>
                </c:pt>
                <c:pt idx="18813">
                  <c:v>62.2</c:v>
                </c:pt>
                <c:pt idx="18814">
                  <c:v>62.2</c:v>
                </c:pt>
                <c:pt idx="18815">
                  <c:v>62.6</c:v>
                </c:pt>
                <c:pt idx="18816">
                  <c:v>62</c:v>
                </c:pt>
                <c:pt idx="18817">
                  <c:v>61.8</c:v>
                </c:pt>
                <c:pt idx="18818">
                  <c:v>61.4</c:v>
                </c:pt>
                <c:pt idx="18819">
                  <c:v>61.1</c:v>
                </c:pt>
                <c:pt idx="18820">
                  <c:v>61.1</c:v>
                </c:pt>
                <c:pt idx="18821">
                  <c:v>60.9</c:v>
                </c:pt>
                <c:pt idx="18822">
                  <c:v>61</c:v>
                </c:pt>
                <c:pt idx="18823">
                  <c:v>60.6</c:v>
                </c:pt>
                <c:pt idx="18824">
                  <c:v>60</c:v>
                </c:pt>
                <c:pt idx="18825">
                  <c:v>59.4</c:v>
                </c:pt>
                <c:pt idx="18826">
                  <c:v>59.3</c:v>
                </c:pt>
                <c:pt idx="18827">
                  <c:v>58.7</c:v>
                </c:pt>
                <c:pt idx="18828">
                  <c:v>58</c:v>
                </c:pt>
                <c:pt idx="18829">
                  <c:v>57.7</c:v>
                </c:pt>
                <c:pt idx="18830">
                  <c:v>57.6</c:v>
                </c:pt>
                <c:pt idx="18831">
                  <c:v>58</c:v>
                </c:pt>
                <c:pt idx="18832">
                  <c:v>58.1</c:v>
                </c:pt>
                <c:pt idx="18833">
                  <c:v>58</c:v>
                </c:pt>
                <c:pt idx="18834">
                  <c:v>58.7</c:v>
                </c:pt>
                <c:pt idx="18835">
                  <c:v>58.8</c:v>
                </c:pt>
                <c:pt idx="18836">
                  <c:v>59.1</c:v>
                </c:pt>
                <c:pt idx="18837">
                  <c:v>59.5</c:v>
                </c:pt>
                <c:pt idx="18838">
                  <c:v>60.9</c:v>
                </c:pt>
                <c:pt idx="18839">
                  <c:v>62.2</c:v>
                </c:pt>
                <c:pt idx="18840">
                  <c:v>61.9</c:v>
                </c:pt>
                <c:pt idx="18841">
                  <c:v>61.8</c:v>
                </c:pt>
                <c:pt idx="18842">
                  <c:v>63.1</c:v>
                </c:pt>
                <c:pt idx="18843">
                  <c:v>64.8</c:v>
                </c:pt>
                <c:pt idx="18844">
                  <c:v>63.3</c:v>
                </c:pt>
                <c:pt idx="18845">
                  <c:v>64.900000000000006</c:v>
                </c:pt>
                <c:pt idx="18846">
                  <c:v>65.400000000000006</c:v>
                </c:pt>
                <c:pt idx="18847">
                  <c:v>66</c:v>
                </c:pt>
                <c:pt idx="18848">
                  <c:v>66.5</c:v>
                </c:pt>
                <c:pt idx="18849">
                  <c:v>66.900000000000006</c:v>
                </c:pt>
                <c:pt idx="18850">
                  <c:v>67.5</c:v>
                </c:pt>
                <c:pt idx="18851">
                  <c:v>68.2</c:v>
                </c:pt>
                <c:pt idx="18852">
                  <c:v>68.2</c:v>
                </c:pt>
                <c:pt idx="18853">
                  <c:v>68.7</c:v>
                </c:pt>
                <c:pt idx="18854">
                  <c:v>68.599999999999994</c:v>
                </c:pt>
                <c:pt idx="18855">
                  <c:v>68.8</c:v>
                </c:pt>
                <c:pt idx="18856">
                  <c:v>69.5</c:v>
                </c:pt>
                <c:pt idx="18857">
                  <c:v>69.900000000000006</c:v>
                </c:pt>
                <c:pt idx="18858">
                  <c:v>70.3</c:v>
                </c:pt>
                <c:pt idx="18859">
                  <c:v>70.2</c:v>
                </c:pt>
                <c:pt idx="18860">
                  <c:v>73.8</c:v>
                </c:pt>
                <c:pt idx="18861">
                  <c:v>71.599999999999994</c:v>
                </c:pt>
                <c:pt idx="18862">
                  <c:v>71.5</c:v>
                </c:pt>
                <c:pt idx="18863">
                  <c:v>71.8</c:v>
                </c:pt>
                <c:pt idx="18864">
                  <c:v>72.400000000000006</c:v>
                </c:pt>
                <c:pt idx="18865">
                  <c:v>72.599999999999994</c:v>
                </c:pt>
                <c:pt idx="18866">
                  <c:v>72.400000000000006</c:v>
                </c:pt>
                <c:pt idx="18867">
                  <c:v>72.599999999999994</c:v>
                </c:pt>
                <c:pt idx="18868">
                  <c:v>71.3</c:v>
                </c:pt>
                <c:pt idx="18869">
                  <c:v>70.5</c:v>
                </c:pt>
                <c:pt idx="18870">
                  <c:v>70.599999999999994</c:v>
                </c:pt>
                <c:pt idx="18871">
                  <c:v>70.599999999999994</c:v>
                </c:pt>
                <c:pt idx="18872">
                  <c:v>68.400000000000006</c:v>
                </c:pt>
                <c:pt idx="18873">
                  <c:v>67.599999999999994</c:v>
                </c:pt>
                <c:pt idx="18874">
                  <c:v>65.599999999999994</c:v>
                </c:pt>
                <c:pt idx="18875">
                  <c:v>63.2</c:v>
                </c:pt>
                <c:pt idx="18876">
                  <c:v>62.6</c:v>
                </c:pt>
                <c:pt idx="18877">
                  <c:v>61.6</c:v>
                </c:pt>
                <c:pt idx="18878">
                  <c:v>61.5</c:v>
                </c:pt>
                <c:pt idx="18879">
                  <c:v>60.6</c:v>
                </c:pt>
                <c:pt idx="18880">
                  <c:v>61.5</c:v>
                </c:pt>
                <c:pt idx="18881">
                  <c:v>59.2</c:v>
                </c:pt>
                <c:pt idx="18882">
                  <c:v>58.2</c:v>
                </c:pt>
                <c:pt idx="18883">
                  <c:v>57.9</c:v>
                </c:pt>
                <c:pt idx="18884">
                  <c:v>58.2</c:v>
                </c:pt>
                <c:pt idx="18885">
                  <c:v>58</c:v>
                </c:pt>
                <c:pt idx="18886">
                  <c:v>61.5</c:v>
                </c:pt>
                <c:pt idx="18887">
                  <c:v>62.1</c:v>
                </c:pt>
                <c:pt idx="18888">
                  <c:v>63.6</c:v>
                </c:pt>
                <c:pt idx="18889">
                  <c:v>64.7</c:v>
                </c:pt>
                <c:pt idx="18890">
                  <c:v>65.900000000000006</c:v>
                </c:pt>
                <c:pt idx="18891">
                  <c:v>65.599999999999994</c:v>
                </c:pt>
                <c:pt idx="18892">
                  <c:v>66.7</c:v>
                </c:pt>
                <c:pt idx="18893">
                  <c:v>67.5</c:v>
                </c:pt>
                <c:pt idx="18894">
                  <c:v>67.599999999999994</c:v>
                </c:pt>
                <c:pt idx="18895">
                  <c:v>67.7</c:v>
                </c:pt>
                <c:pt idx="18896">
                  <c:v>68.900000000000006</c:v>
                </c:pt>
                <c:pt idx="18897">
                  <c:v>68.8</c:v>
                </c:pt>
                <c:pt idx="18898">
                  <c:v>70</c:v>
                </c:pt>
                <c:pt idx="18899">
                  <c:v>70.5</c:v>
                </c:pt>
                <c:pt idx="18900">
                  <c:v>72</c:v>
                </c:pt>
                <c:pt idx="18901">
                  <c:v>72</c:v>
                </c:pt>
                <c:pt idx="18902">
                  <c:v>72.900000000000006</c:v>
                </c:pt>
                <c:pt idx="18903">
                  <c:v>73.900000000000006</c:v>
                </c:pt>
                <c:pt idx="18904">
                  <c:v>71.7</c:v>
                </c:pt>
                <c:pt idx="18905">
                  <c:v>74.099999999999994</c:v>
                </c:pt>
                <c:pt idx="18906">
                  <c:v>75.900000000000006</c:v>
                </c:pt>
                <c:pt idx="18907">
                  <c:v>70.3</c:v>
                </c:pt>
                <c:pt idx="18908">
                  <c:v>70</c:v>
                </c:pt>
                <c:pt idx="18909">
                  <c:v>69.400000000000006</c:v>
                </c:pt>
                <c:pt idx="18910">
                  <c:v>68.900000000000006</c:v>
                </c:pt>
                <c:pt idx="18911">
                  <c:v>68.2</c:v>
                </c:pt>
                <c:pt idx="18912">
                  <c:v>67.5</c:v>
                </c:pt>
                <c:pt idx="18913">
                  <c:v>63.5</c:v>
                </c:pt>
                <c:pt idx="18914">
                  <c:v>61.5</c:v>
                </c:pt>
                <c:pt idx="18915">
                  <c:v>58.8</c:v>
                </c:pt>
                <c:pt idx="18916">
                  <c:v>57.9</c:v>
                </c:pt>
                <c:pt idx="18917">
                  <c:v>56.7</c:v>
                </c:pt>
                <c:pt idx="18918">
                  <c:v>56</c:v>
                </c:pt>
                <c:pt idx="18919">
                  <c:v>53.9</c:v>
                </c:pt>
                <c:pt idx="18920">
                  <c:v>65.3</c:v>
                </c:pt>
                <c:pt idx="18921">
                  <c:v>67.5</c:v>
                </c:pt>
                <c:pt idx="18922">
                  <c:v>68.8</c:v>
                </c:pt>
                <c:pt idx="18923">
                  <c:v>69.8</c:v>
                </c:pt>
                <c:pt idx="18924">
                  <c:v>71</c:v>
                </c:pt>
                <c:pt idx="18925">
                  <c:v>72.3</c:v>
                </c:pt>
                <c:pt idx="18926">
                  <c:v>71.900000000000006</c:v>
                </c:pt>
                <c:pt idx="18927">
                  <c:v>73.7</c:v>
                </c:pt>
                <c:pt idx="18928">
                  <c:v>73.8</c:v>
                </c:pt>
                <c:pt idx="18929">
                  <c:v>75</c:v>
                </c:pt>
                <c:pt idx="18930">
                  <c:v>75.8</c:v>
                </c:pt>
                <c:pt idx="18931">
                  <c:v>74.8</c:v>
                </c:pt>
                <c:pt idx="18932">
                  <c:v>76.7</c:v>
                </c:pt>
                <c:pt idx="18933">
                  <c:v>76.5</c:v>
                </c:pt>
                <c:pt idx="18934">
                  <c:v>78.3</c:v>
                </c:pt>
                <c:pt idx="18935">
                  <c:v>77.900000000000006</c:v>
                </c:pt>
                <c:pt idx="18936">
                  <c:v>80.2</c:v>
                </c:pt>
                <c:pt idx="18937">
                  <c:v>80</c:v>
                </c:pt>
                <c:pt idx="18938">
                  <c:v>78.5</c:v>
                </c:pt>
                <c:pt idx="18939">
                  <c:v>79.099999999999994</c:v>
                </c:pt>
                <c:pt idx="18940">
                  <c:v>80</c:v>
                </c:pt>
                <c:pt idx="18941">
                  <c:v>79.099999999999994</c:v>
                </c:pt>
                <c:pt idx="18942">
                  <c:v>79.400000000000006</c:v>
                </c:pt>
                <c:pt idx="18943">
                  <c:v>81.099999999999994</c:v>
                </c:pt>
                <c:pt idx="18944">
                  <c:v>82.7</c:v>
                </c:pt>
                <c:pt idx="18945">
                  <c:v>77.5</c:v>
                </c:pt>
                <c:pt idx="18946">
                  <c:v>77</c:v>
                </c:pt>
                <c:pt idx="18947">
                  <c:v>76.599999999999994</c:v>
                </c:pt>
                <c:pt idx="18948">
                  <c:v>76.099999999999994</c:v>
                </c:pt>
                <c:pt idx="18949">
                  <c:v>75</c:v>
                </c:pt>
                <c:pt idx="18950">
                  <c:v>72</c:v>
                </c:pt>
                <c:pt idx="18951">
                  <c:v>68.900000000000006</c:v>
                </c:pt>
                <c:pt idx="18952">
                  <c:v>66.599999999999994</c:v>
                </c:pt>
                <c:pt idx="18953">
                  <c:v>64.900000000000006</c:v>
                </c:pt>
                <c:pt idx="18954">
                  <c:v>63.5</c:v>
                </c:pt>
                <c:pt idx="18955">
                  <c:v>63.5</c:v>
                </c:pt>
                <c:pt idx="18956">
                  <c:v>62.8</c:v>
                </c:pt>
                <c:pt idx="18957">
                  <c:v>62.3</c:v>
                </c:pt>
                <c:pt idx="18958">
                  <c:v>60.1</c:v>
                </c:pt>
                <c:pt idx="18959">
                  <c:v>58.9</c:v>
                </c:pt>
                <c:pt idx="18960">
                  <c:v>57.4</c:v>
                </c:pt>
                <c:pt idx="18961">
                  <c:v>57.4</c:v>
                </c:pt>
                <c:pt idx="18962">
                  <c:v>56</c:v>
                </c:pt>
                <c:pt idx="18963">
                  <c:v>55.3</c:v>
                </c:pt>
                <c:pt idx="18964">
                  <c:v>72.3</c:v>
                </c:pt>
                <c:pt idx="18965">
                  <c:v>76.900000000000006</c:v>
                </c:pt>
                <c:pt idx="18966">
                  <c:v>77.3</c:v>
                </c:pt>
                <c:pt idx="18967">
                  <c:v>77.7</c:v>
                </c:pt>
                <c:pt idx="18968">
                  <c:v>77.900000000000006</c:v>
                </c:pt>
                <c:pt idx="18969">
                  <c:v>78.099999999999994</c:v>
                </c:pt>
                <c:pt idx="18970">
                  <c:v>78.2</c:v>
                </c:pt>
                <c:pt idx="18971">
                  <c:v>78.400000000000006</c:v>
                </c:pt>
                <c:pt idx="18972">
                  <c:v>78.7</c:v>
                </c:pt>
                <c:pt idx="18973">
                  <c:v>79.2</c:v>
                </c:pt>
                <c:pt idx="18974">
                  <c:v>81.599999999999994</c:v>
                </c:pt>
                <c:pt idx="18975">
                  <c:v>81.5</c:v>
                </c:pt>
                <c:pt idx="18976">
                  <c:v>82.9</c:v>
                </c:pt>
                <c:pt idx="18977">
                  <c:v>83</c:v>
                </c:pt>
                <c:pt idx="18978">
                  <c:v>82.8</c:v>
                </c:pt>
                <c:pt idx="18979">
                  <c:v>83.4</c:v>
                </c:pt>
                <c:pt idx="18980">
                  <c:v>81.5</c:v>
                </c:pt>
                <c:pt idx="18981">
                  <c:v>80.5</c:v>
                </c:pt>
                <c:pt idx="18982">
                  <c:v>80.8</c:v>
                </c:pt>
                <c:pt idx="18983">
                  <c:v>80.2</c:v>
                </c:pt>
                <c:pt idx="18984">
                  <c:v>81.7</c:v>
                </c:pt>
                <c:pt idx="18985">
                  <c:v>80.3</c:v>
                </c:pt>
                <c:pt idx="18986">
                  <c:v>80</c:v>
                </c:pt>
                <c:pt idx="18987">
                  <c:v>78.3</c:v>
                </c:pt>
                <c:pt idx="18988">
                  <c:v>75</c:v>
                </c:pt>
                <c:pt idx="18989">
                  <c:v>74.400000000000006</c:v>
                </c:pt>
                <c:pt idx="18990">
                  <c:v>73</c:v>
                </c:pt>
                <c:pt idx="18991">
                  <c:v>70.900000000000006</c:v>
                </c:pt>
                <c:pt idx="18992">
                  <c:v>69.599999999999994</c:v>
                </c:pt>
                <c:pt idx="18993">
                  <c:v>68.099999999999994</c:v>
                </c:pt>
                <c:pt idx="18994">
                  <c:v>66.8</c:v>
                </c:pt>
                <c:pt idx="18995">
                  <c:v>64.5</c:v>
                </c:pt>
                <c:pt idx="18996">
                  <c:v>62.8</c:v>
                </c:pt>
                <c:pt idx="18997">
                  <c:v>61.4</c:v>
                </c:pt>
                <c:pt idx="18998">
                  <c:v>61.4</c:v>
                </c:pt>
                <c:pt idx="18999">
                  <c:v>60</c:v>
                </c:pt>
                <c:pt idx="19000">
                  <c:v>59</c:v>
                </c:pt>
                <c:pt idx="19001">
                  <c:v>58.4</c:v>
                </c:pt>
                <c:pt idx="19002">
                  <c:v>58.2</c:v>
                </c:pt>
                <c:pt idx="19003">
                  <c:v>58</c:v>
                </c:pt>
                <c:pt idx="19004">
                  <c:v>58.7</c:v>
                </c:pt>
                <c:pt idx="19005">
                  <c:v>81</c:v>
                </c:pt>
                <c:pt idx="19006">
                  <c:v>81.5</c:v>
                </c:pt>
                <c:pt idx="19007">
                  <c:v>81.900000000000006</c:v>
                </c:pt>
                <c:pt idx="19008">
                  <c:v>82.3</c:v>
                </c:pt>
                <c:pt idx="19009">
                  <c:v>82.4</c:v>
                </c:pt>
                <c:pt idx="19010">
                  <c:v>82.3</c:v>
                </c:pt>
                <c:pt idx="19011">
                  <c:v>81.900000000000006</c:v>
                </c:pt>
                <c:pt idx="19012">
                  <c:v>82.2</c:v>
                </c:pt>
                <c:pt idx="19013">
                  <c:v>82.6</c:v>
                </c:pt>
                <c:pt idx="19014">
                  <c:v>83</c:v>
                </c:pt>
                <c:pt idx="19015">
                  <c:v>83.8</c:v>
                </c:pt>
                <c:pt idx="19016">
                  <c:v>84.1</c:v>
                </c:pt>
                <c:pt idx="19017">
                  <c:v>84.1</c:v>
                </c:pt>
                <c:pt idx="19018">
                  <c:v>84.6</c:v>
                </c:pt>
                <c:pt idx="19019">
                  <c:v>85.5</c:v>
                </c:pt>
                <c:pt idx="19020">
                  <c:v>85.5</c:v>
                </c:pt>
                <c:pt idx="19021">
                  <c:v>85.5</c:v>
                </c:pt>
                <c:pt idx="19022">
                  <c:v>85.5</c:v>
                </c:pt>
                <c:pt idx="19023">
                  <c:v>85.3</c:v>
                </c:pt>
                <c:pt idx="19024">
                  <c:v>85.3</c:v>
                </c:pt>
                <c:pt idx="19025">
                  <c:v>85.3</c:v>
                </c:pt>
                <c:pt idx="19026">
                  <c:v>85.3</c:v>
                </c:pt>
                <c:pt idx="19027">
                  <c:v>85.1</c:v>
                </c:pt>
                <c:pt idx="19028">
                  <c:v>84.9</c:v>
                </c:pt>
                <c:pt idx="19029">
                  <c:v>84.6</c:v>
                </c:pt>
                <c:pt idx="19030">
                  <c:v>83.3</c:v>
                </c:pt>
                <c:pt idx="19031">
                  <c:v>81.900000000000006</c:v>
                </c:pt>
                <c:pt idx="19032">
                  <c:v>80.2</c:v>
                </c:pt>
                <c:pt idx="19033">
                  <c:v>78.400000000000006</c:v>
                </c:pt>
                <c:pt idx="19034">
                  <c:v>76.599999999999994</c:v>
                </c:pt>
                <c:pt idx="19035">
                  <c:v>74.7</c:v>
                </c:pt>
                <c:pt idx="19036">
                  <c:v>72.5</c:v>
                </c:pt>
                <c:pt idx="19037">
                  <c:v>71.099999999999994</c:v>
                </c:pt>
                <c:pt idx="19038">
                  <c:v>69.8</c:v>
                </c:pt>
                <c:pt idx="19039">
                  <c:v>68.900000000000006</c:v>
                </c:pt>
                <c:pt idx="19040">
                  <c:v>68.2</c:v>
                </c:pt>
                <c:pt idx="19041">
                  <c:v>66.7</c:v>
                </c:pt>
                <c:pt idx="19042">
                  <c:v>65.8</c:v>
                </c:pt>
                <c:pt idx="19043">
                  <c:v>65.7</c:v>
                </c:pt>
                <c:pt idx="19044">
                  <c:v>65.099999999999994</c:v>
                </c:pt>
                <c:pt idx="19045">
                  <c:v>63.7</c:v>
                </c:pt>
                <c:pt idx="19046">
                  <c:v>62.1</c:v>
                </c:pt>
                <c:pt idx="19047">
                  <c:v>61.5</c:v>
                </c:pt>
                <c:pt idx="19048">
                  <c:v>61.2</c:v>
                </c:pt>
                <c:pt idx="19049">
                  <c:v>60.1</c:v>
                </c:pt>
                <c:pt idx="19050">
                  <c:v>59.9</c:v>
                </c:pt>
                <c:pt idx="19051">
                  <c:v>60.6</c:v>
                </c:pt>
                <c:pt idx="19052">
                  <c:v>60.8</c:v>
                </c:pt>
                <c:pt idx="19053">
                  <c:v>60.4</c:v>
                </c:pt>
                <c:pt idx="19054">
                  <c:v>60.4</c:v>
                </c:pt>
                <c:pt idx="19055">
                  <c:v>61.2</c:v>
                </c:pt>
                <c:pt idx="19056">
                  <c:v>61.3</c:v>
                </c:pt>
                <c:pt idx="19057">
                  <c:v>61.5</c:v>
                </c:pt>
                <c:pt idx="19058">
                  <c:v>61.9</c:v>
                </c:pt>
                <c:pt idx="19059">
                  <c:v>62.2</c:v>
                </c:pt>
                <c:pt idx="19060">
                  <c:v>62.1</c:v>
                </c:pt>
                <c:pt idx="19061">
                  <c:v>62.2</c:v>
                </c:pt>
                <c:pt idx="19062">
                  <c:v>64.8</c:v>
                </c:pt>
                <c:pt idx="19063">
                  <c:v>65.7</c:v>
                </c:pt>
                <c:pt idx="19064">
                  <c:v>66.900000000000006</c:v>
                </c:pt>
                <c:pt idx="19065">
                  <c:v>68</c:v>
                </c:pt>
                <c:pt idx="19066">
                  <c:v>68.900000000000006</c:v>
                </c:pt>
                <c:pt idx="19067">
                  <c:v>70.3</c:v>
                </c:pt>
                <c:pt idx="19068">
                  <c:v>72</c:v>
                </c:pt>
                <c:pt idx="19069">
                  <c:v>73.599999999999994</c:v>
                </c:pt>
                <c:pt idx="19070">
                  <c:v>74.7</c:v>
                </c:pt>
                <c:pt idx="19071">
                  <c:v>75.900000000000006</c:v>
                </c:pt>
                <c:pt idx="19072">
                  <c:v>76.599999999999994</c:v>
                </c:pt>
                <c:pt idx="19073">
                  <c:v>76.8</c:v>
                </c:pt>
                <c:pt idx="19074">
                  <c:v>77.900000000000006</c:v>
                </c:pt>
                <c:pt idx="19075">
                  <c:v>79.7</c:v>
                </c:pt>
                <c:pt idx="19076">
                  <c:v>81.099999999999994</c:v>
                </c:pt>
                <c:pt idx="19077">
                  <c:v>82.4</c:v>
                </c:pt>
                <c:pt idx="19078">
                  <c:v>82.4</c:v>
                </c:pt>
                <c:pt idx="19079">
                  <c:v>82.8</c:v>
                </c:pt>
                <c:pt idx="19080">
                  <c:v>83.1</c:v>
                </c:pt>
                <c:pt idx="19081">
                  <c:v>82.9</c:v>
                </c:pt>
                <c:pt idx="19082">
                  <c:v>83.1</c:v>
                </c:pt>
                <c:pt idx="19083">
                  <c:v>83.5</c:v>
                </c:pt>
                <c:pt idx="19084">
                  <c:v>82.6</c:v>
                </c:pt>
                <c:pt idx="19085">
                  <c:v>81.900000000000006</c:v>
                </c:pt>
                <c:pt idx="19086">
                  <c:v>81.7</c:v>
                </c:pt>
                <c:pt idx="19087">
                  <c:v>81.7</c:v>
                </c:pt>
                <c:pt idx="19088">
                  <c:v>81.3</c:v>
                </c:pt>
                <c:pt idx="19089">
                  <c:v>81.099999999999994</c:v>
                </c:pt>
                <c:pt idx="19090">
                  <c:v>80.8</c:v>
                </c:pt>
                <c:pt idx="19091">
                  <c:v>80.2</c:v>
                </c:pt>
                <c:pt idx="19092">
                  <c:v>79.7</c:v>
                </c:pt>
                <c:pt idx="19093">
                  <c:v>79.3</c:v>
                </c:pt>
                <c:pt idx="19094">
                  <c:v>78.8</c:v>
                </c:pt>
                <c:pt idx="19095">
                  <c:v>77.7</c:v>
                </c:pt>
                <c:pt idx="19096">
                  <c:v>75.900000000000006</c:v>
                </c:pt>
                <c:pt idx="19097">
                  <c:v>74.3</c:v>
                </c:pt>
                <c:pt idx="19098">
                  <c:v>72.7</c:v>
                </c:pt>
                <c:pt idx="19099">
                  <c:v>71.599999999999994</c:v>
                </c:pt>
                <c:pt idx="19100">
                  <c:v>70.5</c:v>
                </c:pt>
                <c:pt idx="19101">
                  <c:v>69.599999999999994</c:v>
                </c:pt>
                <c:pt idx="19102">
                  <c:v>68.900000000000006</c:v>
                </c:pt>
                <c:pt idx="19103">
                  <c:v>68.2</c:v>
                </c:pt>
                <c:pt idx="19104">
                  <c:v>67.099999999999994</c:v>
                </c:pt>
                <c:pt idx="19105">
                  <c:v>66.599999999999994</c:v>
                </c:pt>
                <c:pt idx="19106">
                  <c:v>66</c:v>
                </c:pt>
                <c:pt idx="19107">
                  <c:v>65.7</c:v>
                </c:pt>
                <c:pt idx="19108">
                  <c:v>65.7</c:v>
                </c:pt>
                <c:pt idx="19109">
                  <c:v>65.099999999999994</c:v>
                </c:pt>
                <c:pt idx="19110">
                  <c:v>64</c:v>
                </c:pt>
                <c:pt idx="19111">
                  <c:v>63.5</c:v>
                </c:pt>
                <c:pt idx="19112">
                  <c:v>65.099999999999994</c:v>
                </c:pt>
                <c:pt idx="19113">
                  <c:v>65.099999999999994</c:v>
                </c:pt>
                <c:pt idx="19114">
                  <c:v>65.099999999999994</c:v>
                </c:pt>
                <c:pt idx="19115">
                  <c:v>65.099999999999994</c:v>
                </c:pt>
                <c:pt idx="19116">
                  <c:v>65.099999999999994</c:v>
                </c:pt>
                <c:pt idx="19117">
                  <c:v>65.099999999999994</c:v>
                </c:pt>
                <c:pt idx="19118">
                  <c:v>64.900000000000006</c:v>
                </c:pt>
                <c:pt idx="19119">
                  <c:v>64.8</c:v>
                </c:pt>
                <c:pt idx="19120">
                  <c:v>64.8</c:v>
                </c:pt>
                <c:pt idx="19121">
                  <c:v>64.599999999999994</c:v>
                </c:pt>
                <c:pt idx="19122">
                  <c:v>64.2</c:v>
                </c:pt>
                <c:pt idx="19123">
                  <c:v>63.1</c:v>
                </c:pt>
                <c:pt idx="19124">
                  <c:v>62.2</c:v>
                </c:pt>
                <c:pt idx="19125">
                  <c:v>61.9</c:v>
                </c:pt>
                <c:pt idx="19126">
                  <c:v>62.1</c:v>
                </c:pt>
                <c:pt idx="19127">
                  <c:v>61.9</c:v>
                </c:pt>
                <c:pt idx="19128">
                  <c:v>61.7</c:v>
                </c:pt>
                <c:pt idx="19129">
                  <c:v>60.8</c:v>
                </c:pt>
                <c:pt idx="19130">
                  <c:v>60.4</c:v>
                </c:pt>
                <c:pt idx="19131">
                  <c:v>60.6</c:v>
                </c:pt>
                <c:pt idx="19132">
                  <c:v>60.4</c:v>
                </c:pt>
                <c:pt idx="19133">
                  <c:v>60.3</c:v>
                </c:pt>
                <c:pt idx="19134">
                  <c:v>60.1</c:v>
                </c:pt>
                <c:pt idx="19135">
                  <c:v>59.9</c:v>
                </c:pt>
                <c:pt idx="19136">
                  <c:v>59.5</c:v>
                </c:pt>
                <c:pt idx="19137">
                  <c:v>59.5</c:v>
                </c:pt>
                <c:pt idx="19138">
                  <c:v>58.8</c:v>
                </c:pt>
                <c:pt idx="19139">
                  <c:v>58.6</c:v>
                </c:pt>
                <c:pt idx="19140">
                  <c:v>58.8</c:v>
                </c:pt>
                <c:pt idx="19141">
                  <c:v>58.8</c:v>
                </c:pt>
                <c:pt idx="19142">
                  <c:v>58.5</c:v>
                </c:pt>
                <c:pt idx="19143">
                  <c:v>58.6</c:v>
                </c:pt>
                <c:pt idx="19144">
                  <c:v>57.9</c:v>
                </c:pt>
                <c:pt idx="19145">
                  <c:v>57.6</c:v>
                </c:pt>
                <c:pt idx="19146">
                  <c:v>57.4</c:v>
                </c:pt>
                <c:pt idx="19147">
                  <c:v>57.2</c:v>
                </c:pt>
                <c:pt idx="19148">
                  <c:v>57.6</c:v>
                </c:pt>
                <c:pt idx="19149">
                  <c:v>58.1</c:v>
                </c:pt>
                <c:pt idx="19150">
                  <c:v>59</c:v>
                </c:pt>
                <c:pt idx="19151">
                  <c:v>60.1</c:v>
                </c:pt>
                <c:pt idx="19152">
                  <c:v>62.2</c:v>
                </c:pt>
                <c:pt idx="19153">
                  <c:v>64.900000000000006</c:v>
                </c:pt>
                <c:pt idx="19154">
                  <c:v>67.099999999999994</c:v>
                </c:pt>
                <c:pt idx="19155">
                  <c:v>68.5</c:v>
                </c:pt>
                <c:pt idx="19156">
                  <c:v>70.2</c:v>
                </c:pt>
                <c:pt idx="19157">
                  <c:v>71.400000000000006</c:v>
                </c:pt>
                <c:pt idx="19158">
                  <c:v>72.5</c:v>
                </c:pt>
                <c:pt idx="19159">
                  <c:v>73.400000000000006</c:v>
                </c:pt>
                <c:pt idx="19160">
                  <c:v>74.3</c:v>
                </c:pt>
                <c:pt idx="19161">
                  <c:v>75</c:v>
                </c:pt>
                <c:pt idx="19162">
                  <c:v>75.7</c:v>
                </c:pt>
                <c:pt idx="19163">
                  <c:v>76.8</c:v>
                </c:pt>
                <c:pt idx="19164">
                  <c:v>77.7</c:v>
                </c:pt>
                <c:pt idx="19165">
                  <c:v>78.3</c:v>
                </c:pt>
                <c:pt idx="19166">
                  <c:v>79.7</c:v>
                </c:pt>
                <c:pt idx="19167">
                  <c:v>80.599999999999994</c:v>
                </c:pt>
                <c:pt idx="19168">
                  <c:v>78.599999999999994</c:v>
                </c:pt>
                <c:pt idx="19169">
                  <c:v>79.3</c:v>
                </c:pt>
                <c:pt idx="19170">
                  <c:v>81.900000000000006</c:v>
                </c:pt>
                <c:pt idx="19171">
                  <c:v>82.5</c:v>
                </c:pt>
                <c:pt idx="19172">
                  <c:v>82.1</c:v>
                </c:pt>
                <c:pt idx="19173">
                  <c:v>82.1</c:v>
                </c:pt>
                <c:pt idx="19174">
                  <c:v>82.1</c:v>
                </c:pt>
                <c:pt idx="19175">
                  <c:v>80.3</c:v>
                </c:pt>
                <c:pt idx="19176">
                  <c:v>83</c:v>
                </c:pt>
                <c:pt idx="19177">
                  <c:v>83.9</c:v>
                </c:pt>
                <c:pt idx="19178">
                  <c:v>83.9</c:v>
                </c:pt>
                <c:pt idx="19179">
                  <c:v>84.1</c:v>
                </c:pt>
                <c:pt idx="19180">
                  <c:v>84.9</c:v>
                </c:pt>
                <c:pt idx="19181">
                  <c:v>84.6</c:v>
                </c:pt>
                <c:pt idx="19182">
                  <c:v>86.8</c:v>
                </c:pt>
                <c:pt idx="19183">
                  <c:v>84.3</c:v>
                </c:pt>
                <c:pt idx="19184">
                  <c:v>84.3</c:v>
                </c:pt>
                <c:pt idx="19185">
                  <c:v>84</c:v>
                </c:pt>
                <c:pt idx="19186">
                  <c:v>84.9</c:v>
                </c:pt>
                <c:pt idx="19187">
                  <c:v>82.4</c:v>
                </c:pt>
                <c:pt idx="19188">
                  <c:v>80.900000000000006</c:v>
                </c:pt>
                <c:pt idx="19189">
                  <c:v>81</c:v>
                </c:pt>
                <c:pt idx="19190">
                  <c:v>77.599999999999994</c:v>
                </c:pt>
                <c:pt idx="19191">
                  <c:v>75.099999999999994</c:v>
                </c:pt>
                <c:pt idx="19192">
                  <c:v>74.400000000000006</c:v>
                </c:pt>
                <c:pt idx="19193">
                  <c:v>72.2</c:v>
                </c:pt>
                <c:pt idx="19194">
                  <c:v>70.2</c:v>
                </c:pt>
                <c:pt idx="19195">
                  <c:v>70.400000000000006</c:v>
                </c:pt>
                <c:pt idx="19196">
                  <c:v>68.7</c:v>
                </c:pt>
                <c:pt idx="19197">
                  <c:v>68.3</c:v>
                </c:pt>
                <c:pt idx="19198">
                  <c:v>66.8</c:v>
                </c:pt>
                <c:pt idx="19199">
                  <c:v>65.7</c:v>
                </c:pt>
                <c:pt idx="19200">
                  <c:v>66.400000000000006</c:v>
                </c:pt>
                <c:pt idx="19201">
                  <c:v>65.5</c:v>
                </c:pt>
                <c:pt idx="19202">
                  <c:v>64.2</c:v>
                </c:pt>
                <c:pt idx="19203">
                  <c:v>64.099999999999994</c:v>
                </c:pt>
                <c:pt idx="19204">
                  <c:v>62.8</c:v>
                </c:pt>
                <c:pt idx="19205">
                  <c:v>62.2</c:v>
                </c:pt>
                <c:pt idx="19206">
                  <c:v>62.9</c:v>
                </c:pt>
                <c:pt idx="19207">
                  <c:v>62.4</c:v>
                </c:pt>
                <c:pt idx="19208">
                  <c:v>63.7</c:v>
                </c:pt>
                <c:pt idx="19209">
                  <c:v>62.3</c:v>
                </c:pt>
                <c:pt idx="19210">
                  <c:v>61.3</c:v>
                </c:pt>
                <c:pt idx="19211">
                  <c:v>60.8</c:v>
                </c:pt>
                <c:pt idx="19212">
                  <c:v>60</c:v>
                </c:pt>
                <c:pt idx="19213">
                  <c:v>59.8</c:v>
                </c:pt>
                <c:pt idx="19214">
                  <c:v>59.8</c:v>
                </c:pt>
                <c:pt idx="19215">
                  <c:v>59.3</c:v>
                </c:pt>
                <c:pt idx="19216">
                  <c:v>58.7</c:v>
                </c:pt>
                <c:pt idx="19217">
                  <c:v>58.6</c:v>
                </c:pt>
                <c:pt idx="19218">
                  <c:v>58.7</c:v>
                </c:pt>
                <c:pt idx="19219">
                  <c:v>58.3</c:v>
                </c:pt>
                <c:pt idx="19220">
                  <c:v>57.6</c:v>
                </c:pt>
                <c:pt idx="19221">
                  <c:v>57.7</c:v>
                </c:pt>
                <c:pt idx="19222">
                  <c:v>57.3</c:v>
                </c:pt>
                <c:pt idx="19223">
                  <c:v>57.2</c:v>
                </c:pt>
                <c:pt idx="19224">
                  <c:v>57.1</c:v>
                </c:pt>
                <c:pt idx="19225">
                  <c:v>56.9</c:v>
                </c:pt>
                <c:pt idx="19226">
                  <c:v>57.1</c:v>
                </c:pt>
                <c:pt idx="19227">
                  <c:v>56.6</c:v>
                </c:pt>
                <c:pt idx="19228">
                  <c:v>56.6</c:v>
                </c:pt>
                <c:pt idx="19229">
                  <c:v>56.5</c:v>
                </c:pt>
                <c:pt idx="19230">
                  <c:v>56.4</c:v>
                </c:pt>
                <c:pt idx="19231">
                  <c:v>55.9</c:v>
                </c:pt>
                <c:pt idx="19232">
                  <c:v>55.9</c:v>
                </c:pt>
                <c:pt idx="19233">
                  <c:v>56.7</c:v>
                </c:pt>
                <c:pt idx="19234">
                  <c:v>55.8</c:v>
                </c:pt>
                <c:pt idx="19235">
                  <c:v>55.7</c:v>
                </c:pt>
                <c:pt idx="19236">
                  <c:v>55.1</c:v>
                </c:pt>
                <c:pt idx="19237">
                  <c:v>55.2</c:v>
                </c:pt>
                <c:pt idx="19238">
                  <c:v>55.4</c:v>
                </c:pt>
                <c:pt idx="19239">
                  <c:v>67.400000000000006</c:v>
                </c:pt>
                <c:pt idx="19240">
                  <c:v>69.099999999999994</c:v>
                </c:pt>
                <c:pt idx="19241">
                  <c:v>72.099999999999994</c:v>
                </c:pt>
                <c:pt idx="19242">
                  <c:v>73.400000000000006</c:v>
                </c:pt>
                <c:pt idx="19243">
                  <c:v>74.7</c:v>
                </c:pt>
                <c:pt idx="19244">
                  <c:v>76.2</c:v>
                </c:pt>
                <c:pt idx="19245">
                  <c:v>77.7</c:v>
                </c:pt>
                <c:pt idx="19246">
                  <c:v>79</c:v>
                </c:pt>
                <c:pt idx="19247">
                  <c:v>80.099999999999994</c:v>
                </c:pt>
                <c:pt idx="19248">
                  <c:v>81.599999999999994</c:v>
                </c:pt>
                <c:pt idx="19249">
                  <c:v>82.6</c:v>
                </c:pt>
                <c:pt idx="19250">
                  <c:v>82.9</c:v>
                </c:pt>
                <c:pt idx="19251">
                  <c:v>84.4</c:v>
                </c:pt>
                <c:pt idx="19252">
                  <c:v>83.9</c:v>
                </c:pt>
                <c:pt idx="19253">
                  <c:v>83.6</c:v>
                </c:pt>
                <c:pt idx="19254">
                  <c:v>86.2</c:v>
                </c:pt>
                <c:pt idx="19255">
                  <c:v>83.9</c:v>
                </c:pt>
                <c:pt idx="19256">
                  <c:v>88.1</c:v>
                </c:pt>
                <c:pt idx="19257">
                  <c:v>85.1</c:v>
                </c:pt>
                <c:pt idx="19258">
                  <c:v>87.7</c:v>
                </c:pt>
                <c:pt idx="19259">
                  <c:v>86.1</c:v>
                </c:pt>
                <c:pt idx="19260">
                  <c:v>87.6</c:v>
                </c:pt>
                <c:pt idx="19261">
                  <c:v>86.4</c:v>
                </c:pt>
                <c:pt idx="19262">
                  <c:v>88.1</c:v>
                </c:pt>
                <c:pt idx="19263">
                  <c:v>88.1</c:v>
                </c:pt>
                <c:pt idx="19264">
                  <c:v>87.9</c:v>
                </c:pt>
                <c:pt idx="19265">
                  <c:v>90.5</c:v>
                </c:pt>
                <c:pt idx="19266">
                  <c:v>87.3</c:v>
                </c:pt>
                <c:pt idx="19267">
                  <c:v>85.6</c:v>
                </c:pt>
                <c:pt idx="19268">
                  <c:v>85.8</c:v>
                </c:pt>
                <c:pt idx="19269">
                  <c:v>85.3</c:v>
                </c:pt>
                <c:pt idx="19270">
                  <c:v>84.7</c:v>
                </c:pt>
                <c:pt idx="19271">
                  <c:v>84</c:v>
                </c:pt>
                <c:pt idx="19272">
                  <c:v>83.1</c:v>
                </c:pt>
                <c:pt idx="19273">
                  <c:v>81.900000000000006</c:v>
                </c:pt>
                <c:pt idx="19274">
                  <c:v>80.2</c:v>
                </c:pt>
                <c:pt idx="19275">
                  <c:v>78.8</c:v>
                </c:pt>
                <c:pt idx="19276">
                  <c:v>77.400000000000006</c:v>
                </c:pt>
                <c:pt idx="19277">
                  <c:v>76.599999999999994</c:v>
                </c:pt>
                <c:pt idx="19278">
                  <c:v>75.7</c:v>
                </c:pt>
                <c:pt idx="19279">
                  <c:v>75</c:v>
                </c:pt>
                <c:pt idx="19280">
                  <c:v>74.3</c:v>
                </c:pt>
                <c:pt idx="19281">
                  <c:v>72.8</c:v>
                </c:pt>
                <c:pt idx="19282">
                  <c:v>71.3</c:v>
                </c:pt>
                <c:pt idx="19283">
                  <c:v>71.400000000000006</c:v>
                </c:pt>
                <c:pt idx="19284">
                  <c:v>69.5</c:v>
                </c:pt>
                <c:pt idx="19285">
                  <c:v>69.099999999999994</c:v>
                </c:pt>
                <c:pt idx="19286">
                  <c:v>67.5</c:v>
                </c:pt>
                <c:pt idx="19287">
                  <c:v>67.900000000000006</c:v>
                </c:pt>
                <c:pt idx="19288">
                  <c:v>65.7</c:v>
                </c:pt>
                <c:pt idx="19289">
                  <c:v>64.900000000000006</c:v>
                </c:pt>
                <c:pt idx="19290">
                  <c:v>64.3</c:v>
                </c:pt>
                <c:pt idx="19291">
                  <c:v>63.6</c:v>
                </c:pt>
                <c:pt idx="19292">
                  <c:v>64</c:v>
                </c:pt>
                <c:pt idx="19293">
                  <c:v>63.1</c:v>
                </c:pt>
                <c:pt idx="19294">
                  <c:v>62.4</c:v>
                </c:pt>
                <c:pt idx="19295">
                  <c:v>61.9</c:v>
                </c:pt>
                <c:pt idx="19296">
                  <c:v>61.2</c:v>
                </c:pt>
                <c:pt idx="19297">
                  <c:v>60.5</c:v>
                </c:pt>
                <c:pt idx="19298">
                  <c:v>60.1</c:v>
                </c:pt>
                <c:pt idx="19299">
                  <c:v>59.5</c:v>
                </c:pt>
                <c:pt idx="19300">
                  <c:v>59.5</c:v>
                </c:pt>
                <c:pt idx="19301">
                  <c:v>60.3</c:v>
                </c:pt>
                <c:pt idx="19302">
                  <c:v>60.4</c:v>
                </c:pt>
                <c:pt idx="19303">
                  <c:v>59.2</c:v>
                </c:pt>
                <c:pt idx="19304">
                  <c:v>58.5</c:v>
                </c:pt>
                <c:pt idx="19305">
                  <c:v>58.2</c:v>
                </c:pt>
                <c:pt idx="19306">
                  <c:v>57.7</c:v>
                </c:pt>
                <c:pt idx="19307">
                  <c:v>57.3</c:v>
                </c:pt>
                <c:pt idx="19308">
                  <c:v>59.5</c:v>
                </c:pt>
                <c:pt idx="19309">
                  <c:v>58.1</c:v>
                </c:pt>
                <c:pt idx="19310">
                  <c:v>57.7</c:v>
                </c:pt>
                <c:pt idx="19311">
                  <c:v>57.5</c:v>
                </c:pt>
                <c:pt idx="19312">
                  <c:v>56.9</c:v>
                </c:pt>
                <c:pt idx="19313">
                  <c:v>56.1</c:v>
                </c:pt>
                <c:pt idx="19314">
                  <c:v>55.9</c:v>
                </c:pt>
                <c:pt idx="19315">
                  <c:v>55.3</c:v>
                </c:pt>
                <c:pt idx="19316">
                  <c:v>55.4</c:v>
                </c:pt>
                <c:pt idx="19317">
                  <c:v>55.5</c:v>
                </c:pt>
                <c:pt idx="19318">
                  <c:v>55.5</c:v>
                </c:pt>
                <c:pt idx="19319">
                  <c:v>54.9</c:v>
                </c:pt>
                <c:pt idx="19320">
                  <c:v>54.8</c:v>
                </c:pt>
                <c:pt idx="19321">
                  <c:v>54.3</c:v>
                </c:pt>
                <c:pt idx="19322">
                  <c:v>54.1</c:v>
                </c:pt>
                <c:pt idx="19323">
                  <c:v>63.6</c:v>
                </c:pt>
                <c:pt idx="19324">
                  <c:v>66.7</c:v>
                </c:pt>
                <c:pt idx="19325">
                  <c:v>68.8</c:v>
                </c:pt>
                <c:pt idx="19326">
                  <c:v>69.900000000000006</c:v>
                </c:pt>
                <c:pt idx="19327">
                  <c:v>71.8</c:v>
                </c:pt>
                <c:pt idx="19328">
                  <c:v>73.3</c:v>
                </c:pt>
                <c:pt idx="19329">
                  <c:v>74.599999999999994</c:v>
                </c:pt>
                <c:pt idx="19330">
                  <c:v>75.2</c:v>
                </c:pt>
                <c:pt idx="19331">
                  <c:v>78.099999999999994</c:v>
                </c:pt>
                <c:pt idx="19332">
                  <c:v>79.099999999999994</c:v>
                </c:pt>
                <c:pt idx="19333">
                  <c:v>79.900000000000006</c:v>
                </c:pt>
                <c:pt idx="19334">
                  <c:v>79.8</c:v>
                </c:pt>
                <c:pt idx="19335">
                  <c:v>81.7</c:v>
                </c:pt>
                <c:pt idx="19336">
                  <c:v>81.7</c:v>
                </c:pt>
                <c:pt idx="19337">
                  <c:v>82.8</c:v>
                </c:pt>
                <c:pt idx="19338">
                  <c:v>84.2</c:v>
                </c:pt>
                <c:pt idx="19339">
                  <c:v>84.2</c:v>
                </c:pt>
                <c:pt idx="19340">
                  <c:v>84.2</c:v>
                </c:pt>
                <c:pt idx="19341">
                  <c:v>84.2</c:v>
                </c:pt>
                <c:pt idx="19342">
                  <c:v>84.2</c:v>
                </c:pt>
                <c:pt idx="19343">
                  <c:v>84.2</c:v>
                </c:pt>
                <c:pt idx="19344">
                  <c:v>84.2</c:v>
                </c:pt>
                <c:pt idx="19345">
                  <c:v>84.2</c:v>
                </c:pt>
                <c:pt idx="19346">
                  <c:v>84.2</c:v>
                </c:pt>
                <c:pt idx="19347">
                  <c:v>84.2</c:v>
                </c:pt>
                <c:pt idx="19348">
                  <c:v>84.2</c:v>
                </c:pt>
                <c:pt idx="19349">
                  <c:v>84.2</c:v>
                </c:pt>
                <c:pt idx="19350">
                  <c:v>84.2</c:v>
                </c:pt>
                <c:pt idx="19351">
                  <c:v>84.2</c:v>
                </c:pt>
                <c:pt idx="19352">
                  <c:v>84.2</c:v>
                </c:pt>
                <c:pt idx="19353">
                  <c:v>84.2</c:v>
                </c:pt>
                <c:pt idx="19354">
                  <c:v>85.3</c:v>
                </c:pt>
                <c:pt idx="19355">
                  <c:v>84.6</c:v>
                </c:pt>
                <c:pt idx="19356">
                  <c:v>83.5</c:v>
                </c:pt>
                <c:pt idx="19357">
                  <c:v>82.4</c:v>
                </c:pt>
                <c:pt idx="19358">
                  <c:v>81.099999999999994</c:v>
                </c:pt>
                <c:pt idx="19359">
                  <c:v>79.7</c:v>
                </c:pt>
                <c:pt idx="19360">
                  <c:v>77.5</c:v>
                </c:pt>
                <c:pt idx="19361">
                  <c:v>75.599999999999994</c:v>
                </c:pt>
                <c:pt idx="19362">
                  <c:v>73.8</c:v>
                </c:pt>
                <c:pt idx="19363">
                  <c:v>72.5</c:v>
                </c:pt>
                <c:pt idx="19364">
                  <c:v>71.8</c:v>
                </c:pt>
                <c:pt idx="19365">
                  <c:v>70.900000000000006</c:v>
                </c:pt>
                <c:pt idx="19366">
                  <c:v>69.400000000000006</c:v>
                </c:pt>
                <c:pt idx="19367">
                  <c:v>67.8</c:v>
                </c:pt>
                <c:pt idx="19368">
                  <c:v>67.5</c:v>
                </c:pt>
                <c:pt idx="19369">
                  <c:v>66.2</c:v>
                </c:pt>
                <c:pt idx="19370">
                  <c:v>66</c:v>
                </c:pt>
                <c:pt idx="19371">
                  <c:v>66</c:v>
                </c:pt>
                <c:pt idx="19372">
                  <c:v>65.8</c:v>
                </c:pt>
                <c:pt idx="19373">
                  <c:v>65.5</c:v>
                </c:pt>
                <c:pt idx="19374">
                  <c:v>64.900000000000006</c:v>
                </c:pt>
                <c:pt idx="19375">
                  <c:v>64.599999999999994</c:v>
                </c:pt>
                <c:pt idx="19376">
                  <c:v>63.9</c:v>
                </c:pt>
                <c:pt idx="19377">
                  <c:v>62.7</c:v>
                </c:pt>
                <c:pt idx="19378">
                  <c:v>61.7</c:v>
                </c:pt>
                <c:pt idx="19379">
                  <c:v>61.3</c:v>
                </c:pt>
                <c:pt idx="19380">
                  <c:v>60.3</c:v>
                </c:pt>
                <c:pt idx="19381">
                  <c:v>61.2</c:v>
                </c:pt>
                <c:pt idx="19382">
                  <c:v>59.6</c:v>
                </c:pt>
                <c:pt idx="19383">
                  <c:v>58.5</c:v>
                </c:pt>
                <c:pt idx="19384">
                  <c:v>58.4</c:v>
                </c:pt>
                <c:pt idx="19385">
                  <c:v>58.6</c:v>
                </c:pt>
                <c:pt idx="19386">
                  <c:v>58.5</c:v>
                </c:pt>
                <c:pt idx="19387">
                  <c:v>58.4</c:v>
                </c:pt>
                <c:pt idx="19388">
                  <c:v>57.6</c:v>
                </c:pt>
                <c:pt idx="19389">
                  <c:v>57.1</c:v>
                </c:pt>
                <c:pt idx="19390">
                  <c:v>56.7</c:v>
                </c:pt>
                <c:pt idx="19391">
                  <c:v>56.1</c:v>
                </c:pt>
                <c:pt idx="19392">
                  <c:v>56</c:v>
                </c:pt>
                <c:pt idx="19393">
                  <c:v>56.1</c:v>
                </c:pt>
                <c:pt idx="19394">
                  <c:v>55.5</c:v>
                </c:pt>
                <c:pt idx="19395">
                  <c:v>55.2</c:v>
                </c:pt>
                <c:pt idx="19396">
                  <c:v>54.7</c:v>
                </c:pt>
                <c:pt idx="19397">
                  <c:v>54.6</c:v>
                </c:pt>
                <c:pt idx="19398">
                  <c:v>54.7</c:v>
                </c:pt>
                <c:pt idx="19399">
                  <c:v>54.8</c:v>
                </c:pt>
                <c:pt idx="19400">
                  <c:v>68.599999999999994</c:v>
                </c:pt>
                <c:pt idx="19401">
                  <c:v>70.5</c:v>
                </c:pt>
                <c:pt idx="19402">
                  <c:v>72.8</c:v>
                </c:pt>
                <c:pt idx="19403">
                  <c:v>75.5</c:v>
                </c:pt>
                <c:pt idx="19404">
                  <c:v>78.8</c:v>
                </c:pt>
                <c:pt idx="19405">
                  <c:v>79.3</c:v>
                </c:pt>
                <c:pt idx="19406">
                  <c:v>80.099999999999994</c:v>
                </c:pt>
                <c:pt idx="19407">
                  <c:v>80.3</c:v>
                </c:pt>
                <c:pt idx="19408">
                  <c:v>81.8</c:v>
                </c:pt>
                <c:pt idx="19409">
                  <c:v>82.6</c:v>
                </c:pt>
                <c:pt idx="19410">
                  <c:v>83.9</c:v>
                </c:pt>
                <c:pt idx="19411">
                  <c:v>85</c:v>
                </c:pt>
                <c:pt idx="19412">
                  <c:v>84.8</c:v>
                </c:pt>
                <c:pt idx="19413">
                  <c:v>85.2</c:v>
                </c:pt>
                <c:pt idx="19414">
                  <c:v>87.9</c:v>
                </c:pt>
                <c:pt idx="19415">
                  <c:v>86</c:v>
                </c:pt>
                <c:pt idx="19416">
                  <c:v>86.8</c:v>
                </c:pt>
                <c:pt idx="19417">
                  <c:v>90</c:v>
                </c:pt>
                <c:pt idx="19418">
                  <c:v>89.9</c:v>
                </c:pt>
                <c:pt idx="19419">
                  <c:v>87.4</c:v>
                </c:pt>
                <c:pt idx="19420">
                  <c:v>86.6</c:v>
                </c:pt>
                <c:pt idx="19421">
                  <c:v>87.5</c:v>
                </c:pt>
                <c:pt idx="19422">
                  <c:v>87.8</c:v>
                </c:pt>
                <c:pt idx="19423">
                  <c:v>88.3</c:v>
                </c:pt>
                <c:pt idx="19424">
                  <c:v>87.2</c:v>
                </c:pt>
                <c:pt idx="19425">
                  <c:v>86.2</c:v>
                </c:pt>
                <c:pt idx="19426">
                  <c:v>87.7</c:v>
                </c:pt>
                <c:pt idx="19427">
                  <c:v>87</c:v>
                </c:pt>
                <c:pt idx="19428">
                  <c:v>88.6</c:v>
                </c:pt>
                <c:pt idx="19429">
                  <c:v>86.9</c:v>
                </c:pt>
                <c:pt idx="19430">
                  <c:v>86.3</c:v>
                </c:pt>
                <c:pt idx="19431">
                  <c:v>86.2</c:v>
                </c:pt>
                <c:pt idx="19432">
                  <c:v>85.3</c:v>
                </c:pt>
                <c:pt idx="19433">
                  <c:v>83.9</c:v>
                </c:pt>
                <c:pt idx="19434">
                  <c:v>83.6</c:v>
                </c:pt>
                <c:pt idx="19435">
                  <c:v>81.900000000000006</c:v>
                </c:pt>
                <c:pt idx="19436">
                  <c:v>79.400000000000006</c:v>
                </c:pt>
                <c:pt idx="19437">
                  <c:v>77.400000000000006</c:v>
                </c:pt>
                <c:pt idx="19438">
                  <c:v>75.900000000000006</c:v>
                </c:pt>
                <c:pt idx="19439">
                  <c:v>74.3</c:v>
                </c:pt>
                <c:pt idx="19440">
                  <c:v>73.099999999999994</c:v>
                </c:pt>
                <c:pt idx="19441">
                  <c:v>71.8</c:v>
                </c:pt>
                <c:pt idx="19442">
                  <c:v>70.7</c:v>
                </c:pt>
                <c:pt idx="19443">
                  <c:v>69.400000000000006</c:v>
                </c:pt>
                <c:pt idx="19444">
                  <c:v>67.8</c:v>
                </c:pt>
                <c:pt idx="19445">
                  <c:v>68.099999999999994</c:v>
                </c:pt>
                <c:pt idx="19446">
                  <c:v>66.099999999999994</c:v>
                </c:pt>
                <c:pt idx="19447">
                  <c:v>66.599999999999994</c:v>
                </c:pt>
                <c:pt idx="19448">
                  <c:v>64.7</c:v>
                </c:pt>
                <c:pt idx="19449">
                  <c:v>64.900000000000006</c:v>
                </c:pt>
                <c:pt idx="19450">
                  <c:v>64</c:v>
                </c:pt>
                <c:pt idx="19451">
                  <c:v>62.8</c:v>
                </c:pt>
                <c:pt idx="19452">
                  <c:v>61.8</c:v>
                </c:pt>
                <c:pt idx="19453">
                  <c:v>61.7</c:v>
                </c:pt>
                <c:pt idx="19454">
                  <c:v>62.7</c:v>
                </c:pt>
                <c:pt idx="19455">
                  <c:v>61.1</c:v>
                </c:pt>
                <c:pt idx="19456">
                  <c:v>60.4</c:v>
                </c:pt>
                <c:pt idx="19457">
                  <c:v>59.6</c:v>
                </c:pt>
                <c:pt idx="19458">
                  <c:v>58.7</c:v>
                </c:pt>
                <c:pt idx="19459">
                  <c:v>58.3</c:v>
                </c:pt>
                <c:pt idx="19460">
                  <c:v>58</c:v>
                </c:pt>
                <c:pt idx="19461">
                  <c:v>58</c:v>
                </c:pt>
                <c:pt idx="19462">
                  <c:v>58.7</c:v>
                </c:pt>
                <c:pt idx="19463">
                  <c:v>58</c:v>
                </c:pt>
                <c:pt idx="19464">
                  <c:v>57.4</c:v>
                </c:pt>
                <c:pt idx="19465">
                  <c:v>57</c:v>
                </c:pt>
                <c:pt idx="19466">
                  <c:v>56.3</c:v>
                </c:pt>
                <c:pt idx="19467">
                  <c:v>56.2</c:v>
                </c:pt>
                <c:pt idx="19468">
                  <c:v>56.2</c:v>
                </c:pt>
                <c:pt idx="19469">
                  <c:v>57.5</c:v>
                </c:pt>
                <c:pt idx="19470">
                  <c:v>56.2</c:v>
                </c:pt>
                <c:pt idx="19471">
                  <c:v>55.4</c:v>
                </c:pt>
                <c:pt idx="19472">
                  <c:v>55</c:v>
                </c:pt>
                <c:pt idx="19473">
                  <c:v>65.7</c:v>
                </c:pt>
                <c:pt idx="19474">
                  <c:v>69.900000000000006</c:v>
                </c:pt>
                <c:pt idx="19475">
                  <c:v>60.8</c:v>
                </c:pt>
                <c:pt idx="19476">
                  <c:v>63.9</c:v>
                </c:pt>
                <c:pt idx="19477">
                  <c:v>68</c:v>
                </c:pt>
                <c:pt idx="19478">
                  <c:v>72</c:v>
                </c:pt>
                <c:pt idx="19479">
                  <c:v>75</c:v>
                </c:pt>
                <c:pt idx="19480">
                  <c:v>77.2</c:v>
                </c:pt>
                <c:pt idx="19481">
                  <c:v>78.599999999999994</c:v>
                </c:pt>
                <c:pt idx="19482">
                  <c:v>79.7</c:v>
                </c:pt>
                <c:pt idx="19483">
                  <c:v>82.8</c:v>
                </c:pt>
                <c:pt idx="19484">
                  <c:v>83.6</c:v>
                </c:pt>
                <c:pt idx="19485">
                  <c:v>84.9</c:v>
                </c:pt>
                <c:pt idx="19486">
                  <c:v>86.3</c:v>
                </c:pt>
                <c:pt idx="19487">
                  <c:v>88.1</c:v>
                </c:pt>
                <c:pt idx="19488">
                  <c:v>87.8</c:v>
                </c:pt>
                <c:pt idx="19489">
                  <c:v>87.7</c:v>
                </c:pt>
                <c:pt idx="19490">
                  <c:v>87.3</c:v>
                </c:pt>
                <c:pt idx="19491">
                  <c:v>87.4</c:v>
                </c:pt>
                <c:pt idx="19492">
                  <c:v>87.1</c:v>
                </c:pt>
                <c:pt idx="19493">
                  <c:v>87.1</c:v>
                </c:pt>
                <c:pt idx="19494">
                  <c:v>87.9</c:v>
                </c:pt>
                <c:pt idx="19495">
                  <c:v>89.9</c:v>
                </c:pt>
                <c:pt idx="19496">
                  <c:v>89.7</c:v>
                </c:pt>
                <c:pt idx="19497">
                  <c:v>90.4</c:v>
                </c:pt>
                <c:pt idx="19498">
                  <c:v>90</c:v>
                </c:pt>
                <c:pt idx="19499">
                  <c:v>89.6</c:v>
                </c:pt>
                <c:pt idx="19500">
                  <c:v>89.9</c:v>
                </c:pt>
                <c:pt idx="19501">
                  <c:v>92.8</c:v>
                </c:pt>
                <c:pt idx="19502">
                  <c:v>90.4</c:v>
                </c:pt>
                <c:pt idx="19503">
                  <c:v>87.3</c:v>
                </c:pt>
                <c:pt idx="19504">
                  <c:v>86.5</c:v>
                </c:pt>
                <c:pt idx="19505">
                  <c:v>86</c:v>
                </c:pt>
                <c:pt idx="19506">
                  <c:v>85.6</c:v>
                </c:pt>
                <c:pt idx="19507">
                  <c:v>84.4</c:v>
                </c:pt>
                <c:pt idx="19508">
                  <c:v>82.4</c:v>
                </c:pt>
                <c:pt idx="19509">
                  <c:v>81.099999999999994</c:v>
                </c:pt>
                <c:pt idx="19510">
                  <c:v>79.3</c:v>
                </c:pt>
                <c:pt idx="19511">
                  <c:v>77.7</c:v>
                </c:pt>
                <c:pt idx="19512">
                  <c:v>76.099999999999994</c:v>
                </c:pt>
                <c:pt idx="19513">
                  <c:v>74.3</c:v>
                </c:pt>
                <c:pt idx="19514">
                  <c:v>73.599999999999994</c:v>
                </c:pt>
                <c:pt idx="19515">
                  <c:v>72.8</c:v>
                </c:pt>
                <c:pt idx="19516">
                  <c:v>71.3</c:v>
                </c:pt>
                <c:pt idx="19517">
                  <c:v>70.8</c:v>
                </c:pt>
                <c:pt idx="19518">
                  <c:v>69.2</c:v>
                </c:pt>
                <c:pt idx="19519">
                  <c:v>70</c:v>
                </c:pt>
                <c:pt idx="19520">
                  <c:v>68.8</c:v>
                </c:pt>
                <c:pt idx="19521">
                  <c:v>68</c:v>
                </c:pt>
                <c:pt idx="19522">
                  <c:v>67.3</c:v>
                </c:pt>
                <c:pt idx="19523">
                  <c:v>66.400000000000006</c:v>
                </c:pt>
                <c:pt idx="19524">
                  <c:v>67.2</c:v>
                </c:pt>
                <c:pt idx="19525">
                  <c:v>66.099999999999994</c:v>
                </c:pt>
                <c:pt idx="19526">
                  <c:v>64.900000000000006</c:v>
                </c:pt>
                <c:pt idx="19527">
                  <c:v>64.5</c:v>
                </c:pt>
                <c:pt idx="19528">
                  <c:v>65.099999999999994</c:v>
                </c:pt>
                <c:pt idx="19529">
                  <c:v>63.6</c:v>
                </c:pt>
                <c:pt idx="19530">
                  <c:v>62.5</c:v>
                </c:pt>
                <c:pt idx="19531">
                  <c:v>61.6</c:v>
                </c:pt>
                <c:pt idx="19532">
                  <c:v>60.9</c:v>
                </c:pt>
                <c:pt idx="19533">
                  <c:v>60.3</c:v>
                </c:pt>
                <c:pt idx="19534">
                  <c:v>60.5</c:v>
                </c:pt>
                <c:pt idx="19535">
                  <c:v>60.8</c:v>
                </c:pt>
                <c:pt idx="19536">
                  <c:v>60.2</c:v>
                </c:pt>
                <c:pt idx="19537">
                  <c:v>60.3</c:v>
                </c:pt>
                <c:pt idx="19538">
                  <c:v>60.1</c:v>
                </c:pt>
                <c:pt idx="19539">
                  <c:v>61.3</c:v>
                </c:pt>
                <c:pt idx="19540">
                  <c:v>59.8</c:v>
                </c:pt>
                <c:pt idx="19541">
                  <c:v>57</c:v>
                </c:pt>
                <c:pt idx="19542">
                  <c:v>57</c:v>
                </c:pt>
                <c:pt idx="19543">
                  <c:v>57</c:v>
                </c:pt>
                <c:pt idx="19544">
                  <c:v>57</c:v>
                </c:pt>
                <c:pt idx="19545">
                  <c:v>57</c:v>
                </c:pt>
                <c:pt idx="19546">
                  <c:v>57</c:v>
                </c:pt>
                <c:pt idx="19547">
                  <c:v>57.1</c:v>
                </c:pt>
                <c:pt idx="19548">
                  <c:v>56.8</c:v>
                </c:pt>
                <c:pt idx="19549">
                  <c:v>56.9</c:v>
                </c:pt>
                <c:pt idx="19550">
                  <c:v>56.9</c:v>
                </c:pt>
                <c:pt idx="19551">
                  <c:v>56.4</c:v>
                </c:pt>
                <c:pt idx="19552">
                  <c:v>56.4</c:v>
                </c:pt>
                <c:pt idx="19553">
                  <c:v>55.9</c:v>
                </c:pt>
                <c:pt idx="19554">
                  <c:v>55.7</c:v>
                </c:pt>
                <c:pt idx="19555">
                  <c:v>55.2</c:v>
                </c:pt>
                <c:pt idx="19556">
                  <c:v>55.2</c:v>
                </c:pt>
                <c:pt idx="19557">
                  <c:v>55</c:v>
                </c:pt>
                <c:pt idx="19558">
                  <c:v>55.3</c:v>
                </c:pt>
                <c:pt idx="19559">
                  <c:v>55.4</c:v>
                </c:pt>
                <c:pt idx="19560">
                  <c:v>55.5</c:v>
                </c:pt>
                <c:pt idx="19561">
                  <c:v>55.5</c:v>
                </c:pt>
                <c:pt idx="19562">
                  <c:v>55.5</c:v>
                </c:pt>
                <c:pt idx="19563">
                  <c:v>55.9</c:v>
                </c:pt>
                <c:pt idx="19564">
                  <c:v>56.5</c:v>
                </c:pt>
                <c:pt idx="19565">
                  <c:v>57.8</c:v>
                </c:pt>
                <c:pt idx="19566">
                  <c:v>59.2</c:v>
                </c:pt>
                <c:pt idx="19567">
                  <c:v>60.8</c:v>
                </c:pt>
                <c:pt idx="19568">
                  <c:v>63.2</c:v>
                </c:pt>
                <c:pt idx="19569">
                  <c:v>66.8</c:v>
                </c:pt>
                <c:pt idx="19570">
                  <c:v>68.8</c:v>
                </c:pt>
                <c:pt idx="19571">
                  <c:v>70.5</c:v>
                </c:pt>
                <c:pt idx="19572">
                  <c:v>72</c:v>
                </c:pt>
                <c:pt idx="19573">
                  <c:v>73.7</c:v>
                </c:pt>
                <c:pt idx="19574">
                  <c:v>76</c:v>
                </c:pt>
                <c:pt idx="19575">
                  <c:v>77.2</c:v>
                </c:pt>
                <c:pt idx="19576">
                  <c:v>78.900000000000006</c:v>
                </c:pt>
                <c:pt idx="19577">
                  <c:v>80.5</c:v>
                </c:pt>
                <c:pt idx="19578">
                  <c:v>81.5</c:v>
                </c:pt>
                <c:pt idx="19579">
                  <c:v>82.7</c:v>
                </c:pt>
                <c:pt idx="19580">
                  <c:v>83.7</c:v>
                </c:pt>
                <c:pt idx="19581">
                  <c:v>84.3</c:v>
                </c:pt>
                <c:pt idx="19582">
                  <c:v>85.1</c:v>
                </c:pt>
                <c:pt idx="19583">
                  <c:v>86.5</c:v>
                </c:pt>
                <c:pt idx="19584">
                  <c:v>86.6</c:v>
                </c:pt>
                <c:pt idx="19585">
                  <c:v>89.2</c:v>
                </c:pt>
                <c:pt idx="19586">
                  <c:v>87.7</c:v>
                </c:pt>
                <c:pt idx="19587">
                  <c:v>87</c:v>
                </c:pt>
                <c:pt idx="19588">
                  <c:v>87</c:v>
                </c:pt>
                <c:pt idx="19589">
                  <c:v>88.2</c:v>
                </c:pt>
                <c:pt idx="19590">
                  <c:v>88.8</c:v>
                </c:pt>
                <c:pt idx="19591">
                  <c:v>88.3</c:v>
                </c:pt>
                <c:pt idx="19592">
                  <c:v>89.3</c:v>
                </c:pt>
                <c:pt idx="19593">
                  <c:v>88.2</c:v>
                </c:pt>
                <c:pt idx="19594">
                  <c:v>89.3</c:v>
                </c:pt>
                <c:pt idx="19595">
                  <c:v>89.3</c:v>
                </c:pt>
                <c:pt idx="19596">
                  <c:v>88.9</c:v>
                </c:pt>
                <c:pt idx="19597">
                  <c:v>88.4</c:v>
                </c:pt>
                <c:pt idx="19598">
                  <c:v>90.2</c:v>
                </c:pt>
                <c:pt idx="19599">
                  <c:v>88.8</c:v>
                </c:pt>
                <c:pt idx="19600">
                  <c:v>87.8</c:v>
                </c:pt>
                <c:pt idx="19601">
                  <c:v>87.3</c:v>
                </c:pt>
                <c:pt idx="19602">
                  <c:v>86.8</c:v>
                </c:pt>
                <c:pt idx="19603">
                  <c:v>85.2</c:v>
                </c:pt>
                <c:pt idx="19604">
                  <c:v>82.9</c:v>
                </c:pt>
                <c:pt idx="19605">
                  <c:v>81.8</c:v>
                </c:pt>
                <c:pt idx="19606">
                  <c:v>81.2</c:v>
                </c:pt>
                <c:pt idx="19607">
                  <c:v>79.400000000000006</c:v>
                </c:pt>
                <c:pt idx="19608">
                  <c:v>76.099999999999994</c:v>
                </c:pt>
                <c:pt idx="19609">
                  <c:v>74.3</c:v>
                </c:pt>
                <c:pt idx="19610">
                  <c:v>73.900000000000006</c:v>
                </c:pt>
                <c:pt idx="19611">
                  <c:v>72.5</c:v>
                </c:pt>
                <c:pt idx="19612">
                  <c:v>71.400000000000006</c:v>
                </c:pt>
                <c:pt idx="19613">
                  <c:v>69.8</c:v>
                </c:pt>
                <c:pt idx="19614">
                  <c:v>69</c:v>
                </c:pt>
                <c:pt idx="19615">
                  <c:v>69.400000000000006</c:v>
                </c:pt>
                <c:pt idx="19616">
                  <c:v>68.400000000000006</c:v>
                </c:pt>
                <c:pt idx="19617">
                  <c:v>67.099999999999994</c:v>
                </c:pt>
                <c:pt idx="19618">
                  <c:v>66.099999999999994</c:v>
                </c:pt>
                <c:pt idx="19619">
                  <c:v>65.5</c:v>
                </c:pt>
                <c:pt idx="19620">
                  <c:v>65</c:v>
                </c:pt>
                <c:pt idx="19621">
                  <c:v>64.2</c:v>
                </c:pt>
                <c:pt idx="19622">
                  <c:v>63.5</c:v>
                </c:pt>
                <c:pt idx="19623">
                  <c:v>62.9</c:v>
                </c:pt>
                <c:pt idx="19624">
                  <c:v>62.4</c:v>
                </c:pt>
                <c:pt idx="19625">
                  <c:v>61.4</c:v>
                </c:pt>
                <c:pt idx="19626">
                  <c:v>61.6</c:v>
                </c:pt>
                <c:pt idx="19627">
                  <c:v>61.5</c:v>
                </c:pt>
                <c:pt idx="19628">
                  <c:v>61.6</c:v>
                </c:pt>
                <c:pt idx="19629">
                  <c:v>60.9</c:v>
                </c:pt>
                <c:pt idx="19630">
                  <c:v>60.5</c:v>
                </c:pt>
                <c:pt idx="19631">
                  <c:v>62.1</c:v>
                </c:pt>
                <c:pt idx="19632">
                  <c:v>61.5</c:v>
                </c:pt>
                <c:pt idx="19633">
                  <c:v>61.4</c:v>
                </c:pt>
                <c:pt idx="19634">
                  <c:v>61.1</c:v>
                </c:pt>
                <c:pt idx="19635">
                  <c:v>60.6</c:v>
                </c:pt>
                <c:pt idx="19636">
                  <c:v>60.6</c:v>
                </c:pt>
                <c:pt idx="19637">
                  <c:v>62.2</c:v>
                </c:pt>
                <c:pt idx="19638">
                  <c:v>61.4</c:v>
                </c:pt>
                <c:pt idx="19639">
                  <c:v>60.8</c:v>
                </c:pt>
                <c:pt idx="19640">
                  <c:v>60.7</c:v>
                </c:pt>
                <c:pt idx="19641">
                  <c:v>60.3</c:v>
                </c:pt>
                <c:pt idx="19642">
                  <c:v>59.9</c:v>
                </c:pt>
                <c:pt idx="19643">
                  <c:v>59.6</c:v>
                </c:pt>
                <c:pt idx="19644">
                  <c:v>59.7</c:v>
                </c:pt>
                <c:pt idx="19645">
                  <c:v>59.7</c:v>
                </c:pt>
                <c:pt idx="19646">
                  <c:v>59.5</c:v>
                </c:pt>
                <c:pt idx="19647">
                  <c:v>59.3</c:v>
                </c:pt>
                <c:pt idx="19648">
                  <c:v>59.4</c:v>
                </c:pt>
                <c:pt idx="19649">
                  <c:v>59.3</c:v>
                </c:pt>
                <c:pt idx="19650">
                  <c:v>59.2</c:v>
                </c:pt>
                <c:pt idx="19651">
                  <c:v>59.1</c:v>
                </c:pt>
                <c:pt idx="19652">
                  <c:v>58.9</c:v>
                </c:pt>
                <c:pt idx="19653">
                  <c:v>58.8</c:v>
                </c:pt>
                <c:pt idx="19654">
                  <c:v>58.7</c:v>
                </c:pt>
                <c:pt idx="19655">
                  <c:v>58.5</c:v>
                </c:pt>
                <c:pt idx="19656">
                  <c:v>58.5</c:v>
                </c:pt>
                <c:pt idx="19657">
                  <c:v>58.3</c:v>
                </c:pt>
                <c:pt idx="19658">
                  <c:v>58</c:v>
                </c:pt>
                <c:pt idx="19659">
                  <c:v>57.8</c:v>
                </c:pt>
                <c:pt idx="19660">
                  <c:v>58.2</c:v>
                </c:pt>
                <c:pt idx="19661">
                  <c:v>59</c:v>
                </c:pt>
                <c:pt idx="19662">
                  <c:v>59.8</c:v>
                </c:pt>
                <c:pt idx="19663">
                  <c:v>62.1</c:v>
                </c:pt>
                <c:pt idx="19664">
                  <c:v>65.900000000000006</c:v>
                </c:pt>
                <c:pt idx="19665">
                  <c:v>67.2</c:v>
                </c:pt>
                <c:pt idx="19666">
                  <c:v>68.3</c:v>
                </c:pt>
                <c:pt idx="19667">
                  <c:v>69.2</c:v>
                </c:pt>
                <c:pt idx="19668">
                  <c:v>70.2</c:v>
                </c:pt>
                <c:pt idx="19669">
                  <c:v>71.599999999999994</c:v>
                </c:pt>
                <c:pt idx="19670">
                  <c:v>73.2</c:v>
                </c:pt>
                <c:pt idx="19671">
                  <c:v>74.099999999999994</c:v>
                </c:pt>
                <c:pt idx="19672">
                  <c:v>74.400000000000006</c:v>
                </c:pt>
                <c:pt idx="19673">
                  <c:v>75.099999999999994</c:v>
                </c:pt>
                <c:pt idx="19674">
                  <c:v>74.900000000000006</c:v>
                </c:pt>
                <c:pt idx="19675">
                  <c:v>75.400000000000006</c:v>
                </c:pt>
                <c:pt idx="19676">
                  <c:v>76.2</c:v>
                </c:pt>
                <c:pt idx="19677">
                  <c:v>76.900000000000006</c:v>
                </c:pt>
                <c:pt idx="19678">
                  <c:v>77.5</c:v>
                </c:pt>
                <c:pt idx="19679">
                  <c:v>79.400000000000006</c:v>
                </c:pt>
                <c:pt idx="19680">
                  <c:v>80.3</c:v>
                </c:pt>
                <c:pt idx="19681">
                  <c:v>81.400000000000006</c:v>
                </c:pt>
                <c:pt idx="19682">
                  <c:v>82.8</c:v>
                </c:pt>
                <c:pt idx="19683">
                  <c:v>81.3</c:v>
                </c:pt>
                <c:pt idx="19684">
                  <c:v>81.599999999999994</c:v>
                </c:pt>
                <c:pt idx="19685">
                  <c:v>83.1</c:v>
                </c:pt>
                <c:pt idx="19686">
                  <c:v>83.5</c:v>
                </c:pt>
                <c:pt idx="19687">
                  <c:v>82.3</c:v>
                </c:pt>
                <c:pt idx="19688">
                  <c:v>83.7</c:v>
                </c:pt>
                <c:pt idx="19689">
                  <c:v>83</c:v>
                </c:pt>
                <c:pt idx="19690">
                  <c:v>82.8</c:v>
                </c:pt>
                <c:pt idx="19691">
                  <c:v>83.9</c:v>
                </c:pt>
                <c:pt idx="19692">
                  <c:v>83.1</c:v>
                </c:pt>
                <c:pt idx="19693">
                  <c:v>84</c:v>
                </c:pt>
                <c:pt idx="19694">
                  <c:v>82.8</c:v>
                </c:pt>
                <c:pt idx="19695">
                  <c:v>82.9</c:v>
                </c:pt>
                <c:pt idx="19696">
                  <c:v>82.5</c:v>
                </c:pt>
                <c:pt idx="19697">
                  <c:v>83.2</c:v>
                </c:pt>
                <c:pt idx="19698">
                  <c:v>83.2</c:v>
                </c:pt>
                <c:pt idx="19699">
                  <c:v>81.7</c:v>
                </c:pt>
                <c:pt idx="19700">
                  <c:v>79.400000000000006</c:v>
                </c:pt>
                <c:pt idx="19701">
                  <c:v>78.400000000000006</c:v>
                </c:pt>
                <c:pt idx="19702">
                  <c:v>77</c:v>
                </c:pt>
                <c:pt idx="19703">
                  <c:v>76.900000000000006</c:v>
                </c:pt>
                <c:pt idx="19704">
                  <c:v>75.8</c:v>
                </c:pt>
                <c:pt idx="19705">
                  <c:v>74.8</c:v>
                </c:pt>
                <c:pt idx="19706">
                  <c:v>73.900000000000006</c:v>
                </c:pt>
                <c:pt idx="19707">
                  <c:v>71.400000000000006</c:v>
                </c:pt>
                <c:pt idx="19708">
                  <c:v>70</c:v>
                </c:pt>
                <c:pt idx="19709">
                  <c:v>70.2</c:v>
                </c:pt>
                <c:pt idx="19710">
                  <c:v>69.099999999999994</c:v>
                </c:pt>
                <c:pt idx="19711">
                  <c:v>68.7</c:v>
                </c:pt>
                <c:pt idx="19712">
                  <c:v>68.3</c:v>
                </c:pt>
                <c:pt idx="19713">
                  <c:v>67.099999999999994</c:v>
                </c:pt>
                <c:pt idx="19714">
                  <c:v>66.400000000000006</c:v>
                </c:pt>
                <c:pt idx="19715">
                  <c:v>65.900000000000006</c:v>
                </c:pt>
                <c:pt idx="19716">
                  <c:v>65.5</c:v>
                </c:pt>
                <c:pt idx="19717">
                  <c:v>64.900000000000006</c:v>
                </c:pt>
                <c:pt idx="19718">
                  <c:v>65.8</c:v>
                </c:pt>
                <c:pt idx="19719">
                  <c:v>65.099999999999994</c:v>
                </c:pt>
                <c:pt idx="19720">
                  <c:v>64.400000000000006</c:v>
                </c:pt>
                <c:pt idx="19721">
                  <c:v>65.599999999999994</c:v>
                </c:pt>
                <c:pt idx="19722">
                  <c:v>64</c:v>
                </c:pt>
                <c:pt idx="19723">
                  <c:v>63.3</c:v>
                </c:pt>
                <c:pt idx="19724">
                  <c:v>62.6</c:v>
                </c:pt>
                <c:pt idx="19725">
                  <c:v>62</c:v>
                </c:pt>
                <c:pt idx="19726">
                  <c:v>62.2</c:v>
                </c:pt>
                <c:pt idx="19727">
                  <c:v>61.4</c:v>
                </c:pt>
                <c:pt idx="19728">
                  <c:v>60.9</c:v>
                </c:pt>
                <c:pt idx="19729">
                  <c:v>61.3</c:v>
                </c:pt>
                <c:pt idx="19730">
                  <c:v>61.1</c:v>
                </c:pt>
                <c:pt idx="19731">
                  <c:v>60.9</c:v>
                </c:pt>
                <c:pt idx="19732">
                  <c:v>60.5</c:v>
                </c:pt>
                <c:pt idx="19733">
                  <c:v>60.3</c:v>
                </c:pt>
                <c:pt idx="19734">
                  <c:v>59.9</c:v>
                </c:pt>
                <c:pt idx="19735">
                  <c:v>59.1</c:v>
                </c:pt>
                <c:pt idx="19736">
                  <c:v>58.7</c:v>
                </c:pt>
                <c:pt idx="19737">
                  <c:v>58.6</c:v>
                </c:pt>
                <c:pt idx="19738">
                  <c:v>58.1</c:v>
                </c:pt>
                <c:pt idx="19739">
                  <c:v>57.5</c:v>
                </c:pt>
                <c:pt idx="19740">
                  <c:v>58.4</c:v>
                </c:pt>
                <c:pt idx="19741">
                  <c:v>58.5</c:v>
                </c:pt>
                <c:pt idx="19742">
                  <c:v>58.2</c:v>
                </c:pt>
                <c:pt idx="19743">
                  <c:v>58.4</c:v>
                </c:pt>
                <c:pt idx="19744">
                  <c:v>58.7</c:v>
                </c:pt>
                <c:pt idx="19745">
                  <c:v>58.4</c:v>
                </c:pt>
                <c:pt idx="19746">
                  <c:v>58</c:v>
                </c:pt>
                <c:pt idx="19747">
                  <c:v>57.5</c:v>
                </c:pt>
                <c:pt idx="19748">
                  <c:v>57.4</c:v>
                </c:pt>
                <c:pt idx="19749">
                  <c:v>57.3</c:v>
                </c:pt>
                <c:pt idx="19750">
                  <c:v>57</c:v>
                </c:pt>
                <c:pt idx="19751">
                  <c:v>56.8</c:v>
                </c:pt>
                <c:pt idx="19752">
                  <c:v>56.5</c:v>
                </c:pt>
                <c:pt idx="19753">
                  <c:v>56.4</c:v>
                </c:pt>
                <c:pt idx="19754">
                  <c:v>55.9</c:v>
                </c:pt>
                <c:pt idx="19755">
                  <c:v>55.7</c:v>
                </c:pt>
                <c:pt idx="19756">
                  <c:v>56.2</c:v>
                </c:pt>
                <c:pt idx="19757">
                  <c:v>57.4</c:v>
                </c:pt>
                <c:pt idx="19758">
                  <c:v>60</c:v>
                </c:pt>
                <c:pt idx="19759">
                  <c:v>62.1</c:v>
                </c:pt>
                <c:pt idx="19760">
                  <c:v>64.8</c:v>
                </c:pt>
                <c:pt idx="19761">
                  <c:v>65.7</c:v>
                </c:pt>
                <c:pt idx="19762">
                  <c:v>67.7</c:v>
                </c:pt>
                <c:pt idx="19763">
                  <c:v>69.599999999999994</c:v>
                </c:pt>
                <c:pt idx="19764">
                  <c:v>70</c:v>
                </c:pt>
                <c:pt idx="19765">
                  <c:v>70.8</c:v>
                </c:pt>
                <c:pt idx="19766">
                  <c:v>71.2</c:v>
                </c:pt>
                <c:pt idx="19767">
                  <c:v>73.2</c:v>
                </c:pt>
                <c:pt idx="19768">
                  <c:v>75.8</c:v>
                </c:pt>
                <c:pt idx="19769">
                  <c:v>77.2</c:v>
                </c:pt>
                <c:pt idx="19770">
                  <c:v>78.3</c:v>
                </c:pt>
                <c:pt idx="19771">
                  <c:v>80.099999999999994</c:v>
                </c:pt>
                <c:pt idx="19772">
                  <c:v>80.900000000000006</c:v>
                </c:pt>
                <c:pt idx="19773">
                  <c:v>81.599999999999994</c:v>
                </c:pt>
                <c:pt idx="19774">
                  <c:v>81.599999999999994</c:v>
                </c:pt>
                <c:pt idx="19775">
                  <c:v>81.099999999999994</c:v>
                </c:pt>
                <c:pt idx="19776">
                  <c:v>81.099999999999994</c:v>
                </c:pt>
                <c:pt idx="19777">
                  <c:v>81.599999999999994</c:v>
                </c:pt>
                <c:pt idx="19778">
                  <c:v>81.5</c:v>
                </c:pt>
                <c:pt idx="19779">
                  <c:v>81.2</c:v>
                </c:pt>
                <c:pt idx="19780">
                  <c:v>82.7</c:v>
                </c:pt>
                <c:pt idx="19781">
                  <c:v>83.8</c:v>
                </c:pt>
                <c:pt idx="19782">
                  <c:v>82.1</c:v>
                </c:pt>
                <c:pt idx="19783">
                  <c:v>82</c:v>
                </c:pt>
                <c:pt idx="19784">
                  <c:v>82.3</c:v>
                </c:pt>
                <c:pt idx="19785">
                  <c:v>84.8</c:v>
                </c:pt>
                <c:pt idx="19786">
                  <c:v>84.1</c:v>
                </c:pt>
                <c:pt idx="19787">
                  <c:v>86.1</c:v>
                </c:pt>
                <c:pt idx="19788">
                  <c:v>84.5</c:v>
                </c:pt>
                <c:pt idx="19789">
                  <c:v>84.2</c:v>
                </c:pt>
                <c:pt idx="19790">
                  <c:v>82.3</c:v>
                </c:pt>
                <c:pt idx="19791">
                  <c:v>82.8</c:v>
                </c:pt>
                <c:pt idx="19792">
                  <c:v>83</c:v>
                </c:pt>
                <c:pt idx="19793">
                  <c:v>82</c:v>
                </c:pt>
                <c:pt idx="19794">
                  <c:v>81.900000000000006</c:v>
                </c:pt>
                <c:pt idx="19795">
                  <c:v>80.900000000000006</c:v>
                </c:pt>
                <c:pt idx="19796">
                  <c:v>80.099999999999994</c:v>
                </c:pt>
                <c:pt idx="19797">
                  <c:v>78.8</c:v>
                </c:pt>
                <c:pt idx="19798">
                  <c:v>77.7</c:v>
                </c:pt>
                <c:pt idx="19799">
                  <c:v>77.3</c:v>
                </c:pt>
                <c:pt idx="19800">
                  <c:v>76.5</c:v>
                </c:pt>
                <c:pt idx="19801">
                  <c:v>75.400000000000006</c:v>
                </c:pt>
                <c:pt idx="19802">
                  <c:v>73.400000000000006</c:v>
                </c:pt>
                <c:pt idx="19803">
                  <c:v>71.3</c:v>
                </c:pt>
                <c:pt idx="19804">
                  <c:v>70.099999999999994</c:v>
                </c:pt>
                <c:pt idx="19805">
                  <c:v>69.400000000000006</c:v>
                </c:pt>
                <c:pt idx="19806">
                  <c:v>68.400000000000006</c:v>
                </c:pt>
                <c:pt idx="19807">
                  <c:v>68.400000000000006</c:v>
                </c:pt>
                <c:pt idx="19808">
                  <c:v>67.900000000000006</c:v>
                </c:pt>
                <c:pt idx="19809">
                  <c:v>66.599999999999994</c:v>
                </c:pt>
                <c:pt idx="19810">
                  <c:v>65.900000000000006</c:v>
                </c:pt>
                <c:pt idx="19811">
                  <c:v>65.400000000000006</c:v>
                </c:pt>
                <c:pt idx="19812">
                  <c:v>64.7</c:v>
                </c:pt>
                <c:pt idx="19813">
                  <c:v>64.599999999999994</c:v>
                </c:pt>
                <c:pt idx="19814">
                  <c:v>64.099999999999994</c:v>
                </c:pt>
                <c:pt idx="19815">
                  <c:v>63.7</c:v>
                </c:pt>
                <c:pt idx="19816">
                  <c:v>63.3</c:v>
                </c:pt>
                <c:pt idx="19817">
                  <c:v>62.4</c:v>
                </c:pt>
                <c:pt idx="19818">
                  <c:v>61.9</c:v>
                </c:pt>
                <c:pt idx="19819">
                  <c:v>61.4</c:v>
                </c:pt>
                <c:pt idx="19820">
                  <c:v>60.9</c:v>
                </c:pt>
                <c:pt idx="19821">
                  <c:v>63</c:v>
                </c:pt>
                <c:pt idx="19822">
                  <c:v>62.7</c:v>
                </c:pt>
                <c:pt idx="19823">
                  <c:v>61.4</c:v>
                </c:pt>
                <c:pt idx="19824">
                  <c:v>60.6</c:v>
                </c:pt>
                <c:pt idx="19825">
                  <c:v>60.6</c:v>
                </c:pt>
                <c:pt idx="19826">
                  <c:v>59.9</c:v>
                </c:pt>
                <c:pt idx="19827">
                  <c:v>59.5</c:v>
                </c:pt>
                <c:pt idx="19828">
                  <c:v>59.8</c:v>
                </c:pt>
                <c:pt idx="19829">
                  <c:v>59.5</c:v>
                </c:pt>
                <c:pt idx="19830">
                  <c:v>59.3</c:v>
                </c:pt>
                <c:pt idx="19831">
                  <c:v>59.4</c:v>
                </c:pt>
                <c:pt idx="19832">
                  <c:v>59.7</c:v>
                </c:pt>
                <c:pt idx="19833">
                  <c:v>61</c:v>
                </c:pt>
                <c:pt idx="19834">
                  <c:v>64.3</c:v>
                </c:pt>
                <c:pt idx="19835">
                  <c:v>67.7</c:v>
                </c:pt>
                <c:pt idx="19836">
                  <c:v>68.599999999999994</c:v>
                </c:pt>
                <c:pt idx="19837">
                  <c:v>68.5</c:v>
                </c:pt>
                <c:pt idx="19838">
                  <c:v>68.900000000000006</c:v>
                </c:pt>
                <c:pt idx="19839">
                  <c:v>68.5</c:v>
                </c:pt>
                <c:pt idx="19840">
                  <c:v>68.099999999999994</c:v>
                </c:pt>
                <c:pt idx="19841">
                  <c:v>67.2</c:v>
                </c:pt>
                <c:pt idx="19842">
                  <c:v>66.2</c:v>
                </c:pt>
                <c:pt idx="19843">
                  <c:v>65.8</c:v>
                </c:pt>
                <c:pt idx="19844">
                  <c:v>65.3</c:v>
                </c:pt>
                <c:pt idx="19845">
                  <c:v>65.8</c:v>
                </c:pt>
                <c:pt idx="19846">
                  <c:v>65.7</c:v>
                </c:pt>
                <c:pt idx="19847">
                  <c:v>65.099999999999994</c:v>
                </c:pt>
                <c:pt idx="19848">
                  <c:v>64.599999999999994</c:v>
                </c:pt>
                <c:pt idx="19849">
                  <c:v>63.9</c:v>
                </c:pt>
                <c:pt idx="19850">
                  <c:v>63.2</c:v>
                </c:pt>
                <c:pt idx="19851">
                  <c:v>62.9</c:v>
                </c:pt>
                <c:pt idx="19852">
                  <c:v>63.1</c:v>
                </c:pt>
                <c:pt idx="19853">
                  <c:v>64.400000000000006</c:v>
                </c:pt>
                <c:pt idx="19854">
                  <c:v>65.900000000000006</c:v>
                </c:pt>
                <c:pt idx="19855">
                  <c:v>67.099999999999994</c:v>
                </c:pt>
                <c:pt idx="19856">
                  <c:v>68.099999999999994</c:v>
                </c:pt>
                <c:pt idx="19857">
                  <c:v>68.400000000000006</c:v>
                </c:pt>
                <c:pt idx="19858">
                  <c:v>68.7</c:v>
                </c:pt>
                <c:pt idx="19859">
                  <c:v>70.3</c:v>
                </c:pt>
                <c:pt idx="19860">
                  <c:v>70.900000000000006</c:v>
                </c:pt>
                <c:pt idx="19861">
                  <c:v>71.099999999999994</c:v>
                </c:pt>
                <c:pt idx="19862">
                  <c:v>72.2</c:v>
                </c:pt>
                <c:pt idx="19863">
                  <c:v>73.8</c:v>
                </c:pt>
                <c:pt idx="19864">
                  <c:v>75.2</c:v>
                </c:pt>
                <c:pt idx="19865">
                  <c:v>76.2</c:v>
                </c:pt>
                <c:pt idx="19866">
                  <c:v>76.8</c:v>
                </c:pt>
                <c:pt idx="19867">
                  <c:v>77.099999999999994</c:v>
                </c:pt>
                <c:pt idx="19868">
                  <c:v>78.2</c:v>
                </c:pt>
                <c:pt idx="19869">
                  <c:v>77.400000000000006</c:v>
                </c:pt>
                <c:pt idx="19870">
                  <c:v>77.7</c:v>
                </c:pt>
                <c:pt idx="19871">
                  <c:v>79.400000000000006</c:v>
                </c:pt>
                <c:pt idx="19872">
                  <c:v>79.599999999999994</c:v>
                </c:pt>
                <c:pt idx="19873">
                  <c:v>80.599999999999994</c:v>
                </c:pt>
                <c:pt idx="19874">
                  <c:v>80.3</c:v>
                </c:pt>
                <c:pt idx="19875">
                  <c:v>80.8</c:v>
                </c:pt>
                <c:pt idx="19876">
                  <c:v>82.8</c:v>
                </c:pt>
                <c:pt idx="19877">
                  <c:v>81.400000000000006</c:v>
                </c:pt>
                <c:pt idx="19878">
                  <c:v>81.2</c:v>
                </c:pt>
                <c:pt idx="19879">
                  <c:v>81.099999999999994</c:v>
                </c:pt>
                <c:pt idx="19880">
                  <c:v>81.5</c:v>
                </c:pt>
                <c:pt idx="19881">
                  <c:v>82.5</c:v>
                </c:pt>
                <c:pt idx="19882">
                  <c:v>83.8</c:v>
                </c:pt>
                <c:pt idx="19883">
                  <c:v>82.2</c:v>
                </c:pt>
                <c:pt idx="19884">
                  <c:v>83.2</c:v>
                </c:pt>
                <c:pt idx="19885">
                  <c:v>83.3</c:v>
                </c:pt>
                <c:pt idx="19886">
                  <c:v>85.1</c:v>
                </c:pt>
                <c:pt idx="19887">
                  <c:v>82.6</c:v>
                </c:pt>
                <c:pt idx="19888">
                  <c:v>79.3</c:v>
                </c:pt>
                <c:pt idx="19889">
                  <c:v>78.599999999999994</c:v>
                </c:pt>
                <c:pt idx="19890">
                  <c:v>77.900000000000006</c:v>
                </c:pt>
                <c:pt idx="19891">
                  <c:v>77.400000000000006</c:v>
                </c:pt>
                <c:pt idx="19892">
                  <c:v>76.3</c:v>
                </c:pt>
                <c:pt idx="19893">
                  <c:v>75</c:v>
                </c:pt>
                <c:pt idx="19894">
                  <c:v>73.8</c:v>
                </c:pt>
                <c:pt idx="19895">
                  <c:v>73.400000000000006</c:v>
                </c:pt>
                <c:pt idx="19896">
                  <c:v>70.900000000000006</c:v>
                </c:pt>
                <c:pt idx="19897">
                  <c:v>68.7</c:v>
                </c:pt>
                <c:pt idx="19898">
                  <c:v>67.2</c:v>
                </c:pt>
                <c:pt idx="19899">
                  <c:v>66.2</c:v>
                </c:pt>
                <c:pt idx="19900">
                  <c:v>65.400000000000006</c:v>
                </c:pt>
                <c:pt idx="19901">
                  <c:v>64.599999999999994</c:v>
                </c:pt>
                <c:pt idx="19902">
                  <c:v>64.099999999999994</c:v>
                </c:pt>
                <c:pt idx="19903">
                  <c:v>63.3</c:v>
                </c:pt>
                <c:pt idx="19904">
                  <c:v>63.3</c:v>
                </c:pt>
                <c:pt idx="19905">
                  <c:v>63</c:v>
                </c:pt>
                <c:pt idx="19906">
                  <c:v>62.4</c:v>
                </c:pt>
                <c:pt idx="19907">
                  <c:v>61.7</c:v>
                </c:pt>
                <c:pt idx="19908">
                  <c:v>61.3</c:v>
                </c:pt>
                <c:pt idx="19909">
                  <c:v>60.8</c:v>
                </c:pt>
                <c:pt idx="19910">
                  <c:v>60.4</c:v>
                </c:pt>
                <c:pt idx="19911">
                  <c:v>60.4</c:v>
                </c:pt>
                <c:pt idx="19912">
                  <c:v>60.2</c:v>
                </c:pt>
                <c:pt idx="19913">
                  <c:v>59.5</c:v>
                </c:pt>
                <c:pt idx="19914">
                  <c:v>58.7</c:v>
                </c:pt>
                <c:pt idx="19915">
                  <c:v>58.4</c:v>
                </c:pt>
                <c:pt idx="19916">
                  <c:v>57.9</c:v>
                </c:pt>
                <c:pt idx="19917">
                  <c:v>63.8</c:v>
                </c:pt>
                <c:pt idx="19918">
                  <c:v>64.5</c:v>
                </c:pt>
                <c:pt idx="19919">
                  <c:v>65.7</c:v>
                </c:pt>
                <c:pt idx="19920">
                  <c:v>67.2</c:v>
                </c:pt>
                <c:pt idx="19921">
                  <c:v>68.8</c:v>
                </c:pt>
                <c:pt idx="19922">
                  <c:v>69.2</c:v>
                </c:pt>
                <c:pt idx="19923">
                  <c:v>69.599999999999994</c:v>
                </c:pt>
                <c:pt idx="19924">
                  <c:v>70.5</c:v>
                </c:pt>
                <c:pt idx="19925">
                  <c:v>72.099999999999994</c:v>
                </c:pt>
                <c:pt idx="19926">
                  <c:v>72.5</c:v>
                </c:pt>
                <c:pt idx="19927">
                  <c:v>74</c:v>
                </c:pt>
                <c:pt idx="19928">
                  <c:v>74.2</c:v>
                </c:pt>
                <c:pt idx="19929">
                  <c:v>75.7</c:v>
                </c:pt>
                <c:pt idx="19930">
                  <c:v>76.599999999999994</c:v>
                </c:pt>
                <c:pt idx="19931">
                  <c:v>78.3</c:v>
                </c:pt>
                <c:pt idx="19932">
                  <c:v>78.099999999999994</c:v>
                </c:pt>
                <c:pt idx="19933">
                  <c:v>77.7</c:v>
                </c:pt>
                <c:pt idx="19934">
                  <c:v>77.599999999999994</c:v>
                </c:pt>
                <c:pt idx="19935">
                  <c:v>78.2</c:v>
                </c:pt>
                <c:pt idx="19936">
                  <c:v>78.8</c:v>
                </c:pt>
                <c:pt idx="19937">
                  <c:v>80.2</c:v>
                </c:pt>
                <c:pt idx="19938">
                  <c:v>77.400000000000006</c:v>
                </c:pt>
                <c:pt idx="19939">
                  <c:v>78.900000000000006</c:v>
                </c:pt>
                <c:pt idx="19940">
                  <c:v>78.5</c:v>
                </c:pt>
                <c:pt idx="19941">
                  <c:v>76.099999999999994</c:v>
                </c:pt>
                <c:pt idx="19942">
                  <c:v>76.099999999999994</c:v>
                </c:pt>
                <c:pt idx="19943">
                  <c:v>77.5</c:v>
                </c:pt>
                <c:pt idx="19944">
                  <c:v>80.3</c:v>
                </c:pt>
                <c:pt idx="19945">
                  <c:v>79.8</c:v>
                </c:pt>
                <c:pt idx="19946">
                  <c:v>78.3</c:v>
                </c:pt>
                <c:pt idx="19947">
                  <c:v>76.900000000000006</c:v>
                </c:pt>
                <c:pt idx="19948">
                  <c:v>72.3</c:v>
                </c:pt>
                <c:pt idx="19949">
                  <c:v>71.2</c:v>
                </c:pt>
                <c:pt idx="19950">
                  <c:v>69.599999999999994</c:v>
                </c:pt>
                <c:pt idx="19951">
                  <c:v>68.2</c:v>
                </c:pt>
                <c:pt idx="19952">
                  <c:v>66.400000000000006</c:v>
                </c:pt>
                <c:pt idx="19953">
                  <c:v>65.3</c:v>
                </c:pt>
                <c:pt idx="19954">
                  <c:v>64.8</c:v>
                </c:pt>
                <c:pt idx="19955">
                  <c:v>63.9</c:v>
                </c:pt>
                <c:pt idx="19956">
                  <c:v>64.3</c:v>
                </c:pt>
                <c:pt idx="19957">
                  <c:v>62.2</c:v>
                </c:pt>
                <c:pt idx="19958">
                  <c:v>61.5</c:v>
                </c:pt>
                <c:pt idx="19959">
                  <c:v>58.6</c:v>
                </c:pt>
                <c:pt idx="19960">
                  <c:v>57.7</c:v>
                </c:pt>
                <c:pt idx="19961">
                  <c:v>57</c:v>
                </c:pt>
                <c:pt idx="19962">
                  <c:v>56</c:v>
                </c:pt>
                <c:pt idx="19963">
                  <c:v>55.8</c:v>
                </c:pt>
                <c:pt idx="19964">
                  <c:v>55.9</c:v>
                </c:pt>
                <c:pt idx="19965">
                  <c:v>55.6</c:v>
                </c:pt>
                <c:pt idx="19966">
                  <c:v>54.9</c:v>
                </c:pt>
                <c:pt idx="19967">
                  <c:v>54.2</c:v>
                </c:pt>
                <c:pt idx="19968">
                  <c:v>53.6</c:v>
                </c:pt>
                <c:pt idx="19969">
                  <c:v>53.5</c:v>
                </c:pt>
                <c:pt idx="19970">
                  <c:v>53.3</c:v>
                </c:pt>
                <c:pt idx="19971">
                  <c:v>64.8</c:v>
                </c:pt>
                <c:pt idx="19972">
                  <c:v>65.2</c:v>
                </c:pt>
                <c:pt idx="19973">
                  <c:v>65.2</c:v>
                </c:pt>
                <c:pt idx="19974">
                  <c:v>66.900000000000006</c:v>
                </c:pt>
                <c:pt idx="19975">
                  <c:v>67.900000000000006</c:v>
                </c:pt>
                <c:pt idx="19976">
                  <c:v>69.5</c:v>
                </c:pt>
                <c:pt idx="19977">
                  <c:v>70.8</c:v>
                </c:pt>
                <c:pt idx="19978">
                  <c:v>70.900000000000006</c:v>
                </c:pt>
                <c:pt idx="19979">
                  <c:v>71.8</c:v>
                </c:pt>
                <c:pt idx="19980">
                  <c:v>72.599999999999994</c:v>
                </c:pt>
                <c:pt idx="19981">
                  <c:v>73.7</c:v>
                </c:pt>
                <c:pt idx="19982">
                  <c:v>73.400000000000006</c:v>
                </c:pt>
                <c:pt idx="19983">
                  <c:v>73.7</c:v>
                </c:pt>
                <c:pt idx="19984">
                  <c:v>73.8</c:v>
                </c:pt>
                <c:pt idx="19985">
                  <c:v>74.2</c:v>
                </c:pt>
                <c:pt idx="19986">
                  <c:v>74.900000000000006</c:v>
                </c:pt>
                <c:pt idx="19987">
                  <c:v>74.400000000000006</c:v>
                </c:pt>
                <c:pt idx="19988">
                  <c:v>74.3</c:v>
                </c:pt>
                <c:pt idx="19989">
                  <c:v>74.599999999999994</c:v>
                </c:pt>
                <c:pt idx="19990">
                  <c:v>74.8</c:v>
                </c:pt>
                <c:pt idx="19991">
                  <c:v>74.400000000000006</c:v>
                </c:pt>
                <c:pt idx="19992">
                  <c:v>74.2</c:v>
                </c:pt>
                <c:pt idx="19993">
                  <c:v>73.7</c:v>
                </c:pt>
                <c:pt idx="19994">
                  <c:v>73.400000000000006</c:v>
                </c:pt>
                <c:pt idx="19995">
                  <c:v>73</c:v>
                </c:pt>
                <c:pt idx="19996">
                  <c:v>72.599999999999994</c:v>
                </c:pt>
                <c:pt idx="19997">
                  <c:v>73.5</c:v>
                </c:pt>
                <c:pt idx="19998">
                  <c:v>72.8</c:v>
                </c:pt>
                <c:pt idx="19999">
                  <c:v>72</c:v>
                </c:pt>
                <c:pt idx="20000">
                  <c:v>70.900000000000006</c:v>
                </c:pt>
                <c:pt idx="20001">
                  <c:v>69.3</c:v>
                </c:pt>
                <c:pt idx="20002">
                  <c:v>68</c:v>
                </c:pt>
                <c:pt idx="20003">
                  <c:v>66.8</c:v>
                </c:pt>
                <c:pt idx="20004">
                  <c:v>64.7</c:v>
                </c:pt>
                <c:pt idx="20005">
                  <c:v>64.3</c:v>
                </c:pt>
                <c:pt idx="20006">
                  <c:v>62.8</c:v>
                </c:pt>
                <c:pt idx="20007">
                  <c:v>61.6</c:v>
                </c:pt>
                <c:pt idx="20008">
                  <c:v>60.8</c:v>
                </c:pt>
                <c:pt idx="20009">
                  <c:v>61.3</c:v>
                </c:pt>
                <c:pt idx="20010">
                  <c:v>61.4</c:v>
                </c:pt>
                <c:pt idx="20011">
                  <c:v>60.8</c:v>
                </c:pt>
                <c:pt idx="20012">
                  <c:v>58.8</c:v>
                </c:pt>
                <c:pt idx="20013">
                  <c:v>57.6</c:v>
                </c:pt>
                <c:pt idx="20014">
                  <c:v>56.9</c:v>
                </c:pt>
                <c:pt idx="20015">
                  <c:v>58</c:v>
                </c:pt>
                <c:pt idx="20016">
                  <c:v>57</c:v>
                </c:pt>
                <c:pt idx="20017">
                  <c:v>55.9</c:v>
                </c:pt>
                <c:pt idx="20018">
                  <c:v>60.8</c:v>
                </c:pt>
                <c:pt idx="20019">
                  <c:v>61.8</c:v>
                </c:pt>
                <c:pt idx="20020">
                  <c:v>62.4</c:v>
                </c:pt>
                <c:pt idx="20021">
                  <c:v>63.3</c:v>
                </c:pt>
                <c:pt idx="20022">
                  <c:v>64.5</c:v>
                </c:pt>
                <c:pt idx="20023">
                  <c:v>66.099999999999994</c:v>
                </c:pt>
                <c:pt idx="20024">
                  <c:v>67.900000000000006</c:v>
                </c:pt>
                <c:pt idx="20025">
                  <c:v>69.3</c:v>
                </c:pt>
                <c:pt idx="20026">
                  <c:v>71.400000000000006</c:v>
                </c:pt>
                <c:pt idx="20027">
                  <c:v>72.3</c:v>
                </c:pt>
                <c:pt idx="20028">
                  <c:v>72.900000000000006</c:v>
                </c:pt>
                <c:pt idx="20029">
                  <c:v>73.599999999999994</c:v>
                </c:pt>
                <c:pt idx="20030">
                  <c:v>74.099999999999994</c:v>
                </c:pt>
                <c:pt idx="20031">
                  <c:v>75.099999999999994</c:v>
                </c:pt>
                <c:pt idx="20032">
                  <c:v>75.7</c:v>
                </c:pt>
                <c:pt idx="20033">
                  <c:v>76.099999999999994</c:v>
                </c:pt>
                <c:pt idx="20034">
                  <c:v>77.3</c:v>
                </c:pt>
                <c:pt idx="20035">
                  <c:v>77.5</c:v>
                </c:pt>
                <c:pt idx="20036">
                  <c:v>76.8</c:v>
                </c:pt>
                <c:pt idx="20037">
                  <c:v>77.599999999999994</c:v>
                </c:pt>
                <c:pt idx="20038">
                  <c:v>78.5</c:v>
                </c:pt>
                <c:pt idx="20039">
                  <c:v>77.599999999999994</c:v>
                </c:pt>
                <c:pt idx="20040">
                  <c:v>78.599999999999994</c:v>
                </c:pt>
                <c:pt idx="20041">
                  <c:v>77.7</c:v>
                </c:pt>
                <c:pt idx="20042">
                  <c:v>76.900000000000006</c:v>
                </c:pt>
                <c:pt idx="20043">
                  <c:v>78.2</c:v>
                </c:pt>
                <c:pt idx="20044">
                  <c:v>79.2</c:v>
                </c:pt>
                <c:pt idx="20045">
                  <c:v>78.8</c:v>
                </c:pt>
                <c:pt idx="20046">
                  <c:v>79.099999999999994</c:v>
                </c:pt>
                <c:pt idx="20047">
                  <c:v>79.599999999999994</c:v>
                </c:pt>
                <c:pt idx="20048">
                  <c:v>80.7</c:v>
                </c:pt>
                <c:pt idx="20049">
                  <c:v>79.599999999999994</c:v>
                </c:pt>
                <c:pt idx="20050">
                  <c:v>78.3</c:v>
                </c:pt>
                <c:pt idx="20051">
                  <c:v>75.900000000000006</c:v>
                </c:pt>
                <c:pt idx="20052">
                  <c:v>74.5</c:v>
                </c:pt>
                <c:pt idx="20053">
                  <c:v>72.7</c:v>
                </c:pt>
                <c:pt idx="20054">
                  <c:v>71</c:v>
                </c:pt>
                <c:pt idx="20055">
                  <c:v>69.2</c:v>
                </c:pt>
                <c:pt idx="20056">
                  <c:v>67.7</c:v>
                </c:pt>
                <c:pt idx="20057">
                  <c:v>66.599999999999994</c:v>
                </c:pt>
                <c:pt idx="20058">
                  <c:v>64.599999999999994</c:v>
                </c:pt>
                <c:pt idx="20059">
                  <c:v>63.9</c:v>
                </c:pt>
                <c:pt idx="20060">
                  <c:v>63.7</c:v>
                </c:pt>
                <c:pt idx="20061">
                  <c:v>63.5</c:v>
                </c:pt>
                <c:pt idx="20062">
                  <c:v>63.8</c:v>
                </c:pt>
                <c:pt idx="20063">
                  <c:v>63.5</c:v>
                </c:pt>
                <c:pt idx="20064">
                  <c:v>63.2</c:v>
                </c:pt>
                <c:pt idx="20065">
                  <c:v>62.9</c:v>
                </c:pt>
                <c:pt idx="20066">
                  <c:v>62.9</c:v>
                </c:pt>
                <c:pt idx="20067">
                  <c:v>62.8</c:v>
                </c:pt>
                <c:pt idx="20068">
                  <c:v>62.8</c:v>
                </c:pt>
                <c:pt idx="20069">
                  <c:v>62.1</c:v>
                </c:pt>
                <c:pt idx="20070">
                  <c:v>62.1</c:v>
                </c:pt>
                <c:pt idx="20071">
                  <c:v>62.1</c:v>
                </c:pt>
                <c:pt idx="20072">
                  <c:v>62.1</c:v>
                </c:pt>
                <c:pt idx="20073">
                  <c:v>60.7</c:v>
                </c:pt>
                <c:pt idx="20074">
                  <c:v>60.4</c:v>
                </c:pt>
                <c:pt idx="20075">
                  <c:v>60.6</c:v>
                </c:pt>
                <c:pt idx="20076">
                  <c:v>60.7</c:v>
                </c:pt>
                <c:pt idx="20077">
                  <c:v>60.9</c:v>
                </c:pt>
                <c:pt idx="20078">
                  <c:v>60.8</c:v>
                </c:pt>
                <c:pt idx="20079">
                  <c:v>60.6</c:v>
                </c:pt>
                <c:pt idx="20080">
                  <c:v>60.1</c:v>
                </c:pt>
                <c:pt idx="20081">
                  <c:v>59.8</c:v>
                </c:pt>
                <c:pt idx="20082">
                  <c:v>59.5</c:v>
                </c:pt>
                <c:pt idx="20083">
                  <c:v>59.2</c:v>
                </c:pt>
                <c:pt idx="20084">
                  <c:v>58.9</c:v>
                </c:pt>
                <c:pt idx="20085">
                  <c:v>58.5</c:v>
                </c:pt>
                <c:pt idx="20086">
                  <c:v>58.6</c:v>
                </c:pt>
                <c:pt idx="20087">
                  <c:v>58.6</c:v>
                </c:pt>
                <c:pt idx="20088">
                  <c:v>58.7</c:v>
                </c:pt>
                <c:pt idx="20089">
                  <c:v>58.6</c:v>
                </c:pt>
                <c:pt idx="20090">
                  <c:v>58.3</c:v>
                </c:pt>
                <c:pt idx="20091">
                  <c:v>58.6</c:v>
                </c:pt>
                <c:pt idx="20092">
                  <c:v>58.7</c:v>
                </c:pt>
                <c:pt idx="20093">
                  <c:v>58.6</c:v>
                </c:pt>
                <c:pt idx="20094">
                  <c:v>57.9</c:v>
                </c:pt>
                <c:pt idx="20095">
                  <c:v>57.9</c:v>
                </c:pt>
                <c:pt idx="20096">
                  <c:v>57.3</c:v>
                </c:pt>
                <c:pt idx="20097">
                  <c:v>57</c:v>
                </c:pt>
                <c:pt idx="20098">
                  <c:v>56.9</c:v>
                </c:pt>
                <c:pt idx="20099">
                  <c:v>56.5</c:v>
                </c:pt>
                <c:pt idx="20100">
                  <c:v>56.5</c:v>
                </c:pt>
                <c:pt idx="20101">
                  <c:v>56.8</c:v>
                </c:pt>
                <c:pt idx="20102">
                  <c:v>56.6</c:v>
                </c:pt>
                <c:pt idx="20103">
                  <c:v>56.6</c:v>
                </c:pt>
                <c:pt idx="20104">
                  <c:v>56.5</c:v>
                </c:pt>
                <c:pt idx="20105">
                  <c:v>56.2</c:v>
                </c:pt>
                <c:pt idx="20106">
                  <c:v>55.8</c:v>
                </c:pt>
                <c:pt idx="20107">
                  <c:v>55.7</c:v>
                </c:pt>
                <c:pt idx="20108">
                  <c:v>55.7</c:v>
                </c:pt>
                <c:pt idx="20109">
                  <c:v>56</c:v>
                </c:pt>
                <c:pt idx="20110">
                  <c:v>56.3</c:v>
                </c:pt>
                <c:pt idx="20111">
                  <c:v>56.7</c:v>
                </c:pt>
                <c:pt idx="20112">
                  <c:v>57.2</c:v>
                </c:pt>
                <c:pt idx="20113">
                  <c:v>57.4</c:v>
                </c:pt>
                <c:pt idx="20114">
                  <c:v>57.7</c:v>
                </c:pt>
                <c:pt idx="20115">
                  <c:v>58</c:v>
                </c:pt>
                <c:pt idx="20116">
                  <c:v>58.6</c:v>
                </c:pt>
                <c:pt idx="20117">
                  <c:v>59</c:v>
                </c:pt>
                <c:pt idx="20118">
                  <c:v>59.3</c:v>
                </c:pt>
                <c:pt idx="20119">
                  <c:v>59.9</c:v>
                </c:pt>
                <c:pt idx="20120">
                  <c:v>61</c:v>
                </c:pt>
                <c:pt idx="20121">
                  <c:v>62.1</c:v>
                </c:pt>
                <c:pt idx="20122">
                  <c:v>63.1</c:v>
                </c:pt>
                <c:pt idx="20123">
                  <c:v>65.099999999999994</c:v>
                </c:pt>
                <c:pt idx="20124">
                  <c:v>65.8</c:v>
                </c:pt>
                <c:pt idx="20125">
                  <c:v>66.400000000000006</c:v>
                </c:pt>
                <c:pt idx="20126">
                  <c:v>67.099999999999994</c:v>
                </c:pt>
                <c:pt idx="20127">
                  <c:v>68.5</c:v>
                </c:pt>
                <c:pt idx="20128">
                  <c:v>68.8</c:v>
                </c:pt>
                <c:pt idx="20129">
                  <c:v>69.099999999999994</c:v>
                </c:pt>
                <c:pt idx="20130">
                  <c:v>69.8</c:v>
                </c:pt>
                <c:pt idx="20131">
                  <c:v>69.3</c:v>
                </c:pt>
                <c:pt idx="20132">
                  <c:v>70</c:v>
                </c:pt>
                <c:pt idx="20133">
                  <c:v>70.099999999999994</c:v>
                </c:pt>
                <c:pt idx="20134">
                  <c:v>71.099999999999994</c:v>
                </c:pt>
                <c:pt idx="20135">
                  <c:v>73.3</c:v>
                </c:pt>
                <c:pt idx="20136">
                  <c:v>73.5</c:v>
                </c:pt>
                <c:pt idx="20137">
                  <c:v>73.900000000000006</c:v>
                </c:pt>
                <c:pt idx="20138">
                  <c:v>74.8</c:v>
                </c:pt>
                <c:pt idx="20139">
                  <c:v>74.099999999999994</c:v>
                </c:pt>
                <c:pt idx="20140">
                  <c:v>72.2</c:v>
                </c:pt>
                <c:pt idx="20141">
                  <c:v>72.3</c:v>
                </c:pt>
                <c:pt idx="20142">
                  <c:v>71.400000000000006</c:v>
                </c:pt>
                <c:pt idx="20143">
                  <c:v>71.900000000000006</c:v>
                </c:pt>
                <c:pt idx="20144">
                  <c:v>72</c:v>
                </c:pt>
                <c:pt idx="20145">
                  <c:v>70.7</c:v>
                </c:pt>
                <c:pt idx="20146">
                  <c:v>69.2</c:v>
                </c:pt>
                <c:pt idx="20147">
                  <c:v>67.599999999999994</c:v>
                </c:pt>
                <c:pt idx="20148">
                  <c:v>66.599999999999994</c:v>
                </c:pt>
                <c:pt idx="20149">
                  <c:v>65.5</c:v>
                </c:pt>
                <c:pt idx="20150">
                  <c:v>64.099999999999994</c:v>
                </c:pt>
                <c:pt idx="20151">
                  <c:v>63</c:v>
                </c:pt>
                <c:pt idx="20152">
                  <c:v>62.3</c:v>
                </c:pt>
                <c:pt idx="20153">
                  <c:v>61.1</c:v>
                </c:pt>
                <c:pt idx="20154">
                  <c:v>59.6</c:v>
                </c:pt>
                <c:pt idx="20155">
                  <c:v>58.5</c:v>
                </c:pt>
                <c:pt idx="20156">
                  <c:v>57.5</c:v>
                </c:pt>
                <c:pt idx="20157">
                  <c:v>56.5</c:v>
                </c:pt>
                <c:pt idx="20158">
                  <c:v>55.8</c:v>
                </c:pt>
                <c:pt idx="20159">
                  <c:v>55.2</c:v>
                </c:pt>
                <c:pt idx="20160">
                  <c:v>54.6</c:v>
                </c:pt>
                <c:pt idx="20161">
                  <c:v>58.7</c:v>
                </c:pt>
                <c:pt idx="20162">
                  <c:v>60.6</c:v>
                </c:pt>
                <c:pt idx="20163">
                  <c:v>62.3</c:v>
                </c:pt>
                <c:pt idx="20164">
                  <c:v>63.3</c:v>
                </c:pt>
                <c:pt idx="20165">
                  <c:v>64.3</c:v>
                </c:pt>
                <c:pt idx="20166">
                  <c:v>66</c:v>
                </c:pt>
                <c:pt idx="20167">
                  <c:v>66.900000000000006</c:v>
                </c:pt>
                <c:pt idx="20168">
                  <c:v>68.400000000000006</c:v>
                </c:pt>
                <c:pt idx="20169">
                  <c:v>68.7</c:v>
                </c:pt>
                <c:pt idx="20170">
                  <c:v>68.099999999999994</c:v>
                </c:pt>
                <c:pt idx="20171">
                  <c:v>68.2</c:v>
                </c:pt>
                <c:pt idx="20172">
                  <c:v>68.2</c:v>
                </c:pt>
                <c:pt idx="20173">
                  <c:v>68.400000000000006</c:v>
                </c:pt>
                <c:pt idx="20174">
                  <c:v>69.400000000000006</c:v>
                </c:pt>
                <c:pt idx="20175">
                  <c:v>69.400000000000006</c:v>
                </c:pt>
                <c:pt idx="20176">
                  <c:v>70.2</c:v>
                </c:pt>
                <c:pt idx="20177">
                  <c:v>71.3</c:v>
                </c:pt>
                <c:pt idx="20178">
                  <c:v>70.900000000000006</c:v>
                </c:pt>
                <c:pt idx="20179">
                  <c:v>71.099999999999994</c:v>
                </c:pt>
                <c:pt idx="20180">
                  <c:v>71.8</c:v>
                </c:pt>
                <c:pt idx="20181">
                  <c:v>72.400000000000006</c:v>
                </c:pt>
                <c:pt idx="20182">
                  <c:v>72.2</c:v>
                </c:pt>
                <c:pt idx="20183">
                  <c:v>71.2</c:v>
                </c:pt>
                <c:pt idx="20184">
                  <c:v>70.8</c:v>
                </c:pt>
                <c:pt idx="20185">
                  <c:v>70.2</c:v>
                </c:pt>
                <c:pt idx="20186">
                  <c:v>70.099999999999994</c:v>
                </c:pt>
                <c:pt idx="20187">
                  <c:v>69.5</c:v>
                </c:pt>
                <c:pt idx="20188">
                  <c:v>69.3</c:v>
                </c:pt>
                <c:pt idx="20189">
                  <c:v>68.8</c:v>
                </c:pt>
                <c:pt idx="20190">
                  <c:v>68.3</c:v>
                </c:pt>
                <c:pt idx="20191">
                  <c:v>67.5</c:v>
                </c:pt>
                <c:pt idx="20192">
                  <c:v>66.599999999999994</c:v>
                </c:pt>
                <c:pt idx="20193">
                  <c:v>66</c:v>
                </c:pt>
                <c:pt idx="20194">
                  <c:v>65.3</c:v>
                </c:pt>
                <c:pt idx="20195">
                  <c:v>65</c:v>
                </c:pt>
                <c:pt idx="20196">
                  <c:v>64.400000000000006</c:v>
                </c:pt>
                <c:pt idx="20197">
                  <c:v>63.7</c:v>
                </c:pt>
                <c:pt idx="20198">
                  <c:v>62.7</c:v>
                </c:pt>
                <c:pt idx="20199">
                  <c:v>61.5</c:v>
                </c:pt>
                <c:pt idx="20200">
                  <c:v>59.9</c:v>
                </c:pt>
                <c:pt idx="20201">
                  <c:v>58.7</c:v>
                </c:pt>
                <c:pt idx="20202">
                  <c:v>58.1</c:v>
                </c:pt>
                <c:pt idx="20203">
                  <c:v>57.1</c:v>
                </c:pt>
                <c:pt idx="20204">
                  <c:v>56.4</c:v>
                </c:pt>
                <c:pt idx="20205">
                  <c:v>64.400000000000006</c:v>
                </c:pt>
                <c:pt idx="20206">
                  <c:v>64.8</c:v>
                </c:pt>
                <c:pt idx="20207">
                  <c:v>66.099999999999994</c:v>
                </c:pt>
                <c:pt idx="20208">
                  <c:v>67.599999999999994</c:v>
                </c:pt>
                <c:pt idx="20209">
                  <c:v>67.599999999999994</c:v>
                </c:pt>
                <c:pt idx="20210">
                  <c:v>69.2</c:v>
                </c:pt>
                <c:pt idx="20211">
                  <c:v>69.900000000000006</c:v>
                </c:pt>
                <c:pt idx="20212">
                  <c:v>71</c:v>
                </c:pt>
                <c:pt idx="20213">
                  <c:v>70.900000000000006</c:v>
                </c:pt>
                <c:pt idx="20214">
                  <c:v>72.400000000000006</c:v>
                </c:pt>
                <c:pt idx="20215">
                  <c:v>72.900000000000006</c:v>
                </c:pt>
                <c:pt idx="20216">
                  <c:v>74.2</c:v>
                </c:pt>
                <c:pt idx="20217">
                  <c:v>76.400000000000006</c:v>
                </c:pt>
                <c:pt idx="20218">
                  <c:v>76.3</c:v>
                </c:pt>
                <c:pt idx="20219">
                  <c:v>74.2</c:v>
                </c:pt>
                <c:pt idx="20220">
                  <c:v>74.099999999999994</c:v>
                </c:pt>
                <c:pt idx="20221">
                  <c:v>75.7</c:v>
                </c:pt>
                <c:pt idx="20222">
                  <c:v>77</c:v>
                </c:pt>
                <c:pt idx="20223">
                  <c:v>73.400000000000006</c:v>
                </c:pt>
                <c:pt idx="20224">
                  <c:v>73.2</c:v>
                </c:pt>
                <c:pt idx="20225">
                  <c:v>72.900000000000006</c:v>
                </c:pt>
                <c:pt idx="20226">
                  <c:v>72</c:v>
                </c:pt>
                <c:pt idx="20227">
                  <c:v>71.099999999999994</c:v>
                </c:pt>
                <c:pt idx="20228">
                  <c:v>70</c:v>
                </c:pt>
                <c:pt idx="20229">
                  <c:v>68.7</c:v>
                </c:pt>
                <c:pt idx="20230">
                  <c:v>66.2</c:v>
                </c:pt>
                <c:pt idx="20231">
                  <c:v>61.8</c:v>
                </c:pt>
                <c:pt idx="20232">
                  <c:v>61</c:v>
                </c:pt>
                <c:pt idx="20233">
                  <c:v>60.7</c:v>
                </c:pt>
                <c:pt idx="20234">
                  <c:v>58.8</c:v>
                </c:pt>
                <c:pt idx="20235">
                  <c:v>61.8</c:v>
                </c:pt>
                <c:pt idx="20236">
                  <c:v>62</c:v>
                </c:pt>
                <c:pt idx="20237">
                  <c:v>62.9</c:v>
                </c:pt>
                <c:pt idx="20238">
                  <c:v>62.9</c:v>
                </c:pt>
                <c:pt idx="20239">
                  <c:v>63.5</c:v>
                </c:pt>
                <c:pt idx="20240">
                  <c:v>64.5</c:v>
                </c:pt>
                <c:pt idx="20241">
                  <c:v>65.400000000000006</c:v>
                </c:pt>
                <c:pt idx="20242">
                  <c:v>65.599999999999994</c:v>
                </c:pt>
                <c:pt idx="20243">
                  <c:v>65.400000000000006</c:v>
                </c:pt>
                <c:pt idx="20244">
                  <c:v>64.7</c:v>
                </c:pt>
                <c:pt idx="20245">
                  <c:v>64.900000000000006</c:v>
                </c:pt>
                <c:pt idx="20246">
                  <c:v>65.3</c:v>
                </c:pt>
                <c:pt idx="20247">
                  <c:v>65.2</c:v>
                </c:pt>
                <c:pt idx="20248">
                  <c:v>65.900000000000006</c:v>
                </c:pt>
                <c:pt idx="20249">
                  <c:v>66</c:v>
                </c:pt>
                <c:pt idx="20250">
                  <c:v>66</c:v>
                </c:pt>
                <c:pt idx="20251">
                  <c:v>66.900000000000006</c:v>
                </c:pt>
                <c:pt idx="20252">
                  <c:v>67.099999999999994</c:v>
                </c:pt>
                <c:pt idx="20253">
                  <c:v>68.3</c:v>
                </c:pt>
                <c:pt idx="20254">
                  <c:v>68.400000000000006</c:v>
                </c:pt>
                <c:pt idx="20255">
                  <c:v>67.599999999999994</c:v>
                </c:pt>
                <c:pt idx="20256">
                  <c:v>67.099999999999994</c:v>
                </c:pt>
                <c:pt idx="20257">
                  <c:v>66.3</c:v>
                </c:pt>
                <c:pt idx="20258">
                  <c:v>65.599999999999994</c:v>
                </c:pt>
                <c:pt idx="20259">
                  <c:v>64.400000000000006</c:v>
                </c:pt>
                <c:pt idx="20260">
                  <c:v>62.8</c:v>
                </c:pt>
                <c:pt idx="20261">
                  <c:v>61</c:v>
                </c:pt>
                <c:pt idx="20262">
                  <c:v>59.9</c:v>
                </c:pt>
                <c:pt idx="20263">
                  <c:v>59</c:v>
                </c:pt>
                <c:pt idx="20264">
                  <c:v>57.8</c:v>
                </c:pt>
                <c:pt idx="20265">
                  <c:v>56.9</c:v>
                </c:pt>
                <c:pt idx="20266">
                  <c:v>55.7</c:v>
                </c:pt>
                <c:pt idx="20267">
                  <c:v>54.8</c:v>
                </c:pt>
                <c:pt idx="20268">
                  <c:v>62.4</c:v>
                </c:pt>
                <c:pt idx="20269">
                  <c:v>63.8</c:v>
                </c:pt>
                <c:pt idx="20270">
                  <c:v>64.5</c:v>
                </c:pt>
                <c:pt idx="20271">
                  <c:v>65.400000000000006</c:v>
                </c:pt>
                <c:pt idx="20272">
                  <c:v>67.099999999999994</c:v>
                </c:pt>
                <c:pt idx="20273">
                  <c:v>67</c:v>
                </c:pt>
                <c:pt idx="20274">
                  <c:v>66.7</c:v>
                </c:pt>
                <c:pt idx="20275">
                  <c:v>68.900000000000006</c:v>
                </c:pt>
                <c:pt idx="20276">
                  <c:v>68.900000000000006</c:v>
                </c:pt>
                <c:pt idx="20277">
                  <c:v>69.5</c:v>
                </c:pt>
                <c:pt idx="20278">
                  <c:v>70.900000000000006</c:v>
                </c:pt>
                <c:pt idx="20279">
                  <c:v>71</c:v>
                </c:pt>
                <c:pt idx="20280">
                  <c:v>71.2</c:v>
                </c:pt>
                <c:pt idx="20281">
                  <c:v>71.900000000000006</c:v>
                </c:pt>
                <c:pt idx="20282">
                  <c:v>72.400000000000006</c:v>
                </c:pt>
                <c:pt idx="20283">
                  <c:v>71.3</c:v>
                </c:pt>
                <c:pt idx="20284">
                  <c:v>72.599999999999994</c:v>
                </c:pt>
                <c:pt idx="20285">
                  <c:v>69.8</c:v>
                </c:pt>
                <c:pt idx="20286">
                  <c:v>69.3</c:v>
                </c:pt>
                <c:pt idx="20287">
                  <c:v>68.5</c:v>
                </c:pt>
                <c:pt idx="20288">
                  <c:v>68</c:v>
                </c:pt>
                <c:pt idx="20289">
                  <c:v>67.5</c:v>
                </c:pt>
                <c:pt idx="20290">
                  <c:v>66.7</c:v>
                </c:pt>
                <c:pt idx="20291">
                  <c:v>65.8</c:v>
                </c:pt>
                <c:pt idx="20292">
                  <c:v>64.2</c:v>
                </c:pt>
                <c:pt idx="20293">
                  <c:v>62.2</c:v>
                </c:pt>
                <c:pt idx="20294">
                  <c:v>60.6</c:v>
                </c:pt>
                <c:pt idx="20295">
                  <c:v>59.4</c:v>
                </c:pt>
                <c:pt idx="20296">
                  <c:v>58.5</c:v>
                </c:pt>
                <c:pt idx="20297">
                  <c:v>57.7</c:v>
                </c:pt>
                <c:pt idx="20298">
                  <c:v>64.900000000000006</c:v>
                </c:pt>
                <c:pt idx="20299">
                  <c:v>65.599999999999994</c:v>
                </c:pt>
                <c:pt idx="20300">
                  <c:v>66.599999999999994</c:v>
                </c:pt>
                <c:pt idx="20301">
                  <c:v>67</c:v>
                </c:pt>
                <c:pt idx="20302">
                  <c:v>67.400000000000006</c:v>
                </c:pt>
                <c:pt idx="20303">
                  <c:v>67.3</c:v>
                </c:pt>
                <c:pt idx="20304">
                  <c:v>69</c:v>
                </c:pt>
                <c:pt idx="20305">
                  <c:v>69.2</c:v>
                </c:pt>
                <c:pt idx="20306">
                  <c:v>70.099999999999994</c:v>
                </c:pt>
                <c:pt idx="20307">
                  <c:v>69.099999999999994</c:v>
                </c:pt>
                <c:pt idx="20308">
                  <c:v>69</c:v>
                </c:pt>
                <c:pt idx="20309">
                  <c:v>69.2</c:v>
                </c:pt>
                <c:pt idx="20310">
                  <c:v>68.7</c:v>
                </c:pt>
                <c:pt idx="20311">
                  <c:v>69.3</c:v>
                </c:pt>
                <c:pt idx="20312">
                  <c:v>68.099999999999994</c:v>
                </c:pt>
                <c:pt idx="20313">
                  <c:v>68.400000000000006</c:v>
                </c:pt>
                <c:pt idx="20314">
                  <c:v>68.8</c:v>
                </c:pt>
                <c:pt idx="20315">
                  <c:v>68.5</c:v>
                </c:pt>
                <c:pt idx="20316">
                  <c:v>68.099999999999994</c:v>
                </c:pt>
                <c:pt idx="20317">
                  <c:v>67.3</c:v>
                </c:pt>
                <c:pt idx="20318">
                  <c:v>66.3</c:v>
                </c:pt>
                <c:pt idx="20319">
                  <c:v>65.3</c:v>
                </c:pt>
                <c:pt idx="20320">
                  <c:v>64.3</c:v>
                </c:pt>
                <c:pt idx="20321">
                  <c:v>63.1</c:v>
                </c:pt>
                <c:pt idx="20322">
                  <c:v>61.8</c:v>
                </c:pt>
                <c:pt idx="20323">
                  <c:v>60.3</c:v>
                </c:pt>
                <c:pt idx="20324">
                  <c:v>59</c:v>
                </c:pt>
                <c:pt idx="20325">
                  <c:v>66.2</c:v>
                </c:pt>
                <c:pt idx="20326">
                  <c:v>67.2</c:v>
                </c:pt>
                <c:pt idx="20327">
                  <c:v>66.900000000000006</c:v>
                </c:pt>
                <c:pt idx="20328">
                  <c:v>67.400000000000006</c:v>
                </c:pt>
                <c:pt idx="20329">
                  <c:v>67.900000000000006</c:v>
                </c:pt>
                <c:pt idx="20330">
                  <c:v>68.7</c:v>
                </c:pt>
                <c:pt idx="20331">
                  <c:v>68.3</c:v>
                </c:pt>
                <c:pt idx="20332">
                  <c:v>68.5</c:v>
                </c:pt>
                <c:pt idx="20333">
                  <c:v>69.900000000000006</c:v>
                </c:pt>
                <c:pt idx="20334">
                  <c:v>70.3</c:v>
                </c:pt>
                <c:pt idx="20335">
                  <c:v>70.3</c:v>
                </c:pt>
                <c:pt idx="20336">
                  <c:v>69.3</c:v>
                </c:pt>
                <c:pt idx="20337">
                  <c:v>70.900000000000006</c:v>
                </c:pt>
                <c:pt idx="20338">
                  <c:v>70.5</c:v>
                </c:pt>
                <c:pt idx="20339">
                  <c:v>70.5</c:v>
                </c:pt>
                <c:pt idx="20340">
                  <c:v>70.3</c:v>
                </c:pt>
                <c:pt idx="20341">
                  <c:v>69.3</c:v>
                </c:pt>
                <c:pt idx="20342">
                  <c:v>70</c:v>
                </c:pt>
                <c:pt idx="20343">
                  <c:v>68.5</c:v>
                </c:pt>
                <c:pt idx="20344">
                  <c:v>67.099999999999994</c:v>
                </c:pt>
                <c:pt idx="20345">
                  <c:v>65.599999999999994</c:v>
                </c:pt>
                <c:pt idx="20346">
                  <c:v>63.9</c:v>
                </c:pt>
                <c:pt idx="20347">
                  <c:v>62.6</c:v>
                </c:pt>
                <c:pt idx="20348">
                  <c:v>61.5</c:v>
                </c:pt>
                <c:pt idx="20349">
                  <c:v>64.5</c:v>
                </c:pt>
                <c:pt idx="20350">
                  <c:v>64.5</c:v>
                </c:pt>
                <c:pt idx="20351">
                  <c:v>63.7</c:v>
                </c:pt>
                <c:pt idx="20352">
                  <c:v>62.6</c:v>
                </c:pt>
                <c:pt idx="20353">
                  <c:v>61</c:v>
                </c:pt>
                <c:pt idx="20354">
                  <c:v>62.5</c:v>
                </c:pt>
                <c:pt idx="20355">
                  <c:v>63.3</c:v>
                </c:pt>
                <c:pt idx="20356">
                  <c:v>65.099999999999994</c:v>
                </c:pt>
                <c:pt idx="20357">
                  <c:v>68.3</c:v>
                </c:pt>
                <c:pt idx="20358">
                  <c:v>68.5</c:v>
                </c:pt>
                <c:pt idx="20359">
                  <c:v>69.7</c:v>
                </c:pt>
                <c:pt idx="20360">
                  <c:v>70.7</c:v>
                </c:pt>
                <c:pt idx="20361">
                  <c:v>71</c:v>
                </c:pt>
                <c:pt idx="20362">
                  <c:v>69.099999999999994</c:v>
                </c:pt>
                <c:pt idx="20363">
                  <c:v>69.099999999999994</c:v>
                </c:pt>
                <c:pt idx="20364">
                  <c:v>68.5</c:v>
                </c:pt>
                <c:pt idx="20365">
                  <c:v>50.2</c:v>
                </c:pt>
                <c:pt idx="20366">
                  <c:v>50.1</c:v>
                </c:pt>
                <c:pt idx="20367">
                  <c:v>49.8</c:v>
                </c:pt>
                <c:pt idx="20368">
                  <c:v>49.8</c:v>
                </c:pt>
                <c:pt idx="20369">
                  <c:v>49.8</c:v>
                </c:pt>
                <c:pt idx="20370">
                  <c:v>50</c:v>
                </c:pt>
                <c:pt idx="20371">
                  <c:v>50.2</c:v>
                </c:pt>
                <c:pt idx="20372">
                  <c:v>50.3</c:v>
                </c:pt>
                <c:pt idx="20373">
                  <c:v>50.5</c:v>
                </c:pt>
                <c:pt idx="20374">
                  <c:v>69.400000000000006</c:v>
                </c:pt>
                <c:pt idx="20375">
                  <c:v>70</c:v>
                </c:pt>
                <c:pt idx="20376">
                  <c:v>74.099999999999994</c:v>
                </c:pt>
                <c:pt idx="20377">
                  <c:v>74.3</c:v>
                </c:pt>
                <c:pt idx="20378">
                  <c:v>74.2</c:v>
                </c:pt>
                <c:pt idx="20379">
                  <c:v>75.2</c:v>
                </c:pt>
                <c:pt idx="20380">
                  <c:v>76.7</c:v>
                </c:pt>
                <c:pt idx="20381">
                  <c:v>75.5</c:v>
                </c:pt>
                <c:pt idx="20382">
                  <c:v>77.099999999999994</c:v>
                </c:pt>
                <c:pt idx="20383">
                  <c:v>77.2</c:v>
                </c:pt>
                <c:pt idx="20384">
                  <c:v>74.8</c:v>
                </c:pt>
                <c:pt idx="20385">
                  <c:v>74.099999999999994</c:v>
                </c:pt>
                <c:pt idx="20386">
                  <c:v>73.599999999999994</c:v>
                </c:pt>
                <c:pt idx="20387">
                  <c:v>73.400000000000006</c:v>
                </c:pt>
                <c:pt idx="20388">
                  <c:v>72.900000000000006</c:v>
                </c:pt>
                <c:pt idx="20389">
                  <c:v>72.099999999999994</c:v>
                </c:pt>
                <c:pt idx="20390">
                  <c:v>70.3</c:v>
                </c:pt>
                <c:pt idx="20391">
                  <c:v>67.599999999999994</c:v>
                </c:pt>
                <c:pt idx="20392">
                  <c:v>65.8</c:v>
                </c:pt>
                <c:pt idx="20393">
                  <c:v>63.9</c:v>
                </c:pt>
                <c:pt idx="20394">
                  <c:v>62.4</c:v>
                </c:pt>
                <c:pt idx="20395">
                  <c:v>61.3</c:v>
                </c:pt>
                <c:pt idx="20396">
                  <c:v>60.1</c:v>
                </c:pt>
                <c:pt idx="20397">
                  <c:v>68</c:v>
                </c:pt>
                <c:pt idx="20398">
                  <c:v>69.599999999999994</c:v>
                </c:pt>
                <c:pt idx="20399">
                  <c:v>71.599999999999994</c:v>
                </c:pt>
                <c:pt idx="20400">
                  <c:v>73</c:v>
                </c:pt>
                <c:pt idx="20401">
                  <c:v>73.8</c:v>
                </c:pt>
                <c:pt idx="20402">
                  <c:v>74.8</c:v>
                </c:pt>
                <c:pt idx="20403">
                  <c:v>76.5</c:v>
                </c:pt>
                <c:pt idx="20404">
                  <c:v>77</c:v>
                </c:pt>
                <c:pt idx="20405">
                  <c:v>77.599999999999994</c:v>
                </c:pt>
                <c:pt idx="20406">
                  <c:v>78.599999999999994</c:v>
                </c:pt>
                <c:pt idx="20407">
                  <c:v>78.099999999999994</c:v>
                </c:pt>
                <c:pt idx="20408">
                  <c:v>81.099999999999994</c:v>
                </c:pt>
                <c:pt idx="20409">
                  <c:v>80.7</c:v>
                </c:pt>
                <c:pt idx="20410">
                  <c:v>81.3</c:v>
                </c:pt>
                <c:pt idx="20411">
                  <c:v>80.2</c:v>
                </c:pt>
                <c:pt idx="20412">
                  <c:v>80.099999999999994</c:v>
                </c:pt>
                <c:pt idx="20413">
                  <c:v>80.7</c:v>
                </c:pt>
                <c:pt idx="20414">
                  <c:v>81.2</c:v>
                </c:pt>
                <c:pt idx="20415">
                  <c:v>81.400000000000006</c:v>
                </c:pt>
                <c:pt idx="20416">
                  <c:v>81.599999999999994</c:v>
                </c:pt>
                <c:pt idx="20417">
                  <c:v>82.8</c:v>
                </c:pt>
                <c:pt idx="20418">
                  <c:v>82.6</c:v>
                </c:pt>
                <c:pt idx="20419">
                  <c:v>82.5</c:v>
                </c:pt>
                <c:pt idx="20420">
                  <c:v>77.400000000000006</c:v>
                </c:pt>
                <c:pt idx="20421">
                  <c:v>76.599999999999994</c:v>
                </c:pt>
                <c:pt idx="20422">
                  <c:v>75.2</c:v>
                </c:pt>
                <c:pt idx="20423">
                  <c:v>73.400000000000006</c:v>
                </c:pt>
                <c:pt idx="20424">
                  <c:v>71.599999999999994</c:v>
                </c:pt>
                <c:pt idx="20425">
                  <c:v>69.8</c:v>
                </c:pt>
                <c:pt idx="20426">
                  <c:v>68</c:v>
                </c:pt>
                <c:pt idx="20427">
                  <c:v>66.2</c:v>
                </c:pt>
                <c:pt idx="20428">
                  <c:v>65.3</c:v>
                </c:pt>
                <c:pt idx="20429">
                  <c:v>63.9</c:v>
                </c:pt>
                <c:pt idx="20430">
                  <c:v>62.5</c:v>
                </c:pt>
                <c:pt idx="20431">
                  <c:v>61.9</c:v>
                </c:pt>
                <c:pt idx="20432">
                  <c:v>68.5</c:v>
                </c:pt>
                <c:pt idx="20433">
                  <c:v>70.2</c:v>
                </c:pt>
                <c:pt idx="20434">
                  <c:v>70.900000000000006</c:v>
                </c:pt>
                <c:pt idx="20435">
                  <c:v>71.8</c:v>
                </c:pt>
                <c:pt idx="20436">
                  <c:v>73.099999999999994</c:v>
                </c:pt>
                <c:pt idx="20437">
                  <c:v>73.2</c:v>
                </c:pt>
                <c:pt idx="20438">
                  <c:v>73.7</c:v>
                </c:pt>
                <c:pt idx="20439">
                  <c:v>74.3</c:v>
                </c:pt>
                <c:pt idx="20440">
                  <c:v>75.7</c:v>
                </c:pt>
                <c:pt idx="20441">
                  <c:v>76.5</c:v>
                </c:pt>
                <c:pt idx="20442">
                  <c:v>77.599999999999994</c:v>
                </c:pt>
                <c:pt idx="20443">
                  <c:v>77</c:v>
                </c:pt>
                <c:pt idx="20444">
                  <c:v>78</c:v>
                </c:pt>
                <c:pt idx="20445">
                  <c:v>79</c:v>
                </c:pt>
                <c:pt idx="20446">
                  <c:v>78.2</c:v>
                </c:pt>
                <c:pt idx="20447">
                  <c:v>78.400000000000006</c:v>
                </c:pt>
                <c:pt idx="20448">
                  <c:v>77.900000000000006</c:v>
                </c:pt>
                <c:pt idx="20449">
                  <c:v>78.099999999999994</c:v>
                </c:pt>
                <c:pt idx="20450">
                  <c:v>79.099999999999994</c:v>
                </c:pt>
                <c:pt idx="20451">
                  <c:v>78.5</c:v>
                </c:pt>
                <c:pt idx="20452">
                  <c:v>78.3</c:v>
                </c:pt>
                <c:pt idx="20453">
                  <c:v>78.599999999999994</c:v>
                </c:pt>
                <c:pt idx="20454">
                  <c:v>77.900000000000006</c:v>
                </c:pt>
                <c:pt idx="20455">
                  <c:v>78.099999999999994</c:v>
                </c:pt>
                <c:pt idx="20456">
                  <c:v>77.2</c:v>
                </c:pt>
                <c:pt idx="20457">
                  <c:v>74.7</c:v>
                </c:pt>
                <c:pt idx="20458">
                  <c:v>74.8</c:v>
                </c:pt>
                <c:pt idx="20459">
                  <c:v>72.7</c:v>
                </c:pt>
                <c:pt idx="20460">
                  <c:v>69.599999999999994</c:v>
                </c:pt>
                <c:pt idx="20461">
                  <c:v>68</c:v>
                </c:pt>
                <c:pt idx="20462">
                  <c:v>66.8</c:v>
                </c:pt>
                <c:pt idx="20463">
                  <c:v>65</c:v>
                </c:pt>
                <c:pt idx="20464">
                  <c:v>64.2</c:v>
                </c:pt>
                <c:pt idx="20465">
                  <c:v>63</c:v>
                </c:pt>
                <c:pt idx="20466">
                  <c:v>62.4</c:v>
                </c:pt>
                <c:pt idx="20467">
                  <c:v>61.4</c:v>
                </c:pt>
                <c:pt idx="20468">
                  <c:v>60.4</c:v>
                </c:pt>
                <c:pt idx="20469">
                  <c:v>59.8</c:v>
                </c:pt>
                <c:pt idx="20470">
                  <c:v>60.4</c:v>
                </c:pt>
                <c:pt idx="20471">
                  <c:v>59.7</c:v>
                </c:pt>
                <c:pt idx="20472">
                  <c:v>59.6</c:v>
                </c:pt>
                <c:pt idx="20473">
                  <c:v>58.9</c:v>
                </c:pt>
                <c:pt idx="20474">
                  <c:v>57.7</c:v>
                </c:pt>
                <c:pt idx="20475">
                  <c:v>56.2</c:v>
                </c:pt>
                <c:pt idx="20476">
                  <c:v>55.1</c:v>
                </c:pt>
                <c:pt idx="20477">
                  <c:v>54.1</c:v>
                </c:pt>
                <c:pt idx="20478">
                  <c:v>52.7</c:v>
                </c:pt>
                <c:pt idx="20479">
                  <c:v>51.9</c:v>
                </c:pt>
                <c:pt idx="20480">
                  <c:v>57.9</c:v>
                </c:pt>
                <c:pt idx="20481">
                  <c:v>57.7</c:v>
                </c:pt>
                <c:pt idx="20482">
                  <c:v>56.6</c:v>
                </c:pt>
                <c:pt idx="20483">
                  <c:v>55.4</c:v>
                </c:pt>
                <c:pt idx="20484">
                  <c:v>54.3</c:v>
                </c:pt>
                <c:pt idx="20485">
                  <c:v>53.1</c:v>
                </c:pt>
                <c:pt idx="20486">
                  <c:v>51</c:v>
                </c:pt>
                <c:pt idx="20487">
                  <c:v>59.9</c:v>
                </c:pt>
                <c:pt idx="20488">
                  <c:v>60.4</c:v>
                </c:pt>
                <c:pt idx="20489">
                  <c:v>60.7</c:v>
                </c:pt>
                <c:pt idx="20490">
                  <c:v>62</c:v>
                </c:pt>
                <c:pt idx="20491">
                  <c:v>63.3</c:v>
                </c:pt>
                <c:pt idx="20492">
                  <c:v>63.8</c:v>
                </c:pt>
                <c:pt idx="20493">
                  <c:v>64.7</c:v>
                </c:pt>
                <c:pt idx="20494">
                  <c:v>65.099999999999994</c:v>
                </c:pt>
                <c:pt idx="20495">
                  <c:v>63.7</c:v>
                </c:pt>
                <c:pt idx="20496">
                  <c:v>64.3</c:v>
                </c:pt>
                <c:pt idx="20497">
                  <c:v>64.400000000000006</c:v>
                </c:pt>
                <c:pt idx="20498">
                  <c:v>64.599999999999994</c:v>
                </c:pt>
                <c:pt idx="20499">
                  <c:v>64.8</c:v>
                </c:pt>
                <c:pt idx="20500">
                  <c:v>64.7</c:v>
                </c:pt>
                <c:pt idx="20501">
                  <c:v>64.8</c:v>
                </c:pt>
                <c:pt idx="20502">
                  <c:v>64.3</c:v>
                </c:pt>
                <c:pt idx="20503">
                  <c:v>63.4</c:v>
                </c:pt>
                <c:pt idx="20504">
                  <c:v>61.1</c:v>
                </c:pt>
                <c:pt idx="20505">
                  <c:v>58.9</c:v>
                </c:pt>
                <c:pt idx="20506">
                  <c:v>56.3</c:v>
                </c:pt>
                <c:pt idx="20507">
                  <c:v>54.2</c:v>
                </c:pt>
                <c:pt idx="20508">
                  <c:v>50.8</c:v>
                </c:pt>
                <c:pt idx="20509">
                  <c:v>50.8</c:v>
                </c:pt>
                <c:pt idx="20510">
                  <c:v>50.8</c:v>
                </c:pt>
                <c:pt idx="20511">
                  <c:v>50.8</c:v>
                </c:pt>
                <c:pt idx="20512">
                  <c:v>50.8</c:v>
                </c:pt>
                <c:pt idx="20513">
                  <c:v>50.8</c:v>
                </c:pt>
                <c:pt idx="20514">
                  <c:v>50.8</c:v>
                </c:pt>
                <c:pt idx="20515">
                  <c:v>50.8</c:v>
                </c:pt>
                <c:pt idx="20516">
                  <c:v>50.8</c:v>
                </c:pt>
                <c:pt idx="20517">
                  <c:v>50.8</c:v>
                </c:pt>
                <c:pt idx="20518">
                  <c:v>50.8</c:v>
                </c:pt>
                <c:pt idx="20519">
                  <c:v>68.7</c:v>
                </c:pt>
                <c:pt idx="20520">
                  <c:v>69.7</c:v>
                </c:pt>
                <c:pt idx="20521">
                  <c:v>70.400000000000006</c:v>
                </c:pt>
                <c:pt idx="20522">
                  <c:v>70.599999999999994</c:v>
                </c:pt>
                <c:pt idx="20523">
                  <c:v>70.900000000000006</c:v>
                </c:pt>
                <c:pt idx="20524">
                  <c:v>70.7</c:v>
                </c:pt>
                <c:pt idx="20525">
                  <c:v>71.8</c:v>
                </c:pt>
                <c:pt idx="20526">
                  <c:v>72.400000000000006</c:v>
                </c:pt>
                <c:pt idx="20527">
                  <c:v>73.099999999999994</c:v>
                </c:pt>
                <c:pt idx="20528">
                  <c:v>67.3</c:v>
                </c:pt>
                <c:pt idx="20529">
                  <c:v>66</c:v>
                </c:pt>
                <c:pt idx="20530">
                  <c:v>64.599999999999994</c:v>
                </c:pt>
                <c:pt idx="20531">
                  <c:v>63</c:v>
                </c:pt>
                <c:pt idx="20532">
                  <c:v>61.3</c:v>
                </c:pt>
                <c:pt idx="20533">
                  <c:v>59.7</c:v>
                </c:pt>
                <c:pt idx="20534">
                  <c:v>58.8</c:v>
                </c:pt>
                <c:pt idx="20535">
                  <c:v>57.6</c:v>
                </c:pt>
                <c:pt idx="20536">
                  <c:v>55.3</c:v>
                </c:pt>
                <c:pt idx="20537">
                  <c:v>54.3</c:v>
                </c:pt>
                <c:pt idx="20538">
                  <c:v>53.7</c:v>
                </c:pt>
                <c:pt idx="20539">
                  <c:v>59.2</c:v>
                </c:pt>
                <c:pt idx="20540">
                  <c:v>61.1</c:v>
                </c:pt>
                <c:pt idx="20541">
                  <c:v>61.1</c:v>
                </c:pt>
                <c:pt idx="20542">
                  <c:v>63</c:v>
                </c:pt>
                <c:pt idx="20543">
                  <c:v>64.2</c:v>
                </c:pt>
                <c:pt idx="20544">
                  <c:v>65.099999999999994</c:v>
                </c:pt>
                <c:pt idx="20545">
                  <c:v>65.400000000000006</c:v>
                </c:pt>
                <c:pt idx="20546">
                  <c:v>65.3</c:v>
                </c:pt>
                <c:pt idx="20547">
                  <c:v>66.400000000000006</c:v>
                </c:pt>
                <c:pt idx="20548">
                  <c:v>66.400000000000006</c:v>
                </c:pt>
                <c:pt idx="20549">
                  <c:v>66.5</c:v>
                </c:pt>
                <c:pt idx="20550">
                  <c:v>67.2</c:v>
                </c:pt>
                <c:pt idx="20551">
                  <c:v>69.599999999999994</c:v>
                </c:pt>
                <c:pt idx="20552">
                  <c:v>69.900000000000006</c:v>
                </c:pt>
                <c:pt idx="20553">
                  <c:v>71.5</c:v>
                </c:pt>
                <c:pt idx="20554">
                  <c:v>72.2</c:v>
                </c:pt>
                <c:pt idx="20555">
                  <c:v>72.2</c:v>
                </c:pt>
                <c:pt idx="20556">
                  <c:v>71.7</c:v>
                </c:pt>
                <c:pt idx="20557">
                  <c:v>72.400000000000006</c:v>
                </c:pt>
                <c:pt idx="20558">
                  <c:v>73.3</c:v>
                </c:pt>
                <c:pt idx="20559">
                  <c:v>72.099999999999994</c:v>
                </c:pt>
                <c:pt idx="20560">
                  <c:v>71.8</c:v>
                </c:pt>
                <c:pt idx="20561">
                  <c:v>71.8</c:v>
                </c:pt>
                <c:pt idx="20562">
                  <c:v>71.8</c:v>
                </c:pt>
                <c:pt idx="20563">
                  <c:v>71.099999999999994</c:v>
                </c:pt>
                <c:pt idx="20564">
                  <c:v>71.2</c:v>
                </c:pt>
                <c:pt idx="20565">
                  <c:v>70.900000000000006</c:v>
                </c:pt>
                <c:pt idx="20566">
                  <c:v>70.599999999999994</c:v>
                </c:pt>
                <c:pt idx="20567">
                  <c:v>70.400000000000006</c:v>
                </c:pt>
                <c:pt idx="20568">
                  <c:v>70.3</c:v>
                </c:pt>
                <c:pt idx="20569">
                  <c:v>70.3</c:v>
                </c:pt>
                <c:pt idx="20570">
                  <c:v>69.900000000000006</c:v>
                </c:pt>
                <c:pt idx="20571">
                  <c:v>69.400000000000006</c:v>
                </c:pt>
                <c:pt idx="20572">
                  <c:v>68.7</c:v>
                </c:pt>
                <c:pt idx="20573">
                  <c:v>68.099999999999994</c:v>
                </c:pt>
                <c:pt idx="20574">
                  <c:v>67.900000000000006</c:v>
                </c:pt>
                <c:pt idx="20575">
                  <c:v>67.900000000000006</c:v>
                </c:pt>
                <c:pt idx="20576">
                  <c:v>67.099999999999994</c:v>
                </c:pt>
                <c:pt idx="20577">
                  <c:v>66.099999999999994</c:v>
                </c:pt>
                <c:pt idx="20578">
                  <c:v>65.7</c:v>
                </c:pt>
                <c:pt idx="20579">
                  <c:v>65.3</c:v>
                </c:pt>
                <c:pt idx="20580">
                  <c:v>65.599999999999994</c:v>
                </c:pt>
                <c:pt idx="20581">
                  <c:v>65.599999999999994</c:v>
                </c:pt>
                <c:pt idx="20582">
                  <c:v>66.099999999999994</c:v>
                </c:pt>
                <c:pt idx="20583">
                  <c:v>66.599999999999994</c:v>
                </c:pt>
                <c:pt idx="20584">
                  <c:v>66.8</c:v>
                </c:pt>
                <c:pt idx="20585">
                  <c:v>66.400000000000006</c:v>
                </c:pt>
                <c:pt idx="20586">
                  <c:v>66.5</c:v>
                </c:pt>
                <c:pt idx="20587">
                  <c:v>66.5</c:v>
                </c:pt>
                <c:pt idx="20588">
                  <c:v>66.5</c:v>
                </c:pt>
                <c:pt idx="20589">
                  <c:v>66.3</c:v>
                </c:pt>
                <c:pt idx="20590">
                  <c:v>65.8</c:v>
                </c:pt>
                <c:pt idx="20591">
                  <c:v>65.5</c:v>
                </c:pt>
                <c:pt idx="20592">
                  <c:v>65.099999999999994</c:v>
                </c:pt>
                <c:pt idx="20593">
                  <c:v>65.099999999999994</c:v>
                </c:pt>
                <c:pt idx="20594">
                  <c:v>64.8</c:v>
                </c:pt>
                <c:pt idx="20595">
                  <c:v>64.8</c:v>
                </c:pt>
                <c:pt idx="20596">
                  <c:v>64.3</c:v>
                </c:pt>
                <c:pt idx="20597">
                  <c:v>64</c:v>
                </c:pt>
                <c:pt idx="20598">
                  <c:v>63.4</c:v>
                </c:pt>
                <c:pt idx="20599">
                  <c:v>63.4</c:v>
                </c:pt>
                <c:pt idx="20600">
                  <c:v>63.1</c:v>
                </c:pt>
                <c:pt idx="20601">
                  <c:v>62.7</c:v>
                </c:pt>
                <c:pt idx="20602">
                  <c:v>62.3</c:v>
                </c:pt>
                <c:pt idx="20603">
                  <c:v>62</c:v>
                </c:pt>
                <c:pt idx="20604">
                  <c:v>62</c:v>
                </c:pt>
                <c:pt idx="20605">
                  <c:v>61.5</c:v>
                </c:pt>
                <c:pt idx="20606">
                  <c:v>61.4</c:v>
                </c:pt>
                <c:pt idx="20607">
                  <c:v>61.4</c:v>
                </c:pt>
                <c:pt idx="20608">
                  <c:v>61.4</c:v>
                </c:pt>
                <c:pt idx="20609">
                  <c:v>61.3</c:v>
                </c:pt>
                <c:pt idx="20610">
                  <c:v>61.6</c:v>
                </c:pt>
                <c:pt idx="20611">
                  <c:v>61.8</c:v>
                </c:pt>
                <c:pt idx="20612">
                  <c:v>61.8</c:v>
                </c:pt>
                <c:pt idx="20613">
                  <c:v>61.8</c:v>
                </c:pt>
                <c:pt idx="20614">
                  <c:v>61.8</c:v>
                </c:pt>
                <c:pt idx="20615">
                  <c:v>61.8</c:v>
                </c:pt>
                <c:pt idx="20616">
                  <c:v>61.8</c:v>
                </c:pt>
                <c:pt idx="20617">
                  <c:v>61.8</c:v>
                </c:pt>
                <c:pt idx="20618">
                  <c:v>61.8</c:v>
                </c:pt>
                <c:pt idx="20619">
                  <c:v>61.8</c:v>
                </c:pt>
                <c:pt idx="20620">
                  <c:v>61.8</c:v>
                </c:pt>
                <c:pt idx="20621">
                  <c:v>61.8</c:v>
                </c:pt>
                <c:pt idx="20622">
                  <c:v>61.8</c:v>
                </c:pt>
                <c:pt idx="20623">
                  <c:v>61.8</c:v>
                </c:pt>
                <c:pt idx="20624">
                  <c:v>61.8</c:v>
                </c:pt>
                <c:pt idx="20625">
                  <c:v>61.8</c:v>
                </c:pt>
                <c:pt idx="20626">
                  <c:v>61.8</c:v>
                </c:pt>
                <c:pt idx="20627">
                  <c:v>61.8</c:v>
                </c:pt>
                <c:pt idx="20628">
                  <c:v>56.8</c:v>
                </c:pt>
                <c:pt idx="20629">
                  <c:v>60.2</c:v>
                </c:pt>
                <c:pt idx="20630">
                  <c:v>61.2</c:v>
                </c:pt>
                <c:pt idx="20631">
                  <c:v>62.6</c:v>
                </c:pt>
                <c:pt idx="20632">
                  <c:v>62.6</c:v>
                </c:pt>
                <c:pt idx="20633">
                  <c:v>63.2</c:v>
                </c:pt>
                <c:pt idx="20634">
                  <c:v>64.599999999999994</c:v>
                </c:pt>
                <c:pt idx="20635">
                  <c:v>65.599999999999994</c:v>
                </c:pt>
                <c:pt idx="20636">
                  <c:v>66.5</c:v>
                </c:pt>
                <c:pt idx="20637">
                  <c:v>66.5</c:v>
                </c:pt>
                <c:pt idx="20638">
                  <c:v>68.3</c:v>
                </c:pt>
                <c:pt idx="20639">
                  <c:v>69.099999999999994</c:v>
                </c:pt>
                <c:pt idx="20640">
                  <c:v>70.5</c:v>
                </c:pt>
                <c:pt idx="20641">
                  <c:v>70.5</c:v>
                </c:pt>
                <c:pt idx="20642">
                  <c:v>71.2</c:v>
                </c:pt>
                <c:pt idx="20643">
                  <c:v>71.2</c:v>
                </c:pt>
                <c:pt idx="20644">
                  <c:v>71.599999999999994</c:v>
                </c:pt>
                <c:pt idx="20645">
                  <c:v>73.2</c:v>
                </c:pt>
                <c:pt idx="20646">
                  <c:v>73.2</c:v>
                </c:pt>
                <c:pt idx="20647">
                  <c:v>71.599999999999994</c:v>
                </c:pt>
                <c:pt idx="20648">
                  <c:v>71.5</c:v>
                </c:pt>
                <c:pt idx="20649">
                  <c:v>72.2</c:v>
                </c:pt>
                <c:pt idx="20650">
                  <c:v>73.7</c:v>
                </c:pt>
                <c:pt idx="20651">
                  <c:v>73.7</c:v>
                </c:pt>
                <c:pt idx="20652">
                  <c:v>74</c:v>
                </c:pt>
                <c:pt idx="20653">
                  <c:v>74.3</c:v>
                </c:pt>
                <c:pt idx="20654">
                  <c:v>74.400000000000006</c:v>
                </c:pt>
                <c:pt idx="20655">
                  <c:v>74.400000000000006</c:v>
                </c:pt>
                <c:pt idx="20656">
                  <c:v>74.400000000000006</c:v>
                </c:pt>
                <c:pt idx="20657">
                  <c:v>74.400000000000006</c:v>
                </c:pt>
                <c:pt idx="20658">
                  <c:v>74.400000000000006</c:v>
                </c:pt>
                <c:pt idx="20659">
                  <c:v>74.400000000000006</c:v>
                </c:pt>
                <c:pt idx="20660">
                  <c:v>74.400000000000006</c:v>
                </c:pt>
                <c:pt idx="20661">
                  <c:v>74.400000000000006</c:v>
                </c:pt>
                <c:pt idx="20662">
                  <c:v>74.400000000000006</c:v>
                </c:pt>
                <c:pt idx="20663">
                  <c:v>74.400000000000006</c:v>
                </c:pt>
                <c:pt idx="20664">
                  <c:v>74.400000000000006</c:v>
                </c:pt>
                <c:pt idx="20665">
                  <c:v>74.400000000000006</c:v>
                </c:pt>
                <c:pt idx="20666">
                  <c:v>74.400000000000006</c:v>
                </c:pt>
                <c:pt idx="20667">
                  <c:v>74.400000000000006</c:v>
                </c:pt>
                <c:pt idx="20668">
                  <c:v>74.400000000000006</c:v>
                </c:pt>
                <c:pt idx="20669">
                  <c:v>74.400000000000006</c:v>
                </c:pt>
                <c:pt idx="20670">
                  <c:v>61.9</c:v>
                </c:pt>
                <c:pt idx="20671">
                  <c:v>60.6</c:v>
                </c:pt>
                <c:pt idx="20672">
                  <c:v>59.6</c:v>
                </c:pt>
                <c:pt idx="20673">
                  <c:v>58.8</c:v>
                </c:pt>
                <c:pt idx="20674">
                  <c:v>58.3</c:v>
                </c:pt>
                <c:pt idx="20675">
                  <c:v>58.3</c:v>
                </c:pt>
                <c:pt idx="20676">
                  <c:v>56.3</c:v>
                </c:pt>
                <c:pt idx="20677">
                  <c:v>55</c:v>
                </c:pt>
                <c:pt idx="20678">
                  <c:v>54.8</c:v>
                </c:pt>
                <c:pt idx="20679">
                  <c:v>54.5</c:v>
                </c:pt>
                <c:pt idx="20680">
                  <c:v>53.5</c:v>
                </c:pt>
                <c:pt idx="20681">
                  <c:v>52.4</c:v>
                </c:pt>
                <c:pt idx="20682">
                  <c:v>59.3</c:v>
                </c:pt>
                <c:pt idx="20683">
                  <c:v>59.4</c:v>
                </c:pt>
                <c:pt idx="20684">
                  <c:v>57.4</c:v>
                </c:pt>
                <c:pt idx="20685">
                  <c:v>57.4</c:v>
                </c:pt>
                <c:pt idx="20686">
                  <c:v>57.4</c:v>
                </c:pt>
                <c:pt idx="20687">
                  <c:v>56.8</c:v>
                </c:pt>
                <c:pt idx="20688">
                  <c:v>57.9</c:v>
                </c:pt>
                <c:pt idx="20689">
                  <c:v>58</c:v>
                </c:pt>
                <c:pt idx="20690">
                  <c:v>58</c:v>
                </c:pt>
                <c:pt idx="20691">
                  <c:v>59</c:v>
                </c:pt>
                <c:pt idx="20692">
                  <c:v>60.1</c:v>
                </c:pt>
                <c:pt idx="20693">
                  <c:v>59.9</c:v>
                </c:pt>
                <c:pt idx="20694">
                  <c:v>59.9</c:v>
                </c:pt>
                <c:pt idx="20695">
                  <c:v>60</c:v>
                </c:pt>
                <c:pt idx="20696">
                  <c:v>60.4</c:v>
                </c:pt>
                <c:pt idx="20697">
                  <c:v>60.6</c:v>
                </c:pt>
                <c:pt idx="20698">
                  <c:v>61.2</c:v>
                </c:pt>
                <c:pt idx="20699">
                  <c:v>61.4</c:v>
                </c:pt>
                <c:pt idx="20700">
                  <c:v>61.4</c:v>
                </c:pt>
                <c:pt idx="20701">
                  <c:v>61.2</c:v>
                </c:pt>
                <c:pt idx="20702">
                  <c:v>61.2</c:v>
                </c:pt>
                <c:pt idx="20703">
                  <c:v>61.2</c:v>
                </c:pt>
                <c:pt idx="20704">
                  <c:v>61.2</c:v>
                </c:pt>
                <c:pt idx="20705">
                  <c:v>61.2</c:v>
                </c:pt>
                <c:pt idx="20706">
                  <c:v>61.2</c:v>
                </c:pt>
                <c:pt idx="20707">
                  <c:v>61.2</c:v>
                </c:pt>
                <c:pt idx="20708">
                  <c:v>61.2</c:v>
                </c:pt>
                <c:pt idx="20709">
                  <c:v>61.2</c:v>
                </c:pt>
                <c:pt idx="20710">
                  <c:v>61.2</c:v>
                </c:pt>
                <c:pt idx="20711">
                  <c:v>61.2</c:v>
                </c:pt>
                <c:pt idx="20712">
                  <c:v>61.2</c:v>
                </c:pt>
                <c:pt idx="20713">
                  <c:v>56.6</c:v>
                </c:pt>
                <c:pt idx="20714">
                  <c:v>57.9</c:v>
                </c:pt>
                <c:pt idx="20715">
                  <c:v>59</c:v>
                </c:pt>
                <c:pt idx="20716">
                  <c:v>59.7</c:v>
                </c:pt>
                <c:pt idx="20717">
                  <c:v>60</c:v>
                </c:pt>
                <c:pt idx="20718">
                  <c:v>60</c:v>
                </c:pt>
                <c:pt idx="20719">
                  <c:v>60.6</c:v>
                </c:pt>
                <c:pt idx="20720">
                  <c:v>61.3</c:v>
                </c:pt>
                <c:pt idx="20721">
                  <c:v>61.7</c:v>
                </c:pt>
                <c:pt idx="20722">
                  <c:v>61.6</c:v>
                </c:pt>
                <c:pt idx="20723">
                  <c:v>61.8</c:v>
                </c:pt>
                <c:pt idx="20724">
                  <c:v>61.8</c:v>
                </c:pt>
                <c:pt idx="20725">
                  <c:v>61.9</c:v>
                </c:pt>
                <c:pt idx="20726">
                  <c:v>61.7</c:v>
                </c:pt>
                <c:pt idx="20727">
                  <c:v>61</c:v>
                </c:pt>
                <c:pt idx="20728">
                  <c:v>60</c:v>
                </c:pt>
                <c:pt idx="20729">
                  <c:v>60</c:v>
                </c:pt>
                <c:pt idx="20730">
                  <c:v>59.3</c:v>
                </c:pt>
                <c:pt idx="20731">
                  <c:v>57.4</c:v>
                </c:pt>
                <c:pt idx="20732">
                  <c:v>56.5</c:v>
                </c:pt>
                <c:pt idx="20733">
                  <c:v>61.7</c:v>
                </c:pt>
                <c:pt idx="20734">
                  <c:v>62.1</c:v>
                </c:pt>
                <c:pt idx="20735">
                  <c:v>62.8</c:v>
                </c:pt>
                <c:pt idx="20736">
                  <c:v>64</c:v>
                </c:pt>
                <c:pt idx="20737">
                  <c:v>64.8</c:v>
                </c:pt>
                <c:pt idx="20738">
                  <c:v>64.599999999999994</c:v>
                </c:pt>
                <c:pt idx="20739">
                  <c:v>64.900000000000006</c:v>
                </c:pt>
                <c:pt idx="20740">
                  <c:v>64.900000000000006</c:v>
                </c:pt>
                <c:pt idx="20741">
                  <c:v>64.400000000000006</c:v>
                </c:pt>
                <c:pt idx="20742">
                  <c:v>63.7</c:v>
                </c:pt>
                <c:pt idx="20743">
                  <c:v>63.3</c:v>
                </c:pt>
                <c:pt idx="20744">
                  <c:v>63.5</c:v>
                </c:pt>
                <c:pt idx="20745">
                  <c:v>63.5</c:v>
                </c:pt>
                <c:pt idx="20746">
                  <c:v>63.3</c:v>
                </c:pt>
                <c:pt idx="20747">
                  <c:v>63.1</c:v>
                </c:pt>
                <c:pt idx="20748">
                  <c:v>63</c:v>
                </c:pt>
                <c:pt idx="20749">
                  <c:v>62.2</c:v>
                </c:pt>
                <c:pt idx="20750">
                  <c:v>61.2</c:v>
                </c:pt>
                <c:pt idx="20751">
                  <c:v>60.3</c:v>
                </c:pt>
                <c:pt idx="20752">
                  <c:v>59.2</c:v>
                </c:pt>
                <c:pt idx="20753">
                  <c:v>24.1</c:v>
                </c:pt>
                <c:pt idx="20754">
                  <c:v>60.3</c:v>
                </c:pt>
                <c:pt idx="20755">
                  <c:v>59.7</c:v>
                </c:pt>
                <c:pt idx="20756">
                  <c:v>59.1</c:v>
                </c:pt>
                <c:pt idx="20757">
                  <c:v>59.1</c:v>
                </c:pt>
                <c:pt idx="20758">
                  <c:v>56.8</c:v>
                </c:pt>
                <c:pt idx="20759">
                  <c:v>55.5</c:v>
                </c:pt>
                <c:pt idx="20760">
                  <c:v>56.1</c:v>
                </c:pt>
                <c:pt idx="20761">
                  <c:v>57.4</c:v>
                </c:pt>
                <c:pt idx="20762">
                  <c:v>58.3</c:v>
                </c:pt>
                <c:pt idx="20763">
                  <c:v>59</c:v>
                </c:pt>
                <c:pt idx="20764">
                  <c:v>59.7</c:v>
                </c:pt>
                <c:pt idx="20765">
                  <c:v>59.9</c:v>
                </c:pt>
                <c:pt idx="20766">
                  <c:v>60.1</c:v>
                </c:pt>
                <c:pt idx="20767">
                  <c:v>60.1</c:v>
                </c:pt>
                <c:pt idx="20768">
                  <c:v>60.8</c:v>
                </c:pt>
                <c:pt idx="20769">
                  <c:v>62.1</c:v>
                </c:pt>
                <c:pt idx="20770">
                  <c:v>63.9</c:v>
                </c:pt>
                <c:pt idx="20771">
                  <c:v>66.7</c:v>
                </c:pt>
                <c:pt idx="20772">
                  <c:v>69.3</c:v>
                </c:pt>
                <c:pt idx="20773">
                  <c:v>69.599999999999994</c:v>
                </c:pt>
                <c:pt idx="20774">
                  <c:v>70</c:v>
                </c:pt>
                <c:pt idx="20775">
                  <c:v>70.7</c:v>
                </c:pt>
                <c:pt idx="20776">
                  <c:v>71.099999999999994</c:v>
                </c:pt>
                <c:pt idx="20777">
                  <c:v>72.099999999999994</c:v>
                </c:pt>
                <c:pt idx="20778">
                  <c:v>72.7</c:v>
                </c:pt>
                <c:pt idx="20779">
                  <c:v>71.8</c:v>
                </c:pt>
                <c:pt idx="20780">
                  <c:v>71.2</c:v>
                </c:pt>
                <c:pt idx="20781">
                  <c:v>71.599999999999994</c:v>
                </c:pt>
                <c:pt idx="20782">
                  <c:v>72</c:v>
                </c:pt>
                <c:pt idx="20783">
                  <c:v>72.3</c:v>
                </c:pt>
                <c:pt idx="20784">
                  <c:v>72.3</c:v>
                </c:pt>
                <c:pt idx="20785">
                  <c:v>72.099999999999994</c:v>
                </c:pt>
                <c:pt idx="20786">
                  <c:v>71.8</c:v>
                </c:pt>
                <c:pt idx="20787">
                  <c:v>71.599999999999994</c:v>
                </c:pt>
                <c:pt idx="20788">
                  <c:v>71.8</c:v>
                </c:pt>
                <c:pt idx="20789">
                  <c:v>71.8</c:v>
                </c:pt>
                <c:pt idx="20790">
                  <c:v>71.400000000000006</c:v>
                </c:pt>
                <c:pt idx="20791">
                  <c:v>71.599999999999994</c:v>
                </c:pt>
                <c:pt idx="20792">
                  <c:v>71.599999999999994</c:v>
                </c:pt>
                <c:pt idx="20793">
                  <c:v>71.8</c:v>
                </c:pt>
                <c:pt idx="20794">
                  <c:v>71.8</c:v>
                </c:pt>
                <c:pt idx="20795">
                  <c:v>72</c:v>
                </c:pt>
                <c:pt idx="20796">
                  <c:v>72.599999999999994</c:v>
                </c:pt>
                <c:pt idx="20797">
                  <c:v>72</c:v>
                </c:pt>
                <c:pt idx="20798">
                  <c:v>71.8</c:v>
                </c:pt>
                <c:pt idx="20799">
                  <c:v>71.3</c:v>
                </c:pt>
                <c:pt idx="20800">
                  <c:v>70.900000000000006</c:v>
                </c:pt>
                <c:pt idx="20801">
                  <c:v>70.8</c:v>
                </c:pt>
                <c:pt idx="20802">
                  <c:v>70.599999999999994</c:v>
                </c:pt>
                <c:pt idx="20803">
                  <c:v>70.5</c:v>
                </c:pt>
                <c:pt idx="20804">
                  <c:v>70.400000000000006</c:v>
                </c:pt>
                <c:pt idx="20805">
                  <c:v>70.3</c:v>
                </c:pt>
                <c:pt idx="20806">
                  <c:v>69.7</c:v>
                </c:pt>
                <c:pt idx="20807">
                  <c:v>68.8</c:v>
                </c:pt>
                <c:pt idx="20808">
                  <c:v>62.2</c:v>
                </c:pt>
                <c:pt idx="20809">
                  <c:v>61.9</c:v>
                </c:pt>
                <c:pt idx="20810">
                  <c:v>61.8</c:v>
                </c:pt>
                <c:pt idx="20811">
                  <c:v>61.9</c:v>
                </c:pt>
                <c:pt idx="20812">
                  <c:v>62.4</c:v>
                </c:pt>
                <c:pt idx="20813">
                  <c:v>62.6</c:v>
                </c:pt>
                <c:pt idx="20814">
                  <c:v>62.4</c:v>
                </c:pt>
                <c:pt idx="20815">
                  <c:v>61.4</c:v>
                </c:pt>
                <c:pt idx="20816">
                  <c:v>58.1</c:v>
                </c:pt>
                <c:pt idx="20817">
                  <c:v>57.8</c:v>
                </c:pt>
                <c:pt idx="20818">
                  <c:v>57.1</c:v>
                </c:pt>
                <c:pt idx="20819">
                  <c:v>56.7</c:v>
                </c:pt>
                <c:pt idx="20820">
                  <c:v>56.5</c:v>
                </c:pt>
                <c:pt idx="20821">
                  <c:v>56.3</c:v>
                </c:pt>
                <c:pt idx="20822">
                  <c:v>55.8</c:v>
                </c:pt>
                <c:pt idx="20823">
                  <c:v>55.5</c:v>
                </c:pt>
                <c:pt idx="20824">
                  <c:v>55.5</c:v>
                </c:pt>
                <c:pt idx="20825">
                  <c:v>55.5</c:v>
                </c:pt>
                <c:pt idx="20826">
                  <c:v>54.8</c:v>
                </c:pt>
                <c:pt idx="20827">
                  <c:v>54.8</c:v>
                </c:pt>
                <c:pt idx="20828">
                  <c:v>54.6</c:v>
                </c:pt>
                <c:pt idx="20829">
                  <c:v>63.1</c:v>
                </c:pt>
                <c:pt idx="20830">
                  <c:v>64.2</c:v>
                </c:pt>
                <c:pt idx="20831">
                  <c:v>66</c:v>
                </c:pt>
                <c:pt idx="20832">
                  <c:v>66.400000000000006</c:v>
                </c:pt>
                <c:pt idx="20833">
                  <c:v>66.900000000000006</c:v>
                </c:pt>
                <c:pt idx="20834">
                  <c:v>68.400000000000006</c:v>
                </c:pt>
                <c:pt idx="20835">
                  <c:v>69.5</c:v>
                </c:pt>
                <c:pt idx="20836">
                  <c:v>70.400000000000006</c:v>
                </c:pt>
                <c:pt idx="20837">
                  <c:v>71.7</c:v>
                </c:pt>
                <c:pt idx="20838">
                  <c:v>72.099999999999994</c:v>
                </c:pt>
                <c:pt idx="20839">
                  <c:v>72.099999999999994</c:v>
                </c:pt>
                <c:pt idx="20840">
                  <c:v>72.7</c:v>
                </c:pt>
                <c:pt idx="20841">
                  <c:v>72.400000000000006</c:v>
                </c:pt>
                <c:pt idx="20842">
                  <c:v>72.2</c:v>
                </c:pt>
                <c:pt idx="20843">
                  <c:v>71.900000000000006</c:v>
                </c:pt>
                <c:pt idx="20844">
                  <c:v>71.5</c:v>
                </c:pt>
                <c:pt idx="20845">
                  <c:v>71.5</c:v>
                </c:pt>
                <c:pt idx="20846">
                  <c:v>48.9</c:v>
                </c:pt>
                <c:pt idx="20847">
                  <c:v>70.3</c:v>
                </c:pt>
                <c:pt idx="20848">
                  <c:v>70.3</c:v>
                </c:pt>
                <c:pt idx="20849">
                  <c:v>69.8</c:v>
                </c:pt>
                <c:pt idx="20850">
                  <c:v>69.599999999999994</c:v>
                </c:pt>
                <c:pt idx="20851">
                  <c:v>69.599999999999994</c:v>
                </c:pt>
                <c:pt idx="20852">
                  <c:v>69.599999999999994</c:v>
                </c:pt>
                <c:pt idx="20853">
                  <c:v>70.2</c:v>
                </c:pt>
                <c:pt idx="20854">
                  <c:v>70.3</c:v>
                </c:pt>
                <c:pt idx="20855">
                  <c:v>70.400000000000006</c:v>
                </c:pt>
                <c:pt idx="20856">
                  <c:v>70.400000000000006</c:v>
                </c:pt>
                <c:pt idx="20857">
                  <c:v>69.400000000000006</c:v>
                </c:pt>
                <c:pt idx="20858">
                  <c:v>68.900000000000006</c:v>
                </c:pt>
                <c:pt idx="20859">
                  <c:v>68.3</c:v>
                </c:pt>
                <c:pt idx="20860">
                  <c:v>67.900000000000006</c:v>
                </c:pt>
                <c:pt idx="20861">
                  <c:v>68.099999999999994</c:v>
                </c:pt>
                <c:pt idx="20862">
                  <c:v>68.400000000000006</c:v>
                </c:pt>
                <c:pt idx="20863">
                  <c:v>68.400000000000006</c:v>
                </c:pt>
                <c:pt idx="20864">
                  <c:v>68.8</c:v>
                </c:pt>
                <c:pt idx="20865">
                  <c:v>69</c:v>
                </c:pt>
                <c:pt idx="20866">
                  <c:v>69.3</c:v>
                </c:pt>
                <c:pt idx="20867">
                  <c:v>70.8</c:v>
                </c:pt>
                <c:pt idx="20868">
                  <c:v>71.7</c:v>
                </c:pt>
                <c:pt idx="20869">
                  <c:v>71.7</c:v>
                </c:pt>
                <c:pt idx="20870">
                  <c:v>72.3</c:v>
                </c:pt>
                <c:pt idx="20871">
                  <c:v>72.7</c:v>
                </c:pt>
                <c:pt idx="20872">
                  <c:v>72.8</c:v>
                </c:pt>
                <c:pt idx="20873">
                  <c:v>72.8</c:v>
                </c:pt>
                <c:pt idx="20874">
                  <c:v>72.900000000000006</c:v>
                </c:pt>
                <c:pt idx="20875">
                  <c:v>73</c:v>
                </c:pt>
                <c:pt idx="20876">
                  <c:v>73.2</c:v>
                </c:pt>
                <c:pt idx="20877">
                  <c:v>73.3</c:v>
                </c:pt>
                <c:pt idx="20878">
                  <c:v>73.3</c:v>
                </c:pt>
                <c:pt idx="20879">
                  <c:v>73.2</c:v>
                </c:pt>
                <c:pt idx="20880">
                  <c:v>73.099999999999994</c:v>
                </c:pt>
                <c:pt idx="20881">
                  <c:v>73.099999999999994</c:v>
                </c:pt>
                <c:pt idx="20882">
                  <c:v>73.099999999999994</c:v>
                </c:pt>
                <c:pt idx="20883">
                  <c:v>73.099999999999994</c:v>
                </c:pt>
                <c:pt idx="20884">
                  <c:v>73.099999999999994</c:v>
                </c:pt>
                <c:pt idx="20885">
                  <c:v>73.099999999999994</c:v>
                </c:pt>
                <c:pt idx="20886">
                  <c:v>73.2</c:v>
                </c:pt>
                <c:pt idx="20887">
                  <c:v>73.099999999999994</c:v>
                </c:pt>
                <c:pt idx="20888">
                  <c:v>73.099999999999994</c:v>
                </c:pt>
                <c:pt idx="20889">
                  <c:v>73</c:v>
                </c:pt>
                <c:pt idx="20890">
                  <c:v>73</c:v>
                </c:pt>
                <c:pt idx="20891">
                  <c:v>73</c:v>
                </c:pt>
                <c:pt idx="20892">
                  <c:v>72.900000000000006</c:v>
                </c:pt>
                <c:pt idx="20893">
                  <c:v>72.5</c:v>
                </c:pt>
                <c:pt idx="20894">
                  <c:v>72.2</c:v>
                </c:pt>
                <c:pt idx="20895">
                  <c:v>72.099999999999994</c:v>
                </c:pt>
                <c:pt idx="20896">
                  <c:v>72.099999999999994</c:v>
                </c:pt>
                <c:pt idx="20897">
                  <c:v>72</c:v>
                </c:pt>
                <c:pt idx="20898">
                  <c:v>72</c:v>
                </c:pt>
                <c:pt idx="20899">
                  <c:v>71.900000000000006</c:v>
                </c:pt>
                <c:pt idx="20900">
                  <c:v>71.900000000000006</c:v>
                </c:pt>
                <c:pt idx="20901">
                  <c:v>71.7</c:v>
                </c:pt>
                <c:pt idx="20902">
                  <c:v>71.2</c:v>
                </c:pt>
                <c:pt idx="20903">
                  <c:v>71.2</c:v>
                </c:pt>
                <c:pt idx="20904">
                  <c:v>71.3</c:v>
                </c:pt>
                <c:pt idx="20905">
                  <c:v>71</c:v>
                </c:pt>
                <c:pt idx="20906">
                  <c:v>71</c:v>
                </c:pt>
                <c:pt idx="20907">
                  <c:v>70.7</c:v>
                </c:pt>
                <c:pt idx="20908">
                  <c:v>70.2</c:v>
                </c:pt>
                <c:pt idx="20909">
                  <c:v>69.8</c:v>
                </c:pt>
                <c:pt idx="20910">
                  <c:v>69.8</c:v>
                </c:pt>
                <c:pt idx="20911">
                  <c:v>69.8</c:v>
                </c:pt>
                <c:pt idx="20912">
                  <c:v>69.7</c:v>
                </c:pt>
                <c:pt idx="20913">
                  <c:v>69.5</c:v>
                </c:pt>
                <c:pt idx="20914">
                  <c:v>69.7</c:v>
                </c:pt>
                <c:pt idx="20915">
                  <c:v>69.7</c:v>
                </c:pt>
                <c:pt idx="20916">
                  <c:v>69.900000000000006</c:v>
                </c:pt>
                <c:pt idx="20917">
                  <c:v>70.099999999999994</c:v>
                </c:pt>
                <c:pt idx="20918">
                  <c:v>70.400000000000006</c:v>
                </c:pt>
                <c:pt idx="20919">
                  <c:v>70.7</c:v>
                </c:pt>
                <c:pt idx="20920">
                  <c:v>71</c:v>
                </c:pt>
                <c:pt idx="20921">
                  <c:v>70.8</c:v>
                </c:pt>
                <c:pt idx="20922">
                  <c:v>70.8</c:v>
                </c:pt>
                <c:pt idx="20923">
                  <c:v>70.8</c:v>
                </c:pt>
                <c:pt idx="20924">
                  <c:v>70.8</c:v>
                </c:pt>
                <c:pt idx="20925">
                  <c:v>70.8</c:v>
                </c:pt>
                <c:pt idx="20926">
                  <c:v>70.8</c:v>
                </c:pt>
                <c:pt idx="20927">
                  <c:v>70.8</c:v>
                </c:pt>
                <c:pt idx="20928">
                  <c:v>70.8</c:v>
                </c:pt>
                <c:pt idx="20929">
                  <c:v>70.8</c:v>
                </c:pt>
                <c:pt idx="20930">
                  <c:v>70.8</c:v>
                </c:pt>
                <c:pt idx="20931">
                  <c:v>70.8</c:v>
                </c:pt>
                <c:pt idx="20932">
                  <c:v>70.8</c:v>
                </c:pt>
                <c:pt idx="20933">
                  <c:v>70.8</c:v>
                </c:pt>
                <c:pt idx="20934">
                  <c:v>70.8</c:v>
                </c:pt>
                <c:pt idx="20935">
                  <c:v>70.8</c:v>
                </c:pt>
                <c:pt idx="20936">
                  <c:v>70.8</c:v>
                </c:pt>
                <c:pt idx="20937">
                  <c:v>65</c:v>
                </c:pt>
                <c:pt idx="20938">
                  <c:v>65</c:v>
                </c:pt>
                <c:pt idx="20939">
                  <c:v>64.8</c:v>
                </c:pt>
                <c:pt idx="20940">
                  <c:v>64.400000000000006</c:v>
                </c:pt>
                <c:pt idx="20941">
                  <c:v>64.599999999999994</c:v>
                </c:pt>
                <c:pt idx="20942">
                  <c:v>64.8</c:v>
                </c:pt>
                <c:pt idx="20943">
                  <c:v>65</c:v>
                </c:pt>
                <c:pt idx="20944">
                  <c:v>65.2</c:v>
                </c:pt>
                <c:pt idx="20945">
                  <c:v>65.2</c:v>
                </c:pt>
                <c:pt idx="20946">
                  <c:v>66.2</c:v>
                </c:pt>
                <c:pt idx="20947">
                  <c:v>65.5</c:v>
                </c:pt>
                <c:pt idx="20948">
                  <c:v>65.5</c:v>
                </c:pt>
                <c:pt idx="20949">
                  <c:v>64.7</c:v>
                </c:pt>
                <c:pt idx="20950">
                  <c:v>64.400000000000006</c:v>
                </c:pt>
                <c:pt idx="20951">
                  <c:v>63.8</c:v>
                </c:pt>
                <c:pt idx="20952">
                  <c:v>63</c:v>
                </c:pt>
                <c:pt idx="20953">
                  <c:v>62.2</c:v>
                </c:pt>
                <c:pt idx="20954">
                  <c:v>61.8</c:v>
                </c:pt>
                <c:pt idx="20955">
                  <c:v>60.5</c:v>
                </c:pt>
                <c:pt idx="20956">
                  <c:v>59.7</c:v>
                </c:pt>
                <c:pt idx="20957">
                  <c:v>59.1</c:v>
                </c:pt>
                <c:pt idx="20958">
                  <c:v>58.5</c:v>
                </c:pt>
                <c:pt idx="20959">
                  <c:v>61.4</c:v>
                </c:pt>
                <c:pt idx="20960">
                  <c:v>61.2</c:v>
                </c:pt>
                <c:pt idx="20961">
                  <c:v>60.4</c:v>
                </c:pt>
                <c:pt idx="20962">
                  <c:v>59.8</c:v>
                </c:pt>
                <c:pt idx="20963">
                  <c:v>59.3</c:v>
                </c:pt>
                <c:pt idx="20964">
                  <c:v>59.2</c:v>
                </c:pt>
                <c:pt idx="20965">
                  <c:v>59.2</c:v>
                </c:pt>
                <c:pt idx="20966">
                  <c:v>58.5</c:v>
                </c:pt>
                <c:pt idx="20967">
                  <c:v>58.2</c:v>
                </c:pt>
                <c:pt idx="20968">
                  <c:v>58.1</c:v>
                </c:pt>
                <c:pt idx="20969">
                  <c:v>57.5</c:v>
                </c:pt>
                <c:pt idx="20970">
                  <c:v>57.5</c:v>
                </c:pt>
                <c:pt idx="20971">
                  <c:v>57.7</c:v>
                </c:pt>
                <c:pt idx="20972">
                  <c:v>57.6</c:v>
                </c:pt>
                <c:pt idx="20973">
                  <c:v>56.6</c:v>
                </c:pt>
                <c:pt idx="20974">
                  <c:v>56.1</c:v>
                </c:pt>
                <c:pt idx="20975">
                  <c:v>56.5</c:v>
                </c:pt>
                <c:pt idx="20976">
                  <c:v>64.8</c:v>
                </c:pt>
                <c:pt idx="20977">
                  <c:v>64.2</c:v>
                </c:pt>
                <c:pt idx="20978">
                  <c:v>64.599999999999994</c:v>
                </c:pt>
                <c:pt idx="20979">
                  <c:v>64</c:v>
                </c:pt>
                <c:pt idx="20980">
                  <c:v>62.2</c:v>
                </c:pt>
                <c:pt idx="20981">
                  <c:v>61.3</c:v>
                </c:pt>
                <c:pt idx="20982">
                  <c:v>60.4</c:v>
                </c:pt>
                <c:pt idx="20983">
                  <c:v>59</c:v>
                </c:pt>
                <c:pt idx="20984">
                  <c:v>57.7</c:v>
                </c:pt>
                <c:pt idx="20985">
                  <c:v>57.9</c:v>
                </c:pt>
                <c:pt idx="20986">
                  <c:v>60.7</c:v>
                </c:pt>
                <c:pt idx="20987">
                  <c:v>61.1</c:v>
                </c:pt>
                <c:pt idx="20988">
                  <c:v>61.1</c:v>
                </c:pt>
                <c:pt idx="20989">
                  <c:v>61</c:v>
                </c:pt>
                <c:pt idx="20990">
                  <c:v>60.5</c:v>
                </c:pt>
                <c:pt idx="20991">
                  <c:v>60.1</c:v>
                </c:pt>
                <c:pt idx="20992">
                  <c:v>63.3</c:v>
                </c:pt>
                <c:pt idx="20993">
                  <c:v>65.3</c:v>
                </c:pt>
                <c:pt idx="20994">
                  <c:v>66.2</c:v>
                </c:pt>
                <c:pt idx="20995">
                  <c:v>65.5</c:v>
                </c:pt>
                <c:pt idx="20996">
                  <c:v>65.400000000000006</c:v>
                </c:pt>
                <c:pt idx="20997">
                  <c:v>65.400000000000006</c:v>
                </c:pt>
                <c:pt idx="20998">
                  <c:v>65.2</c:v>
                </c:pt>
                <c:pt idx="20999">
                  <c:v>65.099999999999994</c:v>
                </c:pt>
                <c:pt idx="21000">
                  <c:v>65</c:v>
                </c:pt>
                <c:pt idx="21001">
                  <c:v>65</c:v>
                </c:pt>
                <c:pt idx="21002">
                  <c:v>63.5</c:v>
                </c:pt>
                <c:pt idx="21003">
                  <c:v>64.3</c:v>
                </c:pt>
                <c:pt idx="21004">
                  <c:v>63.9</c:v>
                </c:pt>
                <c:pt idx="21005">
                  <c:v>63.7</c:v>
                </c:pt>
                <c:pt idx="21006">
                  <c:v>63.7</c:v>
                </c:pt>
                <c:pt idx="21007">
                  <c:v>63.2</c:v>
                </c:pt>
                <c:pt idx="21008">
                  <c:v>63.2</c:v>
                </c:pt>
                <c:pt idx="21009">
                  <c:v>63.3</c:v>
                </c:pt>
                <c:pt idx="21010">
                  <c:v>63.1</c:v>
                </c:pt>
                <c:pt idx="21011">
                  <c:v>62.8</c:v>
                </c:pt>
                <c:pt idx="21012">
                  <c:v>62.8</c:v>
                </c:pt>
                <c:pt idx="21013">
                  <c:v>62.6</c:v>
                </c:pt>
                <c:pt idx="21014">
                  <c:v>62.2</c:v>
                </c:pt>
                <c:pt idx="21015">
                  <c:v>66.400000000000006</c:v>
                </c:pt>
                <c:pt idx="21016">
                  <c:v>67.599999999999994</c:v>
                </c:pt>
                <c:pt idx="21017">
                  <c:v>69.599999999999994</c:v>
                </c:pt>
                <c:pt idx="21018">
                  <c:v>70.8</c:v>
                </c:pt>
                <c:pt idx="21019">
                  <c:v>72.099999999999994</c:v>
                </c:pt>
                <c:pt idx="21020">
                  <c:v>72.099999999999994</c:v>
                </c:pt>
                <c:pt idx="21021">
                  <c:v>72.400000000000006</c:v>
                </c:pt>
                <c:pt idx="21022">
                  <c:v>72.400000000000006</c:v>
                </c:pt>
                <c:pt idx="21023">
                  <c:v>72.400000000000006</c:v>
                </c:pt>
                <c:pt idx="21024">
                  <c:v>72.400000000000006</c:v>
                </c:pt>
                <c:pt idx="21025">
                  <c:v>72.400000000000006</c:v>
                </c:pt>
                <c:pt idx="21026">
                  <c:v>72.400000000000006</c:v>
                </c:pt>
                <c:pt idx="21027">
                  <c:v>72.5</c:v>
                </c:pt>
                <c:pt idx="21028">
                  <c:v>72.5</c:v>
                </c:pt>
                <c:pt idx="21029">
                  <c:v>72.599999999999994</c:v>
                </c:pt>
                <c:pt idx="21030">
                  <c:v>72.400000000000006</c:v>
                </c:pt>
                <c:pt idx="21031">
                  <c:v>72</c:v>
                </c:pt>
                <c:pt idx="21032">
                  <c:v>72</c:v>
                </c:pt>
                <c:pt idx="21033">
                  <c:v>71.599999999999994</c:v>
                </c:pt>
                <c:pt idx="21034">
                  <c:v>71.400000000000006</c:v>
                </c:pt>
                <c:pt idx="21035">
                  <c:v>71.099999999999994</c:v>
                </c:pt>
                <c:pt idx="21036">
                  <c:v>71.099999999999994</c:v>
                </c:pt>
                <c:pt idx="21037">
                  <c:v>71.3</c:v>
                </c:pt>
                <c:pt idx="21038">
                  <c:v>71.2</c:v>
                </c:pt>
                <c:pt idx="21039">
                  <c:v>71</c:v>
                </c:pt>
                <c:pt idx="21040">
                  <c:v>71.099999999999994</c:v>
                </c:pt>
                <c:pt idx="21041">
                  <c:v>71.099999999999994</c:v>
                </c:pt>
                <c:pt idx="21042">
                  <c:v>71.099999999999994</c:v>
                </c:pt>
                <c:pt idx="21043">
                  <c:v>71.2</c:v>
                </c:pt>
                <c:pt idx="21044">
                  <c:v>71.2</c:v>
                </c:pt>
                <c:pt idx="21045">
                  <c:v>71.2</c:v>
                </c:pt>
                <c:pt idx="21046">
                  <c:v>71.099999999999994</c:v>
                </c:pt>
                <c:pt idx="21047">
                  <c:v>71.099999999999994</c:v>
                </c:pt>
                <c:pt idx="21048">
                  <c:v>70.900000000000006</c:v>
                </c:pt>
                <c:pt idx="21049">
                  <c:v>69.8</c:v>
                </c:pt>
                <c:pt idx="21050">
                  <c:v>70.8</c:v>
                </c:pt>
                <c:pt idx="21051">
                  <c:v>70.8</c:v>
                </c:pt>
                <c:pt idx="21052">
                  <c:v>70.8</c:v>
                </c:pt>
                <c:pt idx="21053">
                  <c:v>70.8</c:v>
                </c:pt>
                <c:pt idx="21054">
                  <c:v>70.7</c:v>
                </c:pt>
                <c:pt idx="21055">
                  <c:v>70.8</c:v>
                </c:pt>
                <c:pt idx="21056">
                  <c:v>71</c:v>
                </c:pt>
                <c:pt idx="21057">
                  <c:v>71</c:v>
                </c:pt>
                <c:pt idx="21058">
                  <c:v>71</c:v>
                </c:pt>
                <c:pt idx="21059">
                  <c:v>71.099999999999994</c:v>
                </c:pt>
                <c:pt idx="21060">
                  <c:v>71</c:v>
                </c:pt>
                <c:pt idx="21061">
                  <c:v>71</c:v>
                </c:pt>
                <c:pt idx="21062">
                  <c:v>70.900000000000006</c:v>
                </c:pt>
                <c:pt idx="21063">
                  <c:v>71.099999999999994</c:v>
                </c:pt>
                <c:pt idx="21064">
                  <c:v>71</c:v>
                </c:pt>
                <c:pt idx="21065">
                  <c:v>71</c:v>
                </c:pt>
                <c:pt idx="21066">
                  <c:v>71</c:v>
                </c:pt>
                <c:pt idx="21067">
                  <c:v>71</c:v>
                </c:pt>
                <c:pt idx="21068">
                  <c:v>70.900000000000006</c:v>
                </c:pt>
                <c:pt idx="21069">
                  <c:v>70.900000000000006</c:v>
                </c:pt>
                <c:pt idx="21070">
                  <c:v>70.900000000000006</c:v>
                </c:pt>
                <c:pt idx="21071">
                  <c:v>70.900000000000006</c:v>
                </c:pt>
                <c:pt idx="21072">
                  <c:v>70.8</c:v>
                </c:pt>
                <c:pt idx="21073">
                  <c:v>70.5</c:v>
                </c:pt>
                <c:pt idx="21074">
                  <c:v>70.400000000000006</c:v>
                </c:pt>
                <c:pt idx="21075">
                  <c:v>70.400000000000006</c:v>
                </c:pt>
                <c:pt idx="21076">
                  <c:v>70.099999999999994</c:v>
                </c:pt>
                <c:pt idx="21077">
                  <c:v>70</c:v>
                </c:pt>
                <c:pt idx="21078">
                  <c:v>69.900000000000006</c:v>
                </c:pt>
                <c:pt idx="21079">
                  <c:v>69.900000000000006</c:v>
                </c:pt>
                <c:pt idx="21080">
                  <c:v>69.900000000000006</c:v>
                </c:pt>
                <c:pt idx="21081">
                  <c:v>70.099999999999994</c:v>
                </c:pt>
                <c:pt idx="21082">
                  <c:v>65.7</c:v>
                </c:pt>
                <c:pt idx="21083">
                  <c:v>65.7</c:v>
                </c:pt>
                <c:pt idx="21084">
                  <c:v>65.7</c:v>
                </c:pt>
                <c:pt idx="21085">
                  <c:v>65.7</c:v>
                </c:pt>
                <c:pt idx="21086">
                  <c:v>65.7</c:v>
                </c:pt>
                <c:pt idx="21087">
                  <c:v>65.7</c:v>
                </c:pt>
                <c:pt idx="21088">
                  <c:v>65.7</c:v>
                </c:pt>
                <c:pt idx="21089">
                  <c:v>65.7</c:v>
                </c:pt>
                <c:pt idx="21090">
                  <c:v>65.7</c:v>
                </c:pt>
                <c:pt idx="21091">
                  <c:v>65.7</c:v>
                </c:pt>
                <c:pt idx="21092">
                  <c:v>65.7</c:v>
                </c:pt>
                <c:pt idx="21093">
                  <c:v>65.7</c:v>
                </c:pt>
                <c:pt idx="21094">
                  <c:v>65.7</c:v>
                </c:pt>
                <c:pt idx="21095">
                  <c:v>65.7</c:v>
                </c:pt>
                <c:pt idx="21096">
                  <c:v>68.400000000000006</c:v>
                </c:pt>
                <c:pt idx="21097">
                  <c:v>69</c:v>
                </c:pt>
                <c:pt idx="21098">
                  <c:v>69.099999999999994</c:v>
                </c:pt>
                <c:pt idx="21099">
                  <c:v>68.599999999999994</c:v>
                </c:pt>
                <c:pt idx="21100">
                  <c:v>69.599999999999994</c:v>
                </c:pt>
                <c:pt idx="21101">
                  <c:v>70.3</c:v>
                </c:pt>
                <c:pt idx="21102">
                  <c:v>71</c:v>
                </c:pt>
                <c:pt idx="21103">
                  <c:v>71.099999999999994</c:v>
                </c:pt>
                <c:pt idx="21104">
                  <c:v>71.2</c:v>
                </c:pt>
                <c:pt idx="21105">
                  <c:v>71.2</c:v>
                </c:pt>
                <c:pt idx="21106">
                  <c:v>74.2</c:v>
                </c:pt>
                <c:pt idx="21107">
                  <c:v>74.099999999999994</c:v>
                </c:pt>
                <c:pt idx="21108">
                  <c:v>73.5</c:v>
                </c:pt>
                <c:pt idx="21109">
                  <c:v>73.599999999999994</c:v>
                </c:pt>
                <c:pt idx="21110">
                  <c:v>74</c:v>
                </c:pt>
                <c:pt idx="21111">
                  <c:v>73.8</c:v>
                </c:pt>
                <c:pt idx="21112">
                  <c:v>73.599999999999994</c:v>
                </c:pt>
                <c:pt idx="21113">
                  <c:v>72.900000000000006</c:v>
                </c:pt>
                <c:pt idx="21114">
                  <c:v>72.8</c:v>
                </c:pt>
                <c:pt idx="21115">
                  <c:v>72</c:v>
                </c:pt>
                <c:pt idx="21116">
                  <c:v>71.400000000000006</c:v>
                </c:pt>
                <c:pt idx="21117">
                  <c:v>70.900000000000006</c:v>
                </c:pt>
                <c:pt idx="21118">
                  <c:v>70.2</c:v>
                </c:pt>
                <c:pt idx="21119">
                  <c:v>69.3</c:v>
                </c:pt>
                <c:pt idx="21120">
                  <c:v>68</c:v>
                </c:pt>
                <c:pt idx="21121">
                  <c:v>66.900000000000006</c:v>
                </c:pt>
                <c:pt idx="21122">
                  <c:v>66.3</c:v>
                </c:pt>
                <c:pt idx="21123">
                  <c:v>65.400000000000006</c:v>
                </c:pt>
                <c:pt idx="21124">
                  <c:v>64.5</c:v>
                </c:pt>
                <c:pt idx="21125">
                  <c:v>63.8</c:v>
                </c:pt>
                <c:pt idx="21126">
                  <c:v>69.2</c:v>
                </c:pt>
                <c:pt idx="21127">
                  <c:v>69.2</c:v>
                </c:pt>
                <c:pt idx="21128">
                  <c:v>69.2</c:v>
                </c:pt>
                <c:pt idx="21129">
                  <c:v>69.2</c:v>
                </c:pt>
                <c:pt idx="21130">
                  <c:v>69.2</c:v>
                </c:pt>
                <c:pt idx="21131">
                  <c:v>69.2</c:v>
                </c:pt>
                <c:pt idx="21132">
                  <c:v>69.2</c:v>
                </c:pt>
                <c:pt idx="21133">
                  <c:v>69.2</c:v>
                </c:pt>
                <c:pt idx="21134">
                  <c:v>74.2</c:v>
                </c:pt>
                <c:pt idx="21135">
                  <c:v>75.7</c:v>
                </c:pt>
                <c:pt idx="21136">
                  <c:v>76.3</c:v>
                </c:pt>
                <c:pt idx="21137">
                  <c:v>76.8</c:v>
                </c:pt>
                <c:pt idx="21138">
                  <c:v>77.599999999999994</c:v>
                </c:pt>
                <c:pt idx="21139">
                  <c:v>77.599999999999994</c:v>
                </c:pt>
                <c:pt idx="21140">
                  <c:v>77.400000000000006</c:v>
                </c:pt>
                <c:pt idx="21141">
                  <c:v>76.2</c:v>
                </c:pt>
                <c:pt idx="21142">
                  <c:v>77</c:v>
                </c:pt>
                <c:pt idx="21143">
                  <c:v>76.5</c:v>
                </c:pt>
                <c:pt idx="21144">
                  <c:v>76.5</c:v>
                </c:pt>
                <c:pt idx="21145">
                  <c:v>76.900000000000006</c:v>
                </c:pt>
                <c:pt idx="21146">
                  <c:v>76.599999999999994</c:v>
                </c:pt>
                <c:pt idx="21147">
                  <c:v>75.8</c:v>
                </c:pt>
                <c:pt idx="21148">
                  <c:v>74.8</c:v>
                </c:pt>
                <c:pt idx="21149">
                  <c:v>74.3</c:v>
                </c:pt>
                <c:pt idx="21150">
                  <c:v>73.599999999999994</c:v>
                </c:pt>
                <c:pt idx="21151">
                  <c:v>73.599999999999994</c:v>
                </c:pt>
                <c:pt idx="21152">
                  <c:v>72.400000000000006</c:v>
                </c:pt>
                <c:pt idx="21153">
                  <c:v>69.599999999999994</c:v>
                </c:pt>
                <c:pt idx="21154">
                  <c:v>69.7</c:v>
                </c:pt>
                <c:pt idx="21155">
                  <c:v>68.3</c:v>
                </c:pt>
                <c:pt idx="21156">
                  <c:v>68.8</c:v>
                </c:pt>
                <c:pt idx="21157">
                  <c:v>68.599999999999994</c:v>
                </c:pt>
                <c:pt idx="21158">
                  <c:v>68.8</c:v>
                </c:pt>
                <c:pt idx="21159">
                  <c:v>68.8</c:v>
                </c:pt>
                <c:pt idx="21160">
                  <c:v>68.400000000000006</c:v>
                </c:pt>
                <c:pt idx="21161">
                  <c:v>68.3</c:v>
                </c:pt>
                <c:pt idx="21162">
                  <c:v>67.400000000000006</c:v>
                </c:pt>
                <c:pt idx="21163">
                  <c:v>66.8</c:v>
                </c:pt>
                <c:pt idx="21164">
                  <c:v>66.8</c:v>
                </c:pt>
                <c:pt idx="21165">
                  <c:v>66.099999999999994</c:v>
                </c:pt>
                <c:pt idx="21166">
                  <c:v>66.099999999999994</c:v>
                </c:pt>
                <c:pt idx="21167">
                  <c:v>66.099999999999994</c:v>
                </c:pt>
                <c:pt idx="21168">
                  <c:v>66.099999999999994</c:v>
                </c:pt>
                <c:pt idx="21169">
                  <c:v>65.8</c:v>
                </c:pt>
                <c:pt idx="21170">
                  <c:v>65.900000000000006</c:v>
                </c:pt>
                <c:pt idx="21171">
                  <c:v>65.900000000000006</c:v>
                </c:pt>
                <c:pt idx="21172">
                  <c:v>66.400000000000006</c:v>
                </c:pt>
                <c:pt idx="21173">
                  <c:v>66.7</c:v>
                </c:pt>
                <c:pt idx="21174">
                  <c:v>66.599999999999994</c:v>
                </c:pt>
                <c:pt idx="21175">
                  <c:v>66.8</c:v>
                </c:pt>
                <c:pt idx="21176">
                  <c:v>65</c:v>
                </c:pt>
                <c:pt idx="21177">
                  <c:v>63.4</c:v>
                </c:pt>
                <c:pt idx="21178">
                  <c:v>62.8</c:v>
                </c:pt>
                <c:pt idx="21179">
                  <c:v>62.8</c:v>
                </c:pt>
                <c:pt idx="21180">
                  <c:v>63.1</c:v>
                </c:pt>
                <c:pt idx="21181">
                  <c:v>62.5</c:v>
                </c:pt>
                <c:pt idx="21182">
                  <c:v>62.8</c:v>
                </c:pt>
                <c:pt idx="21183">
                  <c:v>63.1</c:v>
                </c:pt>
                <c:pt idx="21184">
                  <c:v>62.4</c:v>
                </c:pt>
                <c:pt idx="21185">
                  <c:v>64.3</c:v>
                </c:pt>
                <c:pt idx="21186">
                  <c:v>64.8</c:v>
                </c:pt>
                <c:pt idx="21187">
                  <c:v>64.7</c:v>
                </c:pt>
                <c:pt idx="21188">
                  <c:v>64.900000000000006</c:v>
                </c:pt>
                <c:pt idx="21189">
                  <c:v>65.3</c:v>
                </c:pt>
                <c:pt idx="21190">
                  <c:v>65.400000000000006</c:v>
                </c:pt>
                <c:pt idx="21191">
                  <c:v>65.400000000000006</c:v>
                </c:pt>
                <c:pt idx="21192">
                  <c:v>65.7</c:v>
                </c:pt>
                <c:pt idx="21193">
                  <c:v>66</c:v>
                </c:pt>
                <c:pt idx="21194">
                  <c:v>66.099999999999994</c:v>
                </c:pt>
                <c:pt idx="21195">
                  <c:v>66.599999999999994</c:v>
                </c:pt>
                <c:pt idx="21196">
                  <c:v>66.599999999999994</c:v>
                </c:pt>
                <c:pt idx="21197">
                  <c:v>66.599999999999994</c:v>
                </c:pt>
                <c:pt idx="21198">
                  <c:v>66.599999999999994</c:v>
                </c:pt>
                <c:pt idx="21199">
                  <c:v>66.599999999999994</c:v>
                </c:pt>
                <c:pt idx="21200">
                  <c:v>66.599999999999994</c:v>
                </c:pt>
                <c:pt idx="21201">
                  <c:v>66.599999999999994</c:v>
                </c:pt>
                <c:pt idx="21202">
                  <c:v>66.599999999999994</c:v>
                </c:pt>
                <c:pt idx="21203">
                  <c:v>66.599999999999994</c:v>
                </c:pt>
                <c:pt idx="21204">
                  <c:v>66.599999999999994</c:v>
                </c:pt>
                <c:pt idx="21205">
                  <c:v>66.599999999999994</c:v>
                </c:pt>
                <c:pt idx="21206">
                  <c:v>66.599999999999994</c:v>
                </c:pt>
                <c:pt idx="21207">
                  <c:v>66.599999999999994</c:v>
                </c:pt>
                <c:pt idx="21208">
                  <c:v>66.599999999999994</c:v>
                </c:pt>
                <c:pt idx="21209">
                  <c:v>66.599999999999994</c:v>
                </c:pt>
                <c:pt idx="21210">
                  <c:v>66.599999999999994</c:v>
                </c:pt>
                <c:pt idx="21211">
                  <c:v>73.099999999999994</c:v>
                </c:pt>
                <c:pt idx="21212">
                  <c:v>73</c:v>
                </c:pt>
                <c:pt idx="21213">
                  <c:v>73.900000000000006</c:v>
                </c:pt>
                <c:pt idx="21214">
                  <c:v>74</c:v>
                </c:pt>
                <c:pt idx="21215">
                  <c:v>74.2</c:v>
                </c:pt>
                <c:pt idx="21216">
                  <c:v>75.099999999999994</c:v>
                </c:pt>
                <c:pt idx="21217">
                  <c:v>74.900000000000006</c:v>
                </c:pt>
                <c:pt idx="21218">
                  <c:v>74</c:v>
                </c:pt>
                <c:pt idx="21219">
                  <c:v>74</c:v>
                </c:pt>
                <c:pt idx="21220">
                  <c:v>76.099999999999994</c:v>
                </c:pt>
                <c:pt idx="21221">
                  <c:v>74.900000000000006</c:v>
                </c:pt>
                <c:pt idx="21222">
                  <c:v>74.7</c:v>
                </c:pt>
                <c:pt idx="21223">
                  <c:v>74.3</c:v>
                </c:pt>
                <c:pt idx="21224">
                  <c:v>74.3</c:v>
                </c:pt>
                <c:pt idx="21225">
                  <c:v>73.5</c:v>
                </c:pt>
                <c:pt idx="21226">
                  <c:v>72.5</c:v>
                </c:pt>
                <c:pt idx="21227">
                  <c:v>71.8</c:v>
                </c:pt>
                <c:pt idx="21228">
                  <c:v>67.900000000000006</c:v>
                </c:pt>
                <c:pt idx="21229">
                  <c:v>69.900000000000006</c:v>
                </c:pt>
                <c:pt idx="21230">
                  <c:v>69.900000000000006</c:v>
                </c:pt>
                <c:pt idx="21231">
                  <c:v>68.099999999999994</c:v>
                </c:pt>
                <c:pt idx="21232">
                  <c:v>66</c:v>
                </c:pt>
                <c:pt idx="21233">
                  <c:v>65</c:v>
                </c:pt>
                <c:pt idx="21234">
                  <c:v>64.7</c:v>
                </c:pt>
                <c:pt idx="21235">
                  <c:v>63.9</c:v>
                </c:pt>
                <c:pt idx="21236">
                  <c:v>64</c:v>
                </c:pt>
                <c:pt idx="21237">
                  <c:v>62.3</c:v>
                </c:pt>
                <c:pt idx="21238">
                  <c:v>62.1</c:v>
                </c:pt>
                <c:pt idx="21239">
                  <c:v>61.7</c:v>
                </c:pt>
                <c:pt idx="21240">
                  <c:v>61.1</c:v>
                </c:pt>
                <c:pt idx="21241">
                  <c:v>61.5</c:v>
                </c:pt>
                <c:pt idx="21242">
                  <c:v>64.7</c:v>
                </c:pt>
                <c:pt idx="21243">
                  <c:v>65.099999999999994</c:v>
                </c:pt>
                <c:pt idx="21244">
                  <c:v>65.099999999999994</c:v>
                </c:pt>
                <c:pt idx="21245">
                  <c:v>65.099999999999994</c:v>
                </c:pt>
                <c:pt idx="21246">
                  <c:v>65.099999999999994</c:v>
                </c:pt>
                <c:pt idx="21247">
                  <c:v>65.099999999999994</c:v>
                </c:pt>
                <c:pt idx="21248">
                  <c:v>65.099999999999994</c:v>
                </c:pt>
                <c:pt idx="21249">
                  <c:v>65.099999999999994</c:v>
                </c:pt>
                <c:pt idx="21250">
                  <c:v>65.099999999999994</c:v>
                </c:pt>
                <c:pt idx="21251">
                  <c:v>65.099999999999994</c:v>
                </c:pt>
                <c:pt idx="21252">
                  <c:v>65.099999999999994</c:v>
                </c:pt>
                <c:pt idx="21253">
                  <c:v>65.099999999999994</c:v>
                </c:pt>
                <c:pt idx="21254">
                  <c:v>65.099999999999994</c:v>
                </c:pt>
                <c:pt idx="21255">
                  <c:v>65.099999999999994</c:v>
                </c:pt>
                <c:pt idx="21256">
                  <c:v>65.099999999999994</c:v>
                </c:pt>
                <c:pt idx="21257">
                  <c:v>65.099999999999994</c:v>
                </c:pt>
                <c:pt idx="21258">
                  <c:v>65.099999999999994</c:v>
                </c:pt>
                <c:pt idx="21259">
                  <c:v>66.400000000000006</c:v>
                </c:pt>
                <c:pt idx="21260">
                  <c:v>65.900000000000006</c:v>
                </c:pt>
                <c:pt idx="21261">
                  <c:v>66.8</c:v>
                </c:pt>
                <c:pt idx="21262">
                  <c:v>66.400000000000006</c:v>
                </c:pt>
                <c:pt idx="21263">
                  <c:v>66</c:v>
                </c:pt>
                <c:pt idx="21264">
                  <c:v>66.2</c:v>
                </c:pt>
                <c:pt idx="21265">
                  <c:v>66.8</c:v>
                </c:pt>
                <c:pt idx="21266">
                  <c:v>66.5</c:v>
                </c:pt>
                <c:pt idx="21267">
                  <c:v>66.7</c:v>
                </c:pt>
                <c:pt idx="21268">
                  <c:v>66.3</c:v>
                </c:pt>
                <c:pt idx="21269">
                  <c:v>65.8</c:v>
                </c:pt>
                <c:pt idx="21270">
                  <c:v>65.2</c:v>
                </c:pt>
                <c:pt idx="21271">
                  <c:v>64.3</c:v>
                </c:pt>
                <c:pt idx="21272">
                  <c:v>63.8</c:v>
                </c:pt>
                <c:pt idx="21273">
                  <c:v>63.5</c:v>
                </c:pt>
                <c:pt idx="21274">
                  <c:v>63.3</c:v>
                </c:pt>
                <c:pt idx="21275">
                  <c:v>64.400000000000006</c:v>
                </c:pt>
                <c:pt idx="21276">
                  <c:v>63.5</c:v>
                </c:pt>
                <c:pt idx="21277">
                  <c:v>62.9</c:v>
                </c:pt>
                <c:pt idx="21278">
                  <c:v>66.400000000000006</c:v>
                </c:pt>
                <c:pt idx="21279">
                  <c:v>67.8</c:v>
                </c:pt>
                <c:pt idx="21280">
                  <c:v>60.3</c:v>
                </c:pt>
                <c:pt idx="21281">
                  <c:v>65.8</c:v>
                </c:pt>
                <c:pt idx="21282">
                  <c:v>66</c:v>
                </c:pt>
                <c:pt idx="21283">
                  <c:v>66.099999999999994</c:v>
                </c:pt>
                <c:pt idx="21284">
                  <c:v>65.8</c:v>
                </c:pt>
                <c:pt idx="21285">
                  <c:v>65.8</c:v>
                </c:pt>
                <c:pt idx="21286">
                  <c:v>65.400000000000006</c:v>
                </c:pt>
                <c:pt idx="21287">
                  <c:v>64.900000000000006</c:v>
                </c:pt>
                <c:pt idx="21288">
                  <c:v>64.900000000000006</c:v>
                </c:pt>
                <c:pt idx="21289">
                  <c:v>64.5</c:v>
                </c:pt>
                <c:pt idx="21290">
                  <c:v>64.400000000000006</c:v>
                </c:pt>
                <c:pt idx="21291">
                  <c:v>64</c:v>
                </c:pt>
                <c:pt idx="21292">
                  <c:v>63.9</c:v>
                </c:pt>
                <c:pt idx="21293">
                  <c:v>64.599999999999994</c:v>
                </c:pt>
                <c:pt idx="21294">
                  <c:v>65</c:v>
                </c:pt>
                <c:pt idx="21295">
                  <c:v>65</c:v>
                </c:pt>
                <c:pt idx="21296">
                  <c:v>65.2</c:v>
                </c:pt>
                <c:pt idx="21297">
                  <c:v>65.5</c:v>
                </c:pt>
                <c:pt idx="21298">
                  <c:v>65.599999999999994</c:v>
                </c:pt>
                <c:pt idx="21299">
                  <c:v>65.599999999999994</c:v>
                </c:pt>
                <c:pt idx="21300">
                  <c:v>65.599999999999994</c:v>
                </c:pt>
                <c:pt idx="21301">
                  <c:v>65.8</c:v>
                </c:pt>
                <c:pt idx="21302">
                  <c:v>65.8</c:v>
                </c:pt>
                <c:pt idx="21303">
                  <c:v>65.900000000000006</c:v>
                </c:pt>
                <c:pt idx="21304">
                  <c:v>65.900000000000006</c:v>
                </c:pt>
                <c:pt idx="21305">
                  <c:v>65.900000000000006</c:v>
                </c:pt>
                <c:pt idx="21306">
                  <c:v>66.099999999999994</c:v>
                </c:pt>
                <c:pt idx="21307">
                  <c:v>66.2</c:v>
                </c:pt>
                <c:pt idx="21308">
                  <c:v>66.2</c:v>
                </c:pt>
                <c:pt idx="21309">
                  <c:v>66.3</c:v>
                </c:pt>
                <c:pt idx="21310">
                  <c:v>66.400000000000006</c:v>
                </c:pt>
                <c:pt idx="21311">
                  <c:v>66.599999999999994</c:v>
                </c:pt>
                <c:pt idx="21312">
                  <c:v>66.900000000000006</c:v>
                </c:pt>
                <c:pt idx="21313">
                  <c:v>67</c:v>
                </c:pt>
                <c:pt idx="21314">
                  <c:v>67</c:v>
                </c:pt>
                <c:pt idx="21315">
                  <c:v>67</c:v>
                </c:pt>
                <c:pt idx="21316">
                  <c:v>67.099999999999994</c:v>
                </c:pt>
                <c:pt idx="21317">
                  <c:v>67.099999999999994</c:v>
                </c:pt>
                <c:pt idx="21318">
                  <c:v>67.099999999999994</c:v>
                </c:pt>
                <c:pt idx="21319">
                  <c:v>67.099999999999994</c:v>
                </c:pt>
                <c:pt idx="21320">
                  <c:v>67.400000000000006</c:v>
                </c:pt>
                <c:pt idx="21321">
                  <c:v>67.7</c:v>
                </c:pt>
                <c:pt idx="21322">
                  <c:v>67.8</c:v>
                </c:pt>
                <c:pt idx="21323">
                  <c:v>67.3</c:v>
                </c:pt>
                <c:pt idx="21324">
                  <c:v>67</c:v>
                </c:pt>
                <c:pt idx="21325">
                  <c:v>66.900000000000006</c:v>
                </c:pt>
                <c:pt idx="21326">
                  <c:v>67</c:v>
                </c:pt>
                <c:pt idx="21327">
                  <c:v>67.099999999999994</c:v>
                </c:pt>
                <c:pt idx="21328">
                  <c:v>67.099999999999994</c:v>
                </c:pt>
                <c:pt idx="21329">
                  <c:v>67.400000000000006</c:v>
                </c:pt>
                <c:pt idx="21330">
                  <c:v>67.400000000000006</c:v>
                </c:pt>
                <c:pt idx="21331">
                  <c:v>67.2</c:v>
                </c:pt>
                <c:pt idx="21332">
                  <c:v>67.099999999999994</c:v>
                </c:pt>
                <c:pt idx="21333">
                  <c:v>67.099999999999994</c:v>
                </c:pt>
                <c:pt idx="21334">
                  <c:v>67.099999999999994</c:v>
                </c:pt>
                <c:pt idx="21335">
                  <c:v>67.3</c:v>
                </c:pt>
                <c:pt idx="21336">
                  <c:v>66.900000000000006</c:v>
                </c:pt>
                <c:pt idx="21337">
                  <c:v>66.400000000000006</c:v>
                </c:pt>
                <c:pt idx="21338">
                  <c:v>65.599999999999994</c:v>
                </c:pt>
                <c:pt idx="21339">
                  <c:v>64.5</c:v>
                </c:pt>
                <c:pt idx="21340">
                  <c:v>64.5</c:v>
                </c:pt>
              </c:numCache>
            </c:numRef>
          </c:xVal>
          <c:yVal>
            <c:numRef>
              <c:f>oadtvsh!$O$2:$O$21342</c:f>
              <c:numCache>
                <c:formatCode>General</c:formatCode>
                <c:ptCount val="21341"/>
                <c:pt idx="0">
                  <c:v>244</c:v>
                </c:pt>
                <c:pt idx="1">
                  <c:v>709</c:v>
                </c:pt>
                <c:pt idx="2">
                  <c:v>621</c:v>
                </c:pt>
                <c:pt idx="3">
                  <c:v>556</c:v>
                </c:pt>
                <c:pt idx="4">
                  <c:v>359</c:v>
                </c:pt>
                <c:pt idx="5">
                  <c:v>232</c:v>
                </c:pt>
                <c:pt idx="6">
                  <c:v>193</c:v>
                </c:pt>
                <c:pt idx="7">
                  <c:v>196</c:v>
                </c:pt>
                <c:pt idx="8">
                  <c:v>175</c:v>
                </c:pt>
                <c:pt idx="9">
                  <c:v>178</c:v>
                </c:pt>
                <c:pt idx="10">
                  <c:v>165</c:v>
                </c:pt>
                <c:pt idx="11">
                  <c:v>160</c:v>
                </c:pt>
                <c:pt idx="12">
                  <c:v>151</c:v>
                </c:pt>
                <c:pt idx="13">
                  <c:v>111</c:v>
                </c:pt>
                <c:pt idx="14">
                  <c:v>148</c:v>
                </c:pt>
                <c:pt idx="15">
                  <c:v>429</c:v>
                </c:pt>
                <c:pt idx="16">
                  <c:v>256</c:v>
                </c:pt>
                <c:pt idx="17">
                  <c:v>191</c:v>
                </c:pt>
                <c:pt idx="18">
                  <c:v>163</c:v>
                </c:pt>
                <c:pt idx="19">
                  <c:v>157</c:v>
                </c:pt>
                <c:pt idx="20">
                  <c:v>129</c:v>
                </c:pt>
                <c:pt idx="21">
                  <c:v>151</c:v>
                </c:pt>
                <c:pt idx="22">
                  <c:v>113</c:v>
                </c:pt>
                <c:pt idx="23">
                  <c:v>115</c:v>
                </c:pt>
                <c:pt idx="24">
                  <c:v>109</c:v>
                </c:pt>
                <c:pt idx="25">
                  <c:v>132</c:v>
                </c:pt>
                <c:pt idx="26">
                  <c:v>113</c:v>
                </c:pt>
                <c:pt idx="27">
                  <c:v>433</c:v>
                </c:pt>
                <c:pt idx="28">
                  <c:v>204</c:v>
                </c:pt>
                <c:pt idx="29">
                  <c:v>134</c:v>
                </c:pt>
                <c:pt idx="30">
                  <c:v>205</c:v>
                </c:pt>
                <c:pt idx="31">
                  <c:v>166</c:v>
                </c:pt>
                <c:pt idx="32">
                  <c:v>218</c:v>
                </c:pt>
                <c:pt idx="33">
                  <c:v>254</c:v>
                </c:pt>
                <c:pt idx="34">
                  <c:v>249</c:v>
                </c:pt>
                <c:pt idx="35">
                  <c:v>203</c:v>
                </c:pt>
                <c:pt idx="36">
                  <c:v>247</c:v>
                </c:pt>
                <c:pt idx="37">
                  <c:v>175</c:v>
                </c:pt>
                <c:pt idx="38">
                  <c:v>193</c:v>
                </c:pt>
                <c:pt idx="39">
                  <c:v>185</c:v>
                </c:pt>
                <c:pt idx="40">
                  <c:v>154</c:v>
                </c:pt>
                <c:pt idx="41">
                  <c:v>103</c:v>
                </c:pt>
                <c:pt idx="42">
                  <c:v>415</c:v>
                </c:pt>
                <c:pt idx="43">
                  <c:v>543</c:v>
                </c:pt>
                <c:pt idx="44">
                  <c:v>608</c:v>
                </c:pt>
                <c:pt idx="45">
                  <c:v>440</c:v>
                </c:pt>
                <c:pt idx="46">
                  <c:v>246</c:v>
                </c:pt>
                <c:pt idx="47">
                  <c:v>191</c:v>
                </c:pt>
                <c:pt idx="48">
                  <c:v>181</c:v>
                </c:pt>
                <c:pt idx="49">
                  <c:v>186</c:v>
                </c:pt>
                <c:pt idx="50">
                  <c:v>185</c:v>
                </c:pt>
                <c:pt idx="51">
                  <c:v>189</c:v>
                </c:pt>
                <c:pt idx="52">
                  <c:v>160</c:v>
                </c:pt>
                <c:pt idx="53">
                  <c:v>155</c:v>
                </c:pt>
                <c:pt idx="54">
                  <c:v>175</c:v>
                </c:pt>
                <c:pt idx="55">
                  <c:v>147</c:v>
                </c:pt>
                <c:pt idx="56">
                  <c:v>155</c:v>
                </c:pt>
                <c:pt idx="57">
                  <c:v>131</c:v>
                </c:pt>
                <c:pt idx="58">
                  <c:v>127</c:v>
                </c:pt>
                <c:pt idx="59">
                  <c:v>135</c:v>
                </c:pt>
                <c:pt idx="60">
                  <c:v>146</c:v>
                </c:pt>
                <c:pt idx="61">
                  <c:v>151</c:v>
                </c:pt>
                <c:pt idx="62">
                  <c:v>146</c:v>
                </c:pt>
                <c:pt idx="63">
                  <c:v>141</c:v>
                </c:pt>
                <c:pt idx="64">
                  <c:v>139</c:v>
                </c:pt>
                <c:pt idx="65">
                  <c:v>137</c:v>
                </c:pt>
                <c:pt idx="66">
                  <c:v>130</c:v>
                </c:pt>
                <c:pt idx="67">
                  <c:v>136</c:v>
                </c:pt>
                <c:pt idx="68">
                  <c:v>138</c:v>
                </c:pt>
                <c:pt idx="69">
                  <c:v>127</c:v>
                </c:pt>
                <c:pt idx="70">
                  <c:v>128</c:v>
                </c:pt>
                <c:pt idx="71">
                  <c:v>64</c:v>
                </c:pt>
                <c:pt idx="72">
                  <c:v>312</c:v>
                </c:pt>
                <c:pt idx="73">
                  <c:v>532</c:v>
                </c:pt>
                <c:pt idx="74">
                  <c:v>445</c:v>
                </c:pt>
                <c:pt idx="75">
                  <c:v>403</c:v>
                </c:pt>
                <c:pt idx="76">
                  <c:v>305</c:v>
                </c:pt>
                <c:pt idx="77">
                  <c:v>236</c:v>
                </c:pt>
                <c:pt idx="78">
                  <c:v>270</c:v>
                </c:pt>
                <c:pt idx="79">
                  <c:v>227</c:v>
                </c:pt>
                <c:pt idx="80">
                  <c:v>200</c:v>
                </c:pt>
                <c:pt idx="81">
                  <c:v>218</c:v>
                </c:pt>
                <c:pt idx="82">
                  <c:v>236</c:v>
                </c:pt>
                <c:pt idx="83">
                  <c:v>228</c:v>
                </c:pt>
                <c:pt idx="84">
                  <c:v>235</c:v>
                </c:pt>
                <c:pt idx="85">
                  <c:v>177</c:v>
                </c:pt>
                <c:pt idx="86">
                  <c:v>242</c:v>
                </c:pt>
                <c:pt idx="87">
                  <c:v>196</c:v>
                </c:pt>
                <c:pt idx="88">
                  <c:v>202</c:v>
                </c:pt>
                <c:pt idx="89">
                  <c:v>289</c:v>
                </c:pt>
                <c:pt idx="90">
                  <c:v>245</c:v>
                </c:pt>
                <c:pt idx="91">
                  <c:v>232</c:v>
                </c:pt>
                <c:pt idx="92">
                  <c:v>183</c:v>
                </c:pt>
                <c:pt idx="93">
                  <c:v>206</c:v>
                </c:pt>
                <c:pt idx="94">
                  <c:v>186</c:v>
                </c:pt>
                <c:pt idx="95">
                  <c:v>239</c:v>
                </c:pt>
                <c:pt idx="96">
                  <c:v>207</c:v>
                </c:pt>
                <c:pt idx="97">
                  <c:v>221</c:v>
                </c:pt>
                <c:pt idx="98">
                  <c:v>209</c:v>
                </c:pt>
                <c:pt idx="99">
                  <c:v>250</c:v>
                </c:pt>
                <c:pt idx="100">
                  <c:v>206</c:v>
                </c:pt>
                <c:pt idx="101">
                  <c:v>181</c:v>
                </c:pt>
                <c:pt idx="102">
                  <c:v>190</c:v>
                </c:pt>
                <c:pt idx="103">
                  <c:v>240</c:v>
                </c:pt>
                <c:pt idx="104">
                  <c:v>195</c:v>
                </c:pt>
                <c:pt idx="105">
                  <c:v>198</c:v>
                </c:pt>
                <c:pt idx="106">
                  <c:v>207</c:v>
                </c:pt>
                <c:pt idx="107">
                  <c:v>189</c:v>
                </c:pt>
                <c:pt idx="108">
                  <c:v>209</c:v>
                </c:pt>
                <c:pt idx="109">
                  <c:v>242</c:v>
                </c:pt>
                <c:pt idx="110">
                  <c:v>211</c:v>
                </c:pt>
                <c:pt idx="111">
                  <c:v>173</c:v>
                </c:pt>
                <c:pt idx="112">
                  <c:v>202</c:v>
                </c:pt>
                <c:pt idx="113">
                  <c:v>221</c:v>
                </c:pt>
                <c:pt idx="114">
                  <c:v>188</c:v>
                </c:pt>
                <c:pt idx="115">
                  <c:v>150</c:v>
                </c:pt>
                <c:pt idx="116">
                  <c:v>155</c:v>
                </c:pt>
                <c:pt idx="117">
                  <c:v>207</c:v>
                </c:pt>
                <c:pt idx="118">
                  <c:v>197</c:v>
                </c:pt>
                <c:pt idx="119">
                  <c:v>156</c:v>
                </c:pt>
                <c:pt idx="120">
                  <c:v>172</c:v>
                </c:pt>
                <c:pt idx="121">
                  <c:v>227</c:v>
                </c:pt>
                <c:pt idx="122">
                  <c:v>228</c:v>
                </c:pt>
                <c:pt idx="123">
                  <c:v>199</c:v>
                </c:pt>
                <c:pt idx="124">
                  <c:v>179</c:v>
                </c:pt>
                <c:pt idx="125">
                  <c:v>176</c:v>
                </c:pt>
                <c:pt idx="126">
                  <c:v>177</c:v>
                </c:pt>
                <c:pt idx="127">
                  <c:v>181</c:v>
                </c:pt>
                <c:pt idx="128">
                  <c:v>153</c:v>
                </c:pt>
                <c:pt idx="129">
                  <c:v>157</c:v>
                </c:pt>
                <c:pt idx="130">
                  <c:v>182</c:v>
                </c:pt>
                <c:pt idx="131">
                  <c:v>176</c:v>
                </c:pt>
                <c:pt idx="132">
                  <c:v>132</c:v>
                </c:pt>
                <c:pt idx="133">
                  <c:v>120</c:v>
                </c:pt>
                <c:pt idx="134">
                  <c:v>164</c:v>
                </c:pt>
                <c:pt idx="135">
                  <c:v>164</c:v>
                </c:pt>
                <c:pt idx="136">
                  <c:v>162</c:v>
                </c:pt>
                <c:pt idx="137">
                  <c:v>128</c:v>
                </c:pt>
                <c:pt idx="138">
                  <c:v>137</c:v>
                </c:pt>
                <c:pt idx="139">
                  <c:v>173</c:v>
                </c:pt>
                <c:pt idx="140">
                  <c:v>155</c:v>
                </c:pt>
                <c:pt idx="141">
                  <c:v>162</c:v>
                </c:pt>
                <c:pt idx="142">
                  <c:v>168</c:v>
                </c:pt>
                <c:pt idx="143">
                  <c:v>166</c:v>
                </c:pt>
                <c:pt idx="144">
                  <c:v>124</c:v>
                </c:pt>
                <c:pt idx="145">
                  <c:v>112</c:v>
                </c:pt>
                <c:pt idx="146">
                  <c:v>182</c:v>
                </c:pt>
                <c:pt idx="147">
                  <c:v>190</c:v>
                </c:pt>
                <c:pt idx="148">
                  <c:v>195</c:v>
                </c:pt>
                <c:pt idx="149">
                  <c:v>197</c:v>
                </c:pt>
                <c:pt idx="150">
                  <c:v>210</c:v>
                </c:pt>
                <c:pt idx="151">
                  <c:v>256</c:v>
                </c:pt>
                <c:pt idx="152">
                  <c:v>223</c:v>
                </c:pt>
                <c:pt idx="153">
                  <c:v>244</c:v>
                </c:pt>
                <c:pt idx="154">
                  <c:v>226</c:v>
                </c:pt>
                <c:pt idx="155">
                  <c:v>227</c:v>
                </c:pt>
                <c:pt idx="156">
                  <c:v>229</c:v>
                </c:pt>
                <c:pt idx="157">
                  <c:v>195</c:v>
                </c:pt>
                <c:pt idx="158">
                  <c:v>249</c:v>
                </c:pt>
                <c:pt idx="159">
                  <c:v>274</c:v>
                </c:pt>
                <c:pt idx="160">
                  <c:v>259</c:v>
                </c:pt>
                <c:pt idx="161">
                  <c:v>210</c:v>
                </c:pt>
                <c:pt idx="162">
                  <c:v>231</c:v>
                </c:pt>
                <c:pt idx="163">
                  <c:v>279</c:v>
                </c:pt>
                <c:pt idx="164">
                  <c:v>279</c:v>
                </c:pt>
                <c:pt idx="165">
                  <c:v>267</c:v>
                </c:pt>
                <c:pt idx="166">
                  <c:v>267</c:v>
                </c:pt>
                <c:pt idx="167">
                  <c:v>282</c:v>
                </c:pt>
                <c:pt idx="168">
                  <c:v>235</c:v>
                </c:pt>
                <c:pt idx="169">
                  <c:v>144</c:v>
                </c:pt>
                <c:pt idx="170">
                  <c:v>248</c:v>
                </c:pt>
                <c:pt idx="171">
                  <c:v>268</c:v>
                </c:pt>
                <c:pt idx="172">
                  <c:v>308</c:v>
                </c:pt>
                <c:pt idx="173">
                  <c:v>293</c:v>
                </c:pt>
                <c:pt idx="174">
                  <c:v>279</c:v>
                </c:pt>
                <c:pt idx="175">
                  <c:v>297</c:v>
                </c:pt>
                <c:pt idx="176">
                  <c:v>283</c:v>
                </c:pt>
                <c:pt idx="177">
                  <c:v>306</c:v>
                </c:pt>
                <c:pt idx="178">
                  <c:v>333</c:v>
                </c:pt>
                <c:pt idx="179">
                  <c:v>316</c:v>
                </c:pt>
                <c:pt idx="180">
                  <c:v>312</c:v>
                </c:pt>
                <c:pt idx="181">
                  <c:v>310</c:v>
                </c:pt>
                <c:pt idx="182">
                  <c:v>318</c:v>
                </c:pt>
                <c:pt idx="183">
                  <c:v>328</c:v>
                </c:pt>
                <c:pt idx="184">
                  <c:v>313</c:v>
                </c:pt>
                <c:pt idx="185">
                  <c:v>332</c:v>
                </c:pt>
                <c:pt idx="186">
                  <c:v>265</c:v>
                </c:pt>
                <c:pt idx="187">
                  <c:v>283</c:v>
                </c:pt>
                <c:pt idx="188">
                  <c:v>338</c:v>
                </c:pt>
                <c:pt idx="189">
                  <c:v>352</c:v>
                </c:pt>
                <c:pt idx="190">
                  <c:v>292</c:v>
                </c:pt>
                <c:pt idx="191">
                  <c:v>358</c:v>
                </c:pt>
                <c:pt idx="192">
                  <c:v>338</c:v>
                </c:pt>
                <c:pt idx="193">
                  <c:v>439</c:v>
                </c:pt>
                <c:pt idx="194">
                  <c:v>413</c:v>
                </c:pt>
                <c:pt idx="195">
                  <c:v>437</c:v>
                </c:pt>
                <c:pt idx="196">
                  <c:v>276</c:v>
                </c:pt>
                <c:pt idx="197">
                  <c:v>283</c:v>
                </c:pt>
                <c:pt idx="198">
                  <c:v>365</c:v>
                </c:pt>
                <c:pt idx="199">
                  <c:v>364</c:v>
                </c:pt>
                <c:pt idx="200">
                  <c:v>310</c:v>
                </c:pt>
                <c:pt idx="201">
                  <c:v>300</c:v>
                </c:pt>
                <c:pt idx="202">
                  <c:v>270</c:v>
                </c:pt>
                <c:pt idx="203">
                  <c:v>271</c:v>
                </c:pt>
                <c:pt idx="204">
                  <c:v>309</c:v>
                </c:pt>
                <c:pt idx="205">
                  <c:v>316</c:v>
                </c:pt>
                <c:pt idx="206">
                  <c:v>276</c:v>
                </c:pt>
                <c:pt idx="207">
                  <c:v>283</c:v>
                </c:pt>
                <c:pt idx="208">
                  <c:v>253</c:v>
                </c:pt>
                <c:pt idx="209">
                  <c:v>256</c:v>
                </c:pt>
                <c:pt idx="210">
                  <c:v>213</c:v>
                </c:pt>
                <c:pt idx="211">
                  <c:v>216</c:v>
                </c:pt>
                <c:pt idx="212">
                  <c:v>242</c:v>
                </c:pt>
                <c:pt idx="213">
                  <c:v>233</c:v>
                </c:pt>
                <c:pt idx="214">
                  <c:v>184</c:v>
                </c:pt>
                <c:pt idx="215">
                  <c:v>161</c:v>
                </c:pt>
                <c:pt idx="216">
                  <c:v>192</c:v>
                </c:pt>
                <c:pt idx="217">
                  <c:v>187</c:v>
                </c:pt>
                <c:pt idx="218">
                  <c:v>186</c:v>
                </c:pt>
                <c:pt idx="219">
                  <c:v>186</c:v>
                </c:pt>
                <c:pt idx="220">
                  <c:v>54</c:v>
                </c:pt>
                <c:pt idx="221">
                  <c:v>453</c:v>
                </c:pt>
                <c:pt idx="222">
                  <c:v>471</c:v>
                </c:pt>
                <c:pt idx="223">
                  <c:v>379</c:v>
                </c:pt>
                <c:pt idx="224">
                  <c:v>166</c:v>
                </c:pt>
                <c:pt idx="225">
                  <c:v>137</c:v>
                </c:pt>
                <c:pt idx="226">
                  <c:v>128</c:v>
                </c:pt>
                <c:pt idx="227">
                  <c:v>124</c:v>
                </c:pt>
                <c:pt idx="228">
                  <c:v>117</c:v>
                </c:pt>
                <c:pt idx="229">
                  <c:v>132</c:v>
                </c:pt>
                <c:pt idx="230">
                  <c:v>133</c:v>
                </c:pt>
                <c:pt idx="231">
                  <c:v>131</c:v>
                </c:pt>
                <c:pt idx="232">
                  <c:v>117</c:v>
                </c:pt>
                <c:pt idx="233">
                  <c:v>120</c:v>
                </c:pt>
                <c:pt idx="234">
                  <c:v>117</c:v>
                </c:pt>
                <c:pt idx="235">
                  <c:v>127</c:v>
                </c:pt>
                <c:pt idx="236">
                  <c:v>117</c:v>
                </c:pt>
                <c:pt idx="237">
                  <c:v>136</c:v>
                </c:pt>
                <c:pt idx="238">
                  <c:v>153</c:v>
                </c:pt>
                <c:pt idx="239">
                  <c:v>178</c:v>
                </c:pt>
                <c:pt idx="240">
                  <c:v>218</c:v>
                </c:pt>
                <c:pt idx="241">
                  <c:v>235</c:v>
                </c:pt>
                <c:pt idx="242">
                  <c:v>340</c:v>
                </c:pt>
                <c:pt idx="243">
                  <c:v>263</c:v>
                </c:pt>
                <c:pt idx="244">
                  <c:v>265</c:v>
                </c:pt>
                <c:pt idx="245">
                  <c:v>237</c:v>
                </c:pt>
                <c:pt idx="246">
                  <c:v>222</c:v>
                </c:pt>
                <c:pt idx="247">
                  <c:v>243</c:v>
                </c:pt>
                <c:pt idx="248">
                  <c:v>216</c:v>
                </c:pt>
                <c:pt idx="249">
                  <c:v>227</c:v>
                </c:pt>
                <c:pt idx="250">
                  <c:v>242</c:v>
                </c:pt>
                <c:pt idx="251">
                  <c:v>237</c:v>
                </c:pt>
                <c:pt idx="252">
                  <c:v>270</c:v>
                </c:pt>
                <c:pt idx="253">
                  <c:v>255</c:v>
                </c:pt>
                <c:pt idx="254">
                  <c:v>261</c:v>
                </c:pt>
                <c:pt idx="255">
                  <c:v>281</c:v>
                </c:pt>
                <c:pt idx="256">
                  <c:v>272</c:v>
                </c:pt>
                <c:pt idx="257">
                  <c:v>290</c:v>
                </c:pt>
                <c:pt idx="258">
                  <c:v>271</c:v>
                </c:pt>
                <c:pt idx="259">
                  <c:v>218</c:v>
                </c:pt>
                <c:pt idx="260">
                  <c:v>211</c:v>
                </c:pt>
                <c:pt idx="261">
                  <c:v>234</c:v>
                </c:pt>
                <c:pt idx="262">
                  <c:v>206</c:v>
                </c:pt>
                <c:pt idx="263">
                  <c:v>202</c:v>
                </c:pt>
                <c:pt idx="264">
                  <c:v>207</c:v>
                </c:pt>
                <c:pt idx="265">
                  <c:v>210</c:v>
                </c:pt>
                <c:pt idx="266">
                  <c:v>259</c:v>
                </c:pt>
                <c:pt idx="267">
                  <c:v>293</c:v>
                </c:pt>
                <c:pt idx="268">
                  <c:v>334</c:v>
                </c:pt>
                <c:pt idx="269">
                  <c:v>289</c:v>
                </c:pt>
                <c:pt idx="270">
                  <c:v>288</c:v>
                </c:pt>
                <c:pt idx="271">
                  <c:v>325</c:v>
                </c:pt>
                <c:pt idx="272">
                  <c:v>348</c:v>
                </c:pt>
                <c:pt idx="273">
                  <c:v>295</c:v>
                </c:pt>
                <c:pt idx="274">
                  <c:v>307</c:v>
                </c:pt>
                <c:pt idx="275">
                  <c:v>305</c:v>
                </c:pt>
                <c:pt idx="276">
                  <c:v>339</c:v>
                </c:pt>
                <c:pt idx="277">
                  <c:v>331</c:v>
                </c:pt>
                <c:pt idx="278">
                  <c:v>313</c:v>
                </c:pt>
                <c:pt idx="279">
                  <c:v>347</c:v>
                </c:pt>
                <c:pt idx="280">
                  <c:v>347</c:v>
                </c:pt>
                <c:pt idx="281">
                  <c:v>355</c:v>
                </c:pt>
                <c:pt idx="282">
                  <c:v>406</c:v>
                </c:pt>
                <c:pt idx="283">
                  <c:v>399</c:v>
                </c:pt>
                <c:pt idx="284">
                  <c:v>337</c:v>
                </c:pt>
                <c:pt idx="285">
                  <c:v>376</c:v>
                </c:pt>
                <c:pt idx="286">
                  <c:v>322</c:v>
                </c:pt>
                <c:pt idx="287">
                  <c:v>449</c:v>
                </c:pt>
                <c:pt idx="288">
                  <c:v>439</c:v>
                </c:pt>
                <c:pt idx="289">
                  <c:v>458</c:v>
                </c:pt>
                <c:pt idx="290">
                  <c:v>477</c:v>
                </c:pt>
                <c:pt idx="291">
                  <c:v>445</c:v>
                </c:pt>
                <c:pt idx="292">
                  <c:v>467</c:v>
                </c:pt>
                <c:pt idx="293">
                  <c:v>411</c:v>
                </c:pt>
                <c:pt idx="294">
                  <c:v>434</c:v>
                </c:pt>
                <c:pt idx="295">
                  <c:v>441</c:v>
                </c:pt>
                <c:pt idx="296">
                  <c:v>443</c:v>
                </c:pt>
                <c:pt idx="297">
                  <c:v>445</c:v>
                </c:pt>
                <c:pt idx="298">
                  <c:v>429</c:v>
                </c:pt>
                <c:pt idx="299">
                  <c:v>393</c:v>
                </c:pt>
                <c:pt idx="300">
                  <c:v>407</c:v>
                </c:pt>
                <c:pt idx="301">
                  <c:v>400</c:v>
                </c:pt>
                <c:pt idx="302">
                  <c:v>397</c:v>
                </c:pt>
                <c:pt idx="303">
                  <c:v>376</c:v>
                </c:pt>
                <c:pt idx="304">
                  <c:v>369</c:v>
                </c:pt>
                <c:pt idx="305">
                  <c:v>351</c:v>
                </c:pt>
                <c:pt idx="306">
                  <c:v>349</c:v>
                </c:pt>
                <c:pt idx="307">
                  <c:v>358</c:v>
                </c:pt>
                <c:pt idx="308">
                  <c:v>352</c:v>
                </c:pt>
                <c:pt idx="309">
                  <c:v>332</c:v>
                </c:pt>
                <c:pt idx="310">
                  <c:v>324</c:v>
                </c:pt>
                <c:pt idx="311">
                  <c:v>320</c:v>
                </c:pt>
                <c:pt idx="312">
                  <c:v>340</c:v>
                </c:pt>
                <c:pt idx="313">
                  <c:v>349</c:v>
                </c:pt>
                <c:pt idx="314">
                  <c:v>339</c:v>
                </c:pt>
                <c:pt idx="315">
                  <c:v>340</c:v>
                </c:pt>
                <c:pt idx="316">
                  <c:v>342</c:v>
                </c:pt>
                <c:pt idx="317">
                  <c:v>361</c:v>
                </c:pt>
                <c:pt idx="318">
                  <c:v>341</c:v>
                </c:pt>
                <c:pt idx="319">
                  <c:v>365</c:v>
                </c:pt>
                <c:pt idx="320">
                  <c:v>185</c:v>
                </c:pt>
                <c:pt idx="321">
                  <c:v>166</c:v>
                </c:pt>
                <c:pt idx="322">
                  <c:v>476</c:v>
                </c:pt>
                <c:pt idx="323">
                  <c:v>475</c:v>
                </c:pt>
                <c:pt idx="324">
                  <c:v>442</c:v>
                </c:pt>
                <c:pt idx="325">
                  <c:v>298</c:v>
                </c:pt>
                <c:pt idx="326">
                  <c:v>376</c:v>
                </c:pt>
                <c:pt idx="327">
                  <c:v>427</c:v>
                </c:pt>
                <c:pt idx="328">
                  <c:v>433</c:v>
                </c:pt>
                <c:pt idx="329">
                  <c:v>360</c:v>
                </c:pt>
                <c:pt idx="330">
                  <c:v>328</c:v>
                </c:pt>
                <c:pt idx="331">
                  <c:v>316</c:v>
                </c:pt>
                <c:pt idx="332">
                  <c:v>288</c:v>
                </c:pt>
                <c:pt idx="333">
                  <c:v>294</c:v>
                </c:pt>
                <c:pt idx="334">
                  <c:v>240</c:v>
                </c:pt>
                <c:pt idx="335">
                  <c:v>268</c:v>
                </c:pt>
                <c:pt idx="336">
                  <c:v>312</c:v>
                </c:pt>
                <c:pt idx="337">
                  <c:v>308</c:v>
                </c:pt>
                <c:pt idx="338">
                  <c:v>283</c:v>
                </c:pt>
                <c:pt idx="339">
                  <c:v>314</c:v>
                </c:pt>
                <c:pt idx="340">
                  <c:v>254</c:v>
                </c:pt>
                <c:pt idx="341">
                  <c:v>235</c:v>
                </c:pt>
                <c:pt idx="342">
                  <c:v>279</c:v>
                </c:pt>
                <c:pt idx="343">
                  <c:v>270</c:v>
                </c:pt>
                <c:pt idx="344">
                  <c:v>270</c:v>
                </c:pt>
                <c:pt idx="345">
                  <c:v>275</c:v>
                </c:pt>
                <c:pt idx="346">
                  <c:v>252</c:v>
                </c:pt>
                <c:pt idx="347">
                  <c:v>237</c:v>
                </c:pt>
                <c:pt idx="348">
                  <c:v>181</c:v>
                </c:pt>
                <c:pt idx="349">
                  <c:v>196</c:v>
                </c:pt>
                <c:pt idx="350">
                  <c:v>175</c:v>
                </c:pt>
                <c:pt idx="351">
                  <c:v>158</c:v>
                </c:pt>
                <c:pt idx="352">
                  <c:v>184</c:v>
                </c:pt>
                <c:pt idx="353">
                  <c:v>703</c:v>
                </c:pt>
                <c:pt idx="354">
                  <c:v>673</c:v>
                </c:pt>
                <c:pt idx="355">
                  <c:v>665</c:v>
                </c:pt>
                <c:pt idx="356">
                  <c:v>557</c:v>
                </c:pt>
                <c:pt idx="357">
                  <c:v>522</c:v>
                </c:pt>
                <c:pt idx="358">
                  <c:v>351</c:v>
                </c:pt>
                <c:pt idx="359">
                  <c:v>239</c:v>
                </c:pt>
                <c:pt idx="360">
                  <c:v>299</c:v>
                </c:pt>
                <c:pt idx="361">
                  <c:v>231</c:v>
                </c:pt>
                <c:pt idx="362">
                  <c:v>253</c:v>
                </c:pt>
                <c:pt idx="363">
                  <c:v>221</c:v>
                </c:pt>
                <c:pt idx="364">
                  <c:v>237</c:v>
                </c:pt>
                <c:pt idx="365">
                  <c:v>204</c:v>
                </c:pt>
                <c:pt idx="366">
                  <c:v>214</c:v>
                </c:pt>
                <c:pt idx="367">
                  <c:v>207</c:v>
                </c:pt>
                <c:pt idx="368">
                  <c:v>211</c:v>
                </c:pt>
                <c:pt idx="369">
                  <c:v>215</c:v>
                </c:pt>
                <c:pt idx="370">
                  <c:v>190</c:v>
                </c:pt>
                <c:pt idx="371">
                  <c:v>179</c:v>
                </c:pt>
                <c:pt idx="372">
                  <c:v>182</c:v>
                </c:pt>
                <c:pt idx="373">
                  <c:v>159</c:v>
                </c:pt>
                <c:pt idx="374">
                  <c:v>107</c:v>
                </c:pt>
                <c:pt idx="375">
                  <c:v>115</c:v>
                </c:pt>
                <c:pt idx="376">
                  <c:v>111</c:v>
                </c:pt>
                <c:pt idx="377">
                  <c:v>87</c:v>
                </c:pt>
                <c:pt idx="378">
                  <c:v>71</c:v>
                </c:pt>
                <c:pt idx="379">
                  <c:v>108</c:v>
                </c:pt>
                <c:pt idx="380">
                  <c:v>428</c:v>
                </c:pt>
                <c:pt idx="381">
                  <c:v>354</c:v>
                </c:pt>
                <c:pt idx="382">
                  <c:v>491</c:v>
                </c:pt>
                <c:pt idx="383">
                  <c:v>388</c:v>
                </c:pt>
                <c:pt idx="384">
                  <c:v>338</c:v>
                </c:pt>
                <c:pt idx="385">
                  <c:v>456</c:v>
                </c:pt>
                <c:pt idx="386">
                  <c:v>413</c:v>
                </c:pt>
                <c:pt idx="387">
                  <c:v>430</c:v>
                </c:pt>
                <c:pt idx="388">
                  <c:v>423</c:v>
                </c:pt>
                <c:pt idx="389">
                  <c:v>370</c:v>
                </c:pt>
                <c:pt idx="390">
                  <c:v>320</c:v>
                </c:pt>
                <c:pt idx="391">
                  <c:v>231</c:v>
                </c:pt>
                <c:pt idx="392">
                  <c:v>244</c:v>
                </c:pt>
                <c:pt idx="393">
                  <c:v>214</c:v>
                </c:pt>
                <c:pt idx="394">
                  <c:v>169</c:v>
                </c:pt>
                <c:pt idx="395">
                  <c:v>166</c:v>
                </c:pt>
                <c:pt idx="396">
                  <c:v>162</c:v>
                </c:pt>
                <c:pt idx="397">
                  <c:v>162</c:v>
                </c:pt>
                <c:pt idx="398">
                  <c:v>148</c:v>
                </c:pt>
                <c:pt idx="399">
                  <c:v>174</c:v>
                </c:pt>
                <c:pt idx="400">
                  <c:v>136</c:v>
                </c:pt>
                <c:pt idx="401">
                  <c:v>141</c:v>
                </c:pt>
                <c:pt idx="402">
                  <c:v>128</c:v>
                </c:pt>
                <c:pt idx="403">
                  <c:v>18</c:v>
                </c:pt>
                <c:pt idx="404">
                  <c:v>395</c:v>
                </c:pt>
                <c:pt idx="405">
                  <c:v>439</c:v>
                </c:pt>
                <c:pt idx="406">
                  <c:v>477</c:v>
                </c:pt>
                <c:pt idx="407">
                  <c:v>382</c:v>
                </c:pt>
                <c:pt idx="408">
                  <c:v>374</c:v>
                </c:pt>
                <c:pt idx="409">
                  <c:v>433</c:v>
                </c:pt>
                <c:pt idx="410">
                  <c:v>456</c:v>
                </c:pt>
                <c:pt idx="411">
                  <c:v>447</c:v>
                </c:pt>
                <c:pt idx="412">
                  <c:v>393</c:v>
                </c:pt>
                <c:pt idx="413">
                  <c:v>307</c:v>
                </c:pt>
                <c:pt idx="414">
                  <c:v>255</c:v>
                </c:pt>
                <c:pt idx="415">
                  <c:v>244</c:v>
                </c:pt>
                <c:pt idx="416">
                  <c:v>239</c:v>
                </c:pt>
                <c:pt idx="417">
                  <c:v>207</c:v>
                </c:pt>
                <c:pt idx="418">
                  <c:v>225</c:v>
                </c:pt>
                <c:pt idx="419">
                  <c:v>202</c:v>
                </c:pt>
                <c:pt idx="420">
                  <c:v>190</c:v>
                </c:pt>
                <c:pt idx="421">
                  <c:v>175</c:v>
                </c:pt>
                <c:pt idx="422">
                  <c:v>154</c:v>
                </c:pt>
                <c:pt idx="423">
                  <c:v>163</c:v>
                </c:pt>
                <c:pt idx="424">
                  <c:v>139</c:v>
                </c:pt>
                <c:pt idx="425">
                  <c:v>251</c:v>
                </c:pt>
                <c:pt idx="426">
                  <c:v>458</c:v>
                </c:pt>
                <c:pt idx="427">
                  <c:v>465</c:v>
                </c:pt>
                <c:pt idx="428">
                  <c:v>439</c:v>
                </c:pt>
                <c:pt idx="429">
                  <c:v>484</c:v>
                </c:pt>
                <c:pt idx="430">
                  <c:v>423</c:v>
                </c:pt>
                <c:pt idx="431">
                  <c:v>418</c:v>
                </c:pt>
                <c:pt idx="432">
                  <c:v>327</c:v>
                </c:pt>
                <c:pt idx="433">
                  <c:v>260</c:v>
                </c:pt>
                <c:pt idx="434">
                  <c:v>253</c:v>
                </c:pt>
                <c:pt idx="435">
                  <c:v>223</c:v>
                </c:pt>
                <c:pt idx="436">
                  <c:v>226</c:v>
                </c:pt>
                <c:pt idx="437">
                  <c:v>220</c:v>
                </c:pt>
                <c:pt idx="438">
                  <c:v>213</c:v>
                </c:pt>
                <c:pt idx="439">
                  <c:v>222</c:v>
                </c:pt>
                <c:pt idx="440">
                  <c:v>215</c:v>
                </c:pt>
                <c:pt idx="441">
                  <c:v>214</c:v>
                </c:pt>
                <c:pt idx="442">
                  <c:v>217</c:v>
                </c:pt>
                <c:pt idx="443">
                  <c:v>225</c:v>
                </c:pt>
                <c:pt idx="444">
                  <c:v>221</c:v>
                </c:pt>
                <c:pt idx="445">
                  <c:v>226</c:v>
                </c:pt>
                <c:pt idx="446">
                  <c:v>197</c:v>
                </c:pt>
                <c:pt idx="447">
                  <c:v>226</c:v>
                </c:pt>
                <c:pt idx="448">
                  <c:v>200</c:v>
                </c:pt>
                <c:pt idx="449">
                  <c:v>160</c:v>
                </c:pt>
                <c:pt idx="450">
                  <c:v>138</c:v>
                </c:pt>
                <c:pt idx="451">
                  <c:v>141</c:v>
                </c:pt>
                <c:pt idx="452">
                  <c:v>137</c:v>
                </c:pt>
                <c:pt idx="453">
                  <c:v>142</c:v>
                </c:pt>
                <c:pt idx="454">
                  <c:v>122</c:v>
                </c:pt>
                <c:pt idx="455">
                  <c:v>127</c:v>
                </c:pt>
                <c:pt idx="456">
                  <c:v>117</c:v>
                </c:pt>
                <c:pt idx="457">
                  <c:v>137</c:v>
                </c:pt>
                <c:pt idx="458">
                  <c:v>97</c:v>
                </c:pt>
                <c:pt idx="459">
                  <c:v>113</c:v>
                </c:pt>
                <c:pt idx="460">
                  <c:v>98</c:v>
                </c:pt>
                <c:pt idx="461">
                  <c:v>88</c:v>
                </c:pt>
                <c:pt idx="462">
                  <c:v>90</c:v>
                </c:pt>
                <c:pt idx="463">
                  <c:v>81</c:v>
                </c:pt>
                <c:pt idx="464">
                  <c:v>89</c:v>
                </c:pt>
                <c:pt idx="465">
                  <c:v>97</c:v>
                </c:pt>
                <c:pt idx="466">
                  <c:v>94</c:v>
                </c:pt>
                <c:pt idx="467">
                  <c:v>56</c:v>
                </c:pt>
                <c:pt idx="468">
                  <c:v>208</c:v>
                </c:pt>
                <c:pt idx="469">
                  <c:v>407</c:v>
                </c:pt>
                <c:pt idx="470">
                  <c:v>364</c:v>
                </c:pt>
                <c:pt idx="471">
                  <c:v>282</c:v>
                </c:pt>
                <c:pt idx="472">
                  <c:v>211</c:v>
                </c:pt>
                <c:pt idx="473">
                  <c:v>213</c:v>
                </c:pt>
                <c:pt idx="474">
                  <c:v>177</c:v>
                </c:pt>
                <c:pt idx="475">
                  <c:v>177</c:v>
                </c:pt>
                <c:pt idx="476">
                  <c:v>178</c:v>
                </c:pt>
                <c:pt idx="477">
                  <c:v>229</c:v>
                </c:pt>
                <c:pt idx="478">
                  <c:v>218</c:v>
                </c:pt>
                <c:pt idx="479">
                  <c:v>175</c:v>
                </c:pt>
                <c:pt idx="480">
                  <c:v>173</c:v>
                </c:pt>
                <c:pt idx="481">
                  <c:v>190</c:v>
                </c:pt>
                <c:pt idx="482">
                  <c:v>208</c:v>
                </c:pt>
                <c:pt idx="483">
                  <c:v>185</c:v>
                </c:pt>
                <c:pt idx="484">
                  <c:v>183</c:v>
                </c:pt>
                <c:pt idx="485">
                  <c:v>194</c:v>
                </c:pt>
                <c:pt idx="486">
                  <c:v>196</c:v>
                </c:pt>
                <c:pt idx="487">
                  <c:v>166</c:v>
                </c:pt>
                <c:pt idx="488">
                  <c:v>189</c:v>
                </c:pt>
                <c:pt idx="489">
                  <c:v>195</c:v>
                </c:pt>
                <c:pt idx="490">
                  <c:v>153</c:v>
                </c:pt>
                <c:pt idx="491">
                  <c:v>158</c:v>
                </c:pt>
                <c:pt idx="492">
                  <c:v>144</c:v>
                </c:pt>
                <c:pt idx="493">
                  <c:v>165</c:v>
                </c:pt>
                <c:pt idx="494">
                  <c:v>189</c:v>
                </c:pt>
                <c:pt idx="495">
                  <c:v>134</c:v>
                </c:pt>
                <c:pt idx="496">
                  <c:v>168</c:v>
                </c:pt>
                <c:pt idx="497">
                  <c:v>154</c:v>
                </c:pt>
                <c:pt idx="498">
                  <c:v>148</c:v>
                </c:pt>
                <c:pt idx="499">
                  <c:v>139</c:v>
                </c:pt>
                <c:pt idx="500">
                  <c:v>138</c:v>
                </c:pt>
                <c:pt idx="501">
                  <c:v>127</c:v>
                </c:pt>
                <c:pt idx="502">
                  <c:v>114</c:v>
                </c:pt>
                <c:pt idx="503">
                  <c:v>93</c:v>
                </c:pt>
                <c:pt idx="504">
                  <c:v>132</c:v>
                </c:pt>
                <c:pt idx="505">
                  <c:v>117</c:v>
                </c:pt>
                <c:pt idx="506">
                  <c:v>113</c:v>
                </c:pt>
                <c:pt idx="507">
                  <c:v>108</c:v>
                </c:pt>
                <c:pt idx="508">
                  <c:v>112</c:v>
                </c:pt>
                <c:pt idx="509">
                  <c:v>104</c:v>
                </c:pt>
                <c:pt idx="510">
                  <c:v>104</c:v>
                </c:pt>
                <c:pt idx="511">
                  <c:v>100</c:v>
                </c:pt>
                <c:pt idx="512">
                  <c:v>103</c:v>
                </c:pt>
                <c:pt idx="513">
                  <c:v>92</c:v>
                </c:pt>
                <c:pt idx="514">
                  <c:v>93</c:v>
                </c:pt>
                <c:pt idx="515">
                  <c:v>71</c:v>
                </c:pt>
                <c:pt idx="516">
                  <c:v>64</c:v>
                </c:pt>
                <c:pt idx="517">
                  <c:v>64</c:v>
                </c:pt>
                <c:pt idx="518">
                  <c:v>58</c:v>
                </c:pt>
                <c:pt idx="519">
                  <c:v>68</c:v>
                </c:pt>
                <c:pt idx="520">
                  <c:v>50</c:v>
                </c:pt>
                <c:pt idx="521">
                  <c:v>61</c:v>
                </c:pt>
                <c:pt idx="522">
                  <c:v>60</c:v>
                </c:pt>
                <c:pt idx="523">
                  <c:v>134</c:v>
                </c:pt>
                <c:pt idx="524">
                  <c:v>105</c:v>
                </c:pt>
                <c:pt idx="525">
                  <c:v>86</c:v>
                </c:pt>
                <c:pt idx="526">
                  <c:v>98</c:v>
                </c:pt>
                <c:pt idx="527">
                  <c:v>112</c:v>
                </c:pt>
                <c:pt idx="528">
                  <c:v>86</c:v>
                </c:pt>
                <c:pt idx="529">
                  <c:v>108</c:v>
                </c:pt>
                <c:pt idx="530">
                  <c:v>91</c:v>
                </c:pt>
                <c:pt idx="531">
                  <c:v>99</c:v>
                </c:pt>
                <c:pt idx="532">
                  <c:v>94</c:v>
                </c:pt>
                <c:pt idx="533">
                  <c:v>84</c:v>
                </c:pt>
                <c:pt idx="534">
                  <c:v>82</c:v>
                </c:pt>
                <c:pt idx="535">
                  <c:v>82</c:v>
                </c:pt>
                <c:pt idx="536">
                  <c:v>90</c:v>
                </c:pt>
                <c:pt idx="537">
                  <c:v>135</c:v>
                </c:pt>
                <c:pt idx="538">
                  <c:v>119</c:v>
                </c:pt>
                <c:pt idx="539">
                  <c:v>98</c:v>
                </c:pt>
                <c:pt idx="540">
                  <c:v>86</c:v>
                </c:pt>
                <c:pt idx="541">
                  <c:v>106</c:v>
                </c:pt>
                <c:pt idx="542">
                  <c:v>104</c:v>
                </c:pt>
                <c:pt idx="543">
                  <c:v>102</c:v>
                </c:pt>
                <c:pt idx="544">
                  <c:v>101</c:v>
                </c:pt>
                <c:pt idx="545">
                  <c:v>118</c:v>
                </c:pt>
                <c:pt idx="546">
                  <c:v>108</c:v>
                </c:pt>
                <c:pt idx="547">
                  <c:v>101</c:v>
                </c:pt>
                <c:pt idx="548">
                  <c:v>80</c:v>
                </c:pt>
                <c:pt idx="549">
                  <c:v>107</c:v>
                </c:pt>
                <c:pt idx="550">
                  <c:v>96</c:v>
                </c:pt>
                <c:pt idx="551">
                  <c:v>114</c:v>
                </c:pt>
                <c:pt idx="552">
                  <c:v>112</c:v>
                </c:pt>
                <c:pt idx="553">
                  <c:v>104</c:v>
                </c:pt>
                <c:pt idx="554">
                  <c:v>114</c:v>
                </c:pt>
                <c:pt idx="555">
                  <c:v>78</c:v>
                </c:pt>
                <c:pt idx="556">
                  <c:v>133</c:v>
                </c:pt>
                <c:pt idx="557">
                  <c:v>132</c:v>
                </c:pt>
                <c:pt idx="558">
                  <c:v>253</c:v>
                </c:pt>
                <c:pt idx="559">
                  <c:v>217</c:v>
                </c:pt>
                <c:pt idx="560">
                  <c:v>232</c:v>
                </c:pt>
                <c:pt idx="561">
                  <c:v>223</c:v>
                </c:pt>
                <c:pt idx="562">
                  <c:v>200</c:v>
                </c:pt>
                <c:pt idx="563">
                  <c:v>159</c:v>
                </c:pt>
                <c:pt idx="564">
                  <c:v>263</c:v>
                </c:pt>
                <c:pt idx="565">
                  <c:v>288</c:v>
                </c:pt>
                <c:pt idx="566">
                  <c:v>217</c:v>
                </c:pt>
                <c:pt idx="567">
                  <c:v>212</c:v>
                </c:pt>
                <c:pt idx="568">
                  <c:v>255</c:v>
                </c:pt>
                <c:pt idx="569">
                  <c:v>286</c:v>
                </c:pt>
                <c:pt idx="570">
                  <c:v>282</c:v>
                </c:pt>
                <c:pt idx="571">
                  <c:v>247</c:v>
                </c:pt>
                <c:pt idx="572">
                  <c:v>282</c:v>
                </c:pt>
                <c:pt idx="573">
                  <c:v>247</c:v>
                </c:pt>
                <c:pt idx="574">
                  <c:v>280</c:v>
                </c:pt>
                <c:pt idx="575">
                  <c:v>226</c:v>
                </c:pt>
                <c:pt idx="576">
                  <c:v>226</c:v>
                </c:pt>
                <c:pt idx="577">
                  <c:v>311</c:v>
                </c:pt>
                <c:pt idx="578">
                  <c:v>300</c:v>
                </c:pt>
                <c:pt idx="579">
                  <c:v>279</c:v>
                </c:pt>
                <c:pt idx="580">
                  <c:v>232</c:v>
                </c:pt>
                <c:pt idx="581">
                  <c:v>208</c:v>
                </c:pt>
                <c:pt idx="582">
                  <c:v>210</c:v>
                </c:pt>
                <c:pt idx="583">
                  <c:v>187</c:v>
                </c:pt>
                <c:pt idx="584">
                  <c:v>205</c:v>
                </c:pt>
                <c:pt idx="585">
                  <c:v>187</c:v>
                </c:pt>
                <c:pt idx="586">
                  <c:v>222</c:v>
                </c:pt>
                <c:pt idx="587">
                  <c:v>185</c:v>
                </c:pt>
                <c:pt idx="588">
                  <c:v>189</c:v>
                </c:pt>
                <c:pt idx="589">
                  <c:v>195</c:v>
                </c:pt>
                <c:pt idx="590">
                  <c:v>202</c:v>
                </c:pt>
                <c:pt idx="591">
                  <c:v>192</c:v>
                </c:pt>
                <c:pt idx="592">
                  <c:v>179</c:v>
                </c:pt>
                <c:pt idx="593">
                  <c:v>179</c:v>
                </c:pt>
                <c:pt idx="594">
                  <c:v>188</c:v>
                </c:pt>
                <c:pt idx="595">
                  <c:v>177</c:v>
                </c:pt>
                <c:pt idx="596">
                  <c:v>169</c:v>
                </c:pt>
                <c:pt idx="597">
                  <c:v>169</c:v>
                </c:pt>
                <c:pt idx="598">
                  <c:v>176</c:v>
                </c:pt>
                <c:pt idx="599">
                  <c:v>143</c:v>
                </c:pt>
                <c:pt idx="600">
                  <c:v>140</c:v>
                </c:pt>
                <c:pt idx="601">
                  <c:v>132</c:v>
                </c:pt>
                <c:pt idx="602">
                  <c:v>151</c:v>
                </c:pt>
                <c:pt idx="603">
                  <c:v>144</c:v>
                </c:pt>
                <c:pt idx="604">
                  <c:v>149</c:v>
                </c:pt>
                <c:pt idx="605">
                  <c:v>146</c:v>
                </c:pt>
                <c:pt idx="606">
                  <c:v>151</c:v>
                </c:pt>
                <c:pt idx="607">
                  <c:v>151</c:v>
                </c:pt>
                <c:pt idx="608">
                  <c:v>150</c:v>
                </c:pt>
                <c:pt idx="609">
                  <c:v>143</c:v>
                </c:pt>
                <c:pt idx="610">
                  <c:v>139</c:v>
                </c:pt>
                <c:pt idx="611">
                  <c:v>127</c:v>
                </c:pt>
                <c:pt idx="612">
                  <c:v>129</c:v>
                </c:pt>
                <c:pt idx="613">
                  <c:v>135</c:v>
                </c:pt>
                <c:pt idx="614">
                  <c:v>132</c:v>
                </c:pt>
                <c:pt idx="615">
                  <c:v>146</c:v>
                </c:pt>
                <c:pt idx="616">
                  <c:v>109</c:v>
                </c:pt>
                <c:pt idx="617">
                  <c:v>72</c:v>
                </c:pt>
                <c:pt idx="618">
                  <c:v>58</c:v>
                </c:pt>
                <c:pt idx="619">
                  <c:v>67</c:v>
                </c:pt>
                <c:pt idx="620">
                  <c:v>46</c:v>
                </c:pt>
                <c:pt idx="621">
                  <c:v>44</c:v>
                </c:pt>
                <c:pt idx="622">
                  <c:v>51</c:v>
                </c:pt>
                <c:pt idx="623">
                  <c:v>45</c:v>
                </c:pt>
                <c:pt idx="624">
                  <c:v>53</c:v>
                </c:pt>
                <c:pt idx="625">
                  <c:v>50</c:v>
                </c:pt>
                <c:pt idx="626">
                  <c:v>51</c:v>
                </c:pt>
                <c:pt idx="627">
                  <c:v>48</c:v>
                </c:pt>
                <c:pt idx="628">
                  <c:v>68</c:v>
                </c:pt>
                <c:pt idx="629">
                  <c:v>48</c:v>
                </c:pt>
                <c:pt idx="630">
                  <c:v>68</c:v>
                </c:pt>
                <c:pt idx="631">
                  <c:v>56</c:v>
                </c:pt>
                <c:pt idx="632">
                  <c:v>114</c:v>
                </c:pt>
                <c:pt idx="633">
                  <c:v>137</c:v>
                </c:pt>
                <c:pt idx="634">
                  <c:v>236</c:v>
                </c:pt>
                <c:pt idx="635">
                  <c:v>215</c:v>
                </c:pt>
                <c:pt idx="636">
                  <c:v>182</c:v>
                </c:pt>
                <c:pt idx="637">
                  <c:v>170</c:v>
                </c:pt>
                <c:pt idx="638">
                  <c:v>164</c:v>
                </c:pt>
                <c:pt idx="639">
                  <c:v>208</c:v>
                </c:pt>
                <c:pt idx="640">
                  <c:v>201</c:v>
                </c:pt>
                <c:pt idx="641">
                  <c:v>198</c:v>
                </c:pt>
                <c:pt idx="642">
                  <c:v>200</c:v>
                </c:pt>
                <c:pt idx="643">
                  <c:v>189</c:v>
                </c:pt>
                <c:pt idx="644">
                  <c:v>187</c:v>
                </c:pt>
                <c:pt idx="645">
                  <c:v>226</c:v>
                </c:pt>
                <c:pt idx="646">
                  <c:v>186</c:v>
                </c:pt>
                <c:pt idx="647">
                  <c:v>207</c:v>
                </c:pt>
                <c:pt idx="648">
                  <c:v>237</c:v>
                </c:pt>
                <c:pt idx="649">
                  <c:v>213</c:v>
                </c:pt>
                <c:pt idx="650">
                  <c:v>207</c:v>
                </c:pt>
                <c:pt idx="651">
                  <c:v>223</c:v>
                </c:pt>
                <c:pt idx="652">
                  <c:v>216</c:v>
                </c:pt>
                <c:pt idx="653">
                  <c:v>226</c:v>
                </c:pt>
                <c:pt idx="654">
                  <c:v>270</c:v>
                </c:pt>
                <c:pt idx="655">
                  <c:v>311</c:v>
                </c:pt>
                <c:pt idx="656">
                  <c:v>311</c:v>
                </c:pt>
                <c:pt idx="657">
                  <c:v>309</c:v>
                </c:pt>
                <c:pt idx="658">
                  <c:v>320</c:v>
                </c:pt>
                <c:pt idx="659">
                  <c:v>306</c:v>
                </c:pt>
                <c:pt idx="660">
                  <c:v>290</c:v>
                </c:pt>
                <c:pt idx="661">
                  <c:v>309</c:v>
                </c:pt>
                <c:pt idx="662">
                  <c:v>279</c:v>
                </c:pt>
                <c:pt idx="663">
                  <c:v>296</c:v>
                </c:pt>
                <c:pt idx="664">
                  <c:v>296</c:v>
                </c:pt>
                <c:pt idx="665">
                  <c:v>327</c:v>
                </c:pt>
                <c:pt idx="666">
                  <c:v>316</c:v>
                </c:pt>
                <c:pt idx="667">
                  <c:v>319</c:v>
                </c:pt>
                <c:pt idx="668">
                  <c:v>311</c:v>
                </c:pt>
                <c:pt idx="669">
                  <c:v>298</c:v>
                </c:pt>
                <c:pt idx="670">
                  <c:v>301</c:v>
                </c:pt>
                <c:pt idx="671">
                  <c:v>236</c:v>
                </c:pt>
                <c:pt idx="672">
                  <c:v>336</c:v>
                </c:pt>
                <c:pt idx="673">
                  <c:v>329</c:v>
                </c:pt>
                <c:pt idx="674">
                  <c:v>319</c:v>
                </c:pt>
                <c:pt idx="675">
                  <c:v>303</c:v>
                </c:pt>
                <c:pt idx="676">
                  <c:v>251</c:v>
                </c:pt>
                <c:pt idx="677">
                  <c:v>215</c:v>
                </c:pt>
                <c:pt idx="678">
                  <c:v>221</c:v>
                </c:pt>
                <c:pt idx="679">
                  <c:v>174</c:v>
                </c:pt>
                <c:pt idx="680">
                  <c:v>173</c:v>
                </c:pt>
                <c:pt idx="681">
                  <c:v>169</c:v>
                </c:pt>
                <c:pt idx="682">
                  <c:v>167</c:v>
                </c:pt>
                <c:pt idx="683">
                  <c:v>168</c:v>
                </c:pt>
                <c:pt idx="684">
                  <c:v>167</c:v>
                </c:pt>
                <c:pt idx="685">
                  <c:v>140</c:v>
                </c:pt>
                <c:pt idx="686">
                  <c:v>168</c:v>
                </c:pt>
                <c:pt idx="687">
                  <c:v>143</c:v>
                </c:pt>
                <c:pt idx="688">
                  <c:v>144</c:v>
                </c:pt>
                <c:pt idx="689">
                  <c:v>138</c:v>
                </c:pt>
                <c:pt idx="690">
                  <c:v>136</c:v>
                </c:pt>
                <c:pt idx="691">
                  <c:v>126</c:v>
                </c:pt>
                <c:pt idx="692">
                  <c:v>182</c:v>
                </c:pt>
                <c:pt idx="693">
                  <c:v>178</c:v>
                </c:pt>
                <c:pt idx="694">
                  <c:v>167</c:v>
                </c:pt>
                <c:pt idx="695">
                  <c:v>170</c:v>
                </c:pt>
                <c:pt idx="696">
                  <c:v>150</c:v>
                </c:pt>
                <c:pt idx="697">
                  <c:v>151</c:v>
                </c:pt>
                <c:pt idx="698">
                  <c:v>153</c:v>
                </c:pt>
                <c:pt idx="699">
                  <c:v>156</c:v>
                </c:pt>
                <c:pt idx="700">
                  <c:v>169</c:v>
                </c:pt>
                <c:pt idx="701">
                  <c:v>165</c:v>
                </c:pt>
                <c:pt idx="702">
                  <c:v>167</c:v>
                </c:pt>
                <c:pt idx="703">
                  <c:v>168</c:v>
                </c:pt>
                <c:pt idx="704">
                  <c:v>168</c:v>
                </c:pt>
                <c:pt idx="705">
                  <c:v>164</c:v>
                </c:pt>
                <c:pt idx="706">
                  <c:v>182</c:v>
                </c:pt>
                <c:pt idx="707">
                  <c:v>147</c:v>
                </c:pt>
                <c:pt idx="708">
                  <c:v>158</c:v>
                </c:pt>
                <c:pt idx="709">
                  <c:v>175</c:v>
                </c:pt>
                <c:pt idx="710">
                  <c:v>162</c:v>
                </c:pt>
                <c:pt idx="711">
                  <c:v>159</c:v>
                </c:pt>
                <c:pt idx="712">
                  <c:v>124</c:v>
                </c:pt>
                <c:pt idx="713">
                  <c:v>81</c:v>
                </c:pt>
                <c:pt idx="714">
                  <c:v>94</c:v>
                </c:pt>
                <c:pt idx="715">
                  <c:v>94</c:v>
                </c:pt>
                <c:pt idx="716">
                  <c:v>74</c:v>
                </c:pt>
                <c:pt idx="717">
                  <c:v>103</c:v>
                </c:pt>
                <c:pt idx="718">
                  <c:v>107</c:v>
                </c:pt>
                <c:pt idx="719">
                  <c:v>96</c:v>
                </c:pt>
                <c:pt idx="720">
                  <c:v>104</c:v>
                </c:pt>
                <c:pt idx="721">
                  <c:v>83</c:v>
                </c:pt>
                <c:pt idx="722">
                  <c:v>114</c:v>
                </c:pt>
                <c:pt idx="723">
                  <c:v>94</c:v>
                </c:pt>
                <c:pt idx="724">
                  <c:v>96</c:v>
                </c:pt>
                <c:pt idx="725">
                  <c:v>111</c:v>
                </c:pt>
                <c:pt idx="726">
                  <c:v>95</c:v>
                </c:pt>
                <c:pt idx="727">
                  <c:v>86</c:v>
                </c:pt>
                <c:pt idx="728">
                  <c:v>144</c:v>
                </c:pt>
                <c:pt idx="729">
                  <c:v>157</c:v>
                </c:pt>
                <c:pt idx="730">
                  <c:v>215</c:v>
                </c:pt>
                <c:pt idx="731">
                  <c:v>256</c:v>
                </c:pt>
                <c:pt idx="732">
                  <c:v>201</c:v>
                </c:pt>
                <c:pt idx="733">
                  <c:v>190</c:v>
                </c:pt>
                <c:pt idx="734">
                  <c:v>166</c:v>
                </c:pt>
                <c:pt idx="735">
                  <c:v>184</c:v>
                </c:pt>
                <c:pt idx="736">
                  <c:v>203</c:v>
                </c:pt>
                <c:pt idx="737">
                  <c:v>194</c:v>
                </c:pt>
                <c:pt idx="738">
                  <c:v>190</c:v>
                </c:pt>
                <c:pt idx="739">
                  <c:v>183</c:v>
                </c:pt>
                <c:pt idx="740">
                  <c:v>231</c:v>
                </c:pt>
                <c:pt idx="741">
                  <c:v>229</c:v>
                </c:pt>
                <c:pt idx="742">
                  <c:v>183</c:v>
                </c:pt>
                <c:pt idx="743">
                  <c:v>186</c:v>
                </c:pt>
                <c:pt idx="744">
                  <c:v>198</c:v>
                </c:pt>
                <c:pt idx="745">
                  <c:v>284</c:v>
                </c:pt>
                <c:pt idx="746">
                  <c:v>233</c:v>
                </c:pt>
                <c:pt idx="747">
                  <c:v>212</c:v>
                </c:pt>
                <c:pt idx="748">
                  <c:v>243</c:v>
                </c:pt>
                <c:pt idx="749">
                  <c:v>214</c:v>
                </c:pt>
                <c:pt idx="750">
                  <c:v>298</c:v>
                </c:pt>
                <c:pt idx="751">
                  <c:v>324</c:v>
                </c:pt>
                <c:pt idx="752">
                  <c:v>325</c:v>
                </c:pt>
                <c:pt idx="753">
                  <c:v>335</c:v>
                </c:pt>
                <c:pt idx="754">
                  <c:v>323</c:v>
                </c:pt>
                <c:pt idx="755">
                  <c:v>324</c:v>
                </c:pt>
                <c:pt idx="756">
                  <c:v>334</c:v>
                </c:pt>
                <c:pt idx="757">
                  <c:v>332</c:v>
                </c:pt>
                <c:pt idx="758">
                  <c:v>304</c:v>
                </c:pt>
                <c:pt idx="759">
                  <c:v>322</c:v>
                </c:pt>
                <c:pt idx="760">
                  <c:v>281</c:v>
                </c:pt>
                <c:pt idx="761">
                  <c:v>338</c:v>
                </c:pt>
                <c:pt idx="762">
                  <c:v>276</c:v>
                </c:pt>
                <c:pt idx="763">
                  <c:v>309</c:v>
                </c:pt>
                <c:pt idx="764">
                  <c:v>328</c:v>
                </c:pt>
                <c:pt idx="765">
                  <c:v>270</c:v>
                </c:pt>
                <c:pt idx="766">
                  <c:v>345</c:v>
                </c:pt>
                <c:pt idx="767">
                  <c:v>305</c:v>
                </c:pt>
                <c:pt idx="768">
                  <c:v>243</c:v>
                </c:pt>
                <c:pt idx="769">
                  <c:v>285</c:v>
                </c:pt>
                <c:pt idx="770">
                  <c:v>288</c:v>
                </c:pt>
                <c:pt idx="771">
                  <c:v>305</c:v>
                </c:pt>
                <c:pt idx="772">
                  <c:v>250</c:v>
                </c:pt>
                <c:pt idx="773">
                  <c:v>250</c:v>
                </c:pt>
                <c:pt idx="774">
                  <c:v>190</c:v>
                </c:pt>
                <c:pt idx="775">
                  <c:v>201</c:v>
                </c:pt>
                <c:pt idx="776">
                  <c:v>185</c:v>
                </c:pt>
                <c:pt idx="777">
                  <c:v>259</c:v>
                </c:pt>
                <c:pt idx="778">
                  <c:v>230</c:v>
                </c:pt>
                <c:pt idx="779">
                  <c:v>238</c:v>
                </c:pt>
                <c:pt idx="780">
                  <c:v>239</c:v>
                </c:pt>
                <c:pt idx="781">
                  <c:v>244</c:v>
                </c:pt>
                <c:pt idx="782">
                  <c:v>215</c:v>
                </c:pt>
                <c:pt idx="783">
                  <c:v>226</c:v>
                </c:pt>
                <c:pt idx="784">
                  <c:v>213</c:v>
                </c:pt>
                <c:pt idx="785">
                  <c:v>212</c:v>
                </c:pt>
                <c:pt idx="786">
                  <c:v>222</c:v>
                </c:pt>
                <c:pt idx="787">
                  <c:v>187</c:v>
                </c:pt>
                <c:pt idx="788">
                  <c:v>185</c:v>
                </c:pt>
                <c:pt idx="789">
                  <c:v>196</c:v>
                </c:pt>
                <c:pt idx="790">
                  <c:v>169</c:v>
                </c:pt>
                <c:pt idx="791">
                  <c:v>181</c:v>
                </c:pt>
                <c:pt idx="792">
                  <c:v>101</c:v>
                </c:pt>
                <c:pt idx="793">
                  <c:v>166</c:v>
                </c:pt>
                <c:pt idx="794">
                  <c:v>156</c:v>
                </c:pt>
                <c:pt idx="795">
                  <c:v>156</c:v>
                </c:pt>
                <c:pt idx="796">
                  <c:v>158</c:v>
                </c:pt>
                <c:pt idx="797">
                  <c:v>157</c:v>
                </c:pt>
                <c:pt idx="798">
                  <c:v>149</c:v>
                </c:pt>
                <c:pt idx="799">
                  <c:v>147</c:v>
                </c:pt>
                <c:pt idx="800">
                  <c:v>158</c:v>
                </c:pt>
                <c:pt idx="801">
                  <c:v>137</c:v>
                </c:pt>
                <c:pt idx="802">
                  <c:v>138</c:v>
                </c:pt>
                <c:pt idx="803">
                  <c:v>137</c:v>
                </c:pt>
                <c:pt idx="804">
                  <c:v>113</c:v>
                </c:pt>
                <c:pt idx="805">
                  <c:v>113</c:v>
                </c:pt>
                <c:pt idx="806">
                  <c:v>135</c:v>
                </c:pt>
                <c:pt idx="807">
                  <c:v>135</c:v>
                </c:pt>
                <c:pt idx="808">
                  <c:v>123</c:v>
                </c:pt>
                <c:pt idx="809">
                  <c:v>111</c:v>
                </c:pt>
                <c:pt idx="810">
                  <c:v>96</c:v>
                </c:pt>
                <c:pt idx="811">
                  <c:v>54</c:v>
                </c:pt>
                <c:pt idx="812">
                  <c:v>147</c:v>
                </c:pt>
                <c:pt idx="813">
                  <c:v>450</c:v>
                </c:pt>
                <c:pt idx="814">
                  <c:v>402</c:v>
                </c:pt>
                <c:pt idx="815">
                  <c:v>391</c:v>
                </c:pt>
                <c:pt idx="816">
                  <c:v>385</c:v>
                </c:pt>
                <c:pt idx="817">
                  <c:v>405</c:v>
                </c:pt>
                <c:pt idx="818">
                  <c:v>387</c:v>
                </c:pt>
                <c:pt idx="819">
                  <c:v>273</c:v>
                </c:pt>
                <c:pt idx="820">
                  <c:v>198</c:v>
                </c:pt>
                <c:pt idx="821">
                  <c:v>205</c:v>
                </c:pt>
                <c:pt idx="822">
                  <c:v>110</c:v>
                </c:pt>
                <c:pt idx="823">
                  <c:v>181</c:v>
                </c:pt>
                <c:pt idx="824">
                  <c:v>357</c:v>
                </c:pt>
                <c:pt idx="825">
                  <c:v>374</c:v>
                </c:pt>
                <c:pt idx="826">
                  <c:v>358</c:v>
                </c:pt>
                <c:pt idx="827">
                  <c:v>349</c:v>
                </c:pt>
                <c:pt idx="828">
                  <c:v>273</c:v>
                </c:pt>
                <c:pt idx="829">
                  <c:v>203</c:v>
                </c:pt>
                <c:pt idx="830">
                  <c:v>209</c:v>
                </c:pt>
                <c:pt idx="831">
                  <c:v>208</c:v>
                </c:pt>
                <c:pt idx="832">
                  <c:v>188</c:v>
                </c:pt>
                <c:pt idx="833">
                  <c:v>163</c:v>
                </c:pt>
                <c:pt idx="834">
                  <c:v>151</c:v>
                </c:pt>
                <c:pt idx="835">
                  <c:v>155</c:v>
                </c:pt>
                <c:pt idx="836">
                  <c:v>139</c:v>
                </c:pt>
                <c:pt idx="837">
                  <c:v>166</c:v>
                </c:pt>
                <c:pt idx="838">
                  <c:v>133</c:v>
                </c:pt>
                <c:pt idx="839">
                  <c:v>145</c:v>
                </c:pt>
                <c:pt idx="840">
                  <c:v>150</c:v>
                </c:pt>
                <c:pt idx="841">
                  <c:v>158</c:v>
                </c:pt>
                <c:pt idx="842">
                  <c:v>161</c:v>
                </c:pt>
                <c:pt idx="843">
                  <c:v>135</c:v>
                </c:pt>
                <c:pt idx="844">
                  <c:v>128</c:v>
                </c:pt>
                <c:pt idx="845">
                  <c:v>131</c:v>
                </c:pt>
                <c:pt idx="846">
                  <c:v>139</c:v>
                </c:pt>
                <c:pt idx="847">
                  <c:v>145</c:v>
                </c:pt>
                <c:pt idx="848">
                  <c:v>118</c:v>
                </c:pt>
                <c:pt idx="849">
                  <c:v>126</c:v>
                </c:pt>
                <c:pt idx="850">
                  <c:v>114</c:v>
                </c:pt>
                <c:pt idx="851">
                  <c:v>105</c:v>
                </c:pt>
                <c:pt idx="852">
                  <c:v>119</c:v>
                </c:pt>
                <c:pt idx="853">
                  <c:v>94</c:v>
                </c:pt>
                <c:pt idx="854">
                  <c:v>99</c:v>
                </c:pt>
                <c:pt idx="855">
                  <c:v>94</c:v>
                </c:pt>
                <c:pt idx="856">
                  <c:v>92</c:v>
                </c:pt>
                <c:pt idx="857">
                  <c:v>26</c:v>
                </c:pt>
                <c:pt idx="858">
                  <c:v>36</c:v>
                </c:pt>
                <c:pt idx="859">
                  <c:v>34</c:v>
                </c:pt>
                <c:pt idx="860">
                  <c:v>33</c:v>
                </c:pt>
                <c:pt idx="861">
                  <c:v>244</c:v>
                </c:pt>
                <c:pt idx="862">
                  <c:v>445</c:v>
                </c:pt>
                <c:pt idx="863">
                  <c:v>356</c:v>
                </c:pt>
                <c:pt idx="864">
                  <c:v>428</c:v>
                </c:pt>
                <c:pt idx="865">
                  <c:v>435</c:v>
                </c:pt>
                <c:pt idx="866">
                  <c:v>447</c:v>
                </c:pt>
                <c:pt idx="867">
                  <c:v>409</c:v>
                </c:pt>
                <c:pt idx="868">
                  <c:v>389</c:v>
                </c:pt>
                <c:pt idx="869">
                  <c:v>277</c:v>
                </c:pt>
                <c:pt idx="870">
                  <c:v>304</c:v>
                </c:pt>
                <c:pt idx="871">
                  <c:v>237</c:v>
                </c:pt>
                <c:pt idx="872">
                  <c:v>276</c:v>
                </c:pt>
                <c:pt idx="873">
                  <c:v>298</c:v>
                </c:pt>
                <c:pt idx="874">
                  <c:v>277</c:v>
                </c:pt>
                <c:pt idx="875">
                  <c:v>289</c:v>
                </c:pt>
                <c:pt idx="876">
                  <c:v>305</c:v>
                </c:pt>
                <c:pt idx="877">
                  <c:v>270</c:v>
                </c:pt>
                <c:pt idx="878">
                  <c:v>260</c:v>
                </c:pt>
                <c:pt idx="879">
                  <c:v>302</c:v>
                </c:pt>
                <c:pt idx="880">
                  <c:v>238</c:v>
                </c:pt>
                <c:pt idx="881">
                  <c:v>283</c:v>
                </c:pt>
                <c:pt idx="882">
                  <c:v>279</c:v>
                </c:pt>
                <c:pt idx="883">
                  <c:v>280</c:v>
                </c:pt>
                <c:pt idx="884">
                  <c:v>298</c:v>
                </c:pt>
                <c:pt idx="885">
                  <c:v>270</c:v>
                </c:pt>
                <c:pt idx="886">
                  <c:v>271</c:v>
                </c:pt>
                <c:pt idx="887">
                  <c:v>276</c:v>
                </c:pt>
                <c:pt idx="888">
                  <c:v>240</c:v>
                </c:pt>
                <c:pt idx="889">
                  <c:v>251</c:v>
                </c:pt>
                <c:pt idx="890">
                  <c:v>245</c:v>
                </c:pt>
                <c:pt idx="891">
                  <c:v>239</c:v>
                </c:pt>
                <c:pt idx="892">
                  <c:v>227</c:v>
                </c:pt>
                <c:pt idx="893">
                  <c:v>187</c:v>
                </c:pt>
                <c:pt idx="894">
                  <c:v>188</c:v>
                </c:pt>
                <c:pt idx="895">
                  <c:v>189</c:v>
                </c:pt>
                <c:pt idx="896">
                  <c:v>146</c:v>
                </c:pt>
                <c:pt idx="897">
                  <c:v>140</c:v>
                </c:pt>
                <c:pt idx="898">
                  <c:v>128</c:v>
                </c:pt>
                <c:pt idx="899">
                  <c:v>142</c:v>
                </c:pt>
                <c:pt idx="900">
                  <c:v>140</c:v>
                </c:pt>
                <c:pt idx="901">
                  <c:v>123</c:v>
                </c:pt>
                <c:pt idx="902">
                  <c:v>117</c:v>
                </c:pt>
                <c:pt idx="903">
                  <c:v>397</c:v>
                </c:pt>
                <c:pt idx="904">
                  <c:v>316</c:v>
                </c:pt>
                <c:pt idx="905">
                  <c:v>524</c:v>
                </c:pt>
                <c:pt idx="906">
                  <c:v>435</c:v>
                </c:pt>
                <c:pt idx="907">
                  <c:v>417</c:v>
                </c:pt>
                <c:pt idx="908">
                  <c:v>366</c:v>
                </c:pt>
                <c:pt idx="909">
                  <c:v>329</c:v>
                </c:pt>
                <c:pt idx="910">
                  <c:v>269</c:v>
                </c:pt>
                <c:pt idx="911">
                  <c:v>276</c:v>
                </c:pt>
                <c:pt idx="912">
                  <c:v>222</c:v>
                </c:pt>
                <c:pt idx="913">
                  <c:v>216</c:v>
                </c:pt>
                <c:pt idx="914">
                  <c:v>282</c:v>
                </c:pt>
                <c:pt idx="915">
                  <c:v>304</c:v>
                </c:pt>
                <c:pt idx="916">
                  <c:v>323</c:v>
                </c:pt>
                <c:pt idx="917">
                  <c:v>326</c:v>
                </c:pt>
                <c:pt idx="918">
                  <c:v>314</c:v>
                </c:pt>
                <c:pt idx="919">
                  <c:v>320</c:v>
                </c:pt>
                <c:pt idx="920">
                  <c:v>305</c:v>
                </c:pt>
                <c:pt idx="921">
                  <c:v>318</c:v>
                </c:pt>
                <c:pt idx="922">
                  <c:v>349</c:v>
                </c:pt>
                <c:pt idx="923">
                  <c:v>348</c:v>
                </c:pt>
                <c:pt idx="924">
                  <c:v>285</c:v>
                </c:pt>
                <c:pt idx="925">
                  <c:v>268</c:v>
                </c:pt>
                <c:pt idx="926">
                  <c:v>323</c:v>
                </c:pt>
                <c:pt idx="927">
                  <c:v>341</c:v>
                </c:pt>
                <c:pt idx="928">
                  <c:v>342</c:v>
                </c:pt>
                <c:pt idx="929">
                  <c:v>313</c:v>
                </c:pt>
                <c:pt idx="930">
                  <c:v>312</c:v>
                </c:pt>
                <c:pt idx="931">
                  <c:v>312</c:v>
                </c:pt>
                <c:pt idx="932">
                  <c:v>341</c:v>
                </c:pt>
                <c:pt idx="933">
                  <c:v>323</c:v>
                </c:pt>
                <c:pt idx="934">
                  <c:v>309</c:v>
                </c:pt>
                <c:pt idx="935">
                  <c:v>312</c:v>
                </c:pt>
                <c:pt idx="936">
                  <c:v>265</c:v>
                </c:pt>
                <c:pt idx="937">
                  <c:v>238</c:v>
                </c:pt>
                <c:pt idx="938">
                  <c:v>245</c:v>
                </c:pt>
                <c:pt idx="939">
                  <c:v>220</c:v>
                </c:pt>
                <c:pt idx="940">
                  <c:v>216</c:v>
                </c:pt>
                <c:pt idx="941">
                  <c:v>479</c:v>
                </c:pt>
                <c:pt idx="942">
                  <c:v>463</c:v>
                </c:pt>
                <c:pt idx="943">
                  <c:v>486</c:v>
                </c:pt>
                <c:pt idx="944">
                  <c:v>403</c:v>
                </c:pt>
                <c:pt idx="945">
                  <c:v>464</c:v>
                </c:pt>
                <c:pt idx="946">
                  <c:v>435</c:v>
                </c:pt>
                <c:pt idx="947">
                  <c:v>365</c:v>
                </c:pt>
                <c:pt idx="948">
                  <c:v>302</c:v>
                </c:pt>
                <c:pt idx="949">
                  <c:v>234</c:v>
                </c:pt>
                <c:pt idx="950">
                  <c:v>249</c:v>
                </c:pt>
                <c:pt idx="951">
                  <c:v>214</c:v>
                </c:pt>
                <c:pt idx="952">
                  <c:v>188</c:v>
                </c:pt>
                <c:pt idx="953">
                  <c:v>181</c:v>
                </c:pt>
                <c:pt idx="954">
                  <c:v>210</c:v>
                </c:pt>
                <c:pt idx="955">
                  <c:v>177</c:v>
                </c:pt>
                <c:pt idx="956">
                  <c:v>186</c:v>
                </c:pt>
                <c:pt idx="957">
                  <c:v>170</c:v>
                </c:pt>
                <c:pt idx="958">
                  <c:v>223</c:v>
                </c:pt>
                <c:pt idx="959">
                  <c:v>165</c:v>
                </c:pt>
                <c:pt idx="960">
                  <c:v>195</c:v>
                </c:pt>
                <c:pt idx="961">
                  <c:v>152</c:v>
                </c:pt>
                <c:pt idx="962">
                  <c:v>138</c:v>
                </c:pt>
                <c:pt idx="963">
                  <c:v>118</c:v>
                </c:pt>
                <c:pt idx="964">
                  <c:v>431</c:v>
                </c:pt>
                <c:pt idx="965">
                  <c:v>302</c:v>
                </c:pt>
                <c:pt idx="966">
                  <c:v>479</c:v>
                </c:pt>
                <c:pt idx="967">
                  <c:v>482</c:v>
                </c:pt>
                <c:pt idx="968">
                  <c:v>421</c:v>
                </c:pt>
                <c:pt idx="969">
                  <c:v>451</c:v>
                </c:pt>
                <c:pt idx="970">
                  <c:v>328</c:v>
                </c:pt>
                <c:pt idx="971">
                  <c:v>337</c:v>
                </c:pt>
                <c:pt idx="972">
                  <c:v>289</c:v>
                </c:pt>
                <c:pt idx="973">
                  <c:v>282</c:v>
                </c:pt>
                <c:pt idx="974">
                  <c:v>290</c:v>
                </c:pt>
                <c:pt idx="975">
                  <c:v>289</c:v>
                </c:pt>
                <c:pt idx="976">
                  <c:v>250</c:v>
                </c:pt>
                <c:pt idx="977">
                  <c:v>257</c:v>
                </c:pt>
                <c:pt idx="978">
                  <c:v>274</c:v>
                </c:pt>
                <c:pt idx="979">
                  <c:v>274</c:v>
                </c:pt>
                <c:pt idx="980">
                  <c:v>279</c:v>
                </c:pt>
                <c:pt idx="981">
                  <c:v>274</c:v>
                </c:pt>
                <c:pt idx="982">
                  <c:v>292</c:v>
                </c:pt>
                <c:pt idx="983">
                  <c:v>262</c:v>
                </c:pt>
                <c:pt idx="984">
                  <c:v>305</c:v>
                </c:pt>
                <c:pt idx="985">
                  <c:v>273</c:v>
                </c:pt>
                <c:pt idx="986">
                  <c:v>321</c:v>
                </c:pt>
                <c:pt idx="987">
                  <c:v>270</c:v>
                </c:pt>
                <c:pt idx="988">
                  <c:v>312</c:v>
                </c:pt>
                <c:pt idx="989">
                  <c:v>275</c:v>
                </c:pt>
                <c:pt idx="990">
                  <c:v>302</c:v>
                </c:pt>
                <c:pt idx="991">
                  <c:v>266</c:v>
                </c:pt>
                <c:pt idx="992">
                  <c:v>289</c:v>
                </c:pt>
                <c:pt idx="993">
                  <c:v>237</c:v>
                </c:pt>
                <c:pt idx="994">
                  <c:v>225</c:v>
                </c:pt>
                <c:pt idx="995">
                  <c:v>212</c:v>
                </c:pt>
                <c:pt idx="996">
                  <c:v>211</c:v>
                </c:pt>
                <c:pt idx="997">
                  <c:v>191</c:v>
                </c:pt>
                <c:pt idx="998">
                  <c:v>206</c:v>
                </c:pt>
                <c:pt idx="999">
                  <c:v>178</c:v>
                </c:pt>
                <c:pt idx="1000">
                  <c:v>164</c:v>
                </c:pt>
                <c:pt idx="1001">
                  <c:v>164</c:v>
                </c:pt>
                <c:pt idx="1002">
                  <c:v>166</c:v>
                </c:pt>
                <c:pt idx="1003">
                  <c:v>158</c:v>
                </c:pt>
                <c:pt idx="1004">
                  <c:v>135</c:v>
                </c:pt>
                <c:pt idx="1005">
                  <c:v>121</c:v>
                </c:pt>
                <c:pt idx="1006">
                  <c:v>124</c:v>
                </c:pt>
                <c:pt idx="1007">
                  <c:v>122</c:v>
                </c:pt>
                <c:pt idx="1008">
                  <c:v>158</c:v>
                </c:pt>
                <c:pt idx="1009">
                  <c:v>143</c:v>
                </c:pt>
                <c:pt idx="1010">
                  <c:v>195</c:v>
                </c:pt>
                <c:pt idx="1011">
                  <c:v>564</c:v>
                </c:pt>
                <c:pt idx="1012">
                  <c:v>473</c:v>
                </c:pt>
                <c:pt idx="1013">
                  <c:v>469</c:v>
                </c:pt>
                <c:pt idx="1014">
                  <c:v>473</c:v>
                </c:pt>
                <c:pt idx="1015">
                  <c:v>376</c:v>
                </c:pt>
                <c:pt idx="1016">
                  <c:v>377</c:v>
                </c:pt>
                <c:pt idx="1017">
                  <c:v>348</c:v>
                </c:pt>
                <c:pt idx="1018">
                  <c:v>357</c:v>
                </c:pt>
                <c:pt idx="1019">
                  <c:v>313</c:v>
                </c:pt>
                <c:pt idx="1020">
                  <c:v>319</c:v>
                </c:pt>
                <c:pt idx="1021">
                  <c:v>336</c:v>
                </c:pt>
                <c:pt idx="1022">
                  <c:v>279</c:v>
                </c:pt>
                <c:pt idx="1023">
                  <c:v>296</c:v>
                </c:pt>
                <c:pt idx="1024">
                  <c:v>220</c:v>
                </c:pt>
                <c:pt idx="1025">
                  <c:v>378</c:v>
                </c:pt>
                <c:pt idx="1026">
                  <c:v>347</c:v>
                </c:pt>
                <c:pt idx="1027">
                  <c:v>383</c:v>
                </c:pt>
                <c:pt idx="1028">
                  <c:v>373</c:v>
                </c:pt>
                <c:pt idx="1029">
                  <c:v>300</c:v>
                </c:pt>
                <c:pt idx="1030">
                  <c:v>375</c:v>
                </c:pt>
                <c:pt idx="1031">
                  <c:v>363</c:v>
                </c:pt>
                <c:pt idx="1032">
                  <c:v>331</c:v>
                </c:pt>
                <c:pt idx="1033">
                  <c:v>351</c:v>
                </c:pt>
                <c:pt idx="1034">
                  <c:v>333</c:v>
                </c:pt>
                <c:pt idx="1035">
                  <c:v>354</c:v>
                </c:pt>
                <c:pt idx="1036">
                  <c:v>379</c:v>
                </c:pt>
                <c:pt idx="1037">
                  <c:v>419</c:v>
                </c:pt>
                <c:pt idx="1038">
                  <c:v>356</c:v>
                </c:pt>
                <c:pt idx="1039">
                  <c:v>324</c:v>
                </c:pt>
                <c:pt idx="1040">
                  <c:v>298</c:v>
                </c:pt>
                <c:pt idx="1041">
                  <c:v>296</c:v>
                </c:pt>
                <c:pt idx="1042">
                  <c:v>292</c:v>
                </c:pt>
                <c:pt idx="1043">
                  <c:v>288</c:v>
                </c:pt>
                <c:pt idx="1044">
                  <c:v>248</c:v>
                </c:pt>
                <c:pt idx="1045">
                  <c:v>325</c:v>
                </c:pt>
                <c:pt idx="1046">
                  <c:v>361</c:v>
                </c:pt>
                <c:pt idx="1047">
                  <c:v>338</c:v>
                </c:pt>
                <c:pt idx="1048">
                  <c:v>307</c:v>
                </c:pt>
                <c:pt idx="1049">
                  <c:v>285</c:v>
                </c:pt>
                <c:pt idx="1050">
                  <c:v>278</c:v>
                </c:pt>
                <c:pt idx="1051">
                  <c:v>266</c:v>
                </c:pt>
                <c:pt idx="1052">
                  <c:v>238</c:v>
                </c:pt>
                <c:pt idx="1053">
                  <c:v>212</c:v>
                </c:pt>
                <c:pt idx="1054">
                  <c:v>207</c:v>
                </c:pt>
                <c:pt idx="1055">
                  <c:v>212</c:v>
                </c:pt>
                <c:pt idx="1056">
                  <c:v>211</c:v>
                </c:pt>
                <c:pt idx="1057">
                  <c:v>170</c:v>
                </c:pt>
                <c:pt idx="1058">
                  <c:v>148</c:v>
                </c:pt>
                <c:pt idx="1059">
                  <c:v>159</c:v>
                </c:pt>
                <c:pt idx="1060">
                  <c:v>166</c:v>
                </c:pt>
                <c:pt idx="1061">
                  <c:v>149</c:v>
                </c:pt>
                <c:pt idx="1062">
                  <c:v>226</c:v>
                </c:pt>
                <c:pt idx="1063">
                  <c:v>231</c:v>
                </c:pt>
                <c:pt idx="1064">
                  <c:v>191</c:v>
                </c:pt>
                <c:pt idx="1065">
                  <c:v>203</c:v>
                </c:pt>
                <c:pt idx="1066">
                  <c:v>194</c:v>
                </c:pt>
                <c:pt idx="1067">
                  <c:v>191</c:v>
                </c:pt>
                <c:pt idx="1068">
                  <c:v>183</c:v>
                </c:pt>
                <c:pt idx="1069">
                  <c:v>180</c:v>
                </c:pt>
                <c:pt idx="1070">
                  <c:v>179</c:v>
                </c:pt>
                <c:pt idx="1071">
                  <c:v>140</c:v>
                </c:pt>
                <c:pt idx="1072">
                  <c:v>76</c:v>
                </c:pt>
                <c:pt idx="1073">
                  <c:v>378</c:v>
                </c:pt>
                <c:pt idx="1074">
                  <c:v>460</c:v>
                </c:pt>
                <c:pt idx="1075">
                  <c:v>473</c:v>
                </c:pt>
                <c:pt idx="1076">
                  <c:v>464</c:v>
                </c:pt>
                <c:pt idx="1077">
                  <c:v>432</c:v>
                </c:pt>
                <c:pt idx="1078">
                  <c:v>375</c:v>
                </c:pt>
                <c:pt idx="1079">
                  <c:v>330</c:v>
                </c:pt>
                <c:pt idx="1080">
                  <c:v>340</c:v>
                </c:pt>
                <c:pt idx="1081">
                  <c:v>349</c:v>
                </c:pt>
                <c:pt idx="1082">
                  <c:v>370</c:v>
                </c:pt>
                <c:pt idx="1083">
                  <c:v>355</c:v>
                </c:pt>
                <c:pt idx="1084">
                  <c:v>320</c:v>
                </c:pt>
                <c:pt idx="1085">
                  <c:v>326</c:v>
                </c:pt>
                <c:pt idx="1086">
                  <c:v>287</c:v>
                </c:pt>
                <c:pt idx="1087">
                  <c:v>336</c:v>
                </c:pt>
                <c:pt idx="1088">
                  <c:v>232</c:v>
                </c:pt>
                <c:pt idx="1089">
                  <c:v>272</c:v>
                </c:pt>
                <c:pt idx="1090">
                  <c:v>302</c:v>
                </c:pt>
                <c:pt idx="1091">
                  <c:v>323</c:v>
                </c:pt>
                <c:pt idx="1092">
                  <c:v>335</c:v>
                </c:pt>
                <c:pt idx="1093">
                  <c:v>399</c:v>
                </c:pt>
                <c:pt idx="1094">
                  <c:v>396</c:v>
                </c:pt>
                <c:pt idx="1095">
                  <c:v>379</c:v>
                </c:pt>
                <c:pt idx="1096">
                  <c:v>332</c:v>
                </c:pt>
                <c:pt idx="1097">
                  <c:v>415</c:v>
                </c:pt>
                <c:pt idx="1098">
                  <c:v>378</c:v>
                </c:pt>
                <c:pt idx="1099">
                  <c:v>429</c:v>
                </c:pt>
                <c:pt idx="1100">
                  <c:v>391</c:v>
                </c:pt>
                <c:pt idx="1101">
                  <c:v>420</c:v>
                </c:pt>
                <c:pt idx="1102">
                  <c:v>325</c:v>
                </c:pt>
                <c:pt idx="1103">
                  <c:v>386</c:v>
                </c:pt>
                <c:pt idx="1104">
                  <c:v>368</c:v>
                </c:pt>
                <c:pt idx="1105">
                  <c:v>392</c:v>
                </c:pt>
                <c:pt idx="1106">
                  <c:v>319</c:v>
                </c:pt>
                <c:pt idx="1107">
                  <c:v>385</c:v>
                </c:pt>
                <c:pt idx="1108">
                  <c:v>304</c:v>
                </c:pt>
                <c:pt idx="1109">
                  <c:v>370</c:v>
                </c:pt>
                <c:pt idx="1110">
                  <c:v>465</c:v>
                </c:pt>
                <c:pt idx="1111">
                  <c:v>479</c:v>
                </c:pt>
                <c:pt idx="1112">
                  <c:v>454</c:v>
                </c:pt>
                <c:pt idx="1113">
                  <c:v>423</c:v>
                </c:pt>
                <c:pt idx="1114">
                  <c:v>394</c:v>
                </c:pt>
                <c:pt idx="1115">
                  <c:v>350</c:v>
                </c:pt>
                <c:pt idx="1116">
                  <c:v>338</c:v>
                </c:pt>
                <c:pt idx="1117">
                  <c:v>317</c:v>
                </c:pt>
                <c:pt idx="1118">
                  <c:v>315</c:v>
                </c:pt>
                <c:pt idx="1119">
                  <c:v>313</c:v>
                </c:pt>
                <c:pt idx="1120">
                  <c:v>314</c:v>
                </c:pt>
                <c:pt idx="1121">
                  <c:v>321</c:v>
                </c:pt>
                <c:pt idx="1122">
                  <c:v>299</c:v>
                </c:pt>
                <c:pt idx="1123">
                  <c:v>311</c:v>
                </c:pt>
                <c:pt idx="1124">
                  <c:v>274</c:v>
                </c:pt>
                <c:pt idx="1125">
                  <c:v>259</c:v>
                </c:pt>
                <c:pt idx="1126">
                  <c:v>255</c:v>
                </c:pt>
                <c:pt idx="1127">
                  <c:v>249</c:v>
                </c:pt>
                <c:pt idx="1128">
                  <c:v>276</c:v>
                </c:pt>
                <c:pt idx="1129">
                  <c:v>259</c:v>
                </c:pt>
                <c:pt idx="1130">
                  <c:v>257</c:v>
                </c:pt>
                <c:pt idx="1131">
                  <c:v>257</c:v>
                </c:pt>
                <c:pt idx="1132">
                  <c:v>233</c:v>
                </c:pt>
                <c:pt idx="1133">
                  <c:v>230</c:v>
                </c:pt>
                <c:pt idx="1134">
                  <c:v>232</c:v>
                </c:pt>
                <c:pt idx="1135">
                  <c:v>249</c:v>
                </c:pt>
                <c:pt idx="1136">
                  <c:v>248</c:v>
                </c:pt>
                <c:pt idx="1137">
                  <c:v>232</c:v>
                </c:pt>
                <c:pt idx="1138">
                  <c:v>182</c:v>
                </c:pt>
                <c:pt idx="1139">
                  <c:v>192</c:v>
                </c:pt>
                <c:pt idx="1140">
                  <c:v>176</c:v>
                </c:pt>
                <c:pt idx="1141">
                  <c:v>194</c:v>
                </c:pt>
                <c:pt idx="1142">
                  <c:v>182</c:v>
                </c:pt>
                <c:pt idx="1143">
                  <c:v>168</c:v>
                </c:pt>
                <c:pt idx="1144">
                  <c:v>176</c:v>
                </c:pt>
                <c:pt idx="1145">
                  <c:v>186</c:v>
                </c:pt>
                <c:pt idx="1146">
                  <c:v>177</c:v>
                </c:pt>
                <c:pt idx="1147">
                  <c:v>180</c:v>
                </c:pt>
                <c:pt idx="1148">
                  <c:v>179</c:v>
                </c:pt>
                <c:pt idx="1149">
                  <c:v>180</c:v>
                </c:pt>
                <c:pt idx="1150">
                  <c:v>186</c:v>
                </c:pt>
                <c:pt idx="1151">
                  <c:v>182</c:v>
                </c:pt>
                <c:pt idx="1152">
                  <c:v>185</c:v>
                </c:pt>
                <c:pt idx="1153">
                  <c:v>171</c:v>
                </c:pt>
                <c:pt idx="1154">
                  <c:v>173</c:v>
                </c:pt>
                <c:pt idx="1155">
                  <c:v>176</c:v>
                </c:pt>
                <c:pt idx="1156">
                  <c:v>161</c:v>
                </c:pt>
                <c:pt idx="1157">
                  <c:v>180</c:v>
                </c:pt>
                <c:pt idx="1158">
                  <c:v>189</c:v>
                </c:pt>
                <c:pt idx="1159">
                  <c:v>157</c:v>
                </c:pt>
                <c:pt idx="1160">
                  <c:v>155</c:v>
                </c:pt>
                <c:pt idx="1161">
                  <c:v>161</c:v>
                </c:pt>
                <c:pt idx="1162">
                  <c:v>230</c:v>
                </c:pt>
                <c:pt idx="1163">
                  <c:v>270</c:v>
                </c:pt>
                <c:pt idx="1164">
                  <c:v>307</c:v>
                </c:pt>
                <c:pt idx="1165">
                  <c:v>251</c:v>
                </c:pt>
                <c:pt idx="1166">
                  <c:v>239</c:v>
                </c:pt>
                <c:pt idx="1167">
                  <c:v>231</c:v>
                </c:pt>
                <c:pt idx="1168">
                  <c:v>234</c:v>
                </c:pt>
                <c:pt idx="1169">
                  <c:v>289</c:v>
                </c:pt>
                <c:pt idx="1170">
                  <c:v>300</c:v>
                </c:pt>
                <c:pt idx="1171">
                  <c:v>291</c:v>
                </c:pt>
                <c:pt idx="1172">
                  <c:v>277</c:v>
                </c:pt>
                <c:pt idx="1173">
                  <c:v>294</c:v>
                </c:pt>
                <c:pt idx="1174">
                  <c:v>317</c:v>
                </c:pt>
                <c:pt idx="1175">
                  <c:v>309</c:v>
                </c:pt>
                <c:pt idx="1176">
                  <c:v>337</c:v>
                </c:pt>
                <c:pt idx="1177">
                  <c:v>354</c:v>
                </c:pt>
                <c:pt idx="1178">
                  <c:v>314</c:v>
                </c:pt>
                <c:pt idx="1179">
                  <c:v>239</c:v>
                </c:pt>
                <c:pt idx="1180">
                  <c:v>275</c:v>
                </c:pt>
                <c:pt idx="1181">
                  <c:v>274</c:v>
                </c:pt>
                <c:pt idx="1182">
                  <c:v>243</c:v>
                </c:pt>
                <c:pt idx="1183">
                  <c:v>331</c:v>
                </c:pt>
                <c:pt idx="1184">
                  <c:v>323</c:v>
                </c:pt>
                <c:pt idx="1185">
                  <c:v>352</c:v>
                </c:pt>
                <c:pt idx="1186">
                  <c:v>311</c:v>
                </c:pt>
                <c:pt idx="1187">
                  <c:v>307</c:v>
                </c:pt>
                <c:pt idx="1188">
                  <c:v>317</c:v>
                </c:pt>
                <c:pt idx="1189">
                  <c:v>323</c:v>
                </c:pt>
                <c:pt idx="1190">
                  <c:v>343</c:v>
                </c:pt>
                <c:pt idx="1191">
                  <c:v>289</c:v>
                </c:pt>
                <c:pt idx="1192">
                  <c:v>287</c:v>
                </c:pt>
                <c:pt idx="1193">
                  <c:v>296</c:v>
                </c:pt>
                <c:pt idx="1194">
                  <c:v>250</c:v>
                </c:pt>
                <c:pt idx="1195">
                  <c:v>292</c:v>
                </c:pt>
                <c:pt idx="1196">
                  <c:v>296</c:v>
                </c:pt>
                <c:pt idx="1197">
                  <c:v>296</c:v>
                </c:pt>
                <c:pt idx="1198">
                  <c:v>303</c:v>
                </c:pt>
                <c:pt idx="1199">
                  <c:v>293</c:v>
                </c:pt>
                <c:pt idx="1200">
                  <c:v>301</c:v>
                </c:pt>
                <c:pt idx="1201">
                  <c:v>304</c:v>
                </c:pt>
                <c:pt idx="1202">
                  <c:v>334</c:v>
                </c:pt>
                <c:pt idx="1203">
                  <c:v>326</c:v>
                </c:pt>
                <c:pt idx="1204">
                  <c:v>338</c:v>
                </c:pt>
                <c:pt idx="1205">
                  <c:v>342</c:v>
                </c:pt>
                <c:pt idx="1206">
                  <c:v>314</c:v>
                </c:pt>
                <c:pt idx="1207">
                  <c:v>307</c:v>
                </c:pt>
                <c:pt idx="1208">
                  <c:v>294</c:v>
                </c:pt>
                <c:pt idx="1209">
                  <c:v>366</c:v>
                </c:pt>
                <c:pt idx="1210">
                  <c:v>460</c:v>
                </c:pt>
                <c:pt idx="1211">
                  <c:v>474</c:v>
                </c:pt>
                <c:pt idx="1212">
                  <c:v>486</c:v>
                </c:pt>
                <c:pt idx="1213">
                  <c:v>470</c:v>
                </c:pt>
                <c:pt idx="1214">
                  <c:v>427</c:v>
                </c:pt>
                <c:pt idx="1215">
                  <c:v>420</c:v>
                </c:pt>
                <c:pt idx="1216">
                  <c:v>380</c:v>
                </c:pt>
                <c:pt idx="1217">
                  <c:v>361</c:v>
                </c:pt>
                <c:pt idx="1218">
                  <c:v>360</c:v>
                </c:pt>
                <c:pt idx="1219">
                  <c:v>354</c:v>
                </c:pt>
                <c:pt idx="1220">
                  <c:v>306</c:v>
                </c:pt>
                <c:pt idx="1221">
                  <c:v>306</c:v>
                </c:pt>
                <c:pt idx="1222">
                  <c:v>279</c:v>
                </c:pt>
                <c:pt idx="1223">
                  <c:v>257</c:v>
                </c:pt>
                <c:pt idx="1224">
                  <c:v>318</c:v>
                </c:pt>
                <c:pt idx="1225">
                  <c:v>313</c:v>
                </c:pt>
                <c:pt idx="1226">
                  <c:v>300</c:v>
                </c:pt>
                <c:pt idx="1227">
                  <c:v>320</c:v>
                </c:pt>
                <c:pt idx="1228">
                  <c:v>300</c:v>
                </c:pt>
                <c:pt idx="1229">
                  <c:v>311</c:v>
                </c:pt>
                <c:pt idx="1230">
                  <c:v>308</c:v>
                </c:pt>
                <c:pt idx="1231">
                  <c:v>312</c:v>
                </c:pt>
                <c:pt idx="1232">
                  <c:v>286</c:v>
                </c:pt>
                <c:pt idx="1233">
                  <c:v>311</c:v>
                </c:pt>
                <c:pt idx="1234">
                  <c:v>239</c:v>
                </c:pt>
                <c:pt idx="1235">
                  <c:v>234</c:v>
                </c:pt>
                <c:pt idx="1236">
                  <c:v>235</c:v>
                </c:pt>
                <c:pt idx="1237">
                  <c:v>234</c:v>
                </c:pt>
                <c:pt idx="1238">
                  <c:v>237</c:v>
                </c:pt>
                <c:pt idx="1239">
                  <c:v>252</c:v>
                </c:pt>
                <c:pt idx="1240">
                  <c:v>258</c:v>
                </c:pt>
                <c:pt idx="1241">
                  <c:v>244</c:v>
                </c:pt>
                <c:pt idx="1242">
                  <c:v>231</c:v>
                </c:pt>
                <c:pt idx="1243">
                  <c:v>235</c:v>
                </c:pt>
                <c:pt idx="1244">
                  <c:v>237</c:v>
                </c:pt>
                <c:pt idx="1245">
                  <c:v>238</c:v>
                </c:pt>
                <c:pt idx="1246">
                  <c:v>227</c:v>
                </c:pt>
                <c:pt idx="1247">
                  <c:v>256</c:v>
                </c:pt>
                <c:pt idx="1248">
                  <c:v>244</c:v>
                </c:pt>
                <c:pt idx="1249">
                  <c:v>250</c:v>
                </c:pt>
                <c:pt idx="1250">
                  <c:v>223</c:v>
                </c:pt>
                <c:pt idx="1251">
                  <c:v>228</c:v>
                </c:pt>
                <c:pt idx="1252">
                  <c:v>223</c:v>
                </c:pt>
                <c:pt idx="1253">
                  <c:v>230</c:v>
                </c:pt>
                <c:pt idx="1254">
                  <c:v>254</c:v>
                </c:pt>
                <c:pt idx="1255">
                  <c:v>236</c:v>
                </c:pt>
                <c:pt idx="1256">
                  <c:v>228</c:v>
                </c:pt>
                <c:pt idx="1257">
                  <c:v>222</c:v>
                </c:pt>
                <c:pt idx="1258">
                  <c:v>287</c:v>
                </c:pt>
                <c:pt idx="1259">
                  <c:v>232</c:v>
                </c:pt>
                <c:pt idx="1260">
                  <c:v>237</c:v>
                </c:pt>
                <c:pt idx="1261">
                  <c:v>293</c:v>
                </c:pt>
                <c:pt idx="1262">
                  <c:v>376</c:v>
                </c:pt>
                <c:pt idx="1263">
                  <c:v>322</c:v>
                </c:pt>
                <c:pt idx="1264">
                  <c:v>292</c:v>
                </c:pt>
                <c:pt idx="1265">
                  <c:v>272</c:v>
                </c:pt>
                <c:pt idx="1266">
                  <c:v>246</c:v>
                </c:pt>
                <c:pt idx="1267">
                  <c:v>338</c:v>
                </c:pt>
                <c:pt idx="1268">
                  <c:v>310</c:v>
                </c:pt>
                <c:pt idx="1269">
                  <c:v>288</c:v>
                </c:pt>
                <c:pt idx="1270">
                  <c:v>322</c:v>
                </c:pt>
                <c:pt idx="1271">
                  <c:v>275</c:v>
                </c:pt>
                <c:pt idx="1272">
                  <c:v>283</c:v>
                </c:pt>
                <c:pt idx="1273">
                  <c:v>391</c:v>
                </c:pt>
                <c:pt idx="1274">
                  <c:v>386</c:v>
                </c:pt>
                <c:pt idx="1275">
                  <c:v>325</c:v>
                </c:pt>
                <c:pt idx="1276">
                  <c:v>383</c:v>
                </c:pt>
                <c:pt idx="1277">
                  <c:v>355</c:v>
                </c:pt>
                <c:pt idx="1278">
                  <c:v>373</c:v>
                </c:pt>
                <c:pt idx="1279">
                  <c:v>324</c:v>
                </c:pt>
                <c:pt idx="1280">
                  <c:v>301</c:v>
                </c:pt>
                <c:pt idx="1281">
                  <c:v>303</c:v>
                </c:pt>
                <c:pt idx="1282">
                  <c:v>297</c:v>
                </c:pt>
                <c:pt idx="1283">
                  <c:v>294</c:v>
                </c:pt>
                <c:pt idx="1284">
                  <c:v>332</c:v>
                </c:pt>
                <c:pt idx="1285">
                  <c:v>407</c:v>
                </c:pt>
                <c:pt idx="1286">
                  <c:v>470</c:v>
                </c:pt>
                <c:pt idx="1287">
                  <c:v>371</c:v>
                </c:pt>
                <c:pt idx="1288">
                  <c:v>364</c:v>
                </c:pt>
                <c:pt idx="1289">
                  <c:v>361</c:v>
                </c:pt>
                <c:pt idx="1290">
                  <c:v>375</c:v>
                </c:pt>
                <c:pt idx="1291">
                  <c:v>338</c:v>
                </c:pt>
                <c:pt idx="1292">
                  <c:v>334</c:v>
                </c:pt>
                <c:pt idx="1293">
                  <c:v>471</c:v>
                </c:pt>
                <c:pt idx="1294">
                  <c:v>474</c:v>
                </c:pt>
                <c:pt idx="1295">
                  <c:v>437</c:v>
                </c:pt>
                <c:pt idx="1296">
                  <c:v>508</c:v>
                </c:pt>
                <c:pt idx="1297">
                  <c:v>439</c:v>
                </c:pt>
                <c:pt idx="1298">
                  <c:v>493</c:v>
                </c:pt>
                <c:pt idx="1299">
                  <c:v>473</c:v>
                </c:pt>
                <c:pt idx="1300">
                  <c:v>484</c:v>
                </c:pt>
                <c:pt idx="1301">
                  <c:v>476</c:v>
                </c:pt>
                <c:pt idx="1302">
                  <c:v>457</c:v>
                </c:pt>
                <c:pt idx="1303">
                  <c:v>472</c:v>
                </c:pt>
                <c:pt idx="1304">
                  <c:v>445</c:v>
                </c:pt>
                <c:pt idx="1305">
                  <c:v>380</c:v>
                </c:pt>
                <c:pt idx="1306">
                  <c:v>339</c:v>
                </c:pt>
                <c:pt idx="1307">
                  <c:v>334</c:v>
                </c:pt>
                <c:pt idx="1308">
                  <c:v>315</c:v>
                </c:pt>
                <c:pt idx="1309">
                  <c:v>339</c:v>
                </c:pt>
                <c:pt idx="1310">
                  <c:v>316</c:v>
                </c:pt>
                <c:pt idx="1311">
                  <c:v>291</c:v>
                </c:pt>
                <c:pt idx="1312">
                  <c:v>295</c:v>
                </c:pt>
                <c:pt idx="1313">
                  <c:v>318</c:v>
                </c:pt>
                <c:pt idx="1314">
                  <c:v>318</c:v>
                </c:pt>
                <c:pt idx="1315">
                  <c:v>280</c:v>
                </c:pt>
                <c:pt idx="1316">
                  <c:v>275</c:v>
                </c:pt>
                <c:pt idx="1317">
                  <c:v>276</c:v>
                </c:pt>
                <c:pt idx="1318">
                  <c:v>295</c:v>
                </c:pt>
                <c:pt idx="1319">
                  <c:v>275</c:v>
                </c:pt>
                <c:pt idx="1320">
                  <c:v>261</c:v>
                </c:pt>
                <c:pt idx="1321">
                  <c:v>265</c:v>
                </c:pt>
                <c:pt idx="1322">
                  <c:v>237</c:v>
                </c:pt>
                <c:pt idx="1323">
                  <c:v>235</c:v>
                </c:pt>
                <c:pt idx="1324">
                  <c:v>255</c:v>
                </c:pt>
                <c:pt idx="1325">
                  <c:v>225</c:v>
                </c:pt>
                <c:pt idx="1326">
                  <c:v>234</c:v>
                </c:pt>
                <c:pt idx="1327">
                  <c:v>236</c:v>
                </c:pt>
                <c:pt idx="1328">
                  <c:v>236</c:v>
                </c:pt>
                <c:pt idx="1329">
                  <c:v>228</c:v>
                </c:pt>
                <c:pt idx="1330">
                  <c:v>234</c:v>
                </c:pt>
                <c:pt idx="1331">
                  <c:v>228</c:v>
                </c:pt>
                <c:pt idx="1332">
                  <c:v>228</c:v>
                </c:pt>
                <c:pt idx="1333">
                  <c:v>234</c:v>
                </c:pt>
                <c:pt idx="1334">
                  <c:v>238</c:v>
                </c:pt>
                <c:pt idx="1335">
                  <c:v>238</c:v>
                </c:pt>
                <c:pt idx="1336">
                  <c:v>229</c:v>
                </c:pt>
                <c:pt idx="1337">
                  <c:v>226</c:v>
                </c:pt>
                <c:pt idx="1338">
                  <c:v>239</c:v>
                </c:pt>
                <c:pt idx="1339">
                  <c:v>235</c:v>
                </c:pt>
                <c:pt idx="1340">
                  <c:v>224</c:v>
                </c:pt>
                <c:pt idx="1341">
                  <c:v>228</c:v>
                </c:pt>
                <c:pt idx="1342">
                  <c:v>244</c:v>
                </c:pt>
                <c:pt idx="1343">
                  <c:v>221</c:v>
                </c:pt>
                <c:pt idx="1344">
                  <c:v>227</c:v>
                </c:pt>
                <c:pt idx="1345">
                  <c:v>224</c:v>
                </c:pt>
                <c:pt idx="1346">
                  <c:v>228</c:v>
                </c:pt>
                <c:pt idx="1347">
                  <c:v>230</c:v>
                </c:pt>
                <c:pt idx="1348">
                  <c:v>232</c:v>
                </c:pt>
                <c:pt idx="1349">
                  <c:v>233</c:v>
                </c:pt>
                <c:pt idx="1350">
                  <c:v>225</c:v>
                </c:pt>
                <c:pt idx="1351">
                  <c:v>222</c:v>
                </c:pt>
                <c:pt idx="1352">
                  <c:v>233</c:v>
                </c:pt>
                <c:pt idx="1353">
                  <c:v>255</c:v>
                </c:pt>
                <c:pt idx="1354">
                  <c:v>280</c:v>
                </c:pt>
                <c:pt idx="1355">
                  <c:v>328</c:v>
                </c:pt>
                <c:pt idx="1356">
                  <c:v>319</c:v>
                </c:pt>
                <c:pt idx="1357">
                  <c:v>261</c:v>
                </c:pt>
                <c:pt idx="1358">
                  <c:v>253</c:v>
                </c:pt>
                <c:pt idx="1359">
                  <c:v>270</c:v>
                </c:pt>
                <c:pt idx="1360">
                  <c:v>225</c:v>
                </c:pt>
                <c:pt idx="1361">
                  <c:v>285</c:v>
                </c:pt>
                <c:pt idx="1362">
                  <c:v>266</c:v>
                </c:pt>
                <c:pt idx="1363">
                  <c:v>290</c:v>
                </c:pt>
                <c:pt idx="1364">
                  <c:v>273</c:v>
                </c:pt>
                <c:pt idx="1365">
                  <c:v>282</c:v>
                </c:pt>
                <c:pt idx="1366">
                  <c:v>452</c:v>
                </c:pt>
                <c:pt idx="1367">
                  <c:v>379</c:v>
                </c:pt>
                <c:pt idx="1368">
                  <c:v>435</c:v>
                </c:pt>
                <c:pt idx="1369">
                  <c:v>383</c:v>
                </c:pt>
                <c:pt idx="1370">
                  <c:v>372</c:v>
                </c:pt>
                <c:pt idx="1371">
                  <c:v>345</c:v>
                </c:pt>
                <c:pt idx="1372">
                  <c:v>369</c:v>
                </c:pt>
                <c:pt idx="1373">
                  <c:v>389</c:v>
                </c:pt>
                <c:pt idx="1374">
                  <c:v>438</c:v>
                </c:pt>
                <c:pt idx="1375">
                  <c:v>428</c:v>
                </c:pt>
                <c:pt idx="1376">
                  <c:v>451</c:v>
                </c:pt>
                <c:pt idx="1377">
                  <c:v>467</c:v>
                </c:pt>
                <c:pt idx="1378">
                  <c:v>405</c:v>
                </c:pt>
                <c:pt idx="1379">
                  <c:v>415</c:v>
                </c:pt>
                <c:pt idx="1380">
                  <c:v>381</c:v>
                </c:pt>
                <c:pt idx="1381">
                  <c:v>411</c:v>
                </c:pt>
                <c:pt idx="1382">
                  <c:v>431</c:v>
                </c:pt>
                <c:pt idx="1383">
                  <c:v>423</c:v>
                </c:pt>
                <c:pt idx="1384">
                  <c:v>422</c:v>
                </c:pt>
                <c:pt idx="1385">
                  <c:v>437</c:v>
                </c:pt>
                <c:pt idx="1386">
                  <c:v>403</c:v>
                </c:pt>
                <c:pt idx="1387">
                  <c:v>389</c:v>
                </c:pt>
                <c:pt idx="1388">
                  <c:v>442</c:v>
                </c:pt>
                <c:pt idx="1389">
                  <c:v>415</c:v>
                </c:pt>
                <c:pt idx="1390">
                  <c:v>310</c:v>
                </c:pt>
                <c:pt idx="1391">
                  <c:v>310</c:v>
                </c:pt>
                <c:pt idx="1392">
                  <c:v>316</c:v>
                </c:pt>
                <c:pt idx="1393">
                  <c:v>307</c:v>
                </c:pt>
                <c:pt idx="1394">
                  <c:v>339</c:v>
                </c:pt>
                <c:pt idx="1395">
                  <c:v>324</c:v>
                </c:pt>
                <c:pt idx="1396">
                  <c:v>294</c:v>
                </c:pt>
                <c:pt idx="1397">
                  <c:v>291</c:v>
                </c:pt>
                <c:pt idx="1398">
                  <c:v>268</c:v>
                </c:pt>
                <c:pt idx="1399">
                  <c:v>268</c:v>
                </c:pt>
                <c:pt idx="1400">
                  <c:v>266</c:v>
                </c:pt>
                <c:pt idx="1401">
                  <c:v>243</c:v>
                </c:pt>
                <c:pt idx="1402">
                  <c:v>238</c:v>
                </c:pt>
                <c:pt idx="1403">
                  <c:v>242</c:v>
                </c:pt>
                <c:pt idx="1404">
                  <c:v>248</c:v>
                </c:pt>
                <c:pt idx="1405">
                  <c:v>240</c:v>
                </c:pt>
                <c:pt idx="1406">
                  <c:v>246</c:v>
                </c:pt>
                <c:pt idx="1407">
                  <c:v>208</c:v>
                </c:pt>
                <c:pt idx="1408">
                  <c:v>227</c:v>
                </c:pt>
                <c:pt idx="1409">
                  <c:v>184</c:v>
                </c:pt>
                <c:pt idx="1410">
                  <c:v>187</c:v>
                </c:pt>
                <c:pt idx="1411">
                  <c:v>191</c:v>
                </c:pt>
                <c:pt idx="1412">
                  <c:v>192</c:v>
                </c:pt>
                <c:pt idx="1413">
                  <c:v>180</c:v>
                </c:pt>
                <c:pt idx="1414">
                  <c:v>194</c:v>
                </c:pt>
                <c:pt idx="1415">
                  <c:v>193</c:v>
                </c:pt>
                <c:pt idx="1416">
                  <c:v>178</c:v>
                </c:pt>
                <c:pt idx="1417">
                  <c:v>177</c:v>
                </c:pt>
                <c:pt idx="1418">
                  <c:v>199</c:v>
                </c:pt>
                <c:pt idx="1419">
                  <c:v>178</c:v>
                </c:pt>
                <c:pt idx="1420">
                  <c:v>174</c:v>
                </c:pt>
                <c:pt idx="1421">
                  <c:v>177</c:v>
                </c:pt>
                <c:pt idx="1422">
                  <c:v>169</c:v>
                </c:pt>
                <c:pt idx="1423">
                  <c:v>185</c:v>
                </c:pt>
                <c:pt idx="1424">
                  <c:v>163</c:v>
                </c:pt>
                <c:pt idx="1425">
                  <c:v>163</c:v>
                </c:pt>
                <c:pt idx="1426">
                  <c:v>153</c:v>
                </c:pt>
                <c:pt idx="1427">
                  <c:v>163</c:v>
                </c:pt>
                <c:pt idx="1428">
                  <c:v>149</c:v>
                </c:pt>
                <c:pt idx="1429">
                  <c:v>152</c:v>
                </c:pt>
                <c:pt idx="1430">
                  <c:v>145</c:v>
                </c:pt>
                <c:pt idx="1431">
                  <c:v>153</c:v>
                </c:pt>
                <c:pt idx="1432">
                  <c:v>161</c:v>
                </c:pt>
                <c:pt idx="1433">
                  <c:v>161</c:v>
                </c:pt>
                <c:pt idx="1434">
                  <c:v>152</c:v>
                </c:pt>
                <c:pt idx="1435">
                  <c:v>151</c:v>
                </c:pt>
                <c:pt idx="1436">
                  <c:v>147</c:v>
                </c:pt>
                <c:pt idx="1437">
                  <c:v>151</c:v>
                </c:pt>
                <c:pt idx="1438">
                  <c:v>151</c:v>
                </c:pt>
                <c:pt idx="1439">
                  <c:v>160</c:v>
                </c:pt>
                <c:pt idx="1440">
                  <c:v>155</c:v>
                </c:pt>
                <c:pt idx="1441">
                  <c:v>171</c:v>
                </c:pt>
                <c:pt idx="1442">
                  <c:v>194</c:v>
                </c:pt>
                <c:pt idx="1443">
                  <c:v>174</c:v>
                </c:pt>
                <c:pt idx="1444">
                  <c:v>149</c:v>
                </c:pt>
                <c:pt idx="1445">
                  <c:v>155</c:v>
                </c:pt>
                <c:pt idx="1446">
                  <c:v>151</c:v>
                </c:pt>
                <c:pt idx="1447">
                  <c:v>163</c:v>
                </c:pt>
                <c:pt idx="1448">
                  <c:v>161</c:v>
                </c:pt>
                <c:pt idx="1449">
                  <c:v>180</c:v>
                </c:pt>
                <c:pt idx="1450">
                  <c:v>178</c:v>
                </c:pt>
                <c:pt idx="1451">
                  <c:v>172</c:v>
                </c:pt>
                <c:pt idx="1452">
                  <c:v>157</c:v>
                </c:pt>
                <c:pt idx="1453">
                  <c:v>163</c:v>
                </c:pt>
                <c:pt idx="1454">
                  <c:v>150</c:v>
                </c:pt>
                <c:pt idx="1455">
                  <c:v>167</c:v>
                </c:pt>
                <c:pt idx="1456">
                  <c:v>167</c:v>
                </c:pt>
                <c:pt idx="1457">
                  <c:v>169</c:v>
                </c:pt>
                <c:pt idx="1458">
                  <c:v>192</c:v>
                </c:pt>
                <c:pt idx="1459">
                  <c:v>166</c:v>
                </c:pt>
                <c:pt idx="1460">
                  <c:v>185</c:v>
                </c:pt>
                <c:pt idx="1461">
                  <c:v>211</c:v>
                </c:pt>
                <c:pt idx="1462">
                  <c:v>220</c:v>
                </c:pt>
                <c:pt idx="1463">
                  <c:v>213</c:v>
                </c:pt>
                <c:pt idx="1464">
                  <c:v>218</c:v>
                </c:pt>
                <c:pt idx="1465">
                  <c:v>236</c:v>
                </c:pt>
                <c:pt idx="1466">
                  <c:v>232</c:v>
                </c:pt>
                <c:pt idx="1467">
                  <c:v>242</c:v>
                </c:pt>
                <c:pt idx="1468">
                  <c:v>256</c:v>
                </c:pt>
                <c:pt idx="1469">
                  <c:v>247</c:v>
                </c:pt>
                <c:pt idx="1470">
                  <c:v>252</c:v>
                </c:pt>
                <c:pt idx="1471">
                  <c:v>242</c:v>
                </c:pt>
                <c:pt idx="1472">
                  <c:v>252</c:v>
                </c:pt>
                <c:pt idx="1473">
                  <c:v>223</c:v>
                </c:pt>
                <c:pt idx="1474">
                  <c:v>229</c:v>
                </c:pt>
                <c:pt idx="1475">
                  <c:v>216</c:v>
                </c:pt>
                <c:pt idx="1476">
                  <c:v>215</c:v>
                </c:pt>
                <c:pt idx="1477">
                  <c:v>249</c:v>
                </c:pt>
                <c:pt idx="1478">
                  <c:v>240</c:v>
                </c:pt>
                <c:pt idx="1479">
                  <c:v>240</c:v>
                </c:pt>
                <c:pt idx="1480">
                  <c:v>251</c:v>
                </c:pt>
                <c:pt idx="1481">
                  <c:v>272</c:v>
                </c:pt>
                <c:pt idx="1482">
                  <c:v>236</c:v>
                </c:pt>
                <c:pt idx="1483">
                  <c:v>239</c:v>
                </c:pt>
                <c:pt idx="1484">
                  <c:v>199</c:v>
                </c:pt>
                <c:pt idx="1485">
                  <c:v>198</c:v>
                </c:pt>
                <c:pt idx="1486">
                  <c:v>200</c:v>
                </c:pt>
                <c:pt idx="1487">
                  <c:v>199</c:v>
                </c:pt>
                <c:pt idx="1488">
                  <c:v>214</c:v>
                </c:pt>
                <c:pt idx="1489">
                  <c:v>233</c:v>
                </c:pt>
                <c:pt idx="1490">
                  <c:v>217</c:v>
                </c:pt>
                <c:pt idx="1491">
                  <c:v>200</c:v>
                </c:pt>
                <c:pt idx="1492">
                  <c:v>199</c:v>
                </c:pt>
                <c:pt idx="1493">
                  <c:v>210</c:v>
                </c:pt>
                <c:pt idx="1494">
                  <c:v>189</c:v>
                </c:pt>
                <c:pt idx="1495">
                  <c:v>191</c:v>
                </c:pt>
                <c:pt idx="1496">
                  <c:v>186</c:v>
                </c:pt>
                <c:pt idx="1497">
                  <c:v>153</c:v>
                </c:pt>
                <c:pt idx="1498">
                  <c:v>147</c:v>
                </c:pt>
                <c:pt idx="1499">
                  <c:v>151</c:v>
                </c:pt>
                <c:pt idx="1500">
                  <c:v>152</c:v>
                </c:pt>
                <c:pt idx="1501">
                  <c:v>160</c:v>
                </c:pt>
                <c:pt idx="1502">
                  <c:v>151</c:v>
                </c:pt>
                <c:pt idx="1503">
                  <c:v>151</c:v>
                </c:pt>
                <c:pt idx="1504">
                  <c:v>162</c:v>
                </c:pt>
                <c:pt idx="1505">
                  <c:v>183</c:v>
                </c:pt>
                <c:pt idx="1506">
                  <c:v>159</c:v>
                </c:pt>
                <c:pt idx="1507">
                  <c:v>171</c:v>
                </c:pt>
                <c:pt idx="1508">
                  <c:v>174</c:v>
                </c:pt>
                <c:pt idx="1509">
                  <c:v>179</c:v>
                </c:pt>
                <c:pt idx="1510">
                  <c:v>177</c:v>
                </c:pt>
                <c:pt idx="1511">
                  <c:v>153</c:v>
                </c:pt>
                <c:pt idx="1512">
                  <c:v>134</c:v>
                </c:pt>
                <c:pt idx="1513">
                  <c:v>117</c:v>
                </c:pt>
                <c:pt idx="1514">
                  <c:v>278</c:v>
                </c:pt>
                <c:pt idx="1515">
                  <c:v>192</c:v>
                </c:pt>
                <c:pt idx="1516">
                  <c:v>167</c:v>
                </c:pt>
                <c:pt idx="1517">
                  <c:v>150</c:v>
                </c:pt>
                <c:pt idx="1518">
                  <c:v>161</c:v>
                </c:pt>
                <c:pt idx="1519">
                  <c:v>155</c:v>
                </c:pt>
                <c:pt idx="1520">
                  <c:v>156</c:v>
                </c:pt>
                <c:pt idx="1521">
                  <c:v>149</c:v>
                </c:pt>
                <c:pt idx="1522">
                  <c:v>173</c:v>
                </c:pt>
                <c:pt idx="1523">
                  <c:v>169</c:v>
                </c:pt>
                <c:pt idx="1524">
                  <c:v>208</c:v>
                </c:pt>
                <c:pt idx="1525">
                  <c:v>198</c:v>
                </c:pt>
                <c:pt idx="1526">
                  <c:v>214</c:v>
                </c:pt>
                <c:pt idx="1527">
                  <c:v>340</c:v>
                </c:pt>
                <c:pt idx="1528">
                  <c:v>325</c:v>
                </c:pt>
                <c:pt idx="1529">
                  <c:v>306</c:v>
                </c:pt>
                <c:pt idx="1530">
                  <c:v>256</c:v>
                </c:pt>
                <c:pt idx="1531">
                  <c:v>264</c:v>
                </c:pt>
                <c:pt idx="1532">
                  <c:v>268</c:v>
                </c:pt>
                <c:pt idx="1533">
                  <c:v>260</c:v>
                </c:pt>
                <c:pt idx="1534">
                  <c:v>248</c:v>
                </c:pt>
                <c:pt idx="1535">
                  <c:v>287</c:v>
                </c:pt>
                <c:pt idx="1536">
                  <c:v>328</c:v>
                </c:pt>
                <c:pt idx="1537">
                  <c:v>328</c:v>
                </c:pt>
                <c:pt idx="1538">
                  <c:v>325</c:v>
                </c:pt>
                <c:pt idx="1539">
                  <c:v>309</c:v>
                </c:pt>
                <c:pt idx="1540">
                  <c:v>301</c:v>
                </c:pt>
                <c:pt idx="1541">
                  <c:v>318</c:v>
                </c:pt>
                <c:pt idx="1542">
                  <c:v>329</c:v>
                </c:pt>
                <c:pt idx="1543">
                  <c:v>316</c:v>
                </c:pt>
                <c:pt idx="1544">
                  <c:v>344</c:v>
                </c:pt>
                <c:pt idx="1545">
                  <c:v>333</c:v>
                </c:pt>
                <c:pt idx="1546">
                  <c:v>342</c:v>
                </c:pt>
                <c:pt idx="1547">
                  <c:v>380</c:v>
                </c:pt>
                <c:pt idx="1548">
                  <c:v>423</c:v>
                </c:pt>
                <c:pt idx="1549">
                  <c:v>353</c:v>
                </c:pt>
                <c:pt idx="1550">
                  <c:v>243</c:v>
                </c:pt>
                <c:pt idx="1551">
                  <c:v>369</c:v>
                </c:pt>
                <c:pt idx="1552">
                  <c:v>231</c:v>
                </c:pt>
                <c:pt idx="1553">
                  <c:v>365</c:v>
                </c:pt>
                <c:pt idx="1554">
                  <c:v>255</c:v>
                </c:pt>
                <c:pt idx="1555">
                  <c:v>422</c:v>
                </c:pt>
                <c:pt idx="1556">
                  <c:v>284</c:v>
                </c:pt>
                <c:pt idx="1557">
                  <c:v>248</c:v>
                </c:pt>
                <c:pt idx="1558">
                  <c:v>397</c:v>
                </c:pt>
                <c:pt idx="1559">
                  <c:v>252</c:v>
                </c:pt>
                <c:pt idx="1560">
                  <c:v>228</c:v>
                </c:pt>
                <c:pt idx="1561">
                  <c:v>288</c:v>
                </c:pt>
                <c:pt idx="1562">
                  <c:v>302</c:v>
                </c:pt>
                <c:pt idx="1563">
                  <c:v>308</c:v>
                </c:pt>
                <c:pt idx="1564">
                  <c:v>297</c:v>
                </c:pt>
                <c:pt idx="1565">
                  <c:v>398</c:v>
                </c:pt>
                <c:pt idx="1566">
                  <c:v>369</c:v>
                </c:pt>
                <c:pt idx="1567">
                  <c:v>356</c:v>
                </c:pt>
                <c:pt idx="1568">
                  <c:v>338</c:v>
                </c:pt>
                <c:pt idx="1569">
                  <c:v>335</c:v>
                </c:pt>
                <c:pt idx="1570">
                  <c:v>404</c:v>
                </c:pt>
                <c:pt idx="1571">
                  <c:v>390</c:v>
                </c:pt>
                <c:pt idx="1572">
                  <c:v>305</c:v>
                </c:pt>
                <c:pt idx="1573">
                  <c:v>408</c:v>
                </c:pt>
                <c:pt idx="1574">
                  <c:v>435</c:v>
                </c:pt>
                <c:pt idx="1575">
                  <c:v>457</c:v>
                </c:pt>
                <c:pt idx="1576">
                  <c:v>473</c:v>
                </c:pt>
                <c:pt idx="1577">
                  <c:v>486</c:v>
                </c:pt>
                <c:pt idx="1578">
                  <c:v>462</c:v>
                </c:pt>
                <c:pt idx="1579">
                  <c:v>450</c:v>
                </c:pt>
                <c:pt idx="1580">
                  <c:v>460</c:v>
                </c:pt>
                <c:pt idx="1581">
                  <c:v>426</c:v>
                </c:pt>
                <c:pt idx="1582">
                  <c:v>418</c:v>
                </c:pt>
                <c:pt idx="1583">
                  <c:v>405</c:v>
                </c:pt>
                <c:pt idx="1584">
                  <c:v>309</c:v>
                </c:pt>
                <c:pt idx="1585">
                  <c:v>308</c:v>
                </c:pt>
                <c:pt idx="1586">
                  <c:v>259</c:v>
                </c:pt>
                <c:pt idx="1587">
                  <c:v>253</c:v>
                </c:pt>
                <c:pt idx="1588">
                  <c:v>208</c:v>
                </c:pt>
                <c:pt idx="1589">
                  <c:v>212</c:v>
                </c:pt>
                <c:pt idx="1590">
                  <c:v>204</c:v>
                </c:pt>
                <c:pt idx="1591">
                  <c:v>206</c:v>
                </c:pt>
                <c:pt idx="1592">
                  <c:v>205</c:v>
                </c:pt>
                <c:pt idx="1593">
                  <c:v>206</c:v>
                </c:pt>
                <c:pt idx="1594">
                  <c:v>202</c:v>
                </c:pt>
                <c:pt idx="1595">
                  <c:v>206</c:v>
                </c:pt>
                <c:pt idx="1596">
                  <c:v>160</c:v>
                </c:pt>
                <c:pt idx="1597">
                  <c:v>230</c:v>
                </c:pt>
                <c:pt idx="1598">
                  <c:v>205</c:v>
                </c:pt>
                <c:pt idx="1599">
                  <c:v>201</c:v>
                </c:pt>
                <c:pt idx="1600">
                  <c:v>196</c:v>
                </c:pt>
                <c:pt idx="1601">
                  <c:v>180</c:v>
                </c:pt>
                <c:pt idx="1602">
                  <c:v>170</c:v>
                </c:pt>
                <c:pt idx="1603">
                  <c:v>351</c:v>
                </c:pt>
                <c:pt idx="1604">
                  <c:v>437</c:v>
                </c:pt>
                <c:pt idx="1605">
                  <c:v>448</c:v>
                </c:pt>
                <c:pt idx="1606">
                  <c:v>440</c:v>
                </c:pt>
                <c:pt idx="1607">
                  <c:v>437</c:v>
                </c:pt>
                <c:pt idx="1608">
                  <c:v>509</c:v>
                </c:pt>
                <c:pt idx="1609">
                  <c:v>440</c:v>
                </c:pt>
                <c:pt idx="1610">
                  <c:v>437</c:v>
                </c:pt>
                <c:pt idx="1611">
                  <c:v>509</c:v>
                </c:pt>
                <c:pt idx="1612">
                  <c:v>441</c:v>
                </c:pt>
                <c:pt idx="1613">
                  <c:v>426</c:v>
                </c:pt>
                <c:pt idx="1614">
                  <c:v>429</c:v>
                </c:pt>
                <c:pt idx="1615">
                  <c:v>392</c:v>
                </c:pt>
                <c:pt idx="1616">
                  <c:v>397</c:v>
                </c:pt>
                <c:pt idx="1617">
                  <c:v>360</c:v>
                </c:pt>
                <c:pt idx="1618">
                  <c:v>372</c:v>
                </c:pt>
                <c:pt idx="1619">
                  <c:v>406</c:v>
                </c:pt>
                <c:pt idx="1620">
                  <c:v>393</c:v>
                </c:pt>
                <c:pt idx="1621">
                  <c:v>373</c:v>
                </c:pt>
                <c:pt idx="1622">
                  <c:v>381</c:v>
                </c:pt>
                <c:pt idx="1623">
                  <c:v>384</c:v>
                </c:pt>
                <c:pt idx="1624">
                  <c:v>374</c:v>
                </c:pt>
                <c:pt idx="1625">
                  <c:v>375</c:v>
                </c:pt>
                <c:pt idx="1626">
                  <c:v>395</c:v>
                </c:pt>
                <c:pt idx="1627">
                  <c:v>398</c:v>
                </c:pt>
                <c:pt idx="1628">
                  <c:v>368</c:v>
                </c:pt>
                <c:pt idx="1629">
                  <c:v>302</c:v>
                </c:pt>
                <c:pt idx="1630">
                  <c:v>292</c:v>
                </c:pt>
                <c:pt idx="1631">
                  <c:v>410</c:v>
                </c:pt>
                <c:pt idx="1632">
                  <c:v>328</c:v>
                </c:pt>
                <c:pt idx="1633">
                  <c:v>351</c:v>
                </c:pt>
                <c:pt idx="1634">
                  <c:v>405</c:v>
                </c:pt>
                <c:pt idx="1635">
                  <c:v>363</c:v>
                </c:pt>
                <c:pt idx="1636">
                  <c:v>335</c:v>
                </c:pt>
                <c:pt idx="1637">
                  <c:v>327</c:v>
                </c:pt>
                <c:pt idx="1638">
                  <c:v>368</c:v>
                </c:pt>
                <c:pt idx="1639">
                  <c:v>377</c:v>
                </c:pt>
                <c:pt idx="1640">
                  <c:v>373</c:v>
                </c:pt>
                <c:pt idx="1641">
                  <c:v>299</c:v>
                </c:pt>
                <c:pt idx="1642">
                  <c:v>286</c:v>
                </c:pt>
                <c:pt idx="1643">
                  <c:v>289</c:v>
                </c:pt>
                <c:pt idx="1644">
                  <c:v>239</c:v>
                </c:pt>
                <c:pt idx="1645">
                  <c:v>224</c:v>
                </c:pt>
                <c:pt idx="1646">
                  <c:v>208</c:v>
                </c:pt>
                <c:pt idx="1647">
                  <c:v>186</c:v>
                </c:pt>
                <c:pt idx="1648">
                  <c:v>179</c:v>
                </c:pt>
                <c:pt idx="1649">
                  <c:v>159</c:v>
                </c:pt>
                <c:pt idx="1650">
                  <c:v>148</c:v>
                </c:pt>
                <c:pt idx="1651">
                  <c:v>186</c:v>
                </c:pt>
                <c:pt idx="1652">
                  <c:v>163</c:v>
                </c:pt>
                <c:pt idx="1653">
                  <c:v>190</c:v>
                </c:pt>
                <c:pt idx="1654">
                  <c:v>155</c:v>
                </c:pt>
                <c:pt idx="1655">
                  <c:v>97</c:v>
                </c:pt>
                <c:pt idx="1656">
                  <c:v>109</c:v>
                </c:pt>
                <c:pt idx="1657">
                  <c:v>108</c:v>
                </c:pt>
                <c:pt idx="1658">
                  <c:v>231</c:v>
                </c:pt>
                <c:pt idx="1659">
                  <c:v>428</c:v>
                </c:pt>
                <c:pt idx="1660">
                  <c:v>449</c:v>
                </c:pt>
                <c:pt idx="1661">
                  <c:v>456</c:v>
                </c:pt>
                <c:pt idx="1662">
                  <c:v>406</c:v>
                </c:pt>
                <c:pt idx="1663">
                  <c:v>373</c:v>
                </c:pt>
                <c:pt idx="1664">
                  <c:v>298</c:v>
                </c:pt>
                <c:pt idx="1665">
                  <c:v>341</c:v>
                </c:pt>
                <c:pt idx="1666">
                  <c:v>307</c:v>
                </c:pt>
                <c:pt idx="1667">
                  <c:v>325</c:v>
                </c:pt>
                <c:pt idx="1668">
                  <c:v>276</c:v>
                </c:pt>
                <c:pt idx="1669">
                  <c:v>267</c:v>
                </c:pt>
                <c:pt idx="1670">
                  <c:v>278</c:v>
                </c:pt>
                <c:pt idx="1671">
                  <c:v>312</c:v>
                </c:pt>
                <c:pt idx="1672">
                  <c:v>304</c:v>
                </c:pt>
                <c:pt idx="1673">
                  <c:v>262</c:v>
                </c:pt>
                <c:pt idx="1674">
                  <c:v>279</c:v>
                </c:pt>
                <c:pt idx="1675">
                  <c:v>291</c:v>
                </c:pt>
                <c:pt idx="1676">
                  <c:v>277</c:v>
                </c:pt>
                <c:pt idx="1677">
                  <c:v>283</c:v>
                </c:pt>
                <c:pt idx="1678">
                  <c:v>263</c:v>
                </c:pt>
                <c:pt idx="1679">
                  <c:v>313</c:v>
                </c:pt>
                <c:pt idx="1680">
                  <c:v>311</c:v>
                </c:pt>
                <c:pt idx="1681">
                  <c:v>308</c:v>
                </c:pt>
                <c:pt idx="1682">
                  <c:v>300</c:v>
                </c:pt>
                <c:pt idx="1683">
                  <c:v>309</c:v>
                </c:pt>
                <c:pt idx="1684">
                  <c:v>314</c:v>
                </c:pt>
                <c:pt idx="1685">
                  <c:v>335</c:v>
                </c:pt>
                <c:pt idx="1686">
                  <c:v>319</c:v>
                </c:pt>
                <c:pt idx="1687">
                  <c:v>313</c:v>
                </c:pt>
                <c:pt idx="1688">
                  <c:v>283</c:v>
                </c:pt>
                <c:pt idx="1689">
                  <c:v>246</c:v>
                </c:pt>
                <c:pt idx="1690">
                  <c:v>271</c:v>
                </c:pt>
                <c:pt idx="1691">
                  <c:v>316</c:v>
                </c:pt>
                <c:pt idx="1692">
                  <c:v>320</c:v>
                </c:pt>
                <c:pt idx="1693">
                  <c:v>312</c:v>
                </c:pt>
                <c:pt idx="1694">
                  <c:v>316</c:v>
                </c:pt>
                <c:pt idx="1695">
                  <c:v>303</c:v>
                </c:pt>
                <c:pt idx="1696">
                  <c:v>300</c:v>
                </c:pt>
                <c:pt idx="1697">
                  <c:v>303</c:v>
                </c:pt>
                <c:pt idx="1698">
                  <c:v>267</c:v>
                </c:pt>
                <c:pt idx="1699">
                  <c:v>230</c:v>
                </c:pt>
                <c:pt idx="1700">
                  <c:v>216</c:v>
                </c:pt>
                <c:pt idx="1701">
                  <c:v>205</c:v>
                </c:pt>
                <c:pt idx="1702">
                  <c:v>141</c:v>
                </c:pt>
                <c:pt idx="1703">
                  <c:v>86</c:v>
                </c:pt>
                <c:pt idx="1704">
                  <c:v>101</c:v>
                </c:pt>
                <c:pt idx="1705">
                  <c:v>76</c:v>
                </c:pt>
                <c:pt idx="1706">
                  <c:v>240</c:v>
                </c:pt>
                <c:pt idx="1707">
                  <c:v>489</c:v>
                </c:pt>
                <c:pt idx="1708">
                  <c:v>487</c:v>
                </c:pt>
                <c:pt idx="1709">
                  <c:v>282</c:v>
                </c:pt>
                <c:pt idx="1710">
                  <c:v>297</c:v>
                </c:pt>
                <c:pt idx="1711">
                  <c:v>447</c:v>
                </c:pt>
                <c:pt idx="1712">
                  <c:v>388</c:v>
                </c:pt>
                <c:pt idx="1713">
                  <c:v>439</c:v>
                </c:pt>
                <c:pt idx="1714">
                  <c:v>374</c:v>
                </c:pt>
                <c:pt idx="1715">
                  <c:v>334</c:v>
                </c:pt>
                <c:pt idx="1716">
                  <c:v>331</c:v>
                </c:pt>
                <c:pt idx="1717">
                  <c:v>343</c:v>
                </c:pt>
                <c:pt idx="1718">
                  <c:v>354</c:v>
                </c:pt>
                <c:pt idx="1719">
                  <c:v>359</c:v>
                </c:pt>
                <c:pt idx="1720">
                  <c:v>297</c:v>
                </c:pt>
                <c:pt idx="1721">
                  <c:v>290</c:v>
                </c:pt>
                <c:pt idx="1722">
                  <c:v>290</c:v>
                </c:pt>
                <c:pt idx="1723">
                  <c:v>320</c:v>
                </c:pt>
                <c:pt idx="1724">
                  <c:v>315</c:v>
                </c:pt>
                <c:pt idx="1725">
                  <c:v>323</c:v>
                </c:pt>
                <c:pt idx="1726">
                  <c:v>314</c:v>
                </c:pt>
                <c:pt idx="1727">
                  <c:v>319</c:v>
                </c:pt>
                <c:pt idx="1728">
                  <c:v>344</c:v>
                </c:pt>
                <c:pt idx="1729">
                  <c:v>347</c:v>
                </c:pt>
                <c:pt idx="1730">
                  <c:v>337</c:v>
                </c:pt>
                <c:pt idx="1731">
                  <c:v>326</c:v>
                </c:pt>
                <c:pt idx="1732">
                  <c:v>290</c:v>
                </c:pt>
                <c:pt idx="1733">
                  <c:v>312</c:v>
                </c:pt>
                <c:pt idx="1734">
                  <c:v>301</c:v>
                </c:pt>
                <c:pt idx="1735">
                  <c:v>303</c:v>
                </c:pt>
                <c:pt idx="1736">
                  <c:v>267</c:v>
                </c:pt>
                <c:pt idx="1737">
                  <c:v>261</c:v>
                </c:pt>
                <c:pt idx="1738">
                  <c:v>246</c:v>
                </c:pt>
                <c:pt idx="1739">
                  <c:v>245</c:v>
                </c:pt>
                <c:pt idx="1740">
                  <c:v>251</c:v>
                </c:pt>
                <c:pt idx="1741">
                  <c:v>247</c:v>
                </c:pt>
                <c:pt idx="1742">
                  <c:v>247</c:v>
                </c:pt>
                <c:pt idx="1743">
                  <c:v>232</c:v>
                </c:pt>
                <c:pt idx="1744">
                  <c:v>227</c:v>
                </c:pt>
                <c:pt idx="1745">
                  <c:v>217</c:v>
                </c:pt>
                <c:pt idx="1746">
                  <c:v>221</c:v>
                </c:pt>
                <c:pt idx="1747">
                  <c:v>195</c:v>
                </c:pt>
                <c:pt idx="1748">
                  <c:v>192</c:v>
                </c:pt>
                <c:pt idx="1749">
                  <c:v>172</c:v>
                </c:pt>
                <c:pt idx="1750">
                  <c:v>223</c:v>
                </c:pt>
                <c:pt idx="1751">
                  <c:v>86</c:v>
                </c:pt>
                <c:pt idx="1752">
                  <c:v>370</c:v>
                </c:pt>
                <c:pt idx="1753">
                  <c:v>267</c:v>
                </c:pt>
                <c:pt idx="1754">
                  <c:v>336</c:v>
                </c:pt>
                <c:pt idx="1755">
                  <c:v>447</c:v>
                </c:pt>
                <c:pt idx="1756">
                  <c:v>493</c:v>
                </c:pt>
                <c:pt idx="1757">
                  <c:v>517</c:v>
                </c:pt>
                <c:pt idx="1758">
                  <c:v>492</c:v>
                </c:pt>
                <c:pt idx="1759">
                  <c:v>427</c:v>
                </c:pt>
                <c:pt idx="1760">
                  <c:v>410</c:v>
                </c:pt>
                <c:pt idx="1761">
                  <c:v>435</c:v>
                </c:pt>
                <c:pt idx="1762">
                  <c:v>350</c:v>
                </c:pt>
                <c:pt idx="1763">
                  <c:v>247</c:v>
                </c:pt>
                <c:pt idx="1764">
                  <c:v>361</c:v>
                </c:pt>
                <c:pt idx="1765">
                  <c:v>348</c:v>
                </c:pt>
                <c:pt idx="1766">
                  <c:v>325</c:v>
                </c:pt>
                <c:pt idx="1767">
                  <c:v>344</c:v>
                </c:pt>
                <c:pt idx="1768">
                  <c:v>353</c:v>
                </c:pt>
                <c:pt idx="1769">
                  <c:v>358</c:v>
                </c:pt>
                <c:pt idx="1770">
                  <c:v>367</c:v>
                </c:pt>
                <c:pt idx="1771">
                  <c:v>343</c:v>
                </c:pt>
                <c:pt idx="1772">
                  <c:v>350</c:v>
                </c:pt>
                <c:pt idx="1773">
                  <c:v>367</c:v>
                </c:pt>
                <c:pt idx="1774">
                  <c:v>360</c:v>
                </c:pt>
                <c:pt idx="1775">
                  <c:v>362</c:v>
                </c:pt>
                <c:pt idx="1776">
                  <c:v>356</c:v>
                </c:pt>
                <c:pt idx="1777">
                  <c:v>249</c:v>
                </c:pt>
                <c:pt idx="1778">
                  <c:v>329</c:v>
                </c:pt>
                <c:pt idx="1779">
                  <c:v>366</c:v>
                </c:pt>
                <c:pt idx="1780">
                  <c:v>340</c:v>
                </c:pt>
                <c:pt idx="1781">
                  <c:v>333</c:v>
                </c:pt>
                <c:pt idx="1782">
                  <c:v>314</c:v>
                </c:pt>
                <c:pt idx="1783">
                  <c:v>276</c:v>
                </c:pt>
                <c:pt idx="1784">
                  <c:v>285</c:v>
                </c:pt>
                <c:pt idx="1785">
                  <c:v>265</c:v>
                </c:pt>
                <c:pt idx="1786">
                  <c:v>278</c:v>
                </c:pt>
                <c:pt idx="1787">
                  <c:v>237</c:v>
                </c:pt>
                <c:pt idx="1788">
                  <c:v>228</c:v>
                </c:pt>
                <c:pt idx="1789">
                  <c:v>250</c:v>
                </c:pt>
                <c:pt idx="1790">
                  <c:v>216</c:v>
                </c:pt>
                <c:pt idx="1791">
                  <c:v>188</c:v>
                </c:pt>
                <c:pt idx="1792">
                  <c:v>157</c:v>
                </c:pt>
                <c:pt idx="1793">
                  <c:v>167</c:v>
                </c:pt>
                <c:pt idx="1794">
                  <c:v>183</c:v>
                </c:pt>
                <c:pt idx="1795">
                  <c:v>218</c:v>
                </c:pt>
                <c:pt idx="1796">
                  <c:v>211</c:v>
                </c:pt>
                <c:pt idx="1797">
                  <c:v>212</c:v>
                </c:pt>
                <c:pt idx="1798">
                  <c:v>226</c:v>
                </c:pt>
                <c:pt idx="1799">
                  <c:v>183</c:v>
                </c:pt>
                <c:pt idx="1800">
                  <c:v>187</c:v>
                </c:pt>
                <c:pt idx="1801">
                  <c:v>184</c:v>
                </c:pt>
                <c:pt idx="1802">
                  <c:v>184</c:v>
                </c:pt>
                <c:pt idx="1803">
                  <c:v>202</c:v>
                </c:pt>
                <c:pt idx="1804">
                  <c:v>201</c:v>
                </c:pt>
                <c:pt idx="1805">
                  <c:v>161</c:v>
                </c:pt>
                <c:pt idx="1806">
                  <c:v>146</c:v>
                </c:pt>
                <c:pt idx="1807">
                  <c:v>115</c:v>
                </c:pt>
                <c:pt idx="1808">
                  <c:v>117</c:v>
                </c:pt>
                <c:pt idx="1809">
                  <c:v>116</c:v>
                </c:pt>
                <c:pt idx="1810">
                  <c:v>122</c:v>
                </c:pt>
                <c:pt idx="1811">
                  <c:v>119</c:v>
                </c:pt>
                <c:pt idx="1812">
                  <c:v>112</c:v>
                </c:pt>
                <c:pt idx="1813">
                  <c:v>117</c:v>
                </c:pt>
                <c:pt idx="1814">
                  <c:v>67</c:v>
                </c:pt>
                <c:pt idx="1815">
                  <c:v>109</c:v>
                </c:pt>
                <c:pt idx="1816">
                  <c:v>111</c:v>
                </c:pt>
                <c:pt idx="1817">
                  <c:v>69</c:v>
                </c:pt>
                <c:pt idx="1818">
                  <c:v>83</c:v>
                </c:pt>
                <c:pt idx="1819">
                  <c:v>68</c:v>
                </c:pt>
                <c:pt idx="1820">
                  <c:v>71</c:v>
                </c:pt>
                <c:pt idx="1821">
                  <c:v>299</c:v>
                </c:pt>
                <c:pt idx="1822">
                  <c:v>363</c:v>
                </c:pt>
                <c:pt idx="1823">
                  <c:v>188</c:v>
                </c:pt>
                <c:pt idx="1824">
                  <c:v>189</c:v>
                </c:pt>
                <c:pt idx="1825">
                  <c:v>166</c:v>
                </c:pt>
                <c:pt idx="1826">
                  <c:v>408</c:v>
                </c:pt>
                <c:pt idx="1827">
                  <c:v>405</c:v>
                </c:pt>
                <c:pt idx="1828">
                  <c:v>414</c:v>
                </c:pt>
                <c:pt idx="1829">
                  <c:v>338</c:v>
                </c:pt>
                <c:pt idx="1830">
                  <c:v>360</c:v>
                </c:pt>
                <c:pt idx="1831">
                  <c:v>345</c:v>
                </c:pt>
                <c:pt idx="1832">
                  <c:v>301</c:v>
                </c:pt>
                <c:pt idx="1833">
                  <c:v>293</c:v>
                </c:pt>
                <c:pt idx="1834">
                  <c:v>292</c:v>
                </c:pt>
                <c:pt idx="1835">
                  <c:v>307</c:v>
                </c:pt>
                <c:pt idx="1836">
                  <c:v>251</c:v>
                </c:pt>
                <c:pt idx="1837">
                  <c:v>263</c:v>
                </c:pt>
                <c:pt idx="1838">
                  <c:v>252</c:v>
                </c:pt>
                <c:pt idx="1839">
                  <c:v>274</c:v>
                </c:pt>
                <c:pt idx="1840">
                  <c:v>275</c:v>
                </c:pt>
                <c:pt idx="1841">
                  <c:v>256</c:v>
                </c:pt>
                <c:pt idx="1842">
                  <c:v>253</c:v>
                </c:pt>
                <c:pt idx="1843">
                  <c:v>272</c:v>
                </c:pt>
                <c:pt idx="1844">
                  <c:v>266</c:v>
                </c:pt>
                <c:pt idx="1845">
                  <c:v>259</c:v>
                </c:pt>
                <c:pt idx="1846">
                  <c:v>253</c:v>
                </c:pt>
                <c:pt idx="1847">
                  <c:v>195</c:v>
                </c:pt>
                <c:pt idx="1848">
                  <c:v>161</c:v>
                </c:pt>
                <c:pt idx="1849">
                  <c:v>145</c:v>
                </c:pt>
                <c:pt idx="1850">
                  <c:v>142</c:v>
                </c:pt>
                <c:pt idx="1851">
                  <c:v>146</c:v>
                </c:pt>
                <c:pt idx="1852">
                  <c:v>162</c:v>
                </c:pt>
                <c:pt idx="1853">
                  <c:v>158</c:v>
                </c:pt>
                <c:pt idx="1854">
                  <c:v>157</c:v>
                </c:pt>
                <c:pt idx="1855">
                  <c:v>156</c:v>
                </c:pt>
                <c:pt idx="1856">
                  <c:v>153</c:v>
                </c:pt>
                <c:pt idx="1857">
                  <c:v>165</c:v>
                </c:pt>
                <c:pt idx="1858">
                  <c:v>156</c:v>
                </c:pt>
                <c:pt idx="1859">
                  <c:v>115</c:v>
                </c:pt>
                <c:pt idx="1860">
                  <c:v>102</c:v>
                </c:pt>
                <c:pt idx="1861">
                  <c:v>100</c:v>
                </c:pt>
                <c:pt idx="1862">
                  <c:v>63</c:v>
                </c:pt>
                <c:pt idx="1863">
                  <c:v>69</c:v>
                </c:pt>
                <c:pt idx="1864">
                  <c:v>56</c:v>
                </c:pt>
                <c:pt idx="1865">
                  <c:v>74</c:v>
                </c:pt>
                <c:pt idx="1866">
                  <c:v>70</c:v>
                </c:pt>
                <c:pt idx="1867">
                  <c:v>71</c:v>
                </c:pt>
                <c:pt idx="1868">
                  <c:v>199</c:v>
                </c:pt>
                <c:pt idx="1869">
                  <c:v>141</c:v>
                </c:pt>
                <c:pt idx="1870">
                  <c:v>334</c:v>
                </c:pt>
                <c:pt idx="1871">
                  <c:v>389</c:v>
                </c:pt>
                <c:pt idx="1872">
                  <c:v>563</c:v>
                </c:pt>
                <c:pt idx="1873">
                  <c:v>430</c:v>
                </c:pt>
                <c:pt idx="1874">
                  <c:v>426</c:v>
                </c:pt>
                <c:pt idx="1875">
                  <c:v>316</c:v>
                </c:pt>
                <c:pt idx="1876">
                  <c:v>285</c:v>
                </c:pt>
                <c:pt idx="1877">
                  <c:v>270</c:v>
                </c:pt>
                <c:pt idx="1878">
                  <c:v>270</c:v>
                </c:pt>
                <c:pt idx="1879">
                  <c:v>220</c:v>
                </c:pt>
                <c:pt idx="1880">
                  <c:v>180</c:v>
                </c:pt>
                <c:pt idx="1881">
                  <c:v>188</c:v>
                </c:pt>
                <c:pt idx="1882">
                  <c:v>182</c:v>
                </c:pt>
                <c:pt idx="1883">
                  <c:v>180</c:v>
                </c:pt>
                <c:pt idx="1884">
                  <c:v>179</c:v>
                </c:pt>
                <c:pt idx="1885">
                  <c:v>180</c:v>
                </c:pt>
                <c:pt idx="1886">
                  <c:v>181</c:v>
                </c:pt>
                <c:pt idx="1887">
                  <c:v>194</c:v>
                </c:pt>
                <c:pt idx="1888">
                  <c:v>183</c:v>
                </c:pt>
                <c:pt idx="1889">
                  <c:v>186</c:v>
                </c:pt>
                <c:pt idx="1890">
                  <c:v>186</c:v>
                </c:pt>
                <c:pt idx="1891">
                  <c:v>197</c:v>
                </c:pt>
                <c:pt idx="1892">
                  <c:v>205</c:v>
                </c:pt>
                <c:pt idx="1893">
                  <c:v>194</c:v>
                </c:pt>
                <c:pt idx="1894">
                  <c:v>188</c:v>
                </c:pt>
                <c:pt idx="1895">
                  <c:v>183</c:v>
                </c:pt>
                <c:pt idx="1896">
                  <c:v>187</c:v>
                </c:pt>
                <c:pt idx="1897">
                  <c:v>181</c:v>
                </c:pt>
                <c:pt idx="1898">
                  <c:v>186</c:v>
                </c:pt>
                <c:pt idx="1899">
                  <c:v>187</c:v>
                </c:pt>
                <c:pt idx="1900">
                  <c:v>180</c:v>
                </c:pt>
                <c:pt idx="1901">
                  <c:v>175</c:v>
                </c:pt>
                <c:pt idx="1902">
                  <c:v>136</c:v>
                </c:pt>
                <c:pt idx="1903">
                  <c:v>105</c:v>
                </c:pt>
                <c:pt idx="1904">
                  <c:v>66</c:v>
                </c:pt>
                <c:pt idx="1905">
                  <c:v>63</c:v>
                </c:pt>
                <c:pt idx="1906">
                  <c:v>189</c:v>
                </c:pt>
                <c:pt idx="1907">
                  <c:v>382</c:v>
                </c:pt>
                <c:pt idx="1908">
                  <c:v>384</c:v>
                </c:pt>
                <c:pt idx="1909">
                  <c:v>385</c:v>
                </c:pt>
                <c:pt idx="1910">
                  <c:v>444</c:v>
                </c:pt>
                <c:pt idx="1911">
                  <c:v>295</c:v>
                </c:pt>
                <c:pt idx="1912">
                  <c:v>274</c:v>
                </c:pt>
                <c:pt idx="1913">
                  <c:v>292</c:v>
                </c:pt>
                <c:pt idx="1914">
                  <c:v>316</c:v>
                </c:pt>
                <c:pt idx="1915">
                  <c:v>268</c:v>
                </c:pt>
                <c:pt idx="1916">
                  <c:v>249</c:v>
                </c:pt>
                <c:pt idx="1917">
                  <c:v>243</c:v>
                </c:pt>
                <c:pt idx="1918">
                  <c:v>227</c:v>
                </c:pt>
                <c:pt idx="1919">
                  <c:v>233</c:v>
                </c:pt>
                <c:pt idx="1920">
                  <c:v>246</c:v>
                </c:pt>
                <c:pt idx="1921">
                  <c:v>230</c:v>
                </c:pt>
                <c:pt idx="1922">
                  <c:v>240</c:v>
                </c:pt>
                <c:pt idx="1923">
                  <c:v>250</c:v>
                </c:pt>
                <c:pt idx="1924">
                  <c:v>249</c:v>
                </c:pt>
                <c:pt idx="1925">
                  <c:v>258</c:v>
                </c:pt>
                <c:pt idx="1926">
                  <c:v>252</c:v>
                </c:pt>
                <c:pt idx="1927">
                  <c:v>233</c:v>
                </c:pt>
                <c:pt idx="1928">
                  <c:v>237</c:v>
                </c:pt>
                <c:pt idx="1929">
                  <c:v>255</c:v>
                </c:pt>
                <c:pt idx="1930">
                  <c:v>259</c:v>
                </c:pt>
                <c:pt idx="1931">
                  <c:v>262</c:v>
                </c:pt>
                <c:pt idx="1932">
                  <c:v>250</c:v>
                </c:pt>
                <c:pt idx="1933">
                  <c:v>255</c:v>
                </c:pt>
                <c:pt idx="1934">
                  <c:v>247</c:v>
                </c:pt>
                <c:pt idx="1935">
                  <c:v>245</c:v>
                </c:pt>
                <c:pt idx="1936">
                  <c:v>240</c:v>
                </c:pt>
                <c:pt idx="1937">
                  <c:v>297</c:v>
                </c:pt>
                <c:pt idx="1938">
                  <c:v>301</c:v>
                </c:pt>
                <c:pt idx="1939">
                  <c:v>251</c:v>
                </c:pt>
                <c:pt idx="1940">
                  <c:v>257</c:v>
                </c:pt>
                <c:pt idx="1941">
                  <c:v>255</c:v>
                </c:pt>
                <c:pt idx="1942">
                  <c:v>266</c:v>
                </c:pt>
                <c:pt idx="1943">
                  <c:v>227</c:v>
                </c:pt>
                <c:pt idx="1944">
                  <c:v>231</c:v>
                </c:pt>
                <c:pt idx="1945">
                  <c:v>217</c:v>
                </c:pt>
                <c:pt idx="1946">
                  <c:v>231</c:v>
                </c:pt>
                <c:pt idx="1947">
                  <c:v>243</c:v>
                </c:pt>
                <c:pt idx="1948">
                  <c:v>233</c:v>
                </c:pt>
                <c:pt idx="1949">
                  <c:v>221</c:v>
                </c:pt>
                <c:pt idx="1950">
                  <c:v>221</c:v>
                </c:pt>
                <c:pt idx="1951">
                  <c:v>225</c:v>
                </c:pt>
                <c:pt idx="1952">
                  <c:v>221</c:v>
                </c:pt>
                <c:pt idx="1953">
                  <c:v>219</c:v>
                </c:pt>
                <c:pt idx="1954">
                  <c:v>219</c:v>
                </c:pt>
                <c:pt idx="1955">
                  <c:v>227</c:v>
                </c:pt>
                <c:pt idx="1956">
                  <c:v>209</c:v>
                </c:pt>
                <c:pt idx="1957">
                  <c:v>186</c:v>
                </c:pt>
                <c:pt idx="1958">
                  <c:v>179</c:v>
                </c:pt>
                <c:pt idx="1959">
                  <c:v>175</c:v>
                </c:pt>
                <c:pt idx="1960">
                  <c:v>181</c:v>
                </c:pt>
                <c:pt idx="1961">
                  <c:v>158</c:v>
                </c:pt>
                <c:pt idx="1962">
                  <c:v>150</c:v>
                </c:pt>
                <c:pt idx="1963">
                  <c:v>142</c:v>
                </c:pt>
                <c:pt idx="1964">
                  <c:v>63</c:v>
                </c:pt>
                <c:pt idx="1965">
                  <c:v>345</c:v>
                </c:pt>
                <c:pt idx="1966">
                  <c:v>344</c:v>
                </c:pt>
                <c:pt idx="1967">
                  <c:v>503</c:v>
                </c:pt>
                <c:pt idx="1968">
                  <c:v>497</c:v>
                </c:pt>
                <c:pt idx="1969">
                  <c:v>469</c:v>
                </c:pt>
                <c:pt idx="1970">
                  <c:v>459</c:v>
                </c:pt>
                <c:pt idx="1971">
                  <c:v>462</c:v>
                </c:pt>
                <c:pt idx="1972">
                  <c:v>394</c:v>
                </c:pt>
                <c:pt idx="1973">
                  <c:v>359</c:v>
                </c:pt>
                <c:pt idx="1974">
                  <c:v>342</c:v>
                </c:pt>
                <c:pt idx="1975">
                  <c:v>322</c:v>
                </c:pt>
                <c:pt idx="1976">
                  <c:v>332</c:v>
                </c:pt>
                <c:pt idx="1977">
                  <c:v>331</c:v>
                </c:pt>
                <c:pt idx="1978">
                  <c:v>303</c:v>
                </c:pt>
                <c:pt idx="1979">
                  <c:v>306</c:v>
                </c:pt>
                <c:pt idx="1980">
                  <c:v>301</c:v>
                </c:pt>
                <c:pt idx="1981">
                  <c:v>305</c:v>
                </c:pt>
                <c:pt idx="1982">
                  <c:v>306</c:v>
                </c:pt>
                <c:pt idx="1983">
                  <c:v>292</c:v>
                </c:pt>
                <c:pt idx="1984">
                  <c:v>304</c:v>
                </c:pt>
                <c:pt idx="1985">
                  <c:v>298</c:v>
                </c:pt>
                <c:pt idx="1986">
                  <c:v>298</c:v>
                </c:pt>
                <c:pt idx="1987">
                  <c:v>301</c:v>
                </c:pt>
                <c:pt idx="1988">
                  <c:v>291</c:v>
                </c:pt>
                <c:pt idx="1989">
                  <c:v>299</c:v>
                </c:pt>
                <c:pt idx="1990">
                  <c:v>241</c:v>
                </c:pt>
                <c:pt idx="1991">
                  <c:v>241</c:v>
                </c:pt>
                <c:pt idx="1992">
                  <c:v>197</c:v>
                </c:pt>
                <c:pt idx="1993">
                  <c:v>195</c:v>
                </c:pt>
                <c:pt idx="1994">
                  <c:v>204</c:v>
                </c:pt>
                <c:pt idx="1995">
                  <c:v>223</c:v>
                </c:pt>
                <c:pt idx="1996">
                  <c:v>171</c:v>
                </c:pt>
                <c:pt idx="1997">
                  <c:v>158</c:v>
                </c:pt>
                <c:pt idx="1998">
                  <c:v>153</c:v>
                </c:pt>
                <c:pt idx="1999">
                  <c:v>153</c:v>
                </c:pt>
                <c:pt idx="2000">
                  <c:v>171</c:v>
                </c:pt>
                <c:pt idx="2001">
                  <c:v>214</c:v>
                </c:pt>
                <c:pt idx="2002">
                  <c:v>201</c:v>
                </c:pt>
                <c:pt idx="2003">
                  <c:v>181</c:v>
                </c:pt>
                <c:pt idx="2004">
                  <c:v>214</c:v>
                </c:pt>
                <c:pt idx="2005">
                  <c:v>149</c:v>
                </c:pt>
                <c:pt idx="2006">
                  <c:v>142</c:v>
                </c:pt>
                <c:pt idx="2007">
                  <c:v>154</c:v>
                </c:pt>
                <c:pt idx="2008">
                  <c:v>204</c:v>
                </c:pt>
                <c:pt idx="2009">
                  <c:v>204</c:v>
                </c:pt>
                <c:pt idx="2010">
                  <c:v>111</c:v>
                </c:pt>
                <c:pt idx="2011">
                  <c:v>111</c:v>
                </c:pt>
                <c:pt idx="2012">
                  <c:v>91</c:v>
                </c:pt>
                <c:pt idx="2013">
                  <c:v>136</c:v>
                </c:pt>
                <c:pt idx="2014">
                  <c:v>115</c:v>
                </c:pt>
                <c:pt idx="2015">
                  <c:v>132</c:v>
                </c:pt>
                <c:pt idx="2016">
                  <c:v>127</c:v>
                </c:pt>
                <c:pt idx="2017">
                  <c:v>149</c:v>
                </c:pt>
                <c:pt idx="2018">
                  <c:v>135</c:v>
                </c:pt>
                <c:pt idx="2019">
                  <c:v>138</c:v>
                </c:pt>
                <c:pt idx="2020">
                  <c:v>122</c:v>
                </c:pt>
                <c:pt idx="2021">
                  <c:v>108</c:v>
                </c:pt>
                <c:pt idx="2022">
                  <c:v>141</c:v>
                </c:pt>
                <c:pt idx="2023">
                  <c:v>136</c:v>
                </c:pt>
                <c:pt idx="2024">
                  <c:v>145</c:v>
                </c:pt>
                <c:pt idx="2025">
                  <c:v>134</c:v>
                </c:pt>
                <c:pt idx="2026">
                  <c:v>134</c:v>
                </c:pt>
                <c:pt idx="2027">
                  <c:v>136</c:v>
                </c:pt>
                <c:pt idx="2028">
                  <c:v>148</c:v>
                </c:pt>
                <c:pt idx="2029">
                  <c:v>146</c:v>
                </c:pt>
                <c:pt idx="2030">
                  <c:v>140</c:v>
                </c:pt>
                <c:pt idx="2031">
                  <c:v>150</c:v>
                </c:pt>
                <c:pt idx="2032">
                  <c:v>152</c:v>
                </c:pt>
                <c:pt idx="2033">
                  <c:v>151</c:v>
                </c:pt>
                <c:pt idx="2034">
                  <c:v>103</c:v>
                </c:pt>
                <c:pt idx="2035">
                  <c:v>154</c:v>
                </c:pt>
                <c:pt idx="2036">
                  <c:v>154</c:v>
                </c:pt>
                <c:pt idx="2037">
                  <c:v>144</c:v>
                </c:pt>
                <c:pt idx="2038">
                  <c:v>144</c:v>
                </c:pt>
                <c:pt idx="2039">
                  <c:v>163</c:v>
                </c:pt>
                <c:pt idx="2040">
                  <c:v>155</c:v>
                </c:pt>
                <c:pt idx="2041">
                  <c:v>147</c:v>
                </c:pt>
                <c:pt idx="2042">
                  <c:v>140</c:v>
                </c:pt>
                <c:pt idx="2043">
                  <c:v>140</c:v>
                </c:pt>
                <c:pt idx="2044">
                  <c:v>139</c:v>
                </c:pt>
                <c:pt idx="2045">
                  <c:v>145</c:v>
                </c:pt>
                <c:pt idx="2046">
                  <c:v>163</c:v>
                </c:pt>
                <c:pt idx="2047">
                  <c:v>172</c:v>
                </c:pt>
                <c:pt idx="2048">
                  <c:v>173</c:v>
                </c:pt>
                <c:pt idx="2049">
                  <c:v>163</c:v>
                </c:pt>
                <c:pt idx="2050">
                  <c:v>131</c:v>
                </c:pt>
                <c:pt idx="2051">
                  <c:v>171</c:v>
                </c:pt>
                <c:pt idx="2052">
                  <c:v>164</c:v>
                </c:pt>
                <c:pt idx="2053">
                  <c:v>167</c:v>
                </c:pt>
                <c:pt idx="2054">
                  <c:v>165</c:v>
                </c:pt>
                <c:pt idx="2055">
                  <c:v>157</c:v>
                </c:pt>
                <c:pt idx="2056">
                  <c:v>166</c:v>
                </c:pt>
                <c:pt idx="2057">
                  <c:v>369</c:v>
                </c:pt>
                <c:pt idx="2058">
                  <c:v>267</c:v>
                </c:pt>
                <c:pt idx="2059">
                  <c:v>225</c:v>
                </c:pt>
                <c:pt idx="2060">
                  <c:v>208</c:v>
                </c:pt>
                <c:pt idx="2061">
                  <c:v>184</c:v>
                </c:pt>
                <c:pt idx="2062">
                  <c:v>209</c:v>
                </c:pt>
                <c:pt idx="2063">
                  <c:v>227</c:v>
                </c:pt>
                <c:pt idx="2064">
                  <c:v>251</c:v>
                </c:pt>
                <c:pt idx="2065">
                  <c:v>263</c:v>
                </c:pt>
                <c:pt idx="2066">
                  <c:v>291</c:v>
                </c:pt>
                <c:pt idx="2067">
                  <c:v>262</c:v>
                </c:pt>
                <c:pt idx="2068">
                  <c:v>270</c:v>
                </c:pt>
                <c:pt idx="2069">
                  <c:v>263</c:v>
                </c:pt>
                <c:pt idx="2070">
                  <c:v>285</c:v>
                </c:pt>
                <c:pt idx="2071">
                  <c:v>290</c:v>
                </c:pt>
                <c:pt idx="2072">
                  <c:v>294</c:v>
                </c:pt>
                <c:pt idx="2073">
                  <c:v>300</c:v>
                </c:pt>
                <c:pt idx="2074">
                  <c:v>308</c:v>
                </c:pt>
                <c:pt idx="2075">
                  <c:v>306</c:v>
                </c:pt>
                <c:pt idx="2076">
                  <c:v>304</c:v>
                </c:pt>
                <c:pt idx="2077">
                  <c:v>277</c:v>
                </c:pt>
                <c:pt idx="2078">
                  <c:v>293</c:v>
                </c:pt>
                <c:pt idx="2079">
                  <c:v>317</c:v>
                </c:pt>
                <c:pt idx="2080">
                  <c:v>315</c:v>
                </c:pt>
                <c:pt idx="2081">
                  <c:v>325</c:v>
                </c:pt>
                <c:pt idx="2082">
                  <c:v>335</c:v>
                </c:pt>
                <c:pt idx="2083">
                  <c:v>300</c:v>
                </c:pt>
                <c:pt idx="2084">
                  <c:v>337</c:v>
                </c:pt>
                <c:pt idx="2085">
                  <c:v>322</c:v>
                </c:pt>
                <c:pt idx="2086">
                  <c:v>313</c:v>
                </c:pt>
                <c:pt idx="2087">
                  <c:v>329</c:v>
                </c:pt>
                <c:pt idx="2088">
                  <c:v>343</c:v>
                </c:pt>
                <c:pt idx="2089">
                  <c:v>297</c:v>
                </c:pt>
                <c:pt idx="2090">
                  <c:v>321</c:v>
                </c:pt>
                <c:pt idx="2091">
                  <c:v>321</c:v>
                </c:pt>
                <c:pt idx="2092">
                  <c:v>281</c:v>
                </c:pt>
                <c:pt idx="2093">
                  <c:v>272</c:v>
                </c:pt>
                <c:pt idx="2094">
                  <c:v>266</c:v>
                </c:pt>
                <c:pt idx="2095">
                  <c:v>309</c:v>
                </c:pt>
                <c:pt idx="2096">
                  <c:v>318</c:v>
                </c:pt>
                <c:pt idx="2097">
                  <c:v>318</c:v>
                </c:pt>
                <c:pt idx="2098">
                  <c:v>291</c:v>
                </c:pt>
                <c:pt idx="2099">
                  <c:v>290</c:v>
                </c:pt>
                <c:pt idx="2100">
                  <c:v>308</c:v>
                </c:pt>
                <c:pt idx="2101">
                  <c:v>291</c:v>
                </c:pt>
                <c:pt idx="2102">
                  <c:v>281</c:v>
                </c:pt>
                <c:pt idx="2103">
                  <c:v>269</c:v>
                </c:pt>
                <c:pt idx="2104">
                  <c:v>249</c:v>
                </c:pt>
                <c:pt idx="2105">
                  <c:v>211</c:v>
                </c:pt>
                <c:pt idx="2106">
                  <c:v>202</c:v>
                </c:pt>
                <c:pt idx="2107">
                  <c:v>186</c:v>
                </c:pt>
                <c:pt idx="2108">
                  <c:v>179</c:v>
                </c:pt>
                <c:pt idx="2109">
                  <c:v>109</c:v>
                </c:pt>
                <c:pt idx="2110">
                  <c:v>111</c:v>
                </c:pt>
                <c:pt idx="2111">
                  <c:v>117</c:v>
                </c:pt>
                <c:pt idx="2112">
                  <c:v>112</c:v>
                </c:pt>
                <c:pt idx="2113">
                  <c:v>236</c:v>
                </c:pt>
                <c:pt idx="2114">
                  <c:v>496</c:v>
                </c:pt>
                <c:pt idx="2115">
                  <c:v>446</c:v>
                </c:pt>
                <c:pt idx="2116">
                  <c:v>460</c:v>
                </c:pt>
                <c:pt idx="2117">
                  <c:v>407</c:v>
                </c:pt>
                <c:pt idx="2118">
                  <c:v>265</c:v>
                </c:pt>
                <c:pt idx="2119">
                  <c:v>482</c:v>
                </c:pt>
                <c:pt idx="2120">
                  <c:v>412</c:v>
                </c:pt>
                <c:pt idx="2121">
                  <c:v>372</c:v>
                </c:pt>
                <c:pt idx="2122">
                  <c:v>337</c:v>
                </c:pt>
                <c:pt idx="2123">
                  <c:v>335</c:v>
                </c:pt>
                <c:pt idx="2124">
                  <c:v>274</c:v>
                </c:pt>
                <c:pt idx="2125">
                  <c:v>276</c:v>
                </c:pt>
                <c:pt idx="2126">
                  <c:v>268</c:v>
                </c:pt>
                <c:pt idx="2127">
                  <c:v>310</c:v>
                </c:pt>
                <c:pt idx="2128">
                  <c:v>262</c:v>
                </c:pt>
                <c:pt idx="2129">
                  <c:v>276</c:v>
                </c:pt>
                <c:pt idx="2130">
                  <c:v>260</c:v>
                </c:pt>
                <c:pt idx="2131">
                  <c:v>262</c:v>
                </c:pt>
                <c:pt idx="2132">
                  <c:v>286</c:v>
                </c:pt>
                <c:pt idx="2133">
                  <c:v>289</c:v>
                </c:pt>
                <c:pt idx="2134">
                  <c:v>277</c:v>
                </c:pt>
                <c:pt idx="2135">
                  <c:v>280</c:v>
                </c:pt>
                <c:pt idx="2136">
                  <c:v>284</c:v>
                </c:pt>
                <c:pt idx="2137">
                  <c:v>270</c:v>
                </c:pt>
                <c:pt idx="2138">
                  <c:v>278</c:v>
                </c:pt>
                <c:pt idx="2139">
                  <c:v>291</c:v>
                </c:pt>
                <c:pt idx="2140">
                  <c:v>257</c:v>
                </c:pt>
                <c:pt idx="2141">
                  <c:v>239</c:v>
                </c:pt>
                <c:pt idx="2142">
                  <c:v>235</c:v>
                </c:pt>
                <c:pt idx="2143">
                  <c:v>251</c:v>
                </c:pt>
                <c:pt idx="2144">
                  <c:v>240</c:v>
                </c:pt>
                <c:pt idx="2145">
                  <c:v>230</c:v>
                </c:pt>
                <c:pt idx="2146">
                  <c:v>237</c:v>
                </c:pt>
                <c:pt idx="2147">
                  <c:v>232</c:v>
                </c:pt>
                <c:pt idx="2148">
                  <c:v>238</c:v>
                </c:pt>
                <c:pt idx="2149">
                  <c:v>226</c:v>
                </c:pt>
                <c:pt idx="2150">
                  <c:v>229</c:v>
                </c:pt>
                <c:pt idx="2151">
                  <c:v>241</c:v>
                </c:pt>
                <c:pt idx="2152">
                  <c:v>225</c:v>
                </c:pt>
                <c:pt idx="2153">
                  <c:v>196</c:v>
                </c:pt>
                <c:pt idx="2154">
                  <c:v>209</c:v>
                </c:pt>
                <c:pt idx="2155">
                  <c:v>188</c:v>
                </c:pt>
                <c:pt idx="2156">
                  <c:v>233</c:v>
                </c:pt>
                <c:pt idx="2157">
                  <c:v>236</c:v>
                </c:pt>
                <c:pt idx="2158">
                  <c:v>245</c:v>
                </c:pt>
                <c:pt idx="2159">
                  <c:v>258</c:v>
                </c:pt>
                <c:pt idx="2160">
                  <c:v>235</c:v>
                </c:pt>
                <c:pt idx="2161">
                  <c:v>241</c:v>
                </c:pt>
                <c:pt idx="2162">
                  <c:v>255</c:v>
                </c:pt>
                <c:pt idx="2163">
                  <c:v>243</c:v>
                </c:pt>
                <c:pt idx="2164">
                  <c:v>228</c:v>
                </c:pt>
                <c:pt idx="2165">
                  <c:v>249</c:v>
                </c:pt>
                <c:pt idx="2166">
                  <c:v>193</c:v>
                </c:pt>
                <c:pt idx="2167">
                  <c:v>203</c:v>
                </c:pt>
                <c:pt idx="2168">
                  <c:v>204</c:v>
                </c:pt>
                <c:pt idx="2169">
                  <c:v>197</c:v>
                </c:pt>
                <c:pt idx="2170">
                  <c:v>193</c:v>
                </c:pt>
                <c:pt idx="2171">
                  <c:v>203</c:v>
                </c:pt>
                <c:pt idx="2172">
                  <c:v>186</c:v>
                </c:pt>
                <c:pt idx="2173">
                  <c:v>201</c:v>
                </c:pt>
                <c:pt idx="2174">
                  <c:v>195</c:v>
                </c:pt>
                <c:pt idx="2175">
                  <c:v>200</c:v>
                </c:pt>
                <c:pt idx="2176">
                  <c:v>206</c:v>
                </c:pt>
                <c:pt idx="2177">
                  <c:v>205</c:v>
                </c:pt>
                <c:pt idx="2178">
                  <c:v>202</c:v>
                </c:pt>
                <c:pt idx="2179">
                  <c:v>214</c:v>
                </c:pt>
                <c:pt idx="2180">
                  <c:v>186</c:v>
                </c:pt>
                <c:pt idx="2181">
                  <c:v>211</c:v>
                </c:pt>
                <c:pt idx="2182">
                  <c:v>201</c:v>
                </c:pt>
                <c:pt idx="2183">
                  <c:v>200</c:v>
                </c:pt>
                <c:pt idx="2184">
                  <c:v>193</c:v>
                </c:pt>
                <c:pt idx="2185">
                  <c:v>199</c:v>
                </c:pt>
                <c:pt idx="2186">
                  <c:v>224</c:v>
                </c:pt>
                <c:pt idx="2187">
                  <c:v>196</c:v>
                </c:pt>
                <c:pt idx="2188">
                  <c:v>188</c:v>
                </c:pt>
                <c:pt idx="2189">
                  <c:v>167</c:v>
                </c:pt>
                <c:pt idx="2190">
                  <c:v>212</c:v>
                </c:pt>
                <c:pt idx="2191">
                  <c:v>212</c:v>
                </c:pt>
                <c:pt idx="2192">
                  <c:v>257</c:v>
                </c:pt>
                <c:pt idx="2193">
                  <c:v>272</c:v>
                </c:pt>
                <c:pt idx="2194">
                  <c:v>267</c:v>
                </c:pt>
                <c:pt idx="2195">
                  <c:v>225</c:v>
                </c:pt>
                <c:pt idx="2196">
                  <c:v>227</c:v>
                </c:pt>
                <c:pt idx="2197">
                  <c:v>227</c:v>
                </c:pt>
                <c:pt idx="2198">
                  <c:v>255</c:v>
                </c:pt>
                <c:pt idx="2199">
                  <c:v>264</c:v>
                </c:pt>
                <c:pt idx="2200">
                  <c:v>234</c:v>
                </c:pt>
                <c:pt idx="2201">
                  <c:v>229</c:v>
                </c:pt>
                <c:pt idx="2202">
                  <c:v>220</c:v>
                </c:pt>
                <c:pt idx="2203">
                  <c:v>243</c:v>
                </c:pt>
                <c:pt idx="2204">
                  <c:v>257</c:v>
                </c:pt>
                <c:pt idx="2205">
                  <c:v>265</c:v>
                </c:pt>
                <c:pt idx="2206">
                  <c:v>235</c:v>
                </c:pt>
                <c:pt idx="2207">
                  <c:v>258</c:v>
                </c:pt>
                <c:pt idx="2208">
                  <c:v>258</c:v>
                </c:pt>
                <c:pt idx="2209">
                  <c:v>244</c:v>
                </c:pt>
                <c:pt idx="2210">
                  <c:v>266</c:v>
                </c:pt>
                <c:pt idx="2211">
                  <c:v>266</c:v>
                </c:pt>
                <c:pt idx="2212">
                  <c:v>289</c:v>
                </c:pt>
                <c:pt idx="2213">
                  <c:v>271</c:v>
                </c:pt>
                <c:pt idx="2214">
                  <c:v>284</c:v>
                </c:pt>
                <c:pt idx="2215">
                  <c:v>256</c:v>
                </c:pt>
                <c:pt idx="2216">
                  <c:v>286</c:v>
                </c:pt>
                <c:pt idx="2217">
                  <c:v>291</c:v>
                </c:pt>
                <c:pt idx="2218">
                  <c:v>302</c:v>
                </c:pt>
                <c:pt idx="2219">
                  <c:v>309</c:v>
                </c:pt>
                <c:pt idx="2220">
                  <c:v>304</c:v>
                </c:pt>
                <c:pt idx="2221">
                  <c:v>317</c:v>
                </c:pt>
                <c:pt idx="2222">
                  <c:v>310</c:v>
                </c:pt>
                <c:pt idx="2223">
                  <c:v>309</c:v>
                </c:pt>
                <c:pt idx="2224">
                  <c:v>326</c:v>
                </c:pt>
                <c:pt idx="2225">
                  <c:v>325</c:v>
                </c:pt>
                <c:pt idx="2226">
                  <c:v>314</c:v>
                </c:pt>
                <c:pt idx="2227">
                  <c:v>328</c:v>
                </c:pt>
                <c:pt idx="2228">
                  <c:v>328</c:v>
                </c:pt>
                <c:pt idx="2229">
                  <c:v>312</c:v>
                </c:pt>
                <c:pt idx="2230">
                  <c:v>291</c:v>
                </c:pt>
                <c:pt idx="2231">
                  <c:v>297</c:v>
                </c:pt>
                <c:pt idx="2232">
                  <c:v>294</c:v>
                </c:pt>
                <c:pt idx="2233">
                  <c:v>289</c:v>
                </c:pt>
                <c:pt idx="2234">
                  <c:v>331</c:v>
                </c:pt>
                <c:pt idx="2235">
                  <c:v>330</c:v>
                </c:pt>
                <c:pt idx="2236">
                  <c:v>329</c:v>
                </c:pt>
                <c:pt idx="2237">
                  <c:v>270</c:v>
                </c:pt>
                <c:pt idx="2238">
                  <c:v>247</c:v>
                </c:pt>
                <c:pt idx="2239">
                  <c:v>230</c:v>
                </c:pt>
                <c:pt idx="2240">
                  <c:v>237</c:v>
                </c:pt>
                <c:pt idx="2241">
                  <c:v>231</c:v>
                </c:pt>
                <c:pt idx="2242">
                  <c:v>225</c:v>
                </c:pt>
                <c:pt idx="2243">
                  <c:v>228</c:v>
                </c:pt>
                <c:pt idx="2244">
                  <c:v>221</c:v>
                </c:pt>
                <c:pt idx="2245">
                  <c:v>202</c:v>
                </c:pt>
                <c:pt idx="2246">
                  <c:v>229</c:v>
                </c:pt>
                <c:pt idx="2247">
                  <c:v>202</c:v>
                </c:pt>
                <c:pt idx="2248">
                  <c:v>211</c:v>
                </c:pt>
                <c:pt idx="2249">
                  <c:v>212</c:v>
                </c:pt>
                <c:pt idx="2250">
                  <c:v>200</c:v>
                </c:pt>
                <c:pt idx="2251">
                  <c:v>211</c:v>
                </c:pt>
                <c:pt idx="2252">
                  <c:v>248</c:v>
                </c:pt>
                <c:pt idx="2253">
                  <c:v>225</c:v>
                </c:pt>
                <c:pt idx="2254">
                  <c:v>241</c:v>
                </c:pt>
                <c:pt idx="2255">
                  <c:v>221</c:v>
                </c:pt>
                <c:pt idx="2256">
                  <c:v>225</c:v>
                </c:pt>
                <c:pt idx="2257">
                  <c:v>220</c:v>
                </c:pt>
                <c:pt idx="2258">
                  <c:v>220</c:v>
                </c:pt>
                <c:pt idx="2259">
                  <c:v>223</c:v>
                </c:pt>
                <c:pt idx="2260">
                  <c:v>222</c:v>
                </c:pt>
                <c:pt idx="2261">
                  <c:v>214</c:v>
                </c:pt>
                <c:pt idx="2262">
                  <c:v>199</c:v>
                </c:pt>
                <c:pt idx="2263">
                  <c:v>177</c:v>
                </c:pt>
                <c:pt idx="2264">
                  <c:v>194</c:v>
                </c:pt>
                <c:pt idx="2265">
                  <c:v>194</c:v>
                </c:pt>
                <c:pt idx="2266">
                  <c:v>190</c:v>
                </c:pt>
                <c:pt idx="2267">
                  <c:v>199</c:v>
                </c:pt>
                <c:pt idx="2268">
                  <c:v>195</c:v>
                </c:pt>
                <c:pt idx="2269">
                  <c:v>191</c:v>
                </c:pt>
                <c:pt idx="2270">
                  <c:v>188</c:v>
                </c:pt>
                <c:pt idx="2271">
                  <c:v>163</c:v>
                </c:pt>
                <c:pt idx="2272">
                  <c:v>167</c:v>
                </c:pt>
                <c:pt idx="2273">
                  <c:v>159</c:v>
                </c:pt>
                <c:pt idx="2274">
                  <c:v>163</c:v>
                </c:pt>
                <c:pt idx="2275">
                  <c:v>171</c:v>
                </c:pt>
                <c:pt idx="2276">
                  <c:v>159</c:v>
                </c:pt>
                <c:pt idx="2277">
                  <c:v>164</c:v>
                </c:pt>
                <c:pt idx="2278">
                  <c:v>156</c:v>
                </c:pt>
                <c:pt idx="2279">
                  <c:v>151</c:v>
                </c:pt>
                <c:pt idx="2280">
                  <c:v>124</c:v>
                </c:pt>
                <c:pt idx="2281">
                  <c:v>124</c:v>
                </c:pt>
                <c:pt idx="2282">
                  <c:v>124</c:v>
                </c:pt>
                <c:pt idx="2283">
                  <c:v>109</c:v>
                </c:pt>
                <c:pt idx="2284">
                  <c:v>133</c:v>
                </c:pt>
                <c:pt idx="2285">
                  <c:v>119</c:v>
                </c:pt>
                <c:pt idx="2286">
                  <c:v>110</c:v>
                </c:pt>
                <c:pt idx="2287">
                  <c:v>129</c:v>
                </c:pt>
                <c:pt idx="2288">
                  <c:v>165</c:v>
                </c:pt>
                <c:pt idx="2289">
                  <c:v>220</c:v>
                </c:pt>
                <c:pt idx="2290">
                  <c:v>219</c:v>
                </c:pt>
                <c:pt idx="2291">
                  <c:v>176</c:v>
                </c:pt>
                <c:pt idx="2292">
                  <c:v>183</c:v>
                </c:pt>
                <c:pt idx="2293">
                  <c:v>168</c:v>
                </c:pt>
                <c:pt idx="2294">
                  <c:v>155</c:v>
                </c:pt>
                <c:pt idx="2295">
                  <c:v>165</c:v>
                </c:pt>
                <c:pt idx="2296">
                  <c:v>158</c:v>
                </c:pt>
                <c:pt idx="2297">
                  <c:v>167</c:v>
                </c:pt>
                <c:pt idx="2298">
                  <c:v>163</c:v>
                </c:pt>
                <c:pt idx="2299">
                  <c:v>168</c:v>
                </c:pt>
                <c:pt idx="2300">
                  <c:v>171</c:v>
                </c:pt>
                <c:pt idx="2301">
                  <c:v>175</c:v>
                </c:pt>
                <c:pt idx="2302">
                  <c:v>176</c:v>
                </c:pt>
                <c:pt idx="2303">
                  <c:v>169</c:v>
                </c:pt>
                <c:pt idx="2304">
                  <c:v>169</c:v>
                </c:pt>
                <c:pt idx="2305">
                  <c:v>174</c:v>
                </c:pt>
                <c:pt idx="2306">
                  <c:v>177</c:v>
                </c:pt>
                <c:pt idx="2307">
                  <c:v>174</c:v>
                </c:pt>
                <c:pt idx="2308">
                  <c:v>176</c:v>
                </c:pt>
                <c:pt idx="2309">
                  <c:v>177</c:v>
                </c:pt>
                <c:pt idx="2310">
                  <c:v>177</c:v>
                </c:pt>
                <c:pt idx="2311">
                  <c:v>288</c:v>
                </c:pt>
                <c:pt idx="2312">
                  <c:v>261</c:v>
                </c:pt>
                <c:pt idx="2313">
                  <c:v>328</c:v>
                </c:pt>
                <c:pt idx="2314">
                  <c:v>262</c:v>
                </c:pt>
                <c:pt idx="2315">
                  <c:v>236</c:v>
                </c:pt>
                <c:pt idx="2316">
                  <c:v>227</c:v>
                </c:pt>
                <c:pt idx="2317">
                  <c:v>269</c:v>
                </c:pt>
                <c:pt idx="2318">
                  <c:v>253</c:v>
                </c:pt>
                <c:pt idx="2319">
                  <c:v>258</c:v>
                </c:pt>
                <c:pt idx="2320">
                  <c:v>248</c:v>
                </c:pt>
                <c:pt idx="2321">
                  <c:v>246</c:v>
                </c:pt>
                <c:pt idx="2322">
                  <c:v>262</c:v>
                </c:pt>
                <c:pt idx="2323">
                  <c:v>235</c:v>
                </c:pt>
                <c:pt idx="2324">
                  <c:v>261</c:v>
                </c:pt>
                <c:pt idx="2325">
                  <c:v>262</c:v>
                </c:pt>
                <c:pt idx="2326">
                  <c:v>260</c:v>
                </c:pt>
                <c:pt idx="2327">
                  <c:v>287</c:v>
                </c:pt>
                <c:pt idx="2328">
                  <c:v>259</c:v>
                </c:pt>
                <c:pt idx="2329">
                  <c:v>285</c:v>
                </c:pt>
                <c:pt idx="2330">
                  <c:v>267</c:v>
                </c:pt>
                <c:pt idx="2331">
                  <c:v>254</c:v>
                </c:pt>
                <c:pt idx="2332">
                  <c:v>244</c:v>
                </c:pt>
                <c:pt idx="2333">
                  <c:v>221</c:v>
                </c:pt>
                <c:pt idx="2334">
                  <c:v>173</c:v>
                </c:pt>
                <c:pt idx="2335">
                  <c:v>163</c:v>
                </c:pt>
                <c:pt idx="2336">
                  <c:v>141</c:v>
                </c:pt>
                <c:pt idx="2337">
                  <c:v>168</c:v>
                </c:pt>
                <c:pt idx="2338">
                  <c:v>165</c:v>
                </c:pt>
                <c:pt idx="2339">
                  <c:v>174</c:v>
                </c:pt>
                <c:pt idx="2340">
                  <c:v>165</c:v>
                </c:pt>
                <c:pt idx="2341">
                  <c:v>141</c:v>
                </c:pt>
                <c:pt idx="2342">
                  <c:v>141</c:v>
                </c:pt>
                <c:pt idx="2343">
                  <c:v>139</c:v>
                </c:pt>
                <c:pt idx="2344">
                  <c:v>152</c:v>
                </c:pt>
                <c:pt idx="2345">
                  <c:v>130</c:v>
                </c:pt>
                <c:pt idx="2346">
                  <c:v>116</c:v>
                </c:pt>
                <c:pt idx="2347">
                  <c:v>115</c:v>
                </c:pt>
                <c:pt idx="2348">
                  <c:v>103</c:v>
                </c:pt>
                <c:pt idx="2349">
                  <c:v>100</c:v>
                </c:pt>
                <c:pt idx="2350">
                  <c:v>109</c:v>
                </c:pt>
                <c:pt idx="2351">
                  <c:v>112</c:v>
                </c:pt>
                <c:pt idx="2352">
                  <c:v>110</c:v>
                </c:pt>
                <c:pt idx="2353">
                  <c:v>119</c:v>
                </c:pt>
                <c:pt idx="2354">
                  <c:v>118</c:v>
                </c:pt>
                <c:pt idx="2355">
                  <c:v>121</c:v>
                </c:pt>
                <c:pt idx="2356">
                  <c:v>112</c:v>
                </c:pt>
                <c:pt idx="2357">
                  <c:v>122</c:v>
                </c:pt>
                <c:pt idx="2358">
                  <c:v>115</c:v>
                </c:pt>
                <c:pt idx="2359">
                  <c:v>115</c:v>
                </c:pt>
                <c:pt idx="2360">
                  <c:v>121</c:v>
                </c:pt>
                <c:pt idx="2361">
                  <c:v>119</c:v>
                </c:pt>
                <c:pt idx="2362">
                  <c:v>141</c:v>
                </c:pt>
                <c:pt idx="2363">
                  <c:v>146</c:v>
                </c:pt>
                <c:pt idx="2364">
                  <c:v>100</c:v>
                </c:pt>
                <c:pt idx="2365">
                  <c:v>100</c:v>
                </c:pt>
                <c:pt idx="2366">
                  <c:v>112</c:v>
                </c:pt>
                <c:pt idx="2367">
                  <c:v>118</c:v>
                </c:pt>
                <c:pt idx="2368">
                  <c:v>130</c:v>
                </c:pt>
                <c:pt idx="2369">
                  <c:v>123</c:v>
                </c:pt>
                <c:pt idx="2370">
                  <c:v>115</c:v>
                </c:pt>
                <c:pt idx="2371">
                  <c:v>137</c:v>
                </c:pt>
                <c:pt idx="2372">
                  <c:v>100</c:v>
                </c:pt>
                <c:pt idx="2373">
                  <c:v>120</c:v>
                </c:pt>
                <c:pt idx="2374">
                  <c:v>123</c:v>
                </c:pt>
                <c:pt idx="2375">
                  <c:v>125</c:v>
                </c:pt>
                <c:pt idx="2376">
                  <c:v>115</c:v>
                </c:pt>
                <c:pt idx="2377">
                  <c:v>112</c:v>
                </c:pt>
                <c:pt idx="2378">
                  <c:v>125</c:v>
                </c:pt>
                <c:pt idx="2379">
                  <c:v>106</c:v>
                </c:pt>
                <c:pt idx="2380">
                  <c:v>107</c:v>
                </c:pt>
                <c:pt idx="2381">
                  <c:v>116</c:v>
                </c:pt>
                <c:pt idx="2382">
                  <c:v>125</c:v>
                </c:pt>
                <c:pt idx="2383">
                  <c:v>127</c:v>
                </c:pt>
                <c:pt idx="2384">
                  <c:v>94</c:v>
                </c:pt>
                <c:pt idx="2385">
                  <c:v>140</c:v>
                </c:pt>
                <c:pt idx="2386">
                  <c:v>118</c:v>
                </c:pt>
                <c:pt idx="2387">
                  <c:v>123</c:v>
                </c:pt>
                <c:pt idx="2388">
                  <c:v>133</c:v>
                </c:pt>
                <c:pt idx="2389">
                  <c:v>117</c:v>
                </c:pt>
                <c:pt idx="2390">
                  <c:v>135</c:v>
                </c:pt>
                <c:pt idx="2391">
                  <c:v>120</c:v>
                </c:pt>
                <c:pt idx="2392">
                  <c:v>127</c:v>
                </c:pt>
                <c:pt idx="2393">
                  <c:v>130</c:v>
                </c:pt>
                <c:pt idx="2394">
                  <c:v>173</c:v>
                </c:pt>
                <c:pt idx="2395">
                  <c:v>200</c:v>
                </c:pt>
                <c:pt idx="2396">
                  <c:v>190</c:v>
                </c:pt>
                <c:pt idx="2397">
                  <c:v>162</c:v>
                </c:pt>
                <c:pt idx="2398">
                  <c:v>171</c:v>
                </c:pt>
                <c:pt idx="2399">
                  <c:v>168</c:v>
                </c:pt>
                <c:pt idx="2400">
                  <c:v>141</c:v>
                </c:pt>
                <c:pt idx="2401">
                  <c:v>150</c:v>
                </c:pt>
                <c:pt idx="2402">
                  <c:v>299</c:v>
                </c:pt>
                <c:pt idx="2403">
                  <c:v>198</c:v>
                </c:pt>
                <c:pt idx="2404">
                  <c:v>185</c:v>
                </c:pt>
                <c:pt idx="2405">
                  <c:v>184</c:v>
                </c:pt>
                <c:pt idx="2406">
                  <c:v>207</c:v>
                </c:pt>
                <c:pt idx="2407">
                  <c:v>206</c:v>
                </c:pt>
                <c:pt idx="2408">
                  <c:v>196</c:v>
                </c:pt>
                <c:pt idx="2409">
                  <c:v>189</c:v>
                </c:pt>
                <c:pt idx="2410">
                  <c:v>204</c:v>
                </c:pt>
                <c:pt idx="2411">
                  <c:v>211</c:v>
                </c:pt>
                <c:pt idx="2412">
                  <c:v>226</c:v>
                </c:pt>
                <c:pt idx="2413">
                  <c:v>247</c:v>
                </c:pt>
                <c:pt idx="2414">
                  <c:v>206</c:v>
                </c:pt>
                <c:pt idx="2415">
                  <c:v>211</c:v>
                </c:pt>
                <c:pt idx="2416">
                  <c:v>216</c:v>
                </c:pt>
                <c:pt idx="2417">
                  <c:v>215</c:v>
                </c:pt>
                <c:pt idx="2418">
                  <c:v>210</c:v>
                </c:pt>
                <c:pt idx="2419">
                  <c:v>209</c:v>
                </c:pt>
                <c:pt idx="2420">
                  <c:v>216</c:v>
                </c:pt>
                <c:pt idx="2421">
                  <c:v>176</c:v>
                </c:pt>
                <c:pt idx="2422">
                  <c:v>185</c:v>
                </c:pt>
                <c:pt idx="2423">
                  <c:v>176</c:v>
                </c:pt>
                <c:pt idx="2424">
                  <c:v>191</c:v>
                </c:pt>
                <c:pt idx="2425">
                  <c:v>183</c:v>
                </c:pt>
                <c:pt idx="2426">
                  <c:v>180</c:v>
                </c:pt>
                <c:pt idx="2427">
                  <c:v>190</c:v>
                </c:pt>
                <c:pt idx="2428">
                  <c:v>201</c:v>
                </c:pt>
                <c:pt idx="2429">
                  <c:v>189</c:v>
                </c:pt>
                <c:pt idx="2430">
                  <c:v>186</c:v>
                </c:pt>
                <c:pt idx="2431">
                  <c:v>181</c:v>
                </c:pt>
                <c:pt idx="2432">
                  <c:v>173</c:v>
                </c:pt>
                <c:pt idx="2433">
                  <c:v>186</c:v>
                </c:pt>
                <c:pt idx="2434">
                  <c:v>169</c:v>
                </c:pt>
                <c:pt idx="2435">
                  <c:v>167</c:v>
                </c:pt>
                <c:pt idx="2436">
                  <c:v>177</c:v>
                </c:pt>
                <c:pt idx="2437">
                  <c:v>158</c:v>
                </c:pt>
                <c:pt idx="2438">
                  <c:v>162</c:v>
                </c:pt>
                <c:pt idx="2439">
                  <c:v>148</c:v>
                </c:pt>
                <c:pt idx="2440">
                  <c:v>149</c:v>
                </c:pt>
                <c:pt idx="2441">
                  <c:v>161</c:v>
                </c:pt>
                <c:pt idx="2442">
                  <c:v>152</c:v>
                </c:pt>
                <c:pt idx="2443">
                  <c:v>144</c:v>
                </c:pt>
                <c:pt idx="2444">
                  <c:v>155</c:v>
                </c:pt>
                <c:pt idx="2445">
                  <c:v>139</c:v>
                </c:pt>
                <c:pt idx="2446">
                  <c:v>139</c:v>
                </c:pt>
                <c:pt idx="2447">
                  <c:v>138</c:v>
                </c:pt>
                <c:pt idx="2448">
                  <c:v>137</c:v>
                </c:pt>
                <c:pt idx="2449">
                  <c:v>136</c:v>
                </c:pt>
                <c:pt idx="2450">
                  <c:v>166</c:v>
                </c:pt>
                <c:pt idx="2451">
                  <c:v>124</c:v>
                </c:pt>
                <c:pt idx="2452">
                  <c:v>130</c:v>
                </c:pt>
                <c:pt idx="2453">
                  <c:v>134</c:v>
                </c:pt>
                <c:pt idx="2454">
                  <c:v>134</c:v>
                </c:pt>
                <c:pt idx="2455">
                  <c:v>123</c:v>
                </c:pt>
                <c:pt idx="2456">
                  <c:v>124</c:v>
                </c:pt>
                <c:pt idx="2457">
                  <c:v>127</c:v>
                </c:pt>
                <c:pt idx="2458">
                  <c:v>117</c:v>
                </c:pt>
                <c:pt idx="2459">
                  <c:v>127</c:v>
                </c:pt>
                <c:pt idx="2460">
                  <c:v>127</c:v>
                </c:pt>
                <c:pt idx="2461">
                  <c:v>98</c:v>
                </c:pt>
                <c:pt idx="2462">
                  <c:v>142</c:v>
                </c:pt>
                <c:pt idx="2463">
                  <c:v>108</c:v>
                </c:pt>
                <c:pt idx="2464">
                  <c:v>132</c:v>
                </c:pt>
                <c:pt idx="2465">
                  <c:v>118</c:v>
                </c:pt>
                <c:pt idx="2466">
                  <c:v>118</c:v>
                </c:pt>
                <c:pt idx="2467">
                  <c:v>122</c:v>
                </c:pt>
                <c:pt idx="2468">
                  <c:v>129</c:v>
                </c:pt>
                <c:pt idx="2469">
                  <c:v>43</c:v>
                </c:pt>
                <c:pt idx="2470">
                  <c:v>175</c:v>
                </c:pt>
                <c:pt idx="2471">
                  <c:v>227</c:v>
                </c:pt>
                <c:pt idx="2472">
                  <c:v>220</c:v>
                </c:pt>
                <c:pt idx="2473">
                  <c:v>232</c:v>
                </c:pt>
                <c:pt idx="2474">
                  <c:v>181</c:v>
                </c:pt>
                <c:pt idx="2475">
                  <c:v>161</c:v>
                </c:pt>
                <c:pt idx="2476">
                  <c:v>170</c:v>
                </c:pt>
                <c:pt idx="2477">
                  <c:v>172</c:v>
                </c:pt>
                <c:pt idx="2478">
                  <c:v>167</c:v>
                </c:pt>
                <c:pt idx="2479">
                  <c:v>152</c:v>
                </c:pt>
                <c:pt idx="2480">
                  <c:v>181</c:v>
                </c:pt>
                <c:pt idx="2481">
                  <c:v>205</c:v>
                </c:pt>
                <c:pt idx="2482">
                  <c:v>175</c:v>
                </c:pt>
                <c:pt idx="2483">
                  <c:v>167</c:v>
                </c:pt>
                <c:pt idx="2484">
                  <c:v>217</c:v>
                </c:pt>
                <c:pt idx="2485">
                  <c:v>230</c:v>
                </c:pt>
                <c:pt idx="2486">
                  <c:v>207</c:v>
                </c:pt>
                <c:pt idx="2487">
                  <c:v>182</c:v>
                </c:pt>
                <c:pt idx="2488">
                  <c:v>190</c:v>
                </c:pt>
                <c:pt idx="2489">
                  <c:v>181</c:v>
                </c:pt>
                <c:pt idx="2490">
                  <c:v>184</c:v>
                </c:pt>
                <c:pt idx="2491">
                  <c:v>192</c:v>
                </c:pt>
                <c:pt idx="2492">
                  <c:v>221</c:v>
                </c:pt>
                <c:pt idx="2493">
                  <c:v>219</c:v>
                </c:pt>
                <c:pt idx="2494">
                  <c:v>206</c:v>
                </c:pt>
                <c:pt idx="2495">
                  <c:v>230</c:v>
                </c:pt>
                <c:pt idx="2496">
                  <c:v>232</c:v>
                </c:pt>
                <c:pt idx="2497">
                  <c:v>217</c:v>
                </c:pt>
                <c:pt idx="2498">
                  <c:v>235</c:v>
                </c:pt>
                <c:pt idx="2499">
                  <c:v>205</c:v>
                </c:pt>
                <c:pt idx="2500">
                  <c:v>232</c:v>
                </c:pt>
                <c:pt idx="2501">
                  <c:v>235</c:v>
                </c:pt>
                <c:pt idx="2502">
                  <c:v>240</c:v>
                </c:pt>
                <c:pt idx="2503">
                  <c:v>217</c:v>
                </c:pt>
                <c:pt idx="2504">
                  <c:v>213</c:v>
                </c:pt>
                <c:pt idx="2505">
                  <c:v>236</c:v>
                </c:pt>
                <c:pt idx="2506">
                  <c:v>236</c:v>
                </c:pt>
                <c:pt idx="2507">
                  <c:v>237</c:v>
                </c:pt>
                <c:pt idx="2508">
                  <c:v>239</c:v>
                </c:pt>
                <c:pt idx="2509">
                  <c:v>224</c:v>
                </c:pt>
                <c:pt idx="2510">
                  <c:v>223</c:v>
                </c:pt>
                <c:pt idx="2511">
                  <c:v>186</c:v>
                </c:pt>
                <c:pt idx="2512">
                  <c:v>179</c:v>
                </c:pt>
                <c:pt idx="2513">
                  <c:v>180</c:v>
                </c:pt>
                <c:pt idx="2514">
                  <c:v>183</c:v>
                </c:pt>
                <c:pt idx="2515">
                  <c:v>168</c:v>
                </c:pt>
                <c:pt idx="2516">
                  <c:v>152</c:v>
                </c:pt>
                <c:pt idx="2517">
                  <c:v>151</c:v>
                </c:pt>
                <c:pt idx="2518">
                  <c:v>139</c:v>
                </c:pt>
                <c:pt idx="2519">
                  <c:v>141</c:v>
                </c:pt>
                <c:pt idx="2520">
                  <c:v>149</c:v>
                </c:pt>
                <c:pt idx="2521">
                  <c:v>200</c:v>
                </c:pt>
                <c:pt idx="2522">
                  <c:v>164</c:v>
                </c:pt>
                <c:pt idx="2523">
                  <c:v>150</c:v>
                </c:pt>
                <c:pt idx="2524">
                  <c:v>116</c:v>
                </c:pt>
                <c:pt idx="2525">
                  <c:v>73</c:v>
                </c:pt>
                <c:pt idx="2526">
                  <c:v>87</c:v>
                </c:pt>
                <c:pt idx="2527">
                  <c:v>93</c:v>
                </c:pt>
                <c:pt idx="2528">
                  <c:v>92</c:v>
                </c:pt>
                <c:pt idx="2529">
                  <c:v>37</c:v>
                </c:pt>
                <c:pt idx="2530">
                  <c:v>471</c:v>
                </c:pt>
                <c:pt idx="2531">
                  <c:v>449</c:v>
                </c:pt>
                <c:pt idx="2532">
                  <c:v>464</c:v>
                </c:pt>
                <c:pt idx="2533">
                  <c:v>505</c:v>
                </c:pt>
                <c:pt idx="2534">
                  <c:v>464</c:v>
                </c:pt>
                <c:pt idx="2535">
                  <c:v>426</c:v>
                </c:pt>
                <c:pt idx="2536">
                  <c:v>455</c:v>
                </c:pt>
                <c:pt idx="2537">
                  <c:v>446</c:v>
                </c:pt>
                <c:pt idx="2538">
                  <c:v>426</c:v>
                </c:pt>
                <c:pt idx="2539">
                  <c:v>375</c:v>
                </c:pt>
                <c:pt idx="2540">
                  <c:v>314</c:v>
                </c:pt>
                <c:pt idx="2541">
                  <c:v>358</c:v>
                </c:pt>
                <c:pt idx="2542">
                  <c:v>323</c:v>
                </c:pt>
                <c:pt idx="2543">
                  <c:v>334</c:v>
                </c:pt>
                <c:pt idx="2544">
                  <c:v>336</c:v>
                </c:pt>
                <c:pt idx="2545">
                  <c:v>355</c:v>
                </c:pt>
                <c:pt idx="2546">
                  <c:v>334</c:v>
                </c:pt>
                <c:pt idx="2547">
                  <c:v>296</c:v>
                </c:pt>
                <c:pt idx="2548">
                  <c:v>277</c:v>
                </c:pt>
                <c:pt idx="2549">
                  <c:v>307</c:v>
                </c:pt>
                <c:pt idx="2550">
                  <c:v>279</c:v>
                </c:pt>
                <c:pt idx="2551">
                  <c:v>346</c:v>
                </c:pt>
                <c:pt idx="2552">
                  <c:v>358</c:v>
                </c:pt>
                <c:pt idx="2553">
                  <c:v>364</c:v>
                </c:pt>
                <c:pt idx="2554">
                  <c:v>341</c:v>
                </c:pt>
                <c:pt idx="2555">
                  <c:v>326</c:v>
                </c:pt>
                <c:pt idx="2556">
                  <c:v>370</c:v>
                </c:pt>
                <c:pt idx="2557">
                  <c:v>316</c:v>
                </c:pt>
                <c:pt idx="2558">
                  <c:v>302</c:v>
                </c:pt>
                <c:pt idx="2559">
                  <c:v>362</c:v>
                </c:pt>
                <c:pt idx="2560">
                  <c:v>344</c:v>
                </c:pt>
                <c:pt idx="2561">
                  <c:v>317</c:v>
                </c:pt>
                <c:pt idx="2562">
                  <c:v>361</c:v>
                </c:pt>
                <c:pt idx="2563">
                  <c:v>363</c:v>
                </c:pt>
                <c:pt idx="2564">
                  <c:v>365</c:v>
                </c:pt>
                <c:pt idx="2565">
                  <c:v>347</c:v>
                </c:pt>
                <c:pt idx="2566">
                  <c:v>346</c:v>
                </c:pt>
                <c:pt idx="2567">
                  <c:v>353</c:v>
                </c:pt>
                <c:pt idx="2568">
                  <c:v>333</c:v>
                </c:pt>
                <c:pt idx="2569">
                  <c:v>342</c:v>
                </c:pt>
                <c:pt idx="2570">
                  <c:v>323</c:v>
                </c:pt>
                <c:pt idx="2571">
                  <c:v>281</c:v>
                </c:pt>
                <c:pt idx="2572">
                  <c:v>258</c:v>
                </c:pt>
                <c:pt idx="2573">
                  <c:v>218</c:v>
                </c:pt>
                <c:pt idx="2574">
                  <c:v>197</c:v>
                </c:pt>
                <c:pt idx="2575">
                  <c:v>169</c:v>
                </c:pt>
                <c:pt idx="2576">
                  <c:v>164</c:v>
                </c:pt>
                <c:pt idx="2577">
                  <c:v>162</c:v>
                </c:pt>
                <c:pt idx="2578">
                  <c:v>180</c:v>
                </c:pt>
                <c:pt idx="2579">
                  <c:v>163</c:v>
                </c:pt>
                <c:pt idx="2580">
                  <c:v>179</c:v>
                </c:pt>
                <c:pt idx="2581">
                  <c:v>170</c:v>
                </c:pt>
                <c:pt idx="2582">
                  <c:v>168</c:v>
                </c:pt>
                <c:pt idx="2583">
                  <c:v>157</c:v>
                </c:pt>
                <c:pt idx="2584">
                  <c:v>64</c:v>
                </c:pt>
                <c:pt idx="2585">
                  <c:v>80</c:v>
                </c:pt>
                <c:pt idx="2586">
                  <c:v>83</c:v>
                </c:pt>
                <c:pt idx="2587">
                  <c:v>79</c:v>
                </c:pt>
                <c:pt idx="2588">
                  <c:v>652</c:v>
                </c:pt>
                <c:pt idx="2589">
                  <c:v>650</c:v>
                </c:pt>
                <c:pt idx="2590">
                  <c:v>756</c:v>
                </c:pt>
                <c:pt idx="2591">
                  <c:v>650</c:v>
                </c:pt>
                <c:pt idx="2592">
                  <c:v>453</c:v>
                </c:pt>
                <c:pt idx="2593">
                  <c:v>378</c:v>
                </c:pt>
                <c:pt idx="2594">
                  <c:v>397</c:v>
                </c:pt>
                <c:pt idx="2595">
                  <c:v>446</c:v>
                </c:pt>
                <c:pt idx="2596">
                  <c:v>406</c:v>
                </c:pt>
                <c:pt idx="2597">
                  <c:v>387</c:v>
                </c:pt>
                <c:pt idx="2598">
                  <c:v>405</c:v>
                </c:pt>
                <c:pt idx="2599">
                  <c:v>413</c:v>
                </c:pt>
                <c:pt idx="2600">
                  <c:v>466</c:v>
                </c:pt>
                <c:pt idx="2601">
                  <c:v>477</c:v>
                </c:pt>
                <c:pt idx="2602">
                  <c:v>433</c:v>
                </c:pt>
                <c:pt idx="2603">
                  <c:v>453</c:v>
                </c:pt>
                <c:pt idx="2604">
                  <c:v>469</c:v>
                </c:pt>
                <c:pt idx="2605">
                  <c:v>459</c:v>
                </c:pt>
                <c:pt idx="2606">
                  <c:v>454</c:v>
                </c:pt>
                <c:pt idx="2607">
                  <c:v>471</c:v>
                </c:pt>
                <c:pt idx="2608">
                  <c:v>493</c:v>
                </c:pt>
                <c:pt idx="2609">
                  <c:v>416</c:v>
                </c:pt>
                <c:pt idx="2610">
                  <c:v>491</c:v>
                </c:pt>
                <c:pt idx="2611">
                  <c:v>469</c:v>
                </c:pt>
                <c:pt idx="2612">
                  <c:v>469</c:v>
                </c:pt>
                <c:pt idx="2613">
                  <c:v>481</c:v>
                </c:pt>
                <c:pt idx="2614">
                  <c:v>485</c:v>
                </c:pt>
                <c:pt idx="2615">
                  <c:v>490</c:v>
                </c:pt>
                <c:pt idx="2616">
                  <c:v>487</c:v>
                </c:pt>
                <c:pt idx="2617">
                  <c:v>465</c:v>
                </c:pt>
                <c:pt idx="2618">
                  <c:v>492</c:v>
                </c:pt>
                <c:pt idx="2619">
                  <c:v>343</c:v>
                </c:pt>
                <c:pt idx="2620">
                  <c:v>434</c:v>
                </c:pt>
                <c:pt idx="2621">
                  <c:v>431</c:v>
                </c:pt>
                <c:pt idx="2622">
                  <c:v>468</c:v>
                </c:pt>
                <c:pt idx="2623">
                  <c:v>474</c:v>
                </c:pt>
                <c:pt idx="2624">
                  <c:v>472</c:v>
                </c:pt>
                <c:pt idx="2625">
                  <c:v>430</c:v>
                </c:pt>
                <c:pt idx="2626">
                  <c:v>464</c:v>
                </c:pt>
                <c:pt idx="2627">
                  <c:v>462</c:v>
                </c:pt>
                <c:pt idx="2628">
                  <c:v>456</c:v>
                </c:pt>
                <c:pt idx="2629">
                  <c:v>409</c:v>
                </c:pt>
                <c:pt idx="2630">
                  <c:v>444</c:v>
                </c:pt>
                <c:pt idx="2631">
                  <c:v>402</c:v>
                </c:pt>
                <c:pt idx="2632">
                  <c:v>372</c:v>
                </c:pt>
                <c:pt idx="2633">
                  <c:v>376</c:v>
                </c:pt>
                <c:pt idx="2634">
                  <c:v>352</c:v>
                </c:pt>
                <c:pt idx="2635">
                  <c:v>308</c:v>
                </c:pt>
                <c:pt idx="2636">
                  <c:v>304</c:v>
                </c:pt>
                <c:pt idx="2637">
                  <c:v>350</c:v>
                </c:pt>
                <c:pt idx="2638">
                  <c:v>300</c:v>
                </c:pt>
                <c:pt idx="2639">
                  <c:v>282</c:v>
                </c:pt>
                <c:pt idx="2640">
                  <c:v>298</c:v>
                </c:pt>
                <c:pt idx="2641">
                  <c:v>301</c:v>
                </c:pt>
                <c:pt idx="2642">
                  <c:v>301</c:v>
                </c:pt>
                <c:pt idx="2643">
                  <c:v>296</c:v>
                </c:pt>
                <c:pt idx="2644">
                  <c:v>247</c:v>
                </c:pt>
                <c:pt idx="2645">
                  <c:v>256</c:v>
                </c:pt>
                <c:pt idx="2646">
                  <c:v>236</c:v>
                </c:pt>
                <c:pt idx="2647">
                  <c:v>242</c:v>
                </c:pt>
                <c:pt idx="2648">
                  <c:v>236</c:v>
                </c:pt>
                <c:pt idx="2649">
                  <c:v>240</c:v>
                </c:pt>
                <c:pt idx="2650">
                  <c:v>249</c:v>
                </c:pt>
                <c:pt idx="2651">
                  <c:v>252</c:v>
                </c:pt>
                <c:pt idx="2652">
                  <c:v>258</c:v>
                </c:pt>
                <c:pt idx="2653">
                  <c:v>200</c:v>
                </c:pt>
                <c:pt idx="2654">
                  <c:v>194</c:v>
                </c:pt>
                <c:pt idx="2655">
                  <c:v>190</c:v>
                </c:pt>
                <c:pt idx="2656">
                  <c:v>195</c:v>
                </c:pt>
                <c:pt idx="2657">
                  <c:v>197</c:v>
                </c:pt>
                <c:pt idx="2658">
                  <c:v>193</c:v>
                </c:pt>
                <c:pt idx="2659">
                  <c:v>193</c:v>
                </c:pt>
                <c:pt idx="2660">
                  <c:v>190</c:v>
                </c:pt>
                <c:pt idx="2661">
                  <c:v>192</c:v>
                </c:pt>
                <c:pt idx="2662">
                  <c:v>193</c:v>
                </c:pt>
                <c:pt idx="2663">
                  <c:v>199</c:v>
                </c:pt>
                <c:pt idx="2664">
                  <c:v>197</c:v>
                </c:pt>
                <c:pt idx="2665">
                  <c:v>199</c:v>
                </c:pt>
                <c:pt idx="2666">
                  <c:v>156</c:v>
                </c:pt>
                <c:pt idx="2667">
                  <c:v>173</c:v>
                </c:pt>
                <c:pt idx="2668">
                  <c:v>165</c:v>
                </c:pt>
                <c:pt idx="2669">
                  <c:v>262</c:v>
                </c:pt>
                <c:pt idx="2670">
                  <c:v>246</c:v>
                </c:pt>
                <c:pt idx="2671">
                  <c:v>266</c:v>
                </c:pt>
                <c:pt idx="2672">
                  <c:v>275</c:v>
                </c:pt>
                <c:pt idx="2673">
                  <c:v>264</c:v>
                </c:pt>
                <c:pt idx="2674">
                  <c:v>212</c:v>
                </c:pt>
                <c:pt idx="2675">
                  <c:v>228</c:v>
                </c:pt>
                <c:pt idx="2676">
                  <c:v>236</c:v>
                </c:pt>
                <c:pt idx="2677">
                  <c:v>261</c:v>
                </c:pt>
                <c:pt idx="2678">
                  <c:v>263</c:v>
                </c:pt>
                <c:pt idx="2679">
                  <c:v>241</c:v>
                </c:pt>
                <c:pt idx="2680">
                  <c:v>246</c:v>
                </c:pt>
                <c:pt idx="2681">
                  <c:v>297</c:v>
                </c:pt>
                <c:pt idx="2682">
                  <c:v>289</c:v>
                </c:pt>
                <c:pt idx="2683">
                  <c:v>315</c:v>
                </c:pt>
                <c:pt idx="2684">
                  <c:v>353</c:v>
                </c:pt>
                <c:pt idx="2685">
                  <c:v>331</c:v>
                </c:pt>
                <c:pt idx="2686">
                  <c:v>328</c:v>
                </c:pt>
                <c:pt idx="2687">
                  <c:v>352</c:v>
                </c:pt>
                <c:pt idx="2688">
                  <c:v>367</c:v>
                </c:pt>
                <c:pt idx="2689">
                  <c:v>377</c:v>
                </c:pt>
                <c:pt idx="2690">
                  <c:v>364</c:v>
                </c:pt>
                <c:pt idx="2691">
                  <c:v>391</c:v>
                </c:pt>
                <c:pt idx="2692">
                  <c:v>433</c:v>
                </c:pt>
                <c:pt idx="2693">
                  <c:v>453</c:v>
                </c:pt>
                <c:pt idx="2694">
                  <c:v>453</c:v>
                </c:pt>
                <c:pt idx="2695">
                  <c:v>475</c:v>
                </c:pt>
                <c:pt idx="2696">
                  <c:v>492</c:v>
                </c:pt>
                <c:pt idx="2697">
                  <c:v>483</c:v>
                </c:pt>
                <c:pt idx="2698">
                  <c:v>415</c:v>
                </c:pt>
                <c:pt idx="2699">
                  <c:v>502</c:v>
                </c:pt>
                <c:pt idx="2700">
                  <c:v>498</c:v>
                </c:pt>
                <c:pt idx="2701">
                  <c:v>551</c:v>
                </c:pt>
                <c:pt idx="2702">
                  <c:v>516</c:v>
                </c:pt>
                <c:pt idx="2703">
                  <c:v>457</c:v>
                </c:pt>
                <c:pt idx="2704">
                  <c:v>451</c:v>
                </c:pt>
                <c:pt idx="2705">
                  <c:v>479</c:v>
                </c:pt>
                <c:pt idx="2706">
                  <c:v>485</c:v>
                </c:pt>
                <c:pt idx="2707">
                  <c:v>538</c:v>
                </c:pt>
                <c:pt idx="2708">
                  <c:v>409</c:v>
                </c:pt>
                <c:pt idx="2709">
                  <c:v>455</c:v>
                </c:pt>
                <c:pt idx="2710">
                  <c:v>541</c:v>
                </c:pt>
                <c:pt idx="2711">
                  <c:v>500</c:v>
                </c:pt>
                <c:pt idx="2712">
                  <c:v>477</c:v>
                </c:pt>
                <c:pt idx="2713">
                  <c:v>513</c:v>
                </c:pt>
                <c:pt idx="2714">
                  <c:v>546</c:v>
                </c:pt>
                <c:pt idx="2715">
                  <c:v>544</c:v>
                </c:pt>
                <c:pt idx="2716">
                  <c:v>451</c:v>
                </c:pt>
                <c:pt idx="2717">
                  <c:v>445</c:v>
                </c:pt>
                <c:pt idx="2718">
                  <c:v>377</c:v>
                </c:pt>
                <c:pt idx="2719">
                  <c:v>388</c:v>
                </c:pt>
                <c:pt idx="2720">
                  <c:v>360</c:v>
                </c:pt>
                <c:pt idx="2721">
                  <c:v>353</c:v>
                </c:pt>
                <c:pt idx="2722">
                  <c:v>335</c:v>
                </c:pt>
                <c:pt idx="2723">
                  <c:v>343</c:v>
                </c:pt>
                <c:pt idx="2724">
                  <c:v>350</c:v>
                </c:pt>
                <c:pt idx="2725">
                  <c:v>335</c:v>
                </c:pt>
                <c:pt idx="2726">
                  <c:v>314</c:v>
                </c:pt>
                <c:pt idx="2727">
                  <c:v>274</c:v>
                </c:pt>
                <c:pt idx="2728">
                  <c:v>250</c:v>
                </c:pt>
                <c:pt idx="2729">
                  <c:v>250</c:v>
                </c:pt>
                <c:pt idx="2730">
                  <c:v>249</c:v>
                </c:pt>
                <c:pt idx="2731">
                  <c:v>307</c:v>
                </c:pt>
                <c:pt idx="2732">
                  <c:v>304</c:v>
                </c:pt>
                <c:pt idx="2733">
                  <c:v>257</c:v>
                </c:pt>
                <c:pt idx="2734">
                  <c:v>262</c:v>
                </c:pt>
                <c:pt idx="2735">
                  <c:v>262</c:v>
                </c:pt>
                <c:pt idx="2736">
                  <c:v>283</c:v>
                </c:pt>
                <c:pt idx="2737">
                  <c:v>285</c:v>
                </c:pt>
                <c:pt idx="2738">
                  <c:v>275</c:v>
                </c:pt>
                <c:pt idx="2739">
                  <c:v>283</c:v>
                </c:pt>
                <c:pt idx="2740">
                  <c:v>265</c:v>
                </c:pt>
                <c:pt idx="2741">
                  <c:v>248</c:v>
                </c:pt>
                <c:pt idx="2742">
                  <c:v>225</c:v>
                </c:pt>
                <c:pt idx="2743">
                  <c:v>221</c:v>
                </c:pt>
                <c:pt idx="2744">
                  <c:v>220</c:v>
                </c:pt>
                <c:pt idx="2745">
                  <c:v>204</c:v>
                </c:pt>
                <c:pt idx="2746">
                  <c:v>212</c:v>
                </c:pt>
                <c:pt idx="2747">
                  <c:v>193</c:v>
                </c:pt>
                <c:pt idx="2748">
                  <c:v>209</c:v>
                </c:pt>
                <c:pt idx="2749">
                  <c:v>218</c:v>
                </c:pt>
                <c:pt idx="2750">
                  <c:v>212</c:v>
                </c:pt>
                <c:pt idx="2751">
                  <c:v>171</c:v>
                </c:pt>
                <c:pt idx="2752">
                  <c:v>182</c:v>
                </c:pt>
                <c:pt idx="2753">
                  <c:v>150</c:v>
                </c:pt>
                <c:pt idx="2754">
                  <c:v>141</c:v>
                </c:pt>
                <c:pt idx="2755">
                  <c:v>142</c:v>
                </c:pt>
                <c:pt idx="2756">
                  <c:v>100</c:v>
                </c:pt>
                <c:pt idx="2757">
                  <c:v>131</c:v>
                </c:pt>
                <c:pt idx="2758">
                  <c:v>694</c:v>
                </c:pt>
                <c:pt idx="2759">
                  <c:v>707</c:v>
                </c:pt>
                <c:pt idx="2760">
                  <c:v>612</c:v>
                </c:pt>
                <c:pt idx="2761">
                  <c:v>516</c:v>
                </c:pt>
                <c:pt idx="2762">
                  <c:v>452</c:v>
                </c:pt>
                <c:pt idx="2763">
                  <c:v>441</c:v>
                </c:pt>
                <c:pt idx="2764">
                  <c:v>429</c:v>
                </c:pt>
                <c:pt idx="2765">
                  <c:v>427</c:v>
                </c:pt>
                <c:pt idx="2766">
                  <c:v>419</c:v>
                </c:pt>
                <c:pt idx="2767">
                  <c:v>439</c:v>
                </c:pt>
                <c:pt idx="2768">
                  <c:v>448</c:v>
                </c:pt>
                <c:pt idx="2769">
                  <c:v>388</c:v>
                </c:pt>
                <c:pt idx="2770">
                  <c:v>466</c:v>
                </c:pt>
                <c:pt idx="2771">
                  <c:v>492</c:v>
                </c:pt>
                <c:pt idx="2772">
                  <c:v>500</c:v>
                </c:pt>
                <c:pt idx="2773">
                  <c:v>473</c:v>
                </c:pt>
                <c:pt idx="2774">
                  <c:v>487</c:v>
                </c:pt>
                <c:pt idx="2775">
                  <c:v>505</c:v>
                </c:pt>
                <c:pt idx="2776">
                  <c:v>568</c:v>
                </c:pt>
                <c:pt idx="2777">
                  <c:v>495</c:v>
                </c:pt>
                <c:pt idx="2778">
                  <c:v>505</c:v>
                </c:pt>
                <c:pt idx="2779">
                  <c:v>501</c:v>
                </c:pt>
                <c:pt idx="2780">
                  <c:v>421</c:v>
                </c:pt>
                <c:pt idx="2781">
                  <c:v>491</c:v>
                </c:pt>
                <c:pt idx="2782">
                  <c:v>482</c:v>
                </c:pt>
                <c:pt idx="2783">
                  <c:v>430</c:v>
                </c:pt>
                <c:pt idx="2784">
                  <c:v>372</c:v>
                </c:pt>
                <c:pt idx="2785">
                  <c:v>371</c:v>
                </c:pt>
                <c:pt idx="2786">
                  <c:v>375</c:v>
                </c:pt>
                <c:pt idx="2787">
                  <c:v>411</c:v>
                </c:pt>
                <c:pt idx="2788">
                  <c:v>404</c:v>
                </c:pt>
                <c:pt idx="2789">
                  <c:v>447</c:v>
                </c:pt>
                <c:pt idx="2790">
                  <c:v>381</c:v>
                </c:pt>
                <c:pt idx="2791">
                  <c:v>382</c:v>
                </c:pt>
                <c:pt idx="2792">
                  <c:v>367</c:v>
                </c:pt>
                <c:pt idx="2793">
                  <c:v>393</c:v>
                </c:pt>
                <c:pt idx="2794">
                  <c:v>315</c:v>
                </c:pt>
                <c:pt idx="2795">
                  <c:v>304</c:v>
                </c:pt>
                <c:pt idx="2796">
                  <c:v>319</c:v>
                </c:pt>
                <c:pt idx="2797">
                  <c:v>323</c:v>
                </c:pt>
                <c:pt idx="2798">
                  <c:v>308</c:v>
                </c:pt>
                <c:pt idx="2799">
                  <c:v>300</c:v>
                </c:pt>
                <c:pt idx="2800">
                  <c:v>294</c:v>
                </c:pt>
                <c:pt idx="2801">
                  <c:v>309</c:v>
                </c:pt>
                <c:pt idx="2802">
                  <c:v>296</c:v>
                </c:pt>
                <c:pt idx="2803">
                  <c:v>289</c:v>
                </c:pt>
                <c:pt idx="2804">
                  <c:v>281</c:v>
                </c:pt>
                <c:pt idx="2805">
                  <c:v>288</c:v>
                </c:pt>
                <c:pt idx="2806">
                  <c:v>268</c:v>
                </c:pt>
                <c:pt idx="2807">
                  <c:v>268</c:v>
                </c:pt>
                <c:pt idx="2808">
                  <c:v>263</c:v>
                </c:pt>
                <c:pt idx="2809">
                  <c:v>235</c:v>
                </c:pt>
                <c:pt idx="2810">
                  <c:v>226</c:v>
                </c:pt>
                <c:pt idx="2811">
                  <c:v>217</c:v>
                </c:pt>
                <c:pt idx="2812">
                  <c:v>240</c:v>
                </c:pt>
                <c:pt idx="2813">
                  <c:v>216</c:v>
                </c:pt>
                <c:pt idx="2814">
                  <c:v>208</c:v>
                </c:pt>
                <c:pt idx="2815">
                  <c:v>226</c:v>
                </c:pt>
                <c:pt idx="2816">
                  <c:v>198</c:v>
                </c:pt>
                <c:pt idx="2817">
                  <c:v>216</c:v>
                </c:pt>
                <c:pt idx="2818">
                  <c:v>209</c:v>
                </c:pt>
                <c:pt idx="2819">
                  <c:v>200</c:v>
                </c:pt>
                <c:pt idx="2820">
                  <c:v>171</c:v>
                </c:pt>
                <c:pt idx="2821">
                  <c:v>152</c:v>
                </c:pt>
                <c:pt idx="2822">
                  <c:v>160</c:v>
                </c:pt>
                <c:pt idx="2823">
                  <c:v>200</c:v>
                </c:pt>
                <c:pt idx="2824">
                  <c:v>197</c:v>
                </c:pt>
                <c:pt idx="2825">
                  <c:v>204</c:v>
                </c:pt>
                <c:pt idx="2826">
                  <c:v>208</c:v>
                </c:pt>
                <c:pt idx="2827">
                  <c:v>222</c:v>
                </c:pt>
                <c:pt idx="2828">
                  <c:v>223</c:v>
                </c:pt>
                <c:pt idx="2829">
                  <c:v>223</c:v>
                </c:pt>
                <c:pt idx="2830">
                  <c:v>218</c:v>
                </c:pt>
                <c:pt idx="2831">
                  <c:v>226</c:v>
                </c:pt>
                <c:pt idx="2832">
                  <c:v>218</c:v>
                </c:pt>
                <c:pt idx="2833">
                  <c:v>222</c:v>
                </c:pt>
                <c:pt idx="2834">
                  <c:v>225</c:v>
                </c:pt>
                <c:pt idx="2835">
                  <c:v>222</c:v>
                </c:pt>
                <c:pt idx="2836">
                  <c:v>221</c:v>
                </c:pt>
                <c:pt idx="2837">
                  <c:v>230</c:v>
                </c:pt>
                <c:pt idx="2838">
                  <c:v>230</c:v>
                </c:pt>
                <c:pt idx="2839">
                  <c:v>241</c:v>
                </c:pt>
                <c:pt idx="2840">
                  <c:v>209</c:v>
                </c:pt>
                <c:pt idx="2841">
                  <c:v>205</c:v>
                </c:pt>
                <c:pt idx="2842">
                  <c:v>219</c:v>
                </c:pt>
                <c:pt idx="2843">
                  <c:v>248</c:v>
                </c:pt>
                <c:pt idx="2844">
                  <c:v>271</c:v>
                </c:pt>
                <c:pt idx="2845">
                  <c:v>300</c:v>
                </c:pt>
                <c:pt idx="2846">
                  <c:v>301</c:v>
                </c:pt>
                <c:pt idx="2847">
                  <c:v>303</c:v>
                </c:pt>
                <c:pt idx="2848">
                  <c:v>286</c:v>
                </c:pt>
                <c:pt idx="2849">
                  <c:v>278</c:v>
                </c:pt>
                <c:pt idx="2850">
                  <c:v>259</c:v>
                </c:pt>
                <c:pt idx="2851">
                  <c:v>343</c:v>
                </c:pt>
                <c:pt idx="2852">
                  <c:v>277</c:v>
                </c:pt>
                <c:pt idx="2853">
                  <c:v>263</c:v>
                </c:pt>
                <c:pt idx="2854">
                  <c:v>267</c:v>
                </c:pt>
                <c:pt idx="2855">
                  <c:v>309</c:v>
                </c:pt>
                <c:pt idx="2856">
                  <c:v>281</c:v>
                </c:pt>
                <c:pt idx="2857">
                  <c:v>282</c:v>
                </c:pt>
                <c:pt idx="2858">
                  <c:v>282</c:v>
                </c:pt>
                <c:pt idx="2859">
                  <c:v>260</c:v>
                </c:pt>
                <c:pt idx="2860">
                  <c:v>301</c:v>
                </c:pt>
                <c:pt idx="2861">
                  <c:v>287</c:v>
                </c:pt>
                <c:pt idx="2862">
                  <c:v>321</c:v>
                </c:pt>
                <c:pt idx="2863">
                  <c:v>341</c:v>
                </c:pt>
                <c:pt idx="2864">
                  <c:v>333</c:v>
                </c:pt>
                <c:pt idx="2865">
                  <c:v>337</c:v>
                </c:pt>
                <c:pt idx="2866">
                  <c:v>348</c:v>
                </c:pt>
                <c:pt idx="2867">
                  <c:v>363</c:v>
                </c:pt>
                <c:pt idx="2868">
                  <c:v>350</c:v>
                </c:pt>
                <c:pt idx="2869">
                  <c:v>350</c:v>
                </c:pt>
                <c:pt idx="2870">
                  <c:v>357</c:v>
                </c:pt>
                <c:pt idx="2871">
                  <c:v>380</c:v>
                </c:pt>
                <c:pt idx="2872">
                  <c:v>433</c:v>
                </c:pt>
                <c:pt idx="2873">
                  <c:v>487</c:v>
                </c:pt>
                <c:pt idx="2874">
                  <c:v>491</c:v>
                </c:pt>
                <c:pt idx="2875">
                  <c:v>504</c:v>
                </c:pt>
                <c:pt idx="2876">
                  <c:v>520</c:v>
                </c:pt>
                <c:pt idx="2877">
                  <c:v>533</c:v>
                </c:pt>
                <c:pt idx="2878">
                  <c:v>461</c:v>
                </c:pt>
                <c:pt idx="2879">
                  <c:v>500</c:v>
                </c:pt>
                <c:pt idx="2880">
                  <c:v>516</c:v>
                </c:pt>
                <c:pt idx="2881">
                  <c:v>500</c:v>
                </c:pt>
                <c:pt idx="2882">
                  <c:v>500</c:v>
                </c:pt>
                <c:pt idx="2883">
                  <c:v>406</c:v>
                </c:pt>
                <c:pt idx="2884">
                  <c:v>494</c:v>
                </c:pt>
                <c:pt idx="2885">
                  <c:v>435</c:v>
                </c:pt>
                <c:pt idx="2886">
                  <c:v>339</c:v>
                </c:pt>
                <c:pt idx="2887">
                  <c:v>310</c:v>
                </c:pt>
                <c:pt idx="2888">
                  <c:v>301</c:v>
                </c:pt>
                <c:pt idx="2889">
                  <c:v>431</c:v>
                </c:pt>
                <c:pt idx="2890">
                  <c:v>262</c:v>
                </c:pt>
                <c:pt idx="2891">
                  <c:v>264</c:v>
                </c:pt>
                <c:pt idx="2892">
                  <c:v>198</c:v>
                </c:pt>
                <c:pt idx="2893">
                  <c:v>205</c:v>
                </c:pt>
                <c:pt idx="2894">
                  <c:v>201</c:v>
                </c:pt>
                <c:pt idx="2895">
                  <c:v>100</c:v>
                </c:pt>
                <c:pt idx="2896">
                  <c:v>218</c:v>
                </c:pt>
                <c:pt idx="2897">
                  <c:v>225</c:v>
                </c:pt>
                <c:pt idx="2898">
                  <c:v>232</c:v>
                </c:pt>
                <c:pt idx="2899">
                  <c:v>229</c:v>
                </c:pt>
                <c:pt idx="2900">
                  <c:v>239</c:v>
                </c:pt>
                <c:pt idx="2901">
                  <c:v>222</c:v>
                </c:pt>
                <c:pt idx="2902">
                  <c:v>217</c:v>
                </c:pt>
                <c:pt idx="2903">
                  <c:v>203</c:v>
                </c:pt>
                <c:pt idx="2904">
                  <c:v>178</c:v>
                </c:pt>
                <c:pt idx="2905">
                  <c:v>176</c:v>
                </c:pt>
                <c:pt idx="2906">
                  <c:v>195</c:v>
                </c:pt>
                <c:pt idx="2907">
                  <c:v>166</c:v>
                </c:pt>
                <c:pt idx="2908">
                  <c:v>172</c:v>
                </c:pt>
                <c:pt idx="2909">
                  <c:v>170</c:v>
                </c:pt>
                <c:pt idx="2910">
                  <c:v>184</c:v>
                </c:pt>
                <c:pt idx="2911">
                  <c:v>170</c:v>
                </c:pt>
                <c:pt idx="2912">
                  <c:v>152</c:v>
                </c:pt>
                <c:pt idx="2913">
                  <c:v>147</c:v>
                </c:pt>
                <c:pt idx="2914">
                  <c:v>147</c:v>
                </c:pt>
                <c:pt idx="2915">
                  <c:v>138</c:v>
                </c:pt>
                <c:pt idx="2916">
                  <c:v>151</c:v>
                </c:pt>
                <c:pt idx="2917">
                  <c:v>145</c:v>
                </c:pt>
                <c:pt idx="2918">
                  <c:v>205</c:v>
                </c:pt>
                <c:pt idx="2919">
                  <c:v>192</c:v>
                </c:pt>
                <c:pt idx="2920">
                  <c:v>143</c:v>
                </c:pt>
                <c:pt idx="2921">
                  <c:v>162</c:v>
                </c:pt>
                <c:pt idx="2922">
                  <c:v>146</c:v>
                </c:pt>
                <c:pt idx="2923">
                  <c:v>144</c:v>
                </c:pt>
                <c:pt idx="2924">
                  <c:v>138</c:v>
                </c:pt>
                <c:pt idx="2925">
                  <c:v>383</c:v>
                </c:pt>
                <c:pt idx="2926">
                  <c:v>747</c:v>
                </c:pt>
                <c:pt idx="2927">
                  <c:v>604</c:v>
                </c:pt>
                <c:pt idx="2928">
                  <c:v>618</c:v>
                </c:pt>
                <c:pt idx="2929">
                  <c:v>289</c:v>
                </c:pt>
                <c:pt idx="2930">
                  <c:v>285</c:v>
                </c:pt>
                <c:pt idx="2931">
                  <c:v>284</c:v>
                </c:pt>
                <c:pt idx="2932">
                  <c:v>287</c:v>
                </c:pt>
                <c:pt idx="2933">
                  <c:v>287</c:v>
                </c:pt>
                <c:pt idx="2934">
                  <c:v>340</c:v>
                </c:pt>
                <c:pt idx="2935">
                  <c:v>312</c:v>
                </c:pt>
                <c:pt idx="2936">
                  <c:v>294</c:v>
                </c:pt>
                <c:pt idx="2937">
                  <c:v>297</c:v>
                </c:pt>
                <c:pt idx="2938">
                  <c:v>291</c:v>
                </c:pt>
                <c:pt idx="2939">
                  <c:v>304</c:v>
                </c:pt>
                <c:pt idx="2940">
                  <c:v>275</c:v>
                </c:pt>
                <c:pt idx="2941">
                  <c:v>306</c:v>
                </c:pt>
                <c:pt idx="2942">
                  <c:v>285</c:v>
                </c:pt>
                <c:pt idx="2943">
                  <c:v>303</c:v>
                </c:pt>
                <c:pt idx="2944">
                  <c:v>325</c:v>
                </c:pt>
                <c:pt idx="2945">
                  <c:v>305</c:v>
                </c:pt>
                <c:pt idx="2946">
                  <c:v>297</c:v>
                </c:pt>
                <c:pt idx="2947">
                  <c:v>329</c:v>
                </c:pt>
                <c:pt idx="2948">
                  <c:v>253</c:v>
                </c:pt>
                <c:pt idx="2949">
                  <c:v>245</c:v>
                </c:pt>
                <c:pt idx="2950">
                  <c:v>240</c:v>
                </c:pt>
                <c:pt idx="2951">
                  <c:v>255</c:v>
                </c:pt>
                <c:pt idx="2952">
                  <c:v>222</c:v>
                </c:pt>
                <c:pt idx="2953">
                  <c:v>219</c:v>
                </c:pt>
                <c:pt idx="2954">
                  <c:v>227</c:v>
                </c:pt>
                <c:pt idx="2955">
                  <c:v>248</c:v>
                </c:pt>
                <c:pt idx="2956">
                  <c:v>243</c:v>
                </c:pt>
                <c:pt idx="2957">
                  <c:v>253</c:v>
                </c:pt>
                <c:pt idx="2958">
                  <c:v>254</c:v>
                </c:pt>
                <c:pt idx="2959">
                  <c:v>251</c:v>
                </c:pt>
                <c:pt idx="2960">
                  <c:v>251</c:v>
                </c:pt>
                <c:pt idx="2961">
                  <c:v>264</c:v>
                </c:pt>
                <c:pt idx="2962">
                  <c:v>261</c:v>
                </c:pt>
                <c:pt idx="2963">
                  <c:v>259</c:v>
                </c:pt>
                <c:pt idx="2964">
                  <c:v>258</c:v>
                </c:pt>
                <c:pt idx="2965">
                  <c:v>259</c:v>
                </c:pt>
                <c:pt idx="2966">
                  <c:v>211</c:v>
                </c:pt>
                <c:pt idx="2967">
                  <c:v>209</c:v>
                </c:pt>
                <c:pt idx="2968">
                  <c:v>214</c:v>
                </c:pt>
                <c:pt idx="2969">
                  <c:v>199</c:v>
                </c:pt>
                <c:pt idx="2970">
                  <c:v>179</c:v>
                </c:pt>
                <c:pt idx="2971">
                  <c:v>166</c:v>
                </c:pt>
                <c:pt idx="2972">
                  <c:v>181</c:v>
                </c:pt>
                <c:pt idx="2973">
                  <c:v>172</c:v>
                </c:pt>
                <c:pt idx="2974">
                  <c:v>173</c:v>
                </c:pt>
                <c:pt idx="2975">
                  <c:v>168</c:v>
                </c:pt>
                <c:pt idx="2976">
                  <c:v>163</c:v>
                </c:pt>
                <c:pt idx="2977">
                  <c:v>171</c:v>
                </c:pt>
                <c:pt idx="2978">
                  <c:v>158</c:v>
                </c:pt>
                <c:pt idx="2979">
                  <c:v>156</c:v>
                </c:pt>
                <c:pt idx="2980">
                  <c:v>139</c:v>
                </c:pt>
                <c:pt idx="2981">
                  <c:v>182</c:v>
                </c:pt>
                <c:pt idx="2982">
                  <c:v>172</c:v>
                </c:pt>
                <c:pt idx="2983">
                  <c:v>131</c:v>
                </c:pt>
                <c:pt idx="2984">
                  <c:v>130</c:v>
                </c:pt>
                <c:pt idx="2985">
                  <c:v>113</c:v>
                </c:pt>
                <c:pt idx="2986">
                  <c:v>118</c:v>
                </c:pt>
                <c:pt idx="2987">
                  <c:v>194</c:v>
                </c:pt>
                <c:pt idx="2988">
                  <c:v>726</c:v>
                </c:pt>
                <c:pt idx="2989">
                  <c:v>566</c:v>
                </c:pt>
                <c:pt idx="2990">
                  <c:v>361</c:v>
                </c:pt>
                <c:pt idx="2991">
                  <c:v>307</c:v>
                </c:pt>
                <c:pt idx="2992">
                  <c:v>267</c:v>
                </c:pt>
                <c:pt idx="2993">
                  <c:v>251</c:v>
                </c:pt>
                <c:pt idx="2994">
                  <c:v>278</c:v>
                </c:pt>
                <c:pt idx="2995">
                  <c:v>275</c:v>
                </c:pt>
                <c:pt idx="2996">
                  <c:v>287</c:v>
                </c:pt>
                <c:pt idx="2997">
                  <c:v>260</c:v>
                </c:pt>
                <c:pt idx="2998">
                  <c:v>278</c:v>
                </c:pt>
                <c:pt idx="2999">
                  <c:v>281</c:v>
                </c:pt>
                <c:pt idx="3000">
                  <c:v>295</c:v>
                </c:pt>
                <c:pt idx="3001">
                  <c:v>256</c:v>
                </c:pt>
                <c:pt idx="3002">
                  <c:v>355</c:v>
                </c:pt>
                <c:pt idx="3003">
                  <c:v>375</c:v>
                </c:pt>
                <c:pt idx="3004">
                  <c:v>305</c:v>
                </c:pt>
                <c:pt idx="3005">
                  <c:v>338</c:v>
                </c:pt>
                <c:pt idx="3006">
                  <c:v>309</c:v>
                </c:pt>
                <c:pt idx="3007">
                  <c:v>325</c:v>
                </c:pt>
                <c:pt idx="3008">
                  <c:v>329</c:v>
                </c:pt>
                <c:pt idx="3009">
                  <c:v>287</c:v>
                </c:pt>
                <c:pt idx="3010">
                  <c:v>289</c:v>
                </c:pt>
                <c:pt idx="3011">
                  <c:v>339</c:v>
                </c:pt>
                <c:pt idx="3012">
                  <c:v>342</c:v>
                </c:pt>
                <c:pt idx="3013">
                  <c:v>334</c:v>
                </c:pt>
                <c:pt idx="3014">
                  <c:v>361</c:v>
                </c:pt>
                <c:pt idx="3015">
                  <c:v>408</c:v>
                </c:pt>
                <c:pt idx="3016">
                  <c:v>346</c:v>
                </c:pt>
                <c:pt idx="3017">
                  <c:v>374</c:v>
                </c:pt>
                <c:pt idx="3018">
                  <c:v>314</c:v>
                </c:pt>
                <c:pt idx="3019">
                  <c:v>345</c:v>
                </c:pt>
                <c:pt idx="3020">
                  <c:v>346</c:v>
                </c:pt>
                <c:pt idx="3021">
                  <c:v>345</c:v>
                </c:pt>
                <c:pt idx="3022">
                  <c:v>348</c:v>
                </c:pt>
                <c:pt idx="3023">
                  <c:v>374</c:v>
                </c:pt>
                <c:pt idx="3024">
                  <c:v>358</c:v>
                </c:pt>
                <c:pt idx="3025">
                  <c:v>338</c:v>
                </c:pt>
                <c:pt idx="3026">
                  <c:v>332</c:v>
                </c:pt>
                <c:pt idx="3027">
                  <c:v>395</c:v>
                </c:pt>
                <c:pt idx="3028">
                  <c:v>342</c:v>
                </c:pt>
                <c:pt idx="3029">
                  <c:v>366</c:v>
                </c:pt>
                <c:pt idx="3030">
                  <c:v>308</c:v>
                </c:pt>
                <c:pt idx="3031">
                  <c:v>384</c:v>
                </c:pt>
                <c:pt idx="3032">
                  <c:v>299</c:v>
                </c:pt>
                <c:pt idx="3033">
                  <c:v>300</c:v>
                </c:pt>
                <c:pt idx="3034">
                  <c:v>292</c:v>
                </c:pt>
                <c:pt idx="3035">
                  <c:v>278</c:v>
                </c:pt>
                <c:pt idx="3036">
                  <c:v>251</c:v>
                </c:pt>
                <c:pt idx="3037">
                  <c:v>257</c:v>
                </c:pt>
                <c:pt idx="3038">
                  <c:v>250</c:v>
                </c:pt>
                <c:pt idx="3039">
                  <c:v>232</c:v>
                </c:pt>
                <c:pt idx="3040">
                  <c:v>210</c:v>
                </c:pt>
                <c:pt idx="3041">
                  <c:v>241</c:v>
                </c:pt>
                <c:pt idx="3042">
                  <c:v>220</c:v>
                </c:pt>
                <c:pt idx="3043">
                  <c:v>224</c:v>
                </c:pt>
                <c:pt idx="3044">
                  <c:v>192</c:v>
                </c:pt>
                <c:pt idx="3045">
                  <c:v>193</c:v>
                </c:pt>
                <c:pt idx="3046">
                  <c:v>190</c:v>
                </c:pt>
                <c:pt idx="3047">
                  <c:v>188</c:v>
                </c:pt>
                <c:pt idx="3048">
                  <c:v>200</c:v>
                </c:pt>
                <c:pt idx="3049">
                  <c:v>205</c:v>
                </c:pt>
                <c:pt idx="3050">
                  <c:v>218</c:v>
                </c:pt>
                <c:pt idx="3051">
                  <c:v>250</c:v>
                </c:pt>
                <c:pt idx="3052">
                  <c:v>281</c:v>
                </c:pt>
                <c:pt idx="3053">
                  <c:v>253</c:v>
                </c:pt>
                <c:pt idx="3054">
                  <c:v>245</c:v>
                </c:pt>
                <c:pt idx="3055">
                  <c:v>194</c:v>
                </c:pt>
                <c:pt idx="3056">
                  <c:v>195</c:v>
                </c:pt>
                <c:pt idx="3057">
                  <c:v>193</c:v>
                </c:pt>
                <c:pt idx="3058">
                  <c:v>193</c:v>
                </c:pt>
                <c:pt idx="3059">
                  <c:v>199</c:v>
                </c:pt>
                <c:pt idx="3060">
                  <c:v>215</c:v>
                </c:pt>
                <c:pt idx="3061">
                  <c:v>155</c:v>
                </c:pt>
                <c:pt idx="3062">
                  <c:v>146</c:v>
                </c:pt>
                <c:pt idx="3063">
                  <c:v>148</c:v>
                </c:pt>
                <c:pt idx="3064">
                  <c:v>162</c:v>
                </c:pt>
                <c:pt idx="3065">
                  <c:v>170</c:v>
                </c:pt>
                <c:pt idx="3066">
                  <c:v>175</c:v>
                </c:pt>
                <c:pt idx="3067">
                  <c:v>155</c:v>
                </c:pt>
                <c:pt idx="3068">
                  <c:v>180</c:v>
                </c:pt>
                <c:pt idx="3069">
                  <c:v>182</c:v>
                </c:pt>
                <c:pt idx="3070">
                  <c:v>242</c:v>
                </c:pt>
                <c:pt idx="3071">
                  <c:v>251</c:v>
                </c:pt>
                <c:pt idx="3072">
                  <c:v>355</c:v>
                </c:pt>
                <c:pt idx="3073">
                  <c:v>157</c:v>
                </c:pt>
                <c:pt idx="3074">
                  <c:v>634</c:v>
                </c:pt>
                <c:pt idx="3075">
                  <c:v>655</c:v>
                </c:pt>
                <c:pt idx="3076">
                  <c:v>632</c:v>
                </c:pt>
                <c:pt idx="3077">
                  <c:v>501</c:v>
                </c:pt>
                <c:pt idx="3078">
                  <c:v>479</c:v>
                </c:pt>
                <c:pt idx="3079">
                  <c:v>464</c:v>
                </c:pt>
                <c:pt idx="3080">
                  <c:v>438</c:v>
                </c:pt>
                <c:pt idx="3081">
                  <c:v>425</c:v>
                </c:pt>
                <c:pt idx="3082">
                  <c:v>434</c:v>
                </c:pt>
                <c:pt idx="3083">
                  <c:v>447</c:v>
                </c:pt>
                <c:pt idx="3084">
                  <c:v>450</c:v>
                </c:pt>
                <c:pt idx="3085">
                  <c:v>527</c:v>
                </c:pt>
                <c:pt idx="3086">
                  <c:v>488</c:v>
                </c:pt>
                <c:pt idx="3087">
                  <c:v>491</c:v>
                </c:pt>
                <c:pt idx="3088">
                  <c:v>476</c:v>
                </c:pt>
                <c:pt idx="3089">
                  <c:v>493</c:v>
                </c:pt>
                <c:pt idx="3090">
                  <c:v>466</c:v>
                </c:pt>
                <c:pt idx="3091">
                  <c:v>508</c:v>
                </c:pt>
                <c:pt idx="3092">
                  <c:v>488</c:v>
                </c:pt>
                <c:pt idx="3093">
                  <c:v>430</c:v>
                </c:pt>
                <c:pt idx="3094">
                  <c:v>477</c:v>
                </c:pt>
                <c:pt idx="3095">
                  <c:v>479</c:v>
                </c:pt>
                <c:pt idx="3096">
                  <c:v>500</c:v>
                </c:pt>
                <c:pt idx="3097">
                  <c:v>441</c:v>
                </c:pt>
                <c:pt idx="3098">
                  <c:v>501</c:v>
                </c:pt>
                <c:pt idx="3099">
                  <c:v>515</c:v>
                </c:pt>
                <c:pt idx="3100">
                  <c:v>430</c:v>
                </c:pt>
                <c:pt idx="3101">
                  <c:v>512</c:v>
                </c:pt>
                <c:pt idx="3102">
                  <c:v>526</c:v>
                </c:pt>
                <c:pt idx="3103">
                  <c:v>503</c:v>
                </c:pt>
                <c:pt idx="3104">
                  <c:v>460</c:v>
                </c:pt>
                <c:pt idx="3105">
                  <c:v>535</c:v>
                </c:pt>
                <c:pt idx="3106">
                  <c:v>470</c:v>
                </c:pt>
                <c:pt idx="3107">
                  <c:v>477</c:v>
                </c:pt>
                <c:pt idx="3108">
                  <c:v>449</c:v>
                </c:pt>
                <c:pt idx="3109">
                  <c:v>478</c:v>
                </c:pt>
                <c:pt idx="3110">
                  <c:v>511</c:v>
                </c:pt>
                <c:pt idx="3111">
                  <c:v>534</c:v>
                </c:pt>
                <c:pt idx="3112">
                  <c:v>472</c:v>
                </c:pt>
                <c:pt idx="3113">
                  <c:v>428</c:v>
                </c:pt>
                <c:pt idx="3114">
                  <c:v>486</c:v>
                </c:pt>
                <c:pt idx="3115">
                  <c:v>620</c:v>
                </c:pt>
                <c:pt idx="3116">
                  <c:v>524</c:v>
                </c:pt>
                <c:pt idx="3117">
                  <c:v>564</c:v>
                </c:pt>
                <c:pt idx="3118">
                  <c:v>520</c:v>
                </c:pt>
                <c:pt idx="3119">
                  <c:v>515</c:v>
                </c:pt>
                <c:pt idx="3120">
                  <c:v>483</c:v>
                </c:pt>
                <c:pt idx="3121">
                  <c:v>419</c:v>
                </c:pt>
                <c:pt idx="3122">
                  <c:v>324</c:v>
                </c:pt>
                <c:pt idx="3123">
                  <c:v>278</c:v>
                </c:pt>
                <c:pt idx="3124">
                  <c:v>341</c:v>
                </c:pt>
                <c:pt idx="3125">
                  <c:v>272</c:v>
                </c:pt>
                <c:pt idx="3126">
                  <c:v>261</c:v>
                </c:pt>
                <c:pt idx="3127">
                  <c:v>277</c:v>
                </c:pt>
                <c:pt idx="3128">
                  <c:v>252</c:v>
                </c:pt>
                <c:pt idx="3129">
                  <c:v>228</c:v>
                </c:pt>
                <c:pt idx="3130">
                  <c:v>318</c:v>
                </c:pt>
                <c:pt idx="3131">
                  <c:v>291</c:v>
                </c:pt>
                <c:pt idx="3132">
                  <c:v>296</c:v>
                </c:pt>
                <c:pt idx="3133">
                  <c:v>290</c:v>
                </c:pt>
                <c:pt idx="3134">
                  <c:v>291</c:v>
                </c:pt>
                <c:pt idx="3135">
                  <c:v>293</c:v>
                </c:pt>
                <c:pt idx="3136">
                  <c:v>293</c:v>
                </c:pt>
                <c:pt idx="3137">
                  <c:v>302</c:v>
                </c:pt>
                <c:pt idx="3138">
                  <c:v>304</c:v>
                </c:pt>
                <c:pt idx="3139">
                  <c:v>289</c:v>
                </c:pt>
                <c:pt idx="3140">
                  <c:v>279</c:v>
                </c:pt>
                <c:pt idx="3141">
                  <c:v>283</c:v>
                </c:pt>
                <c:pt idx="3142">
                  <c:v>295</c:v>
                </c:pt>
                <c:pt idx="3143">
                  <c:v>259</c:v>
                </c:pt>
                <c:pt idx="3144">
                  <c:v>232</c:v>
                </c:pt>
                <c:pt idx="3145">
                  <c:v>221</c:v>
                </c:pt>
                <c:pt idx="3146">
                  <c:v>227</c:v>
                </c:pt>
                <c:pt idx="3147">
                  <c:v>230</c:v>
                </c:pt>
                <c:pt idx="3148">
                  <c:v>226</c:v>
                </c:pt>
                <c:pt idx="3149">
                  <c:v>233</c:v>
                </c:pt>
                <c:pt idx="3150">
                  <c:v>219</c:v>
                </c:pt>
                <c:pt idx="3151">
                  <c:v>173</c:v>
                </c:pt>
                <c:pt idx="3152">
                  <c:v>201</c:v>
                </c:pt>
                <c:pt idx="3153">
                  <c:v>186</c:v>
                </c:pt>
                <c:pt idx="3154">
                  <c:v>195</c:v>
                </c:pt>
                <c:pt idx="3155">
                  <c:v>197</c:v>
                </c:pt>
                <c:pt idx="3156">
                  <c:v>138</c:v>
                </c:pt>
                <c:pt idx="3157">
                  <c:v>144</c:v>
                </c:pt>
                <c:pt idx="3158">
                  <c:v>166</c:v>
                </c:pt>
                <c:pt idx="3159">
                  <c:v>260</c:v>
                </c:pt>
                <c:pt idx="3160">
                  <c:v>254</c:v>
                </c:pt>
                <c:pt idx="3161">
                  <c:v>339</c:v>
                </c:pt>
                <c:pt idx="3162">
                  <c:v>361</c:v>
                </c:pt>
                <c:pt idx="3163">
                  <c:v>293</c:v>
                </c:pt>
                <c:pt idx="3164">
                  <c:v>256</c:v>
                </c:pt>
                <c:pt idx="3165">
                  <c:v>289</c:v>
                </c:pt>
                <c:pt idx="3166">
                  <c:v>245</c:v>
                </c:pt>
                <c:pt idx="3167">
                  <c:v>307</c:v>
                </c:pt>
                <c:pt idx="3168">
                  <c:v>397</c:v>
                </c:pt>
                <c:pt idx="3169">
                  <c:v>405</c:v>
                </c:pt>
                <c:pt idx="3170">
                  <c:v>398</c:v>
                </c:pt>
                <c:pt idx="3171">
                  <c:v>354</c:v>
                </c:pt>
                <c:pt idx="3172">
                  <c:v>444</c:v>
                </c:pt>
                <c:pt idx="3173">
                  <c:v>450</c:v>
                </c:pt>
                <c:pt idx="3174">
                  <c:v>452</c:v>
                </c:pt>
                <c:pt idx="3175">
                  <c:v>498</c:v>
                </c:pt>
                <c:pt idx="3176">
                  <c:v>486</c:v>
                </c:pt>
                <c:pt idx="3177">
                  <c:v>470</c:v>
                </c:pt>
                <c:pt idx="3178">
                  <c:v>488</c:v>
                </c:pt>
                <c:pt idx="3179">
                  <c:v>530</c:v>
                </c:pt>
                <c:pt idx="3180">
                  <c:v>358</c:v>
                </c:pt>
                <c:pt idx="3181">
                  <c:v>591</c:v>
                </c:pt>
                <c:pt idx="3182">
                  <c:v>530</c:v>
                </c:pt>
                <c:pt idx="3183">
                  <c:v>493</c:v>
                </c:pt>
                <c:pt idx="3184">
                  <c:v>488</c:v>
                </c:pt>
                <c:pt idx="3185">
                  <c:v>487</c:v>
                </c:pt>
                <c:pt idx="3186">
                  <c:v>427</c:v>
                </c:pt>
                <c:pt idx="3187">
                  <c:v>450</c:v>
                </c:pt>
                <c:pt idx="3188">
                  <c:v>456</c:v>
                </c:pt>
                <c:pt idx="3189">
                  <c:v>468</c:v>
                </c:pt>
                <c:pt idx="3190">
                  <c:v>350</c:v>
                </c:pt>
                <c:pt idx="3191">
                  <c:v>381</c:v>
                </c:pt>
                <c:pt idx="3192">
                  <c:v>400</c:v>
                </c:pt>
                <c:pt idx="3193">
                  <c:v>516</c:v>
                </c:pt>
                <c:pt idx="3194">
                  <c:v>407</c:v>
                </c:pt>
                <c:pt idx="3195">
                  <c:v>597</c:v>
                </c:pt>
                <c:pt idx="3196">
                  <c:v>394</c:v>
                </c:pt>
                <c:pt idx="3197">
                  <c:v>427</c:v>
                </c:pt>
                <c:pt idx="3198">
                  <c:v>477</c:v>
                </c:pt>
                <c:pt idx="3199">
                  <c:v>473</c:v>
                </c:pt>
                <c:pt idx="3200">
                  <c:v>540</c:v>
                </c:pt>
                <c:pt idx="3201">
                  <c:v>582</c:v>
                </c:pt>
                <c:pt idx="3202">
                  <c:v>396</c:v>
                </c:pt>
                <c:pt idx="3203">
                  <c:v>494</c:v>
                </c:pt>
                <c:pt idx="3204">
                  <c:v>588</c:v>
                </c:pt>
                <c:pt idx="3205">
                  <c:v>521</c:v>
                </c:pt>
                <c:pt idx="3206">
                  <c:v>545</c:v>
                </c:pt>
                <c:pt idx="3207">
                  <c:v>523</c:v>
                </c:pt>
                <c:pt idx="3208">
                  <c:v>511</c:v>
                </c:pt>
                <c:pt idx="3209">
                  <c:v>628</c:v>
                </c:pt>
                <c:pt idx="3210">
                  <c:v>648</c:v>
                </c:pt>
                <c:pt idx="3211">
                  <c:v>604</c:v>
                </c:pt>
                <c:pt idx="3212">
                  <c:v>600</c:v>
                </c:pt>
                <c:pt idx="3213">
                  <c:v>586</c:v>
                </c:pt>
                <c:pt idx="3214">
                  <c:v>573</c:v>
                </c:pt>
                <c:pt idx="3215">
                  <c:v>575</c:v>
                </c:pt>
                <c:pt idx="3216">
                  <c:v>526</c:v>
                </c:pt>
                <c:pt idx="3217">
                  <c:v>488</c:v>
                </c:pt>
                <c:pt idx="3218">
                  <c:v>481</c:v>
                </c:pt>
                <c:pt idx="3219">
                  <c:v>435</c:v>
                </c:pt>
                <c:pt idx="3220">
                  <c:v>416</c:v>
                </c:pt>
                <c:pt idx="3221">
                  <c:v>390</c:v>
                </c:pt>
                <c:pt idx="3222">
                  <c:v>425</c:v>
                </c:pt>
                <c:pt idx="3223">
                  <c:v>312</c:v>
                </c:pt>
                <c:pt idx="3224">
                  <c:v>367</c:v>
                </c:pt>
                <c:pt idx="3225">
                  <c:v>351</c:v>
                </c:pt>
                <c:pt idx="3226">
                  <c:v>337</c:v>
                </c:pt>
                <c:pt idx="3227">
                  <c:v>358</c:v>
                </c:pt>
                <c:pt idx="3228">
                  <c:v>353</c:v>
                </c:pt>
                <c:pt idx="3229">
                  <c:v>356</c:v>
                </c:pt>
                <c:pt idx="3230">
                  <c:v>351</c:v>
                </c:pt>
                <c:pt idx="3231">
                  <c:v>351</c:v>
                </c:pt>
                <c:pt idx="3232">
                  <c:v>331</c:v>
                </c:pt>
                <c:pt idx="3233">
                  <c:v>338</c:v>
                </c:pt>
                <c:pt idx="3234">
                  <c:v>301</c:v>
                </c:pt>
                <c:pt idx="3235">
                  <c:v>315</c:v>
                </c:pt>
                <c:pt idx="3236">
                  <c:v>324</c:v>
                </c:pt>
                <c:pt idx="3237">
                  <c:v>295</c:v>
                </c:pt>
                <c:pt idx="3238">
                  <c:v>304</c:v>
                </c:pt>
                <c:pt idx="3239">
                  <c:v>283</c:v>
                </c:pt>
                <c:pt idx="3240">
                  <c:v>257</c:v>
                </c:pt>
                <c:pt idx="3241">
                  <c:v>246</c:v>
                </c:pt>
                <c:pt idx="3242">
                  <c:v>247</c:v>
                </c:pt>
                <c:pt idx="3243">
                  <c:v>244</c:v>
                </c:pt>
                <c:pt idx="3244">
                  <c:v>242</c:v>
                </c:pt>
                <c:pt idx="3245">
                  <c:v>248</c:v>
                </c:pt>
                <c:pt idx="3246">
                  <c:v>245</c:v>
                </c:pt>
                <c:pt idx="3247">
                  <c:v>242</c:v>
                </c:pt>
                <c:pt idx="3248">
                  <c:v>242</c:v>
                </c:pt>
                <c:pt idx="3249">
                  <c:v>239</c:v>
                </c:pt>
                <c:pt idx="3250">
                  <c:v>233</c:v>
                </c:pt>
                <c:pt idx="3251">
                  <c:v>241</c:v>
                </c:pt>
                <c:pt idx="3252">
                  <c:v>199</c:v>
                </c:pt>
                <c:pt idx="3253">
                  <c:v>218</c:v>
                </c:pt>
                <c:pt idx="3254">
                  <c:v>237</c:v>
                </c:pt>
                <c:pt idx="3255">
                  <c:v>304</c:v>
                </c:pt>
                <c:pt idx="3256">
                  <c:v>330</c:v>
                </c:pt>
                <c:pt idx="3257">
                  <c:v>366</c:v>
                </c:pt>
                <c:pt idx="3258">
                  <c:v>341</c:v>
                </c:pt>
                <c:pt idx="3259">
                  <c:v>323</c:v>
                </c:pt>
                <c:pt idx="3260">
                  <c:v>327</c:v>
                </c:pt>
                <c:pt idx="3261">
                  <c:v>336</c:v>
                </c:pt>
                <c:pt idx="3262">
                  <c:v>371</c:v>
                </c:pt>
                <c:pt idx="3263">
                  <c:v>394</c:v>
                </c:pt>
                <c:pt idx="3264">
                  <c:v>329</c:v>
                </c:pt>
                <c:pt idx="3265">
                  <c:v>358</c:v>
                </c:pt>
                <c:pt idx="3266">
                  <c:v>376</c:v>
                </c:pt>
                <c:pt idx="3267">
                  <c:v>395</c:v>
                </c:pt>
                <c:pt idx="3268">
                  <c:v>427</c:v>
                </c:pt>
                <c:pt idx="3269">
                  <c:v>422</c:v>
                </c:pt>
                <c:pt idx="3270">
                  <c:v>445</c:v>
                </c:pt>
                <c:pt idx="3271">
                  <c:v>476</c:v>
                </c:pt>
                <c:pt idx="3272">
                  <c:v>436</c:v>
                </c:pt>
                <c:pt idx="3273">
                  <c:v>502</c:v>
                </c:pt>
                <c:pt idx="3274">
                  <c:v>434</c:v>
                </c:pt>
                <c:pt idx="3275">
                  <c:v>362</c:v>
                </c:pt>
                <c:pt idx="3276">
                  <c:v>392</c:v>
                </c:pt>
                <c:pt idx="3277">
                  <c:v>622</c:v>
                </c:pt>
                <c:pt idx="3278">
                  <c:v>612</c:v>
                </c:pt>
                <c:pt idx="3279">
                  <c:v>514</c:v>
                </c:pt>
                <c:pt idx="3280">
                  <c:v>550</c:v>
                </c:pt>
                <c:pt idx="3281">
                  <c:v>553</c:v>
                </c:pt>
                <c:pt idx="3282">
                  <c:v>576</c:v>
                </c:pt>
                <c:pt idx="3283">
                  <c:v>565</c:v>
                </c:pt>
                <c:pt idx="3284">
                  <c:v>567</c:v>
                </c:pt>
                <c:pt idx="3285">
                  <c:v>475</c:v>
                </c:pt>
                <c:pt idx="3286">
                  <c:v>542</c:v>
                </c:pt>
                <c:pt idx="3287">
                  <c:v>438</c:v>
                </c:pt>
                <c:pt idx="3288">
                  <c:v>474</c:v>
                </c:pt>
                <c:pt idx="3289">
                  <c:v>594</c:v>
                </c:pt>
                <c:pt idx="3290">
                  <c:v>571</c:v>
                </c:pt>
                <c:pt idx="3291">
                  <c:v>467</c:v>
                </c:pt>
                <c:pt idx="3292">
                  <c:v>460</c:v>
                </c:pt>
                <c:pt idx="3293">
                  <c:v>588</c:v>
                </c:pt>
                <c:pt idx="3294">
                  <c:v>585</c:v>
                </c:pt>
                <c:pt idx="3295">
                  <c:v>582</c:v>
                </c:pt>
                <c:pt idx="3296">
                  <c:v>600</c:v>
                </c:pt>
                <c:pt idx="3297">
                  <c:v>640</c:v>
                </c:pt>
                <c:pt idx="3298">
                  <c:v>614</c:v>
                </c:pt>
                <c:pt idx="3299">
                  <c:v>533</c:v>
                </c:pt>
                <c:pt idx="3300">
                  <c:v>528</c:v>
                </c:pt>
                <c:pt idx="3301">
                  <c:v>567</c:v>
                </c:pt>
                <c:pt idx="3302">
                  <c:v>449</c:v>
                </c:pt>
                <c:pt idx="3303">
                  <c:v>433</c:v>
                </c:pt>
                <c:pt idx="3304">
                  <c:v>403</c:v>
                </c:pt>
                <c:pt idx="3305">
                  <c:v>373</c:v>
                </c:pt>
                <c:pt idx="3306">
                  <c:v>403</c:v>
                </c:pt>
                <c:pt idx="3307">
                  <c:v>365</c:v>
                </c:pt>
                <c:pt idx="3308">
                  <c:v>360</c:v>
                </c:pt>
                <c:pt idx="3309">
                  <c:v>344</c:v>
                </c:pt>
                <c:pt idx="3310">
                  <c:v>361</c:v>
                </c:pt>
                <c:pt idx="3311">
                  <c:v>356</c:v>
                </c:pt>
                <c:pt idx="3312">
                  <c:v>348</c:v>
                </c:pt>
                <c:pt idx="3313">
                  <c:v>311</c:v>
                </c:pt>
                <c:pt idx="3314">
                  <c:v>311</c:v>
                </c:pt>
                <c:pt idx="3315">
                  <c:v>328</c:v>
                </c:pt>
                <c:pt idx="3316">
                  <c:v>303</c:v>
                </c:pt>
                <c:pt idx="3317">
                  <c:v>324</c:v>
                </c:pt>
                <c:pt idx="3318">
                  <c:v>300</c:v>
                </c:pt>
                <c:pt idx="3319">
                  <c:v>288</c:v>
                </c:pt>
                <c:pt idx="3320">
                  <c:v>294</c:v>
                </c:pt>
                <c:pt idx="3321">
                  <c:v>294</c:v>
                </c:pt>
                <c:pt idx="3322">
                  <c:v>308</c:v>
                </c:pt>
                <c:pt idx="3323">
                  <c:v>292</c:v>
                </c:pt>
                <c:pt idx="3324">
                  <c:v>317</c:v>
                </c:pt>
                <c:pt idx="3325">
                  <c:v>230</c:v>
                </c:pt>
                <c:pt idx="3326">
                  <c:v>245</c:v>
                </c:pt>
                <c:pt idx="3327">
                  <c:v>223</c:v>
                </c:pt>
                <c:pt idx="3328">
                  <c:v>231</c:v>
                </c:pt>
                <c:pt idx="3329">
                  <c:v>218</c:v>
                </c:pt>
                <c:pt idx="3330">
                  <c:v>226</c:v>
                </c:pt>
                <c:pt idx="3331">
                  <c:v>232</c:v>
                </c:pt>
                <c:pt idx="3332">
                  <c:v>224</c:v>
                </c:pt>
                <c:pt idx="3333">
                  <c:v>216</c:v>
                </c:pt>
                <c:pt idx="3334">
                  <c:v>221</c:v>
                </c:pt>
                <c:pt idx="3335">
                  <c:v>214</c:v>
                </c:pt>
                <c:pt idx="3336">
                  <c:v>221</c:v>
                </c:pt>
                <c:pt idx="3337">
                  <c:v>224</c:v>
                </c:pt>
                <c:pt idx="3338">
                  <c:v>205</c:v>
                </c:pt>
                <c:pt idx="3339">
                  <c:v>224</c:v>
                </c:pt>
                <c:pt idx="3340">
                  <c:v>221</c:v>
                </c:pt>
                <c:pt idx="3341">
                  <c:v>220</c:v>
                </c:pt>
                <c:pt idx="3342">
                  <c:v>220</c:v>
                </c:pt>
                <c:pt idx="3343">
                  <c:v>216</c:v>
                </c:pt>
                <c:pt idx="3344">
                  <c:v>187</c:v>
                </c:pt>
                <c:pt idx="3345">
                  <c:v>209</c:v>
                </c:pt>
                <c:pt idx="3346">
                  <c:v>225</c:v>
                </c:pt>
                <c:pt idx="3347">
                  <c:v>285</c:v>
                </c:pt>
                <c:pt idx="3348">
                  <c:v>310</c:v>
                </c:pt>
                <c:pt idx="3349">
                  <c:v>398</c:v>
                </c:pt>
                <c:pt idx="3350">
                  <c:v>388</c:v>
                </c:pt>
                <c:pt idx="3351">
                  <c:v>366</c:v>
                </c:pt>
                <c:pt idx="3352">
                  <c:v>327</c:v>
                </c:pt>
                <c:pt idx="3353">
                  <c:v>370</c:v>
                </c:pt>
                <c:pt idx="3354">
                  <c:v>345</c:v>
                </c:pt>
                <c:pt idx="3355">
                  <c:v>413</c:v>
                </c:pt>
                <c:pt idx="3356">
                  <c:v>428</c:v>
                </c:pt>
                <c:pt idx="3357">
                  <c:v>402</c:v>
                </c:pt>
                <c:pt idx="3358">
                  <c:v>400</c:v>
                </c:pt>
                <c:pt idx="3359">
                  <c:v>421</c:v>
                </c:pt>
                <c:pt idx="3360">
                  <c:v>413</c:v>
                </c:pt>
                <c:pt idx="3361">
                  <c:v>396</c:v>
                </c:pt>
                <c:pt idx="3362">
                  <c:v>402</c:v>
                </c:pt>
                <c:pt idx="3363">
                  <c:v>416</c:v>
                </c:pt>
                <c:pt idx="3364">
                  <c:v>397</c:v>
                </c:pt>
                <c:pt idx="3365">
                  <c:v>407</c:v>
                </c:pt>
                <c:pt idx="3366">
                  <c:v>408</c:v>
                </c:pt>
                <c:pt idx="3367">
                  <c:v>424</c:v>
                </c:pt>
                <c:pt idx="3368">
                  <c:v>432</c:v>
                </c:pt>
                <c:pt idx="3369">
                  <c:v>482</c:v>
                </c:pt>
                <c:pt idx="3370">
                  <c:v>456</c:v>
                </c:pt>
                <c:pt idx="3371">
                  <c:v>313</c:v>
                </c:pt>
                <c:pt idx="3372">
                  <c:v>322</c:v>
                </c:pt>
                <c:pt idx="3373">
                  <c:v>652</c:v>
                </c:pt>
                <c:pt idx="3374">
                  <c:v>586</c:v>
                </c:pt>
                <c:pt idx="3375">
                  <c:v>613</c:v>
                </c:pt>
                <c:pt idx="3376">
                  <c:v>442</c:v>
                </c:pt>
                <c:pt idx="3377">
                  <c:v>437</c:v>
                </c:pt>
                <c:pt idx="3378">
                  <c:v>615</c:v>
                </c:pt>
                <c:pt idx="3379">
                  <c:v>586</c:v>
                </c:pt>
                <c:pt idx="3380">
                  <c:v>505</c:v>
                </c:pt>
                <c:pt idx="3381">
                  <c:v>446</c:v>
                </c:pt>
                <c:pt idx="3382">
                  <c:v>588</c:v>
                </c:pt>
                <c:pt idx="3383">
                  <c:v>560</c:v>
                </c:pt>
                <c:pt idx="3384">
                  <c:v>561</c:v>
                </c:pt>
                <c:pt idx="3385">
                  <c:v>606</c:v>
                </c:pt>
                <c:pt idx="3386">
                  <c:v>536</c:v>
                </c:pt>
                <c:pt idx="3387">
                  <c:v>560</c:v>
                </c:pt>
                <c:pt idx="3388">
                  <c:v>444</c:v>
                </c:pt>
                <c:pt idx="3389">
                  <c:v>587</c:v>
                </c:pt>
                <c:pt idx="3390">
                  <c:v>582</c:v>
                </c:pt>
                <c:pt idx="3391">
                  <c:v>463</c:v>
                </c:pt>
                <c:pt idx="3392">
                  <c:v>585</c:v>
                </c:pt>
                <c:pt idx="3393">
                  <c:v>529</c:v>
                </c:pt>
                <c:pt idx="3394">
                  <c:v>501</c:v>
                </c:pt>
                <c:pt idx="3395">
                  <c:v>469</c:v>
                </c:pt>
                <c:pt idx="3396">
                  <c:v>499</c:v>
                </c:pt>
                <c:pt idx="3397">
                  <c:v>484</c:v>
                </c:pt>
                <c:pt idx="3398">
                  <c:v>441</c:v>
                </c:pt>
                <c:pt idx="3399">
                  <c:v>482</c:v>
                </c:pt>
                <c:pt idx="3400">
                  <c:v>468</c:v>
                </c:pt>
                <c:pt idx="3401">
                  <c:v>430</c:v>
                </c:pt>
                <c:pt idx="3402">
                  <c:v>396</c:v>
                </c:pt>
                <c:pt idx="3403">
                  <c:v>451</c:v>
                </c:pt>
                <c:pt idx="3404">
                  <c:v>494</c:v>
                </c:pt>
                <c:pt idx="3405">
                  <c:v>503</c:v>
                </c:pt>
                <c:pt idx="3406">
                  <c:v>400</c:v>
                </c:pt>
                <c:pt idx="3407">
                  <c:v>424</c:v>
                </c:pt>
                <c:pt idx="3408">
                  <c:v>417</c:v>
                </c:pt>
                <c:pt idx="3409">
                  <c:v>370</c:v>
                </c:pt>
                <c:pt idx="3410">
                  <c:v>335</c:v>
                </c:pt>
                <c:pt idx="3411">
                  <c:v>354</c:v>
                </c:pt>
                <c:pt idx="3412">
                  <c:v>346</c:v>
                </c:pt>
                <c:pt idx="3413">
                  <c:v>369</c:v>
                </c:pt>
                <c:pt idx="3414">
                  <c:v>366</c:v>
                </c:pt>
                <c:pt idx="3415">
                  <c:v>357</c:v>
                </c:pt>
                <c:pt idx="3416">
                  <c:v>356</c:v>
                </c:pt>
                <c:pt idx="3417">
                  <c:v>328</c:v>
                </c:pt>
                <c:pt idx="3418">
                  <c:v>279</c:v>
                </c:pt>
                <c:pt idx="3419">
                  <c:v>303</c:v>
                </c:pt>
                <c:pt idx="3420">
                  <c:v>274</c:v>
                </c:pt>
                <c:pt idx="3421">
                  <c:v>239</c:v>
                </c:pt>
                <c:pt idx="3422">
                  <c:v>251</c:v>
                </c:pt>
                <c:pt idx="3423">
                  <c:v>256</c:v>
                </c:pt>
                <c:pt idx="3424">
                  <c:v>242</c:v>
                </c:pt>
                <c:pt idx="3425">
                  <c:v>246</c:v>
                </c:pt>
                <c:pt idx="3426">
                  <c:v>242</c:v>
                </c:pt>
                <c:pt idx="3427">
                  <c:v>242</c:v>
                </c:pt>
                <c:pt idx="3428">
                  <c:v>244</c:v>
                </c:pt>
                <c:pt idx="3429">
                  <c:v>242</c:v>
                </c:pt>
                <c:pt idx="3430">
                  <c:v>242</c:v>
                </c:pt>
                <c:pt idx="3431">
                  <c:v>235</c:v>
                </c:pt>
                <c:pt idx="3432">
                  <c:v>242</c:v>
                </c:pt>
                <c:pt idx="3433">
                  <c:v>232</c:v>
                </c:pt>
                <c:pt idx="3434">
                  <c:v>239</c:v>
                </c:pt>
                <c:pt idx="3435">
                  <c:v>232</c:v>
                </c:pt>
                <c:pt idx="3436">
                  <c:v>229</c:v>
                </c:pt>
                <c:pt idx="3437">
                  <c:v>227</c:v>
                </c:pt>
                <c:pt idx="3438">
                  <c:v>230</c:v>
                </c:pt>
                <c:pt idx="3439">
                  <c:v>217</c:v>
                </c:pt>
                <c:pt idx="3440">
                  <c:v>262</c:v>
                </c:pt>
                <c:pt idx="3441">
                  <c:v>294</c:v>
                </c:pt>
                <c:pt idx="3442">
                  <c:v>286</c:v>
                </c:pt>
                <c:pt idx="3443">
                  <c:v>339</c:v>
                </c:pt>
                <c:pt idx="3444">
                  <c:v>299</c:v>
                </c:pt>
                <c:pt idx="3445">
                  <c:v>267</c:v>
                </c:pt>
                <c:pt idx="3446">
                  <c:v>290</c:v>
                </c:pt>
                <c:pt idx="3447">
                  <c:v>287</c:v>
                </c:pt>
                <c:pt idx="3448">
                  <c:v>325</c:v>
                </c:pt>
                <c:pt idx="3449">
                  <c:v>316</c:v>
                </c:pt>
                <c:pt idx="3450">
                  <c:v>346</c:v>
                </c:pt>
                <c:pt idx="3451">
                  <c:v>361</c:v>
                </c:pt>
                <c:pt idx="3452">
                  <c:v>359</c:v>
                </c:pt>
                <c:pt idx="3453">
                  <c:v>390</c:v>
                </c:pt>
                <c:pt idx="3454">
                  <c:v>461</c:v>
                </c:pt>
                <c:pt idx="3455">
                  <c:v>576</c:v>
                </c:pt>
                <c:pt idx="3456">
                  <c:v>575</c:v>
                </c:pt>
                <c:pt idx="3457">
                  <c:v>482</c:v>
                </c:pt>
                <c:pt idx="3458">
                  <c:v>449</c:v>
                </c:pt>
                <c:pt idx="3459">
                  <c:v>391</c:v>
                </c:pt>
                <c:pt idx="3460">
                  <c:v>416</c:v>
                </c:pt>
                <c:pt idx="3461">
                  <c:v>402</c:v>
                </c:pt>
                <c:pt idx="3462">
                  <c:v>403</c:v>
                </c:pt>
                <c:pt idx="3463">
                  <c:v>539</c:v>
                </c:pt>
                <c:pt idx="3464">
                  <c:v>561</c:v>
                </c:pt>
                <c:pt idx="3465">
                  <c:v>504</c:v>
                </c:pt>
                <c:pt idx="3466">
                  <c:v>369</c:v>
                </c:pt>
                <c:pt idx="3467">
                  <c:v>343</c:v>
                </c:pt>
                <c:pt idx="3468">
                  <c:v>350</c:v>
                </c:pt>
                <c:pt idx="3469">
                  <c:v>405</c:v>
                </c:pt>
                <c:pt idx="3470">
                  <c:v>416</c:v>
                </c:pt>
                <c:pt idx="3471">
                  <c:v>551</c:v>
                </c:pt>
                <c:pt idx="3472">
                  <c:v>516</c:v>
                </c:pt>
                <c:pt idx="3473">
                  <c:v>517</c:v>
                </c:pt>
                <c:pt idx="3474">
                  <c:v>507</c:v>
                </c:pt>
                <c:pt idx="3475">
                  <c:v>371</c:v>
                </c:pt>
                <c:pt idx="3476">
                  <c:v>427</c:v>
                </c:pt>
                <c:pt idx="3477">
                  <c:v>419</c:v>
                </c:pt>
                <c:pt idx="3478">
                  <c:v>419</c:v>
                </c:pt>
                <c:pt idx="3479">
                  <c:v>597</c:v>
                </c:pt>
                <c:pt idx="3480">
                  <c:v>470</c:v>
                </c:pt>
                <c:pt idx="3481">
                  <c:v>399</c:v>
                </c:pt>
                <c:pt idx="3482">
                  <c:v>503</c:v>
                </c:pt>
                <c:pt idx="3483">
                  <c:v>550</c:v>
                </c:pt>
                <c:pt idx="3484">
                  <c:v>561</c:v>
                </c:pt>
                <c:pt idx="3485">
                  <c:v>572</c:v>
                </c:pt>
                <c:pt idx="3486">
                  <c:v>572</c:v>
                </c:pt>
                <c:pt idx="3487">
                  <c:v>568</c:v>
                </c:pt>
                <c:pt idx="3488">
                  <c:v>549</c:v>
                </c:pt>
                <c:pt idx="3489">
                  <c:v>415</c:v>
                </c:pt>
                <c:pt idx="3490">
                  <c:v>448</c:v>
                </c:pt>
                <c:pt idx="3491">
                  <c:v>413</c:v>
                </c:pt>
                <c:pt idx="3492">
                  <c:v>408</c:v>
                </c:pt>
                <c:pt idx="3493">
                  <c:v>392</c:v>
                </c:pt>
                <c:pt idx="3494">
                  <c:v>412</c:v>
                </c:pt>
                <c:pt idx="3495">
                  <c:v>394</c:v>
                </c:pt>
                <c:pt idx="3496">
                  <c:v>374</c:v>
                </c:pt>
                <c:pt idx="3497">
                  <c:v>364</c:v>
                </c:pt>
                <c:pt idx="3498">
                  <c:v>337</c:v>
                </c:pt>
                <c:pt idx="3499">
                  <c:v>331</c:v>
                </c:pt>
                <c:pt idx="3500">
                  <c:v>312</c:v>
                </c:pt>
                <c:pt idx="3501">
                  <c:v>323</c:v>
                </c:pt>
                <c:pt idx="3502">
                  <c:v>332</c:v>
                </c:pt>
                <c:pt idx="3503">
                  <c:v>298</c:v>
                </c:pt>
                <c:pt idx="3504">
                  <c:v>310</c:v>
                </c:pt>
                <c:pt idx="3505">
                  <c:v>264</c:v>
                </c:pt>
                <c:pt idx="3506">
                  <c:v>241</c:v>
                </c:pt>
                <c:pt idx="3507">
                  <c:v>253</c:v>
                </c:pt>
                <c:pt idx="3508">
                  <c:v>230</c:v>
                </c:pt>
                <c:pt idx="3509">
                  <c:v>290</c:v>
                </c:pt>
                <c:pt idx="3510">
                  <c:v>270</c:v>
                </c:pt>
                <c:pt idx="3511">
                  <c:v>262</c:v>
                </c:pt>
                <c:pt idx="3512">
                  <c:v>284</c:v>
                </c:pt>
                <c:pt idx="3513">
                  <c:v>277</c:v>
                </c:pt>
                <c:pt idx="3514">
                  <c:v>289</c:v>
                </c:pt>
                <c:pt idx="3515">
                  <c:v>279</c:v>
                </c:pt>
                <c:pt idx="3516">
                  <c:v>271</c:v>
                </c:pt>
                <c:pt idx="3517">
                  <c:v>379</c:v>
                </c:pt>
                <c:pt idx="3518">
                  <c:v>422</c:v>
                </c:pt>
                <c:pt idx="3519">
                  <c:v>316</c:v>
                </c:pt>
                <c:pt idx="3520">
                  <c:v>298</c:v>
                </c:pt>
                <c:pt idx="3521">
                  <c:v>474</c:v>
                </c:pt>
                <c:pt idx="3522">
                  <c:v>495</c:v>
                </c:pt>
                <c:pt idx="3523">
                  <c:v>496</c:v>
                </c:pt>
                <c:pt idx="3524">
                  <c:v>366</c:v>
                </c:pt>
                <c:pt idx="3525">
                  <c:v>394</c:v>
                </c:pt>
                <c:pt idx="3526">
                  <c:v>418</c:v>
                </c:pt>
                <c:pt idx="3527">
                  <c:v>467</c:v>
                </c:pt>
                <c:pt idx="3528">
                  <c:v>487</c:v>
                </c:pt>
                <c:pt idx="3529">
                  <c:v>499</c:v>
                </c:pt>
                <c:pt idx="3530">
                  <c:v>424</c:v>
                </c:pt>
                <c:pt idx="3531">
                  <c:v>437</c:v>
                </c:pt>
                <c:pt idx="3532">
                  <c:v>473</c:v>
                </c:pt>
                <c:pt idx="3533">
                  <c:v>446</c:v>
                </c:pt>
                <c:pt idx="3534">
                  <c:v>493</c:v>
                </c:pt>
                <c:pt idx="3535">
                  <c:v>429</c:v>
                </c:pt>
                <c:pt idx="3536">
                  <c:v>443</c:v>
                </c:pt>
                <c:pt idx="3537">
                  <c:v>474</c:v>
                </c:pt>
                <c:pt idx="3538">
                  <c:v>503</c:v>
                </c:pt>
                <c:pt idx="3539">
                  <c:v>539</c:v>
                </c:pt>
                <c:pt idx="3540">
                  <c:v>477</c:v>
                </c:pt>
                <c:pt idx="3541">
                  <c:v>497</c:v>
                </c:pt>
                <c:pt idx="3542">
                  <c:v>471</c:v>
                </c:pt>
                <c:pt idx="3543">
                  <c:v>499</c:v>
                </c:pt>
                <c:pt idx="3544">
                  <c:v>516</c:v>
                </c:pt>
                <c:pt idx="3545">
                  <c:v>442</c:v>
                </c:pt>
                <c:pt idx="3546">
                  <c:v>399</c:v>
                </c:pt>
                <c:pt idx="3547">
                  <c:v>416</c:v>
                </c:pt>
                <c:pt idx="3548">
                  <c:v>428</c:v>
                </c:pt>
                <c:pt idx="3549">
                  <c:v>466</c:v>
                </c:pt>
                <c:pt idx="3550">
                  <c:v>447</c:v>
                </c:pt>
                <c:pt idx="3551">
                  <c:v>435</c:v>
                </c:pt>
                <c:pt idx="3552">
                  <c:v>494</c:v>
                </c:pt>
                <c:pt idx="3553">
                  <c:v>417</c:v>
                </c:pt>
                <c:pt idx="3554">
                  <c:v>422</c:v>
                </c:pt>
                <c:pt idx="3555">
                  <c:v>455</c:v>
                </c:pt>
                <c:pt idx="3556">
                  <c:v>436</c:v>
                </c:pt>
                <c:pt idx="3557">
                  <c:v>445</c:v>
                </c:pt>
                <c:pt idx="3558">
                  <c:v>441</c:v>
                </c:pt>
                <c:pt idx="3559">
                  <c:v>438</c:v>
                </c:pt>
                <c:pt idx="3560">
                  <c:v>421</c:v>
                </c:pt>
                <c:pt idx="3561">
                  <c:v>414</c:v>
                </c:pt>
                <c:pt idx="3562">
                  <c:v>369</c:v>
                </c:pt>
                <c:pt idx="3563">
                  <c:v>383</c:v>
                </c:pt>
                <c:pt idx="3564">
                  <c:v>396</c:v>
                </c:pt>
                <c:pt idx="3565">
                  <c:v>339</c:v>
                </c:pt>
                <c:pt idx="3566">
                  <c:v>328</c:v>
                </c:pt>
                <c:pt idx="3567">
                  <c:v>321</c:v>
                </c:pt>
                <c:pt idx="3568">
                  <c:v>300</c:v>
                </c:pt>
                <c:pt idx="3569">
                  <c:v>312</c:v>
                </c:pt>
                <c:pt idx="3570">
                  <c:v>302</c:v>
                </c:pt>
                <c:pt idx="3571">
                  <c:v>303</c:v>
                </c:pt>
                <c:pt idx="3572">
                  <c:v>299</c:v>
                </c:pt>
                <c:pt idx="3573">
                  <c:v>284</c:v>
                </c:pt>
                <c:pt idx="3574">
                  <c:v>283</c:v>
                </c:pt>
                <c:pt idx="3575">
                  <c:v>260</c:v>
                </c:pt>
                <c:pt idx="3576">
                  <c:v>261</c:v>
                </c:pt>
                <c:pt idx="3577">
                  <c:v>274</c:v>
                </c:pt>
                <c:pt idx="3578">
                  <c:v>252</c:v>
                </c:pt>
                <c:pt idx="3579">
                  <c:v>234</c:v>
                </c:pt>
                <c:pt idx="3580">
                  <c:v>204</c:v>
                </c:pt>
                <c:pt idx="3581">
                  <c:v>206</c:v>
                </c:pt>
                <c:pt idx="3582">
                  <c:v>203</c:v>
                </c:pt>
                <c:pt idx="3583">
                  <c:v>205</c:v>
                </c:pt>
                <c:pt idx="3584">
                  <c:v>195</c:v>
                </c:pt>
                <c:pt idx="3585">
                  <c:v>203</c:v>
                </c:pt>
                <c:pt idx="3586">
                  <c:v>197</c:v>
                </c:pt>
                <c:pt idx="3587">
                  <c:v>202</c:v>
                </c:pt>
                <c:pt idx="3588">
                  <c:v>202</c:v>
                </c:pt>
                <c:pt idx="3589">
                  <c:v>196</c:v>
                </c:pt>
                <c:pt idx="3590">
                  <c:v>212</c:v>
                </c:pt>
                <c:pt idx="3591">
                  <c:v>204</c:v>
                </c:pt>
                <c:pt idx="3592">
                  <c:v>253</c:v>
                </c:pt>
                <c:pt idx="3593">
                  <c:v>192</c:v>
                </c:pt>
                <c:pt idx="3594">
                  <c:v>193</c:v>
                </c:pt>
                <c:pt idx="3595">
                  <c:v>194</c:v>
                </c:pt>
                <c:pt idx="3596">
                  <c:v>236</c:v>
                </c:pt>
                <c:pt idx="3597">
                  <c:v>172</c:v>
                </c:pt>
                <c:pt idx="3598">
                  <c:v>178</c:v>
                </c:pt>
                <c:pt idx="3599">
                  <c:v>192</c:v>
                </c:pt>
                <c:pt idx="3600">
                  <c:v>241</c:v>
                </c:pt>
                <c:pt idx="3601">
                  <c:v>187</c:v>
                </c:pt>
                <c:pt idx="3602">
                  <c:v>180</c:v>
                </c:pt>
                <c:pt idx="3603">
                  <c:v>199</c:v>
                </c:pt>
                <c:pt idx="3604">
                  <c:v>262</c:v>
                </c:pt>
                <c:pt idx="3605">
                  <c:v>221</c:v>
                </c:pt>
                <c:pt idx="3606">
                  <c:v>236</c:v>
                </c:pt>
                <c:pt idx="3607">
                  <c:v>236</c:v>
                </c:pt>
                <c:pt idx="3608">
                  <c:v>247</c:v>
                </c:pt>
                <c:pt idx="3609">
                  <c:v>200</c:v>
                </c:pt>
                <c:pt idx="3610">
                  <c:v>203</c:v>
                </c:pt>
                <c:pt idx="3611">
                  <c:v>263</c:v>
                </c:pt>
                <c:pt idx="3612">
                  <c:v>235</c:v>
                </c:pt>
                <c:pt idx="3613">
                  <c:v>226</c:v>
                </c:pt>
                <c:pt idx="3614">
                  <c:v>271</c:v>
                </c:pt>
                <c:pt idx="3615">
                  <c:v>217</c:v>
                </c:pt>
                <c:pt idx="3616">
                  <c:v>213</c:v>
                </c:pt>
                <c:pt idx="3617">
                  <c:v>293</c:v>
                </c:pt>
                <c:pt idx="3618">
                  <c:v>247</c:v>
                </c:pt>
                <c:pt idx="3619">
                  <c:v>256</c:v>
                </c:pt>
                <c:pt idx="3620">
                  <c:v>314</c:v>
                </c:pt>
                <c:pt idx="3621">
                  <c:v>322</c:v>
                </c:pt>
                <c:pt idx="3622">
                  <c:v>320</c:v>
                </c:pt>
                <c:pt idx="3623">
                  <c:v>308</c:v>
                </c:pt>
                <c:pt idx="3624">
                  <c:v>313</c:v>
                </c:pt>
                <c:pt idx="3625">
                  <c:v>334</c:v>
                </c:pt>
                <c:pt idx="3626">
                  <c:v>319</c:v>
                </c:pt>
                <c:pt idx="3627">
                  <c:v>307</c:v>
                </c:pt>
                <c:pt idx="3628">
                  <c:v>297</c:v>
                </c:pt>
                <c:pt idx="3629">
                  <c:v>317</c:v>
                </c:pt>
                <c:pt idx="3630">
                  <c:v>324</c:v>
                </c:pt>
                <c:pt idx="3631">
                  <c:v>375</c:v>
                </c:pt>
                <c:pt idx="3632">
                  <c:v>303</c:v>
                </c:pt>
                <c:pt idx="3633">
                  <c:v>408</c:v>
                </c:pt>
                <c:pt idx="3634">
                  <c:v>383</c:v>
                </c:pt>
                <c:pt idx="3635">
                  <c:v>421</c:v>
                </c:pt>
                <c:pt idx="3636">
                  <c:v>400</c:v>
                </c:pt>
                <c:pt idx="3637">
                  <c:v>444</c:v>
                </c:pt>
                <c:pt idx="3638">
                  <c:v>466</c:v>
                </c:pt>
                <c:pt idx="3639">
                  <c:v>445</c:v>
                </c:pt>
                <c:pt idx="3640">
                  <c:v>499</c:v>
                </c:pt>
                <c:pt idx="3641">
                  <c:v>473</c:v>
                </c:pt>
                <c:pt idx="3642">
                  <c:v>387</c:v>
                </c:pt>
                <c:pt idx="3643">
                  <c:v>470</c:v>
                </c:pt>
                <c:pt idx="3644">
                  <c:v>485</c:v>
                </c:pt>
                <c:pt idx="3645">
                  <c:v>438</c:v>
                </c:pt>
                <c:pt idx="3646">
                  <c:v>413</c:v>
                </c:pt>
                <c:pt idx="3647">
                  <c:v>390</c:v>
                </c:pt>
                <c:pt idx="3648">
                  <c:v>356</c:v>
                </c:pt>
                <c:pt idx="3649">
                  <c:v>355</c:v>
                </c:pt>
                <c:pt idx="3650">
                  <c:v>367</c:v>
                </c:pt>
                <c:pt idx="3651">
                  <c:v>335</c:v>
                </c:pt>
                <c:pt idx="3652">
                  <c:v>342</c:v>
                </c:pt>
                <c:pt idx="3653">
                  <c:v>348</c:v>
                </c:pt>
                <c:pt idx="3654">
                  <c:v>345</c:v>
                </c:pt>
                <c:pt idx="3655">
                  <c:v>345</c:v>
                </c:pt>
                <c:pt idx="3656">
                  <c:v>311</c:v>
                </c:pt>
                <c:pt idx="3657">
                  <c:v>387</c:v>
                </c:pt>
                <c:pt idx="3658">
                  <c:v>339</c:v>
                </c:pt>
                <c:pt idx="3659">
                  <c:v>329</c:v>
                </c:pt>
                <c:pt idx="3660">
                  <c:v>347</c:v>
                </c:pt>
                <c:pt idx="3661">
                  <c:v>357</c:v>
                </c:pt>
                <c:pt idx="3662">
                  <c:v>332</c:v>
                </c:pt>
                <c:pt idx="3663">
                  <c:v>310</c:v>
                </c:pt>
                <c:pt idx="3664">
                  <c:v>327</c:v>
                </c:pt>
                <c:pt idx="3665">
                  <c:v>295</c:v>
                </c:pt>
                <c:pt idx="3666">
                  <c:v>302</c:v>
                </c:pt>
                <c:pt idx="3667">
                  <c:v>274</c:v>
                </c:pt>
                <c:pt idx="3668">
                  <c:v>283</c:v>
                </c:pt>
                <c:pt idx="3669">
                  <c:v>271</c:v>
                </c:pt>
                <c:pt idx="3670">
                  <c:v>260</c:v>
                </c:pt>
                <c:pt idx="3671">
                  <c:v>277</c:v>
                </c:pt>
                <c:pt idx="3672">
                  <c:v>252</c:v>
                </c:pt>
                <c:pt idx="3673">
                  <c:v>241</c:v>
                </c:pt>
                <c:pt idx="3674">
                  <c:v>258</c:v>
                </c:pt>
                <c:pt idx="3675">
                  <c:v>244</c:v>
                </c:pt>
                <c:pt idx="3676">
                  <c:v>248</c:v>
                </c:pt>
                <c:pt idx="3677">
                  <c:v>196</c:v>
                </c:pt>
                <c:pt idx="3678">
                  <c:v>213</c:v>
                </c:pt>
                <c:pt idx="3679">
                  <c:v>215</c:v>
                </c:pt>
                <c:pt idx="3680">
                  <c:v>220</c:v>
                </c:pt>
                <c:pt idx="3681">
                  <c:v>188</c:v>
                </c:pt>
                <c:pt idx="3682">
                  <c:v>185</c:v>
                </c:pt>
                <c:pt idx="3683">
                  <c:v>221</c:v>
                </c:pt>
                <c:pt idx="3684">
                  <c:v>209</c:v>
                </c:pt>
                <c:pt idx="3685">
                  <c:v>197</c:v>
                </c:pt>
                <c:pt idx="3686">
                  <c:v>177</c:v>
                </c:pt>
                <c:pt idx="3687">
                  <c:v>174</c:v>
                </c:pt>
                <c:pt idx="3688">
                  <c:v>153</c:v>
                </c:pt>
                <c:pt idx="3689">
                  <c:v>137</c:v>
                </c:pt>
                <c:pt idx="3690">
                  <c:v>162</c:v>
                </c:pt>
                <c:pt idx="3691">
                  <c:v>152</c:v>
                </c:pt>
                <c:pt idx="3692">
                  <c:v>157</c:v>
                </c:pt>
                <c:pt idx="3693">
                  <c:v>152</c:v>
                </c:pt>
                <c:pt idx="3694">
                  <c:v>153</c:v>
                </c:pt>
                <c:pt idx="3695">
                  <c:v>150</c:v>
                </c:pt>
                <c:pt idx="3696">
                  <c:v>152</c:v>
                </c:pt>
                <c:pt idx="3697">
                  <c:v>185</c:v>
                </c:pt>
                <c:pt idx="3698">
                  <c:v>194</c:v>
                </c:pt>
                <c:pt idx="3699">
                  <c:v>190</c:v>
                </c:pt>
                <c:pt idx="3700">
                  <c:v>238</c:v>
                </c:pt>
                <c:pt idx="3701">
                  <c:v>276</c:v>
                </c:pt>
                <c:pt idx="3702">
                  <c:v>320</c:v>
                </c:pt>
                <c:pt idx="3703">
                  <c:v>298</c:v>
                </c:pt>
                <c:pt idx="3704">
                  <c:v>353</c:v>
                </c:pt>
                <c:pt idx="3705">
                  <c:v>303</c:v>
                </c:pt>
                <c:pt idx="3706">
                  <c:v>304</c:v>
                </c:pt>
                <c:pt idx="3707">
                  <c:v>297</c:v>
                </c:pt>
                <c:pt idx="3708">
                  <c:v>308</c:v>
                </c:pt>
                <c:pt idx="3709">
                  <c:v>372</c:v>
                </c:pt>
                <c:pt idx="3710">
                  <c:v>370</c:v>
                </c:pt>
                <c:pt idx="3711">
                  <c:v>360</c:v>
                </c:pt>
                <c:pt idx="3712">
                  <c:v>381</c:v>
                </c:pt>
                <c:pt idx="3713">
                  <c:v>381</c:v>
                </c:pt>
                <c:pt idx="3714">
                  <c:v>372</c:v>
                </c:pt>
                <c:pt idx="3715">
                  <c:v>415</c:v>
                </c:pt>
                <c:pt idx="3716">
                  <c:v>461</c:v>
                </c:pt>
                <c:pt idx="3717">
                  <c:v>474</c:v>
                </c:pt>
                <c:pt idx="3718">
                  <c:v>462</c:v>
                </c:pt>
                <c:pt idx="3719">
                  <c:v>470</c:v>
                </c:pt>
                <c:pt idx="3720">
                  <c:v>374</c:v>
                </c:pt>
                <c:pt idx="3721">
                  <c:v>365</c:v>
                </c:pt>
                <c:pt idx="3722">
                  <c:v>503</c:v>
                </c:pt>
                <c:pt idx="3723">
                  <c:v>469</c:v>
                </c:pt>
                <c:pt idx="3724">
                  <c:v>439</c:v>
                </c:pt>
                <c:pt idx="3725">
                  <c:v>482</c:v>
                </c:pt>
                <c:pt idx="3726">
                  <c:v>433</c:v>
                </c:pt>
                <c:pt idx="3727">
                  <c:v>423</c:v>
                </c:pt>
                <c:pt idx="3728">
                  <c:v>571</c:v>
                </c:pt>
                <c:pt idx="3729">
                  <c:v>465</c:v>
                </c:pt>
                <c:pt idx="3730">
                  <c:v>422</c:v>
                </c:pt>
                <c:pt idx="3731">
                  <c:v>470</c:v>
                </c:pt>
                <c:pt idx="3732">
                  <c:v>413</c:v>
                </c:pt>
                <c:pt idx="3733">
                  <c:v>693</c:v>
                </c:pt>
                <c:pt idx="3734">
                  <c:v>590</c:v>
                </c:pt>
                <c:pt idx="3735">
                  <c:v>596</c:v>
                </c:pt>
                <c:pt idx="3736">
                  <c:v>607</c:v>
                </c:pt>
                <c:pt idx="3737">
                  <c:v>564</c:v>
                </c:pt>
                <c:pt idx="3738">
                  <c:v>653</c:v>
                </c:pt>
                <c:pt idx="3739">
                  <c:v>510</c:v>
                </c:pt>
                <c:pt idx="3740">
                  <c:v>656</c:v>
                </c:pt>
                <c:pt idx="3741">
                  <c:v>675</c:v>
                </c:pt>
                <c:pt idx="3742">
                  <c:v>543</c:v>
                </c:pt>
                <c:pt idx="3743">
                  <c:v>557</c:v>
                </c:pt>
                <c:pt idx="3744">
                  <c:v>501</c:v>
                </c:pt>
                <c:pt idx="3745">
                  <c:v>493</c:v>
                </c:pt>
                <c:pt idx="3746">
                  <c:v>560</c:v>
                </c:pt>
                <c:pt idx="3747">
                  <c:v>564</c:v>
                </c:pt>
                <c:pt idx="3748">
                  <c:v>593</c:v>
                </c:pt>
                <c:pt idx="3749">
                  <c:v>551</c:v>
                </c:pt>
                <c:pt idx="3750">
                  <c:v>496</c:v>
                </c:pt>
                <c:pt idx="3751">
                  <c:v>478</c:v>
                </c:pt>
                <c:pt idx="3752">
                  <c:v>466</c:v>
                </c:pt>
                <c:pt idx="3753">
                  <c:v>559</c:v>
                </c:pt>
                <c:pt idx="3754">
                  <c:v>565</c:v>
                </c:pt>
                <c:pt idx="3755">
                  <c:v>488</c:v>
                </c:pt>
                <c:pt idx="3756">
                  <c:v>499</c:v>
                </c:pt>
                <c:pt idx="3757">
                  <c:v>409</c:v>
                </c:pt>
                <c:pt idx="3758">
                  <c:v>379</c:v>
                </c:pt>
                <c:pt idx="3759">
                  <c:v>334</c:v>
                </c:pt>
                <c:pt idx="3760">
                  <c:v>285</c:v>
                </c:pt>
                <c:pt idx="3761">
                  <c:v>260</c:v>
                </c:pt>
                <c:pt idx="3762">
                  <c:v>274</c:v>
                </c:pt>
                <c:pt idx="3763">
                  <c:v>251</c:v>
                </c:pt>
                <c:pt idx="3764">
                  <c:v>254</c:v>
                </c:pt>
                <c:pt idx="3765">
                  <c:v>252</c:v>
                </c:pt>
                <c:pt idx="3766">
                  <c:v>237</c:v>
                </c:pt>
                <c:pt idx="3767">
                  <c:v>243</c:v>
                </c:pt>
                <c:pt idx="3768">
                  <c:v>240</c:v>
                </c:pt>
                <c:pt idx="3769">
                  <c:v>226</c:v>
                </c:pt>
                <c:pt idx="3770">
                  <c:v>242</c:v>
                </c:pt>
                <c:pt idx="3771">
                  <c:v>236</c:v>
                </c:pt>
                <c:pt idx="3772">
                  <c:v>213</c:v>
                </c:pt>
                <c:pt idx="3773">
                  <c:v>244</c:v>
                </c:pt>
                <c:pt idx="3774">
                  <c:v>212</c:v>
                </c:pt>
                <c:pt idx="3775">
                  <c:v>213</c:v>
                </c:pt>
                <c:pt idx="3776">
                  <c:v>210</c:v>
                </c:pt>
                <c:pt idx="3777">
                  <c:v>219</c:v>
                </c:pt>
                <c:pt idx="3778">
                  <c:v>206</c:v>
                </c:pt>
                <c:pt idx="3779">
                  <c:v>243</c:v>
                </c:pt>
                <c:pt idx="3780">
                  <c:v>204</c:v>
                </c:pt>
                <c:pt idx="3781">
                  <c:v>207</c:v>
                </c:pt>
                <c:pt idx="3782">
                  <c:v>203</c:v>
                </c:pt>
                <c:pt idx="3783">
                  <c:v>223</c:v>
                </c:pt>
                <c:pt idx="3784">
                  <c:v>175</c:v>
                </c:pt>
                <c:pt idx="3785">
                  <c:v>177</c:v>
                </c:pt>
                <c:pt idx="3786">
                  <c:v>200</c:v>
                </c:pt>
                <c:pt idx="3787">
                  <c:v>162</c:v>
                </c:pt>
                <c:pt idx="3788">
                  <c:v>174</c:v>
                </c:pt>
                <c:pt idx="3789">
                  <c:v>175</c:v>
                </c:pt>
                <c:pt idx="3790">
                  <c:v>159</c:v>
                </c:pt>
                <c:pt idx="3791">
                  <c:v>183</c:v>
                </c:pt>
                <c:pt idx="3792">
                  <c:v>179</c:v>
                </c:pt>
                <c:pt idx="3793">
                  <c:v>149</c:v>
                </c:pt>
                <c:pt idx="3794">
                  <c:v>181</c:v>
                </c:pt>
                <c:pt idx="3795">
                  <c:v>204</c:v>
                </c:pt>
                <c:pt idx="3796">
                  <c:v>246</c:v>
                </c:pt>
                <c:pt idx="3797">
                  <c:v>299</c:v>
                </c:pt>
                <c:pt idx="3798">
                  <c:v>302</c:v>
                </c:pt>
                <c:pt idx="3799">
                  <c:v>377</c:v>
                </c:pt>
                <c:pt idx="3800">
                  <c:v>408</c:v>
                </c:pt>
                <c:pt idx="3801">
                  <c:v>372</c:v>
                </c:pt>
                <c:pt idx="3802">
                  <c:v>344</c:v>
                </c:pt>
                <c:pt idx="3803">
                  <c:v>342</c:v>
                </c:pt>
                <c:pt idx="3804">
                  <c:v>361</c:v>
                </c:pt>
                <c:pt idx="3805">
                  <c:v>369</c:v>
                </c:pt>
                <c:pt idx="3806">
                  <c:v>359</c:v>
                </c:pt>
                <c:pt idx="3807">
                  <c:v>367</c:v>
                </c:pt>
                <c:pt idx="3808">
                  <c:v>394</c:v>
                </c:pt>
                <c:pt idx="3809">
                  <c:v>374</c:v>
                </c:pt>
                <c:pt idx="3810">
                  <c:v>386</c:v>
                </c:pt>
                <c:pt idx="3811">
                  <c:v>381</c:v>
                </c:pt>
                <c:pt idx="3812">
                  <c:v>413</c:v>
                </c:pt>
                <c:pt idx="3813">
                  <c:v>399</c:v>
                </c:pt>
                <c:pt idx="3814">
                  <c:v>394</c:v>
                </c:pt>
                <c:pt idx="3815">
                  <c:v>371</c:v>
                </c:pt>
                <c:pt idx="3816">
                  <c:v>382</c:v>
                </c:pt>
                <c:pt idx="3817">
                  <c:v>426</c:v>
                </c:pt>
                <c:pt idx="3818">
                  <c:v>401</c:v>
                </c:pt>
                <c:pt idx="3819">
                  <c:v>401</c:v>
                </c:pt>
                <c:pt idx="3820">
                  <c:v>424</c:v>
                </c:pt>
                <c:pt idx="3821">
                  <c:v>459</c:v>
                </c:pt>
                <c:pt idx="3822">
                  <c:v>469</c:v>
                </c:pt>
                <c:pt idx="3823">
                  <c:v>438</c:v>
                </c:pt>
                <c:pt idx="3824">
                  <c:v>426</c:v>
                </c:pt>
                <c:pt idx="3825">
                  <c:v>415</c:v>
                </c:pt>
                <c:pt idx="3826">
                  <c:v>429</c:v>
                </c:pt>
                <c:pt idx="3827">
                  <c:v>467</c:v>
                </c:pt>
                <c:pt idx="3828">
                  <c:v>437</c:v>
                </c:pt>
                <c:pt idx="3829">
                  <c:v>417</c:v>
                </c:pt>
                <c:pt idx="3830">
                  <c:v>442</c:v>
                </c:pt>
                <c:pt idx="3831">
                  <c:v>402</c:v>
                </c:pt>
                <c:pt idx="3832">
                  <c:v>442</c:v>
                </c:pt>
                <c:pt idx="3833">
                  <c:v>447</c:v>
                </c:pt>
                <c:pt idx="3834">
                  <c:v>447</c:v>
                </c:pt>
                <c:pt idx="3835">
                  <c:v>432</c:v>
                </c:pt>
                <c:pt idx="3836">
                  <c:v>446</c:v>
                </c:pt>
                <c:pt idx="3837">
                  <c:v>454</c:v>
                </c:pt>
                <c:pt idx="3838">
                  <c:v>471</c:v>
                </c:pt>
                <c:pt idx="3839">
                  <c:v>460</c:v>
                </c:pt>
                <c:pt idx="3840">
                  <c:v>440</c:v>
                </c:pt>
                <c:pt idx="3841">
                  <c:v>459</c:v>
                </c:pt>
                <c:pt idx="3842">
                  <c:v>448</c:v>
                </c:pt>
                <c:pt idx="3843">
                  <c:v>472</c:v>
                </c:pt>
                <c:pt idx="3844">
                  <c:v>446</c:v>
                </c:pt>
                <c:pt idx="3845">
                  <c:v>397</c:v>
                </c:pt>
                <c:pt idx="3846">
                  <c:v>357</c:v>
                </c:pt>
                <c:pt idx="3847">
                  <c:v>316</c:v>
                </c:pt>
                <c:pt idx="3848">
                  <c:v>361</c:v>
                </c:pt>
                <c:pt idx="3849">
                  <c:v>367</c:v>
                </c:pt>
                <c:pt idx="3850">
                  <c:v>321</c:v>
                </c:pt>
                <c:pt idx="3851">
                  <c:v>336</c:v>
                </c:pt>
                <c:pt idx="3852">
                  <c:v>349</c:v>
                </c:pt>
                <c:pt idx="3853">
                  <c:v>331</c:v>
                </c:pt>
                <c:pt idx="3854">
                  <c:v>305</c:v>
                </c:pt>
                <c:pt idx="3855">
                  <c:v>292</c:v>
                </c:pt>
                <c:pt idx="3856">
                  <c:v>298</c:v>
                </c:pt>
                <c:pt idx="3857">
                  <c:v>221</c:v>
                </c:pt>
                <c:pt idx="3858">
                  <c:v>219</c:v>
                </c:pt>
                <c:pt idx="3859">
                  <c:v>221</c:v>
                </c:pt>
                <c:pt idx="3860">
                  <c:v>212</c:v>
                </c:pt>
                <c:pt idx="3861">
                  <c:v>200</c:v>
                </c:pt>
                <c:pt idx="3862">
                  <c:v>223</c:v>
                </c:pt>
                <c:pt idx="3863">
                  <c:v>198</c:v>
                </c:pt>
                <c:pt idx="3864">
                  <c:v>206</c:v>
                </c:pt>
                <c:pt idx="3865">
                  <c:v>182</c:v>
                </c:pt>
                <c:pt idx="3866">
                  <c:v>218</c:v>
                </c:pt>
                <c:pt idx="3867">
                  <c:v>231</c:v>
                </c:pt>
                <c:pt idx="3868">
                  <c:v>214</c:v>
                </c:pt>
                <c:pt idx="3869">
                  <c:v>199</c:v>
                </c:pt>
                <c:pt idx="3870">
                  <c:v>187</c:v>
                </c:pt>
                <c:pt idx="3871">
                  <c:v>149</c:v>
                </c:pt>
                <c:pt idx="3872">
                  <c:v>172</c:v>
                </c:pt>
                <c:pt idx="3873">
                  <c:v>165</c:v>
                </c:pt>
                <c:pt idx="3874">
                  <c:v>210</c:v>
                </c:pt>
                <c:pt idx="3875">
                  <c:v>200</c:v>
                </c:pt>
                <c:pt idx="3876">
                  <c:v>181</c:v>
                </c:pt>
                <c:pt idx="3877">
                  <c:v>177</c:v>
                </c:pt>
                <c:pt idx="3878">
                  <c:v>122</c:v>
                </c:pt>
                <c:pt idx="3879">
                  <c:v>151</c:v>
                </c:pt>
                <c:pt idx="3880">
                  <c:v>129</c:v>
                </c:pt>
                <c:pt idx="3881">
                  <c:v>84</c:v>
                </c:pt>
                <c:pt idx="3882">
                  <c:v>142</c:v>
                </c:pt>
                <c:pt idx="3883">
                  <c:v>105</c:v>
                </c:pt>
                <c:pt idx="3884">
                  <c:v>141</c:v>
                </c:pt>
                <c:pt idx="3885">
                  <c:v>134</c:v>
                </c:pt>
                <c:pt idx="3886">
                  <c:v>332</c:v>
                </c:pt>
                <c:pt idx="3887">
                  <c:v>721</c:v>
                </c:pt>
                <c:pt idx="3888">
                  <c:v>584</c:v>
                </c:pt>
                <c:pt idx="3889">
                  <c:v>485</c:v>
                </c:pt>
                <c:pt idx="3890">
                  <c:v>436</c:v>
                </c:pt>
                <c:pt idx="3891">
                  <c:v>421</c:v>
                </c:pt>
                <c:pt idx="3892">
                  <c:v>379</c:v>
                </c:pt>
                <c:pt idx="3893">
                  <c:v>366</c:v>
                </c:pt>
                <c:pt idx="3894">
                  <c:v>325</c:v>
                </c:pt>
                <c:pt idx="3895">
                  <c:v>342</c:v>
                </c:pt>
                <c:pt idx="3896">
                  <c:v>431</c:v>
                </c:pt>
                <c:pt idx="3897">
                  <c:v>342</c:v>
                </c:pt>
                <c:pt idx="3898">
                  <c:v>349</c:v>
                </c:pt>
                <c:pt idx="3899">
                  <c:v>347</c:v>
                </c:pt>
                <c:pt idx="3900">
                  <c:v>405</c:v>
                </c:pt>
                <c:pt idx="3901">
                  <c:v>370</c:v>
                </c:pt>
                <c:pt idx="3902">
                  <c:v>363</c:v>
                </c:pt>
                <c:pt idx="3903">
                  <c:v>336</c:v>
                </c:pt>
                <c:pt idx="3904">
                  <c:v>382</c:v>
                </c:pt>
                <c:pt idx="3905">
                  <c:v>366</c:v>
                </c:pt>
                <c:pt idx="3906">
                  <c:v>362</c:v>
                </c:pt>
                <c:pt idx="3907">
                  <c:v>365</c:v>
                </c:pt>
                <c:pt idx="3908">
                  <c:v>379</c:v>
                </c:pt>
                <c:pt idx="3909">
                  <c:v>387</c:v>
                </c:pt>
                <c:pt idx="3910">
                  <c:v>347</c:v>
                </c:pt>
                <c:pt idx="3911">
                  <c:v>365</c:v>
                </c:pt>
                <c:pt idx="3912">
                  <c:v>384</c:v>
                </c:pt>
                <c:pt idx="3913">
                  <c:v>366</c:v>
                </c:pt>
                <c:pt idx="3914">
                  <c:v>361</c:v>
                </c:pt>
                <c:pt idx="3915">
                  <c:v>312</c:v>
                </c:pt>
                <c:pt idx="3916">
                  <c:v>324</c:v>
                </c:pt>
                <c:pt idx="3917">
                  <c:v>290</c:v>
                </c:pt>
                <c:pt idx="3918">
                  <c:v>288</c:v>
                </c:pt>
                <c:pt idx="3919">
                  <c:v>297</c:v>
                </c:pt>
                <c:pt idx="3920">
                  <c:v>296</c:v>
                </c:pt>
                <c:pt idx="3921">
                  <c:v>304</c:v>
                </c:pt>
                <c:pt idx="3922">
                  <c:v>266</c:v>
                </c:pt>
                <c:pt idx="3923">
                  <c:v>258</c:v>
                </c:pt>
                <c:pt idx="3924">
                  <c:v>265</c:v>
                </c:pt>
                <c:pt idx="3925">
                  <c:v>245</c:v>
                </c:pt>
                <c:pt idx="3926">
                  <c:v>242</c:v>
                </c:pt>
                <c:pt idx="3927">
                  <c:v>245</c:v>
                </c:pt>
                <c:pt idx="3928">
                  <c:v>223</c:v>
                </c:pt>
                <c:pt idx="3929">
                  <c:v>194</c:v>
                </c:pt>
                <c:pt idx="3930">
                  <c:v>188</c:v>
                </c:pt>
                <c:pt idx="3931">
                  <c:v>167</c:v>
                </c:pt>
                <c:pt idx="3932">
                  <c:v>191</c:v>
                </c:pt>
                <c:pt idx="3933">
                  <c:v>170</c:v>
                </c:pt>
                <c:pt idx="3934">
                  <c:v>161</c:v>
                </c:pt>
                <c:pt idx="3935">
                  <c:v>161</c:v>
                </c:pt>
                <c:pt idx="3936">
                  <c:v>162</c:v>
                </c:pt>
                <c:pt idx="3937">
                  <c:v>207</c:v>
                </c:pt>
                <c:pt idx="3938">
                  <c:v>192</c:v>
                </c:pt>
                <c:pt idx="3939">
                  <c:v>194</c:v>
                </c:pt>
                <c:pt idx="3940">
                  <c:v>195</c:v>
                </c:pt>
                <c:pt idx="3941">
                  <c:v>190</c:v>
                </c:pt>
                <c:pt idx="3942">
                  <c:v>154</c:v>
                </c:pt>
                <c:pt idx="3943">
                  <c:v>651</c:v>
                </c:pt>
                <c:pt idx="3944">
                  <c:v>614</c:v>
                </c:pt>
                <c:pt idx="3945">
                  <c:v>729</c:v>
                </c:pt>
                <c:pt idx="3946">
                  <c:v>651</c:v>
                </c:pt>
                <c:pt idx="3947">
                  <c:v>486</c:v>
                </c:pt>
                <c:pt idx="3948">
                  <c:v>440</c:v>
                </c:pt>
                <c:pt idx="3949">
                  <c:v>366</c:v>
                </c:pt>
                <c:pt idx="3950">
                  <c:v>328</c:v>
                </c:pt>
                <c:pt idx="3951">
                  <c:v>368</c:v>
                </c:pt>
                <c:pt idx="3952">
                  <c:v>349</c:v>
                </c:pt>
                <c:pt idx="3953">
                  <c:v>345</c:v>
                </c:pt>
                <c:pt idx="3954">
                  <c:v>272</c:v>
                </c:pt>
                <c:pt idx="3955">
                  <c:v>337</c:v>
                </c:pt>
                <c:pt idx="3956">
                  <c:v>336</c:v>
                </c:pt>
                <c:pt idx="3957">
                  <c:v>332</c:v>
                </c:pt>
                <c:pt idx="3958">
                  <c:v>308</c:v>
                </c:pt>
                <c:pt idx="3959">
                  <c:v>309</c:v>
                </c:pt>
                <c:pt idx="3960">
                  <c:v>335</c:v>
                </c:pt>
                <c:pt idx="3961">
                  <c:v>307</c:v>
                </c:pt>
                <c:pt idx="3962">
                  <c:v>320</c:v>
                </c:pt>
                <c:pt idx="3963">
                  <c:v>328</c:v>
                </c:pt>
                <c:pt idx="3964">
                  <c:v>326</c:v>
                </c:pt>
                <c:pt idx="3965">
                  <c:v>315</c:v>
                </c:pt>
                <c:pt idx="3966">
                  <c:v>300</c:v>
                </c:pt>
                <c:pt idx="3967">
                  <c:v>347</c:v>
                </c:pt>
                <c:pt idx="3968">
                  <c:v>357</c:v>
                </c:pt>
                <c:pt idx="3969">
                  <c:v>357</c:v>
                </c:pt>
                <c:pt idx="3970">
                  <c:v>329</c:v>
                </c:pt>
                <c:pt idx="3971">
                  <c:v>254</c:v>
                </c:pt>
                <c:pt idx="3972">
                  <c:v>249</c:v>
                </c:pt>
                <c:pt idx="3973">
                  <c:v>252</c:v>
                </c:pt>
                <c:pt idx="3974">
                  <c:v>256</c:v>
                </c:pt>
                <c:pt idx="3975">
                  <c:v>252</c:v>
                </c:pt>
                <c:pt idx="3976">
                  <c:v>219</c:v>
                </c:pt>
                <c:pt idx="3977">
                  <c:v>220</c:v>
                </c:pt>
                <c:pt idx="3978">
                  <c:v>222</c:v>
                </c:pt>
                <c:pt idx="3979">
                  <c:v>227</c:v>
                </c:pt>
                <c:pt idx="3980">
                  <c:v>210</c:v>
                </c:pt>
                <c:pt idx="3981">
                  <c:v>197</c:v>
                </c:pt>
                <c:pt idx="3982">
                  <c:v>186</c:v>
                </c:pt>
                <c:pt idx="3983">
                  <c:v>224</c:v>
                </c:pt>
                <c:pt idx="3984">
                  <c:v>162</c:v>
                </c:pt>
                <c:pt idx="3985">
                  <c:v>140</c:v>
                </c:pt>
                <c:pt idx="3986">
                  <c:v>132</c:v>
                </c:pt>
                <c:pt idx="3987">
                  <c:v>112</c:v>
                </c:pt>
                <c:pt idx="3988">
                  <c:v>112</c:v>
                </c:pt>
                <c:pt idx="3989">
                  <c:v>129</c:v>
                </c:pt>
                <c:pt idx="3990">
                  <c:v>156</c:v>
                </c:pt>
                <c:pt idx="3991">
                  <c:v>112</c:v>
                </c:pt>
                <c:pt idx="3992">
                  <c:v>111</c:v>
                </c:pt>
                <c:pt idx="3993">
                  <c:v>111</c:v>
                </c:pt>
                <c:pt idx="3994">
                  <c:v>122</c:v>
                </c:pt>
                <c:pt idx="3995">
                  <c:v>129</c:v>
                </c:pt>
                <c:pt idx="3996">
                  <c:v>58</c:v>
                </c:pt>
                <c:pt idx="3997">
                  <c:v>126</c:v>
                </c:pt>
                <c:pt idx="3998">
                  <c:v>645</c:v>
                </c:pt>
                <c:pt idx="3999">
                  <c:v>573</c:v>
                </c:pt>
                <c:pt idx="4000">
                  <c:v>529</c:v>
                </c:pt>
                <c:pt idx="4001">
                  <c:v>408</c:v>
                </c:pt>
                <c:pt idx="4002">
                  <c:v>398</c:v>
                </c:pt>
                <c:pt idx="4003">
                  <c:v>337</c:v>
                </c:pt>
                <c:pt idx="4004">
                  <c:v>316</c:v>
                </c:pt>
                <c:pt idx="4005">
                  <c:v>304</c:v>
                </c:pt>
                <c:pt idx="4006">
                  <c:v>331</c:v>
                </c:pt>
                <c:pt idx="4007">
                  <c:v>365</c:v>
                </c:pt>
                <c:pt idx="4008">
                  <c:v>319</c:v>
                </c:pt>
                <c:pt idx="4009">
                  <c:v>336</c:v>
                </c:pt>
                <c:pt idx="4010">
                  <c:v>349</c:v>
                </c:pt>
                <c:pt idx="4011">
                  <c:v>363</c:v>
                </c:pt>
                <c:pt idx="4012">
                  <c:v>316</c:v>
                </c:pt>
                <c:pt idx="4013">
                  <c:v>303</c:v>
                </c:pt>
                <c:pt idx="4014">
                  <c:v>317</c:v>
                </c:pt>
                <c:pt idx="4015">
                  <c:v>333</c:v>
                </c:pt>
                <c:pt idx="4016">
                  <c:v>347</c:v>
                </c:pt>
                <c:pt idx="4017">
                  <c:v>329</c:v>
                </c:pt>
                <c:pt idx="4018">
                  <c:v>307</c:v>
                </c:pt>
                <c:pt idx="4019">
                  <c:v>293</c:v>
                </c:pt>
                <c:pt idx="4020">
                  <c:v>308</c:v>
                </c:pt>
                <c:pt idx="4021">
                  <c:v>298</c:v>
                </c:pt>
                <c:pt idx="4022">
                  <c:v>312</c:v>
                </c:pt>
                <c:pt idx="4023">
                  <c:v>306</c:v>
                </c:pt>
                <c:pt idx="4024">
                  <c:v>298</c:v>
                </c:pt>
                <c:pt idx="4025">
                  <c:v>302</c:v>
                </c:pt>
                <c:pt idx="4026">
                  <c:v>266</c:v>
                </c:pt>
                <c:pt idx="4027">
                  <c:v>242</c:v>
                </c:pt>
                <c:pt idx="4028">
                  <c:v>216</c:v>
                </c:pt>
                <c:pt idx="4029">
                  <c:v>206</c:v>
                </c:pt>
                <c:pt idx="4030">
                  <c:v>209</c:v>
                </c:pt>
                <c:pt idx="4031">
                  <c:v>198</c:v>
                </c:pt>
                <c:pt idx="4032">
                  <c:v>193</c:v>
                </c:pt>
                <c:pt idx="4033">
                  <c:v>211</c:v>
                </c:pt>
                <c:pt idx="4034">
                  <c:v>208</c:v>
                </c:pt>
                <c:pt idx="4035">
                  <c:v>191</c:v>
                </c:pt>
                <c:pt idx="4036">
                  <c:v>192</c:v>
                </c:pt>
                <c:pt idx="4037">
                  <c:v>161</c:v>
                </c:pt>
                <c:pt idx="4038">
                  <c:v>150</c:v>
                </c:pt>
                <c:pt idx="4039">
                  <c:v>153</c:v>
                </c:pt>
                <c:pt idx="4040">
                  <c:v>146</c:v>
                </c:pt>
                <c:pt idx="4041">
                  <c:v>109</c:v>
                </c:pt>
                <c:pt idx="4042">
                  <c:v>89</c:v>
                </c:pt>
                <c:pt idx="4043">
                  <c:v>59</c:v>
                </c:pt>
                <c:pt idx="4044">
                  <c:v>213</c:v>
                </c:pt>
                <c:pt idx="4045">
                  <c:v>737</c:v>
                </c:pt>
                <c:pt idx="4046">
                  <c:v>536</c:v>
                </c:pt>
                <c:pt idx="4047">
                  <c:v>392</c:v>
                </c:pt>
                <c:pt idx="4048">
                  <c:v>355</c:v>
                </c:pt>
                <c:pt idx="4049">
                  <c:v>294</c:v>
                </c:pt>
                <c:pt idx="4050">
                  <c:v>265</c:v>
                </c:pt>
                <c:pt idx="4051">
                  <c:v>236</c:v>
                </c:pt>
                <c:pt idx="4052">
                  <c:v>231</c:v>
                </c:pt>
                <c:pt idx="4053">
                  <c:v>237</c:v>
                </c:pt>
                <c:pt idx="4054">
                  <c:v>274</c:v>
                </c:pt>
                <c:pt idx="4055">
                  <c:v>238</c:v>
                </c:pt>
                <c:pt idx="4056">
                  <c:v>300</c:v>
                </c:pt>
                <c:pt idx="4057">
                  <c:v>254</c:v>
                </c:pt>
                <c:pt idx="4058">
                  <c:v>299</c:v>
                </c:pt>
                <c:pt idx="4059">
                  <c:v>249</c:v>
                </c:pt>
                <c:pt idx="4060">
                  <c:v>219</c:v>
                </c:pt>
                <c:pt idx="4061">
                  <c:v>236</c:v>
                </c:pt>
                <c:pt idx="4062">
                  <c:v>201</c:v>
                </c:pt>
                <c:pt idx="4063">
                  <c:v>211</c:v>
                </c:pt>
                <c:pt idx="4064">
                  <c:v>225</c:v>
                </c:pt>
                <c:pt idx="4065">
                  <c:v>184</c:v>
                </c:pt>
                <c:pt idx="4066">
                  <c:v>209</c:v>
                </c:pt>
                <c:pt idx="4067">
                  <c:v>168</c:v>
                </c:pt>
                <c:pt idx="4068">
                  <c:v>190</c:v>
                </c:pt>
                <c:pt idx="4069">
                  <c:v>163</c:v>
                </c:pt>
                <c:pt idx="4070">
                  <c:v>180</c:v>
                </c:pt>
                <c:pt idx="4071">
                  <c:v>183</c:v>
                </c:pt>
                <c:pt idx="4072">
                  <c:v>194</c:v>
                </c:pt>
                <c:pt idx="4073">
                  <c:v>210</c:v>
                </c:pt>
                <c:pt idx="4074">
                  <c:v>181</c:v>
                </c:pt>
                <c:pt idx="4075">
                  <c:v>168</c:v>
                </c:pt>
                <c:pt idx="4076">
                  <c:v>167</c:v>
                </c:pt>
                <c:pt idx="4077">
                  <c:v>157</c:v>
                </c:pt>
                <c:pt idx="4078">
                  <c:v>177</c:v>
                </c:pt>
                <c:pt idx="4079">
                  <c:v>173</c:v>
                </c:pt>
                <c:pt idx="4080">
                  <c:v>157</c:v>
                </c:pt>
                <c:pt idx="4081">
                  <c:v>166</c:v>
                </c:pt>
                <c:pt idx="4082">
                  <c:v>175</c:v>
                </c:pt>
                <c:pt idx="4083">
                  <c:v>151</c:v>
                </c:pt>
                <c:pt idx="4084">
                  <c:v>158</c:v>
                </c:pt>
                <c:pt idx="4085">
                  <c:v>162</c:v>
                </c:pt>
                <c:pt idx="4086">
                  <c:v>159</c:v>
                </c:pt>
                <c:pt idx="4087">
                  <c:v>142</c:v>
                </c:pt>
                <c:pt idx="4088">
                  <c:v>157</c:v>
                </c:pt>
                <c:pt idx="4089">
                  <c:v>142</c:v>
                </c:pt>
                <c:pt idx="4090">
                  <c:v>152</c:v>
                </c:pt>
                <c:pt idx="4091">
                  <c:v>139</c:v>
                </c:pt>
                <c:pt idx="4092">
                  <c:v>135</c:v>
                </c:pt>
                <c:pt idx="4093">
                  <c:v>125</c:v>
                </c:pt>
                <c:pt idx="4094">
                  <c:v>147</c:v>
                </c:pt>
                <c:pt idx="4095">
                  <c:v>129</c:v>
                </c:pt>
                <c:pt idx="4096">
                  <c:v>128</c:v>
                </c:pt>
                <c:pt idx="4097">
                  <c:v>129</c:v>
                </c:pt>
                <c:pt idx="4098">
                  <c:v>133</c:v>
                </c:pt>
                <c:pt idx="4099">
                  <c:v>132</c:v>
                </c:pt>
                <c:pt idx="4100">
                  <c:v>158</c:v>
                </c:pt>
                <c:pt idx="4101">
                  <c:v>136</c:v>
                </c:pt>
                <c:pt idx="4102">
                  <c:v>82</c:v>
                </c:pt>
                <c:pt idx="4103">
                  <c:v>88</c:v>
                </c:pt>
                <c:pt idx="4104">
                  <c:v>95</c:v>
                </c:pt>
                <c:pt idx="4105">
                  <c:v>86</c:v>
                </c:pt>
                <c:pt idx="4106">
                  <c:v>100</c:v>
                </c:pt>
                <c:pt idx="4107">
                  <c:v>97</c:v>
                </c:pt>
                <c:pt idx="4108">
                  <c:v>94</c:v>
                </c:pt>
                <c:pt idx="4109">
                  <c:v>93</c:v>
                </c:pt>
                <c:pt idx="4110">
                  <c:v>478</c:v>
                </c:pt>
                <c:pt idx="4111">
                  <c:v>430</c:v>
                </c:pt>
                <c:pt idx="4112">
                  <c:v>239</c:v>
                </c:pt>
                <c:pt idx="4113">
                  <c:v>251</c:v>
                </c:pt>
                <c:pt idx="4114">
                  <c:v>244</c:v>
                </c:pt>
                <c:pt idx="4115">
                  <c:v>223</c:v>
                </c:pt>
                <c:pt idx="4116">
                  <c:v>224</c:v>
                </c:pt>
                <c:pt idx="4117">
                  <c:v>256</c:v>
                </c:pt>
                <c:pt idx="4118">
                  <c:v>250</c:v>
                </c:pt>
                <c:pt idx="4119">
                  <c:v>274</c:v>
                </c:pt>
                <c:pt idx="4120">
                  <c:v>238</c:v>
                </c:pt>
                <c:pt idx="4121">
                  <c:v>229</c:v>
                </c:pt>
                <c:pt idx="4122">
                  <c:v>276</c:v>
                </c:pt>
                <c:pt idx="4123">
                  <c:v>253</c:v>
                </c:pt>
                <c:pt idx="4124">
                  <c:v>259</c:v>
                </c:pt>
                <c:pt idx="4125">
                  <c:v>249</c:v>
                </c:pt>
                <c:pt idx="4126">
                  <c:v>257</c:v>
                </c:pt>
                <c:pt idx="4127">
                  <c:v>253</c:v>
                </c:pt>
                <c:pt idx="4128">
                  <c:v>224</c:v>
                </c:pt>
                <c:pt idx="4129">
                  <c:v>223</c:v>
                </c:pt>
                <c:pt idx="4130">
                  <c:v>266</c:v>
                </c:pt>
                <c:pt idx="4131">
                  <c:v>228</c:v>
                </c:pt>
                <c:pt idx="4132">
                  <c:v>217</c:v>
                </c:pt>
                <c:pt idx="4133">
                  <c:v>198</c:v>
                </c:pt>
                <c:pt idx="4134">
                  <c:v>216</c:v>
                </c:pt>
                <c:pt idx="4135">
                  <c:v>182</c:v>
                </c:pt>
                <c:pt idx="4136">
                  <c:v>208</c:v>
                </c:pt>
                <c:pt idx="4137">
                  <c:v>195</c:v>
                </c:pt>
                <c:pt idx="4138">
                  <c:v>215</c:v>
                </c:pt>
                <c:pt idx="4139">
                  <c:v>214</c:v>
                </c:pt>
                <c:pt idx="4140">
                  <c:v>209</c:v>
                </c:pt>
                <c:pt idx="4141">
                  <c:v>219</c:v>
                </c:pt>
                <c:pt idx="4142">
                  <c:v>198</c:v>
                </c:pt>
                <c:pt idx="4143">
                  <c:v>188</c:v>
                </c:pt>
                <c:pt idx="4144">
                  <c:v>184</c:v>
                </c:pt>
                <c:pt idx="4145">
                  <c:v>177</c:v>
                </c:pt>
                <c:pt idx="4146">
                  <c:v>184</c:v>
                </c:pt>
                <c:pt idx="4147">
                  <c:v>170</c:v>
                </c:pt>
                <c:pt idx="4148">
                  <c:v>181</c:v>
                </c:pt>
                <c:pt idx="4149">
                  <c:v>191</c:v>
                </c:pt>
                <c:pt idx="4150">
                  <c:v>166</c:v>
                </c:pt>
                <c:pt idx="4151">
                  <c:v>177</c:v>
                </c:pt>
                <c:pt idx="4152">
                  <c:v>161</c:v>
                </c:pt>
                <c:pt idx="4153">
                  <c:v>172</c:v>
                </c:pt>
                <c:pt idx="4154">
                  <c:v>271</c:v>
                </c:pt>
                <c:pt idx="4155">
                  <c:v>152</c:v>
                </c:pt>
                <c:pt idx="4156">
                  <c:v>153</c:v>
                </c:pt>
                <c:pt idx="4157">
                  <c:v>119</c:v>
                </c:pt>
                <c:pt idx="4158">
                  <c:v>149</c:v>
                </c:pt>
                <c:pt idx="4159">
                  <c:v>148</c:v>
                </c:pt>
                <c:pt idx="4160">
                  <c:v>138</c:v>
                </c:pt>
                <c:pt idx="4161">
                  <c:v>149</c:v>
                </c:pt>
                <c:pt idx="4162">
                  <c:v>147</c:v>
                </c:pt>
                <c:pt idx="4163">
                  <c:v>137</c:v>
                </c:pt>
                <c:pt idx="4164">
                  <c:v>143</c:v>
                </c:pt>
                <c:pt idx="4165">
                  <c:v>160</c:v>
                </c:pt>
                <c:pt idx="4166">
                  <c:v>156</c:v>
                </c:pt>
                <c:pt idx="4167">
                  <c:v>127</c:v>
                </c:pt>
                <c:pt idx="4168">
                  <c:v>131</c:v>
                </c:pt>
                <c:pt idx="4169">
                  <c:v>134</c:v>
                </c:pt>
                <c:pt idx="4170">
                  <c:v>120</c:v>
                </c:pt>
                <c:pt idx="4171">
                  <c:v>145</c:v>
                </c:pt>
                <c:pt idx="4172">
                  <c:v>132</c:v>
                </c:pt>
                <c:pt idx="4173">
                  <c:v>129</c:v>
                </c:pt>
                <c:pt idx="4174">
                  <c:v>124</c:v>
                </c:pt>
                <c:pt idx="4175">
                  <c:v>134</c:v>
                </c:pt>
                <c:pt idx="4176">
                  <c:v>137</c:v>
                </c:pt>
                <c:pt idx="4177">
                  <c:v>136</c:v>
                </c:pt>
                <c:pt idx="4178">
                  <c:v>125</c:v>
                </c:pt>
                <c:pt idx="4179">
                  <c:v>137</c:v>
                </c:pt>
                <c:pt idx="4180">
                  <c:v>128</c:v>
                </c:pt>
                <c:pt idx="4181">
                  <c:v>119</c:v>
                </c:pt>
                <c:pt idx="4182">
                  <c:v>126</c:v>
                </c:pt>
                <c:pt idx="4183">
                  <c:v>127</c:v>
                </c:pt>
                <c:pt idx="4184">
                  <c:v>124</c:v>
                </c:pt>
                <c:pt idx="4185">
                  <c:v>140</c:v>
                </c:pt>
                <c:pt idx="4186">
                  <c:v>124</c:v>
                </c:pt>
                <c:pt idx="4187">
                  <c:v>140</c:v>
                </c:pt>
                <c:pt idx="4188">
                  <c:v>128</c:v>
                </c:pt>
                <c:pt idx="4189">
                  <c:v>136</c:v>
                </c:pt>
                <c:pt idx="4190">
                  <c:v>129</c:v>
                </c:pt>
                <c:pt idx="4191">
                  <c:v>161</c:v>
                </c:pt>
                <c:pt idx="4192">
                  <c:v>182</c:v>
                </c:pt>
                <c:pt idx="4193">
                  <c:v>212</c:v>
                </c:pt>
                <c:pt idx="4194">
                  <c:v>285</c:v>
                </c:pt>
                <c:pt idx="4195">
                  <c:v>225</c:v>
                </c:pt>
                <c:pt idx="4196">
                  <c:v>214</c:v>
                </c:pt>
                <c:pt idx="4197">
                  <c:v>255</c:v>
                </c:pt>
                <c:pt idx="4198">
                  <c:v>258</c:v>
                </c:pt>
                <c:pt idx="4199">
                  <c:v>263</c:v>
                </c:pt>
                <c:pt idx="4200">
                  <c:v>256</c:v>
                </c:pt>
                <c:pt idx="4201">
                  <c:v>241</c:v>
                </c:pt>
                <c:pt idx="4202">
                  <c:v>240</c:v>
                </c:pt>
                <c:pt idx="4203">
                  <c:v>259</c:v>
                </c:pt>
                <c:pt idx="4204">
                  <c:v>284</c:v>
                </c:pt>
                <c:pt idx="4205">
                  <c:v>303</c:v>
                </c:pt>
                <c:pt idx="4206">
                  <c:v>240</c:v>
                </c:pt>
                <c:pt idx="4207">
                  <c:v>269</c:v>
                </c:pt>
                <c:pt idx="4208">
                  <c:v>237</c:v>
                </c:pt>
                <c:pt idx="4209">
                  <c:v>275</c:v>
                </c:pt>
                <c:pt idx="4210">
                  <c:v>263</c:v>
                </c:pt>
                <c:pt idx="4211">
                  <c:v>288</c:v>
                </c:pt>
                <c:pt idx="4212">
                  <c:v>298</c:v>
                </c:pt>
                <c:pt idx="4213">
                  <c:v>282</c:v>
                </c:pt>
                <c:pt idx="4214">
                  <c:v>295</c:v>
                </c:pt>
                <c:pt idx="4215">
                  <c:v>325</c:v>
                </c:pt>
                <c:pt idx="4216">
                  <c:v>316</c:v>
                </c:pt>
                <c:pt idx="4217">
                  <c:v>332</c:v>
                </c:pt>
                <c:pt idx="4218">
                  <c:v>339</c:v>
                </c:pt>
                <c:pt idx="4219">
                  <c:v>348</c:v>
                </c:pt>
                <c:pt idx="4220">
                  <c:v>359</c:v>
                </c:pt>
                <c:pt idx="4221">
                  <c:v>327</c:v>
                </c:pt>
                <c:pt idx="4222">
                  <c:v>339</c:v>
                </c:pt>
                <c:pt idx="4223">
                  <c:v>312</c:v>
                </c:pt>
                <c:pt idx="4224">
                  <c:v>327</c:v>
                </c:pt>
                <c:pt idx="4225">
                  <c:v>318</c:v>
                </c:pt>
                <c:pt idx="4226">
                  <c:v>362</c:v>
                </c:pt>
                <c:pt idx="4227">
                  <c:v>327</c:v>
                </c:pt>
                <c:pt idx="4228">
                  <c:v>322</c:v>
                </c:pt>
                <c:pt idx="4229">
                  <c:v>331</c:v>
                </c:pt>
                <c:pt idx="4230">
                  <c:v>354</c:v>
                </c:pt>
                <c:pt idx="4231">
                  <c:v>325</c:v>
                </c:pt>
                <c:pt idx="4232">
                  <c:v>316</c:v>
                </c:pt>
                <c:pt idx="4233">
                  <c:v>320</c:v>
                </c:pt>
                <c:pt idx="4234">
                  <c:v>315</c:v>
                </c:pt>
                <c:pt idx="4235">
                  <c:v>321</c:v>
                </c:pt>
                <c:pt idx="4236">
                  <c:v>344</c:v>
                </c:pt>
                <c:pt idx="4237">
                  <c:v>325</c:v>
                </c:pt>
                <c:pt idx="4238">
                  <c:v>321</c:v>
                </c:pt>
                <c:pt idx="4239">
                  <c:v>307</c:v>
                </c:pt>
                <c:pt idx="4240">
                  <c:v>238</c:v>
                </c:pt>
                <c:pt idx="4241">
                  <c:v>218</c:v>
                </c:pt>
                <c:pt idx="4242">
                  <c:v>146</c:v>
                </c:pt>
                <c:pt idx="4243">
                  <c:v>136</c:v>
                </c:pt>
                <c:pt idx="4244">
                  <c:v>155</c:v>
                </c:pt>
                <c:pt idx="4245">
                  <c:v>152</c:v>
                </c:pt>
                <c:pt idx="4246">
                  <c:v>153</c:v>
                </c:pt>
                <c:pt idx="4247">
                  <c:v>153</c:v>
                </c:pt>
                <c:pt idx="4248">
                  <c:v>156</c:v>
                </c:pt>
                <c:pt idx="4249">
                  <c:v>151</c:v>
                </c:pt>
                <c:pt idx="4250">
                  <c:v>151</c:v>
                </c:pt>
                <c:pt idx="4251">
                  <c:v>157</c:v>
                </c:pt>
                <c:pt idx="4252">
                  <c:v>151</c:v>
                </c:pt>
                <c:pt idx="4253">
                  <c:v>150</c:v>
                </c:pt>
                <c:pt idx="4254">
                  <c:v>151</c:v>
                </c:pt>
                <c:pt idx="4255">
                  <c:v>143</c:v>
                </c:pt>
                <c:pt idx="4256">
                  <c:v>131</c:v>
                </c:pt>
                <c:pt idx="4257">
                  <c:v>114</c:v>
                </c:pt>
                <c:pt idx="4258">
                  <c:v>146</c:v>
                </c:pt>
                <c:pt idx="4259">
                  <c:v>127</c:v>
                </c:pt>
                <c:pt idx="4260">
                  <c:v>118</c:v>
                </c:pt>
                <c:pt idx="4261">
                  <c:v>147</c:v>
                </c:pt>
                <c:pt idx="4262">
                  <c:v>125</c:v>
                </c:pt>
                <c:pt idx="4263">
                  <c:v>109</c:v>
                </c:pt>
                <c:pt idx="4264">
                  <c:v>129</c:v>
                </c:pt>
                <c:pt idx="4265">
                  <c:v>112</c:v>
                </c:pt>
                <c:pt idx="4266">
                  <c:v>97</c:v>
                </c:pt>
                <c:pt idx="4267">
                  <c:v>96</c:v>
                </c:pt>
                <c:pt idx="4268">
                  <c:v>109</c:v>
                </c:pt>
                <c:pt idx="4269">
                  <c:v>98</c:v>
                </c:pt>
                <c:pt idx="4270">
                  <c:v>103</c:v>
                </c:pt>
                <c:pt idx="4271">
                  <c:v>94</c:v>
                </c:pt>
                <c:pt idx="4272">
                  <c:v>106</c:v>
                </c:pt>
                <c:pt idx="4273">
                  <c:v>113</c:v>
                </c:pt>
                <c:pt idx="4274">
                  <c:v>127</c:v>
                </c:pt>
                <c:pt idx="4275">
                  <c:v>104</c:v>
                </c:pt>
                <c:pt idx="4276">
                  <c:v>90</c:v>
                </c:pt>
                <c:pt idx="4277">
                  <c:v>114</c:v>
                </c:pt>
                <c:pt idx="4278">
                  <c:v>106</c:v>
                </c:pt>
                <c:pt idx="4279">
                  <c:v>78</c:v>
                </c:pt>
                <c:pt idx="4280">
                  <c:v>102</c:v>
                </c:pt>
                <c:pt idx="4281">
                  <c:v>109</c:v>
                </c:pt>
                <c:pt idx="4282">
                  <c:v>104</c:v>
                </c:pt>
                <c:pt idx="4283">
                  <c:v>111</c:v>
                </c:pt>
                <c:pt idx="4284">
                  <c:v>104</c:v>
                </c:pt>
                <c:pt idx="4285">
                  <c:v>99</c:v>
                </c:pt>
                <c:pt idx="4286">
                  <c:v>115</c:v>
                </c:pt>
                <c:pt idx="4287">
                  <c:v>113</c:v>
                </c:pt>
                <c:pt idx="4288">
                  <c:v>119</c:v>
                </c:pt>
                <c:pt idx="4289">
                  <c:v>215</c:v>
                </c:pt>
                <c:pt idx="4290">
                  <c:v>204</c:v>
                </c:pt>
                <c:pt idx="4291">
                  <c:v>237</c:v>
                </c:pt>
                <c:pt idx="4292">
                  <c:v>298</c:v>
                </c:pt>
                <c:pt idx="4293">
                  <c:v>204</c:v>
                </c:pt>
                <c:pt idx="4294">
                  <c:v>215</c:v>
                </c:pt>
                <c:pt idx="4295">
                  <c:v>227</c:v>
                </c:pt>
                <c:pt idx="4296">
                  <c:v>276</c:v>
                </c:pt>
                <c:pt idx="4297">
                  <c:v>266</c:v>
                </c:pt>
                <c:pt idx="4298">
                  <c:v>277</c:v>
                </c:pt>
                <c:pt idx="4299">
                  <c:v>281</c:v>
                </c:pt>
                <c:pt idx="4300">
                  <c:v>235</c:v>
                </c:pt>
                <c:pt idx="4301">
                  <c:v>252</c:v>
                </c:pt>
                <c:pt idx="4302">
                  <c:v>270</c:v>
                </c:pt>
                <c:pt idx="4303">
                  <c:v>290</c:v>
                </c:pt>
                <c:pt idx="4304">
                  <c:v>302</c:v>
                </c:pt>
                <c:pt idx="4305">
                  <c:v>355</c:v>
                </c:pt>
                <c:pt idx="4306">
                  <c:v>320</c:v>
                </c:pt>
                <c:pt idx="4307">
                  <c:v>345</c:v>
                </c:pt>
                <c:pt idx="4308">
                  <c:v>471</c:v>
                </c:pt>
                <c:pt idx="4309">
                  <c:v>469</c:v>
                </c:pt>
                <c:pt idx="4310">
                  <c:v>397</c:v>
                </c:pt>
                <c:pt idx="4311">
                  <c:v>493</c:v>
                </c:pt>
                <c:pt idx="4312">
                  <c:v>452</c:v>
                </c:pt>
                <c:pt idx="4313">
                  <c:v>427</c:v>
                </c:pt>
                <c:pt idx="4314">
                  <c:v>450</c:v>
                </c:pt>
                <c:pt idx="4315">
                  <c:v>395</c:v>
                </c:pt>
                <c:pt idx="4316">
                  <c:v>432</c:v>
                </c:pt>
                <c:pt idx="4317">
                  <c:v>364</c:v>
                </c:pt>
                <c:pt idx="4318">
                  <c:v>373</c:v>
                </c:pt>
                <c:pt idx="4319">
                  <c:v>388</c:v>
                </c:pt>
                <c:pt idx="4320">
                  <c:v>400</c:v>
                </c:pt>
                <c:pt idx="4321">
                  <c:v>407</c:v>
                </c:pt>
                <c:pt idx="4322">
                  <c:v>418</c:v>
                </c:pt>
                <c:pt idx="4323">
                  <c:v>450</c:v>
                </c:pt>
                <c:pt idx="4324">
                  <c:v>448</c:v>
                </c:pt>
                <c:pt idx="4325">
                  <c:v>474</c:v>
                </c:pt>
                <c:pt idx="4326">
                  <c:v>427</c:v>
                </c:pt>
                <c:pt idx="4327">
                  <c:v>422</c:v>
                </c:pt>
                <c:pt idx="4328">
                  <c:v>411</c:v>
                </c:pt>
                <c:pt idx="4329">
                  <c:v>377</c:v>
                </c:pt>
                <c:pt idx="4330">
                  <c:v>400</c:v>
                </c:pt>
                <c:pt idx="4331">
                  <c:v>362</c:v>
                </c:pt>
                <c:pt idx="4332">
                  <c:v>394</c:v>
                </c:pt>
                <c:pt idx="4333">
                  <c:v>384</c:v>
                </c:pt>
                <c:pt idx="4334">
                  <c:v>412</c:v>
                </c:pt>
                <c:pt idx="4335">
                  <c:v>415</c:v>
                </c:pt>
                <c:pt idx="4336">
                  <c:v>314</c:v>
                </c:pt>
                <c:pt idx="4337">
                  <c:v>242</c:v>
                </c:pt>
                <c:pt idx="4338">
                  <c:v>212</c:v>
                </c:pt>
                <c:pt idx="4339">
                  <c:v>199</c:v>
                </c:pt>
                <c:pt idx="4340">
                  <c:v>225</c:v>
                </c:pt>
                <c:pt idx="4341">
                  <c:v>250</c:v>
                </c:pt>
                <c:pt idx="4342">
                  <c:v>250</c:v>
                </c:pt>
                <c:pt idx="4343">
                  <c:v>278</c:v>
                </c:pt>
                <c:pt idx="4344">
                  <c:v>245</c:v>
                </c:pt>
                <c:pt idx="4345">
                  <c:v>206</c:v>
                </c:pt>
                <c:pt idx="4346">
                  <c:v>210</c:v>
                </c:pt>
                <c:pt idx="4347">
                  <c:v>215</c:v>
                </c:pt>
                <c:pt idx="4348">
                  <c:v>173</c:v>
                </c:pt>
                <c:pt idx="4349">
                  <c:v>206</c:v>
                </c:pt>
                <c:pt idx="4350">
                  <c:v>168</c:v>
                </c:pt>
                <c:pt idx="4351">
                  <c:v>158</c:v>
                </c:pt>
                <c:pt idx="4352">
                  <c:v>180</c:v>
                </c:pt>
                <c:pt idx="4353">
                  <c:v>144</c:v>
                </c:pt>
                <c:pt idx="4354">
                  <c:v>166</c:v>
                </c:pt>
                <c:pt idx="4355">
                  <c:v>184</c:v>
                </c:pt>
                <c:pt idx="4356">
                  <c:v>152</c:v>
                </c:pt>
                <c:pt idx="4357">
                  <c:v>164</c:v>
                </c:pt>
                <c:pt idx="4358">
                  <c:v>129</c:v>
                </c:pt>
                <c:pt idx="4359">
                  <c:v>140</c:v>
                </c:pt>
                <c:pt idx="4360">
                  <c:v>155</c:v>
                </c:pt>
                <c:pt idx="4361">
                  <c:v>129</c:v>
                </c:pt>
                <c:pt idx="4362">
                  <c:v>139</c:v>
                </c:pt>
                <c:pt idx="4363">
                  <c:v>128</c:v>
                </c:pt>
                <c:pt idx="4364">
                  <c:v>120</c:v>
                </c:pt>
                <c:pt idx="4365">
                  <c:v>130</c:v>
                </c:pt>
                <c:pt idx="4366">
                  <c:v>133</c:v>
                </c:pt>
                <c:pt idx="4367">
                  <c:v>128</c:v>
                </c:pt>
                <c:pt idx="4368">
                  <c:v>116</c:v>
                </c:pt>
                <c:pt idx="4369">
                  <c:v>122</c:v>
                </c:pt>
                <c:pt idx="4370">
                  <c:v>142</c:v>
                </c:pt>
                <c:pt idx="4371">
                  <c:v>129</c:v>
                </c:pt>
                <c:pt idx="4372">
                  <c:v>129</c:v>
                </c:pt>
                <c:pt idx="4373">
                  <c:v>178</c:v>
                </c:pt>
                <c:pt idx="4374">
                  <c:v>134</c:v>
                </c:pt>
                <c:pt idx="4375">
                  <c:v>143</c:v>
                </c:pt>
                <c:pt idx="4376">
                  <c:v>124</c:v>
                </c:pt>
                <c:pt idx="4377">
                  <c:v>138</c:v>
                </c:pt>
                <c:pt idx="4378">
                  <c:v>141</c:v>
                </c:pt>
                <c:pt idx="4379">
                  <c:v>124</c:v>
                </c:pt>
                <c:pt idx="4380">
                  <c:v>122</c:v>
                </c:pt>
                <c:pt idx="4381">
                  <c:v>129</c:v>
                </c:pt>
                <c:pt idx="4382">
                  <c:v>117</c:v>
                </c:pt>
                <c:pt idx="4383">
                  <c:v>153</c:v>
                </c:pt>
                <c:pt idx="4384">
                  <c:v>141</c:v>
                </c:pt>
                <c:pt idx="4385">
                  <c:v>234</c:v>
                </c:pt>
                <c:pt idx="4386">
                  <c:v>238</c:v>
                </c:pt>
                <c:pt idx="4387">
                  <c:v>284</c:v>
                </c:pt>
                <c:pt idx="4388">
                  <c:v>303</c:v>
                </c:pt>
                <c:pt idx="4389">
                  <c:v>240</c:v>
                </c:pt>
                <c:pt idx="4390">
                  <c:v>211</c:v>
                </c:pt>
                <c:pt idx="4391">
                  <c:v>237</c:v>
                </c:pt>
                <c:pt idx="4392">
                  <c:v>279</c:v>
                </c:pt>
                <c:pt idx="4393">
                  <c:v>309</c:v>
                </c:pt>
                <c:pt idx="4394">
                  <c:v>288</c:v>
                </c:pt>
                <c:pt idx="4395">
                  <c:v>278</c:v>
                </c:pt>
                <c:pt idx="4396">
                  <c:v>299</c:v>
                </c:pt>
                <c:pt idx="4397">
                  <c:v>313</c:v>
                </c:pt>
                <c:pt idx="4398">
                  <c:v>344</c:v>
                </c:pt>
                <c:pt idx="4399">
                  <c:v>360</c:v>
                </c:pt>
                <c:pt idx="4400">
                  <c:v>394</c:v>
                </c:pt>
                <c:pt idx="4401">
                  <c:v>406</c:v>
                </c:pt>
                <c:pt idx="4402">
                  <c:v>426</c:v>
                </c:pt>
                <c:pt idx="4403">
                  <c:v>421</c:v>
                </c:pt>
                <c:pt idx="4404">
                  <c:v>434</c:v>
                </c:pt>
                <c:pt idx="4405">
                  <c:v>441</c:v>
                </c:pt>
                <c:pt idx="4406">
                  <c:v>441</c:v>
                </c:pt>
                <c:pt idx="4407">
                  <c:v>410</c:v>
                </c:pt>
                <c:pt idx="4408">
                  <c:v>385</c:v>
                </c:pt>
                <c:pt idx="4409">
                  <c:v>462</c:v>
                </c:pt>
                <c:pt idx="4410">
                  <c:v>449</c:v>
                </c:pt>
                <c:pt idx="4411">
                  <c:v>487</c:v>
                </c:pt>
                <c:pt idx="4412">
                  <c:v>462</c:v>
                </c:pt>
                <c:pt idx="4413">
                  <c:v>461</c:v>
                </c:pt>
                <c:pt idx="4414">
                  <c:v>455</c:v>
                </c:pt>
                <c:pt idx="4415">
                  <c:v>440</c:v>
                </c:pt>
                <c:pt idx="4416">
                  <c:v>493</c:v>
                </c:pt>
                <c:pt idx="4417">
                  <c:v>469</c:v>
                </c:pt>
                <c:pt idx="4418">
                  <c:v>490</c:v>
                </c:pt>
                <c:pt idx="4419">
                  <c:v>488</c:v>
                </c:pt>
                <c:pt idx="4420">
                  <c:v>458</c:v>
                </c:pt>
                <c:pt idx="4421">
                  <c:v>444</c:v>
                </c:pt>
                <c:pt idx="4422">
                  <c:v>501</c:v>
                </c:pt>
                <c:pt idx="4423">
                  <c:v>517</c:v>
                </c:pt>
                <c:pt idx="4424">
                  <c:v>511</c:v>
                </c:pt>
                <c:pt idx="4425">
                  <c:v>491</c:v>
                </c:pt>
                <c:pt idx="4426">
                  <c:v>513</c:v>
                </c:pt>
                <c:pt idx="4427">
                  <c:v>496</c:v>
                </c:pt>
                <c:pt idx="4428">
                  <c:v>515</c:v>
                </c:pt>
                <c:pt idx="4429">
                  <c:v>487</c:v>
                </c:pt>
                <c:pt idx="4430">
                  <c:v>470</c:v>
                </c:pt>
                <c:pt idx="4431">
                  <c:v>477</c:v>
                </c:pt>
                <c:pt idx="4432">
                  <c:v>330</c:v>
                </c:pt>
                <c:pt idx="4433">
                  <c:v>234</c:v>
                </c:pt>
                <c:pt idx="4434">
                  <c:v>204</c:v>
                </c:pt>
                <c:pt idx="4435">
                  <c:v>204</c:v>
                </c:pt>
                <c:pt idx="4436">
                  <c:v>204</c:v>
                </c:pt>
                <c:pt idx="4437">
                  <c:v>205</c:v>
                </c:pt>
                <c:pt idx="4438">
                  <c:v>204</c:v>
                </c:pt>
                <c:pt idx="4439">
                  <c:v>190</c:v>
                </c:pt>
                <c:pt idx="4440">
                  <c:v>185</c:v>
                </c:pt>
                <c:pt idx="4441">
                  <c:v>190</c:v>
                </c:pt>
                <c:pt idx="4442">
                  <c:v>166</c:v>
                </c:pt>
                <c:pt idx="4443">
                  <c:v>197</c:v>
                </c:pt>
                <c:pt idx="4444">
                  <c:v>198</c:v>
                </c:pt>
                <c:pt idx="4445">
                  <c:v>170</c:v>
                </c:pt>
                <c:pt idx="4446">
                  <c:v>186</c:v>
                </c:pt>
                <c:pt idx="4447">
                  <c:v>145</c:v>
                </c:pt>
                <c:pt idx="4448">
                  <c:v>162</c:v>
                </c:pt>
                <c:pt idx="4449">
                  <c:v>139</c:v>
                </c:pt>
                <c:pt idx="4450">
                  <c:v>121</c:v>
                </c:pt>
                <c:pt idx="4451">
                  <c:v>116</c:v>
                </c:pt>
                <c:pt idx="4452">
                  <c:v>116</c:v>
                </c:pt>
                <c:pt idx="4453">
                  <c:v>149</c:v>
                </c:pt>
                <c:pt idx="4454">
                  <c:v>128</c:v>
                </c:pt>
                <c:pt idx="4455">
                  <c:v>141</c:v>
                </c:pt>
                <c:pt idx="4456">
                  <c:v>118</c:v>
                </c:pt>
                <c:pt idx="4457">
                  <c:v>120</c:v>
                </c:pt>
                <c:pt idx="4458">
                  <c:v>121</c:v>
                </c:pt>
                <c:pt idx="4459">
                  <c:v>111</c:v>
                </c:pt>
                <c:pt idx="4460">
                  <c:v>145</c:v>
                </c:pt>
                <c:pt idx="4461">
                  <c:v>126</c:v>
                </c:pt>
                <c:pt idx="4462">
                  <c:v>135</c:v>
                </c:pt>
                <c:pt idx="4463">
                  <c:v>118</c:v>
                </c:pt>
                <c:pt idx="4464">
                  <c:v>96</c:v>
                </c:pt>
                <c:pt idx="4465">
                  <c:v>103</c:v>
                </c:pt>
                <c:pt idx="4466">
                  <c:v>138</c:v>
                </c:pt>
                <c:pt idx="4467">
                  <c:v>132</c:v>
                </c:pt>
                <c:pt idx="4468">
                  <c:v>106</c:v>
                </c:pt>
                <c:pt idx="4469">
                  <c:v>136</c:v>
                </c:pt>
                <c:pt idx="4470">
                  <c:v>114</c:v>
                </c:pt>
                <c:pt idx="4471">
                  <c:v>134</c:v>
                </c:pt>
                <c:pt idx="4472">
                  <c:v>117</c:v>
                </c:pt>
                <c:pt idx="4473">
                  <c:v>113</c:v>
                </c:pt>
                <c:pt idx="4474">
                  <c:v>115</c:v>
                </c:pt>
                <c:pt idx="4475">
                  <c:v>119</c:v>
                </c:pt>
                <c:pt idx="4476">
                  <c:v>149</c:v>
                </c:pt>
                <c:pt idx="4477">
                  <c:v>131</c:v>
                </c:pt>
                <c:pt idx="4478">
                  <c:v>145</c:v>
                </c:pt>
                <c:pt idx="4479">
                  <c:v>143</c:v>
                </c:pt>
                <c:pt idx="4480">
                  <c:v>171</c:v>
                </c:pt>
                <c:pt idx="4481">
                  <c:v>241</c:v>
                </c:pt>
                <c:pt idx="4482">
                  <c:v>239</c:v>
                </c:pt>
                <c:pt idx="4483">
                  <c:v>273</c:v>
                </c:pt>
                <c:pt idx="4484">
                  <c:v>332</c:v>
                </c:pt>
                <c:pt idx="4485">
                  <c:v>250</c:v>
                </c:pt>
                <c:pt idx="4486">
                  <c:v>281</c:v>
                </c:pt>
                <c:pt idx="4487">
                  <c:v>298</c:v>
                </c:pt>
                <c:pt idx="4488">
                  <c:v>329</c:v>
                </c:pt>
                <c:pt idx="4489">
                  <c:v>353</c:v>
                </c:pt>
                <c:pt idx="4490">
                  <c:v>313</c:v>
                </c:pt>
                <c:pt idx="4491">
                  <c:v>300</c:v>
                </c:pt>
                <c:pt idx="4492">
                  <c:v>380</c:v>
                </c:pt>
                <c:pt idx="4493">
                  <c:v>383</c:v>
                </c:pt>
                <c:pt idx="4494">
                  <c:v>430</c:v>
                </c:pt>
                <c:pt idx="4495">
                  <c:v>448</c:v>
                </c:pt>
                <c:pt idx="4496">
                  <c:v>432</c:v>
                </c:pt>
                <c:pt idx="4497">
                  <c:v>424</c:v>
                </c:pt>
                <c:pt idx="4498">
                  <c:v>421</c:v>
                </c:pt>
                <c:pt idx="4499">
                  <c:v>447</c:v>
                </c:pt>
                <c:pt idx="4500">
                  <c:v>469</c:v>
                </c:pt>
                <c:pt idx="4501">
                  <c:v>580</c:v>
                </c:pt>
                <c:pt idx="4502">
                  <c:v>401</c:v>
                </c:pt>
                <c:pt idx="4503">
                  <c:v>497</c:v>
                </c:pt>
                <c:pt idx="4504">
                  <c:v>409</c:v>
                </c:pt>
                <c:pt idx="4505">
                  <c:v>367</c:v>
                </c:pt>
                <c:pt idx="4506">
                  <c:v>357</c:v>
                </c:pt>
                <c:pt idx="4507">
                  <c:v>420</c:v>
                </c:pt>
                <c:pt idx="4508">
                  <c:v>486</c:v>
                </c:pt>
                <c:pt idx="4509">
                  <c:v>493</c:v>
                </c:pt>
                <c:pt idx="4510">
                  <c:v>543</c:v>
                </c:pt>
                <c:pt idx="4511">
                  <c:v>378</c:v>
                </c:pt>
                <c:pt idx="4512">
                  <c:v>347</c:v>
                </c:pt>
                <c:pt idx="4513">
                  <c:v>400</c:v>
                </c:pt>
                <c:pt idx="4514">
                  <c:v>482</c:v>
                </c:pt>
                <c:pt idx="4515">
                  <c:v>397</c:v>
                </c:pt>
                <c:pt idx="4516">
                  <c:v>465</c:v>
                </c:pt>
                <c:pt idx="4517">
                  <c:v>520</c:v>
                </c:pt>
                <c:pt idx="4518">
                  <c:v>504</c:v>
                </c:pt>
                <c:pt idx="4519">
                  <c:v>394</c:v>
                </c:pt>
                <c:pt idx="4520">
                  <c:v>441</c:v>
                </c:pt>
                <c:pt idx="4521">
                  <c:v>531</c:v>
                </c:pt>
                <c:pt idx="4522">
                  <c:v>509</c:v>
                </c:pt>
                <c:pt idx="4523">
                  <c:v>548</c:v>
                </c:pt>
                <c:pt idx="4524">
                  <c:v>481</c:v>
                </c:pt>
                <c:pt idx="4525">
                  <c:v>422</c:v>
                </c:pt>
                <c:pt idx="4526">
                  <c:v>413</c:v>
                </c:pt>
                <c:pt idx="4527">
                  <c:v>472</c:v>
                </c:pt>
                <c:pt idx="4528">
                  <c:v>317</c:v>
                </c:pt>
                <c:pt idx="4529">
                  <c:v>281</c:v>
                </c:pt>
                <c:pt idx="4530">
                  <c:v>192</c:v>
                </c:pt>
                <c:pt idx="4531">
                  <c:v>183</c:v>
                </c:pt>
                <c:pt idx="4532">
                  <c:v>190</c:v>
                </c:pt>
                <c:pt idx="4533">
                  <c:v>253</c:v>
                </c:pt>
                <c:pt idx="4534">
                  <c:v>218</c:v>
                </c:pt>
                <c:pt idx="4535">
                  <c:v>188</c:v>
                </c:pt>
                <c:pt idx="4536">
                  <c:v>216</c:v>
                </c:pt>
                <c:pt idx="4537">
                  <c:v>230</c:v>
                </c:pt>
                <c:pt idx="4538">
                  <c:v>190</c:v>
                </c:pt>
                <c:pt idx="4539">
                  <c:v>223</c:v>
                </c:pt>
                <c:pt idx="4540">
                  <c:v>212</c:v>
                </c:pt>
                <c:pt idx="4541">
                  <c:v>169</c:v>
                </c:pt>
                <c:pt idx="4542">
                  <c:v>149</c:v>
                </c:pt>
                <c:pt idx="4543">
                  <c:v>166</c:v>
                </c:pt>
                <c:pt idx="4544">
                  <c:v>152</c:v>
                </c:pt>
                <c:pt idx="4545">
                  <c:v>117</c:v>
                </c:pt>
                <c:pt idx="4546">
                  <c:v>144</c:v>
                </c:pt>
                <c:pt idx="4547">
                  <c:v>135</c:v>
                </c:pt>
                <c:pt idx="4548">
                  <c:v>150</c:v>
                </c:pt>
                <c:pt idx="4549">
                  <c:v>132</c:v>
                </c:pt>
                <c:pt idx="4550">
                  <c:v>141</c:v>
                </c:pt>
                <c:pt idx="4551">
                  <c:v>167</c:v>
                </c:pt>
                <c:pt idx="4552">
                  <c:v>119</c:v>
                </c:pt>
                <c:pt idx="4553">
                  <c:v>154</c:v>
                </c:pt>
                <c:pt idx="4554">
                  <c:v>126</c:v>
                </c:pt>
                <c:pt idx="4555">
                  <c:v>99</c:v>
                </c:pt>
                <c:pt idx="4556">
                  <c:v>99</c:v>
                </c:pt>
                <c:pt idx="4557">
                  <c:v>165</c:v>
                </c:pt>
                <c:pt idx="4558">
                  <c:v>138</c:v>
                </c:pt>
                <c:pt idx="4559">
                  <c:v>113</c:v>
                </c:pt>
                <c:pt idx="4560">
                  <c:v>124</c:v>
                </c:pt>
                <c:pt idx="4561">
                  <c:v>119</c:v>
                </c:pt>
                <c:pt idx="4562">
                  <c:v>114</c:v>
                </c:pt>
                <c:pt idx="4563">
                  <c:v>120</c:v>
                </c:pt>
                <c:pt idx="4564">
                  <c:v>106</c:v>
                </c:pt>
                <c:pt idx="4565">
                  <c:v>142</c:v>
                </c:pt>
                <c:pt idx="4566">
                  <c:v>157</c:v>
                </c:pt>
                <c:pt idx="4567">
                  <c:v>153</c:v>
                </c:pt>
                <c:pt idx="4568">
                  <c:v>183</c:v>
                </c:pt>
                <c:pt idx="4569">
                  <c:v>162</c:v>
                </c:pt>
                <c:pt idx="4570">
                  <c:v>188</c:v>
                </c:pt>
                <c:pt idx="4571">
                  <c:v>173</c:v>
                </c:pt>
                <c:pt idx="4572">
                  <c:v>224</c:v>
                </c:pt>
                <c:pt idx="4573">
                  <c:v>247</c:v>
                </c:pt>
                <c:pt idx="4574">
                  <c:v>300</c:v>
                </c:pt>
                <c:pt idx="4575">
                  <c:v>303</c:v>
                </c:pt>
                <c:pt idx="4576">
                  <c:v>240</c:v>
                </c:pt>
                <c:pt idx="4577">
                  <c:v>257</c:v>
                </c:pt>
                <c:pt idx="4578">
                  <c:v>242</c:v>
                </c:pt>
                <c:pt idx="4579">
                  <c:v>299</c:v>
                </c:pt>
                <c:pt idx="4580">
                  <c:v>324</c:v>
                </c:pt>
                <c:pt idx="4581">
                  <c:v>299</c:v>
                </c:pt>
                <c:pt idx="4582">
                  <c:v>295</c:v>
                </c:pt>
                <c:pt idx="4583">
                  <c:v>297</c:v>
                </c:pt>
                <c:pt idx="4584">
                  <c:v>296</c:v>
                </c:pt>
                <c:pt idx="4585">
                  <c:v>267</c:v>
                </c:pt>
                <c:pt idx="4586">
                  <c:v>300</c:v>
                </c:pt>
                <c:pt idx="4587">
                  <c:v>290</c:v>
                </c:pt>
                <c:pt idx="4588">
                  <c:v>321</c:v>
                </c:pt>
                <c:pt idx="4589">
                  <c:v>382</c:v>
                </c:pt>
                <c:pt idx="4590">
                  <c:v>365</c:v>
                </c:pt>
                <c:pt idx="4591">
                  <c:v>369</c:v>
                </c:pt>
                <c:pt idx="4592">
                  <c:v>334</c:v>
                </c:pt>
                <c:pt idx="4593">
                  <c:v>342</c:v>
                </c:pt>
                <c:pt idx="4594">
                  <c:v>392</c:v>
                </c:pt>
                <c:pt idx="4595">
                  <c:v>388</c:v>
                </c:pt>
                <c:pt idx="4596">
                  <c:v>373</c:v>
                </c:pt>
                <c:pt idx="4597">
                  <c:v>414</c:v>
                </c:pt>
                <c:pt idx="4598">
                  <c:v>367</c:v>
                </c:pt>
                <c:pt idx="4599">
                  <c:v>366</c:v>
                </c:pt>
                <c:pt idx="4600">
                  <c:v>376</c:v>
                </c:pt>
                <c:pt idx="4601">
                  <c:v>472</c:v>
                </c:pt>
                <c:pt idx="4602">
                  <c:v>412</c:v>
                </c:pt>
                <c:pt idx="4603">
                  <c:v>408</c:v>
                </c:pt>
                <c:pt idx="4604">
                  <c:v>403</c:v>
                </c:pt>
                <c:pt idx="4605">
                  <c:v>442</c:v>
                </c:pt>
                <c:pt idx="4606">
                  <c:v>387</c:v>
                </c:pt>
                <c:pt idx="4607">
                  <c:v>362</c:v>
                </c:pt>
                <c:pt idx="4608">
                  <c:v>406</c:v>
                </c:pt>
                <c:pt idx="4609">
                  <c:v>397</c:v>
                </c:pt>
                <c:pt idx="4610">
                  <c:v>344</c:v>
                </c:pt>
                <c:pt idx="4611">
                  <c:v>419</c:v>
                </c:pt>
                <c:pt idx="4612">
                  <c:v>391</c:v>
                </c:pt>
                <c:pt idx="4613">
                  <c:v>329</c:v>
                </c:pt>
                <c:pt idx="4614">
                  <c:v>344</c:v>
                </c:pt>
                <c:pt idx="4615">
                  <c:v>335</c:v>
                </c:pt>
                <c:pt idx="4616">
                  <c:v>332</c:v>
                </c:pt>
                <c:pt idx="4617">
                  <c:v>295</c:v>
                </c:pt>
                <c:pt idx="4618">
                  <c:v>371</c:v>
                </c:pt>
                <c:pt idx="4619">
                  <c:v>361</c:v>
                </c:pt>
                <c:pt idx="4620">
                  <c:v>240</c:v>
                </c:pt>
                <c:pt idx="4621">
                  <c:v>166</c:v>
                </c:pt>
                <c:pt idx="4622">
                  <c:v>153</c:v>
                </c:pt>
                <c:pt idx="4623">
                  <c:v>142</c:v>
                </c:pt>
                <c:pt idx="4624">
                  <c:v>154</c:v>
                </c:pt>
                <c:pt idx="4625">
                  <c:v>196</c:v>
                </c:pt>
                <c:pt idx="4626">
                  <c:v>171</c:v>
                </c:pt>
                <c:pt idx="4627">
                  <c:v>162</c:v>
                </c:pt>
                <c:pt idx="4628">
                  <c:v>170</c:v>
                </c:pt>
                <c:pt idx="4629">
                  <c:v>151</c:v>
                </c:pt>
                <c:pt idx="4630">
                  <c:v>152</c:v>
                </c:pt>
                <c:pt idx="4631">
                  <c:v>167</c:v>
                </c:pt>
                <c:pt idx="4632">
                  <c:v>143</c:v>
                </c:pt>
                <c:pt idx="4633">
                  <c:v>157</c:v>
                </c:pt>
                <c:pt idx="4634">
                  <c:v>119</c:v>
                </c:pt>
                <c:pt idx="4635">
                  <c:v>107</c:v>
                </c:pt>
                <c:pt idx="4636">
                  <c:v>107</c:v>
                </c:pt>
                <c:pt idx="4637">
                  <c:v>101</c:v>
                </c:pt>
                <c:pt idx="4638">
                  <c:v>109</c:v>
                </c:pt>
                <c:pt idx="4639">
                  <c:v>100</c:v>
                </c:pt>
                <c:pt idx="4640">
                  <c:v>102</c:v>
                </c:pt>
                <c:pt idx="4641">
                  <c:v>98</c:v>
                </c:pt>
                <c:pt idx="4642">
                  <c:v>93</c:v>
                </c:pt>
                <c:pt idx="4643">
                  <c:v>113</c:v>
                </c:pt>
                <c:pt idx="4644">
                  <c:v>84</c:v>
                </c:pt>
                <c:pt idx="4645">
                  <c:v>110</c:v>
                </c:pt>
                <c:pt idx="4646">
                  <c:v>57</c:v>
                </c:pt>
                <c:pt idx="4647">
                  <c:v>55</c:v>
                </c:pt>
                <c:pt idx="4648">
                  <c:v>64</c:v>
                </c:pt>
                <c:pt idx="4649">
                  <c:v>63</c:v>
                </c:pt>
                <c:pt idx="4650">
                  <c:v>65</c:v>
                </c:pt>
                <c:pt idx="4651">
                  <c:v>227</c:v>
                </c:pt>
                <c:pt idx="4652">
                  <c:v>726</c:v>
                </c:pt>
                <c:pt idx="4653">
                  <c:v>412</c:v>
                </c:pt>
                <c:pt idx="4654">
                  <c:v>329</c:v>
                </c:pt>
                <c:pt idx="4655">
                  <c:v>244</c:v>
                </c:pt>
                <c:pt idx="4656">
                  <c:v>305</c:v>
                </c:pt>
                <c:pt idx="4657">
                  <c:v>296</c:v>
                </c:pt>
                <c:pt idx="4658">
                  <c:v>281</c:v>
                </c:pt>
                <c:pt idx="4659">
                  <c:v>250</c:v>
                </c:pt>
                <c:pt idx="4660">
                  <c:v>266</c:v>
                </c:pt>
                <c:pt idx="4661">
                  <c:v>256</c:v>
                </c:pt>
                <c:pt idx="4662">
                  <c:v>268</c:v>
                </c:pt>
                <c:pt idx="4663">
                  <c:v>238</c:v>
                </c:pt>
                <c:pt idx="4664">
                  <c:v>229</c:v>
                </c:pt>
                <c:pt idx="4665">
                  <c:v>237</c:v>
                </c:pt>
                <c:pt idx="4666">
                  <c:v>217</c:v>
                </c:pt>
                <c:pt idx="4667">
                  <c:v>236</c:v>
                </c:pt>
                <c:pt idx="4668">
                  <c:v>221</c:v>
                </c:pt>
                <c:pt idx="4669">
                  <c:v>223</c:v>
                </c:pt>
                <c:pt idx="4670">
                  <c:v>234</c:v>
                </c:pt>
                <c:pt idx="4671">
                  <c:v>227</c:v>
                </c:pt>
                <c:pt idx="4672">
                  <c:v>236</c:v>
                </c:pt>
                <c:pt idx="4673">
                  <c:v>215</c:v>
                </c:pt>
                <c:pt idx="4674">
                  <c:v>225</c:v>
                </c:pt>
                <c:pt idx="4675">
                  <c:v>278</c:v>
                </c:pt>
                <c:pt idx="4676">
                  <c:v>212</c:v>
                </c:pt>
                <c:pt idx="4677">
                  <c:v>200</c:v>
                </c:pt>
                <c:pt idx="4678">
                  <c:v>198</c:v>
                </c:pt>
                <c:pt idx="4679">
                  <c:v>221</c:v>
                </c:pt>
                <c:pt idx="4680">
                  <c:v>218</c:v>
                </c:pt>
                <c:pt idx="4681">
                  <c:v>215</c:v>
                </c:pt>
                <c:pt idx="4682">
                  <c:v>206</c:v>
                </c:pt>
                <c:pt idx="4683">
                  <c:v>198</c:v>
                </c:pt>
                <c:pt idx="4684">
                  <c:v>200</c:v>
                </c:pt>
                <c:pt idx="4685">
                  <c:v>146</c:v>
                </c:pt>
                <c:pt idx="4686">
                  <c:v>182</c:v>
                </c:pt>
                <c:pt idx="4687">
                  <c:v>167</c:v>
                </c:pt>
                <c:pt idx="4688">
                  <c:v>179</c:v>
                </c:pt>
                <c:pt idx="4689">
                  <c:v>157</c:v>
                </c:pt>
                <c:pt idx="4690">
                  <c:v>139</c:v>
                </c:pt>
                <c:pt idx="4691">
                  <c:v>186</c:v>
                </c:pt>
                <c:pt idx="4692">
                  <c:v>147</c:v>
                </c:pt>
                <c:pt idx="4693">
                  <c:v>152</c:v>
                </c:pt>
                <c:pt idx="4694">
                  <c:v>130</c:v>
                </c:pt>
                <c:pt idx="4695">
                  <c:v>133</c:v>
                </c:pt>
                <c:pt idx="4696">
                  <c:v>164</c:v>
                </c:pt>
                <c:pt idx="4697">
                  <c:v>145</c:v>
                </c:pt>
                <c:pt idx="4698">
                  <c:v>121</c:v>
                </c:pt>
                <c:pt idx="4699">
                  <c:v>116</c:v>
                </c:pt>
                <c:pt idx="4700">
                  <c:v>155</c:v>
                </c:pt>
                <c:pt idx="4701">
                  <c:v>105</c:v>
                </c:pt>
                <c:pt idx="4702">
                  <c:v>100</c:v>
                </c:pt>
                <c:pt idx="4703">
                  <c:v>109</c:v>
                </c:pt>
                <c:pt idx="4704">
                  <c:v>90</c:v>
                </c:pt>
                <c:pt idx="4705">
                  <c:v>95</c:v>
                </c:pt>
                <c:pt idx="4706">
                  <c:v>77</c:v>
                </c:pt>
                <c:pt idx="4707">
                  <c:v>57</c:v>
                </c:pt>
                <c:pt idx="4708">
                  <c:v>73</c:v>
                </c:pt>
                <c:pt idx="4709">
                  <c:v>75</c:v>
                </c:pt>
                <c:pt idx="4710">
                  <c:v>90</c:v>
                </c:pt>
                <c:pt idx="4711">
                  <c:v>71</c:v>
                </c:pt>
                <c:pt idx="4712">
                  <c:v>64</c:v>
                </c:pt>
                <c:pt idx="4713">
                  <c:v>111</c:v>
                </c:pt>
                <c:pt idx="4714">
                  <c:v>66</c:v>
                </c:pt>
                <c:pt idx="4715">
                  <c:v>31</c:v>
                </c:pt>
                <c:pt idx="4716">
                  <c:v>38</c:v>
                </c:pt>
                <c:pt idx="4717">
                  <c:v>35</c:v>
                </c:pt>
                <c:pt idx="4718">
                  <c:v>37</c:v>
                </c:pt>
                <c:pt idx="4719">
                  <c:v>572</c:v>
                </c:pt>
                <c:pt idx="4720">
                  <c:v>405</c:v>
                </c:pt>
                <c:pt idx="4721">
                  <c:v>366</c:v>
                </c:pt>
                <c:pt idx="4722">
                  <c:v>305</c:v>
                </c:pt>
                <c:pt idx="4723">
                  <c:v>205</c:v>
                </c:pt>
                <c:pt idx="4724">
                  <c:v>174</c:v>
                </c:pt>
                <c:pt idx="4725">
                  <c:v>150</c:v>
                </c:pt>
                <c:pt idx="4726">
                  <c:v>176</c:v>
                </c:pt>
                <c:pt idx="4727">
                  <c:v>176</c:v>
                </c:pt>
                <c:pt idx="4728">
                  <c:v>169</c:v>
                </c:pt>
                <c:pt idx="4729">
                  <c:v>182</c:v>
                </c:pt>
                <c:pt idx="4730">
                  <c:v>150</c:v>
                </c:pt>
                <c:pt idx="4731">
                  <c:v>161</c:v>
                </c:pt>
                <c:pt idx="4732">
                  <c:v>148</c:v>
                </c:pt>
                <c:pt idx="4733">
                  <c:v>147</c:v>
                </c:pt>
                <c:pt idx="4734">
                  <c:v>141</c:v>
                </c:pt>
                <c:pt idx="4735">
                  <c:v>94</c:v>
                </c:pt>
                <c:pt idx="4736">
                  <c:v>106</c:v>
                </c:pt>
                <c:pt idx="4737">
                  <c:v>91</c:v>
                </c:pt>
                <c:pt idx="4738">
                  <c:v>92</c:v>
                </c:pt>
                <c:pt idx="4739">
                  <c:v>93</c:v>
                </c:pt>
                <c:pt idx="4740">
                  <c:v>103</c:v>
                </c:pt>
                <c:pt idx="4741">
                  <c:v>113</c:v>
                </c:pt>
                <c:pt idx="4742">
                  <c:v>111</c:v>
                </c:pt>
                <c:pt idx="4743">
                  <c:v>113</c:v>
                </c:pt>
                <c:pt idx="4744">
                  <c:v>125</c:v>
                </c:pt>
                <c:pt idx="4745">
                  <c:v>103</c:v>
                </c:pt>
                <c:pt idx="4746">
                  <c:v>115</c:v>
                </c:pt>
                <c:pt idx="4747">
                  <c:v>98</c:v>
                </c:pt>
                <c:pt idx="4748">
                  <c:v>89</c:v>
                </c:pt>
                <c:pt idx="4749">
                  <c:v>104</c:v>
                </c:pt>
                <c:pt idx="4750">
                  <c:v>100</c:v>
                </c:pt>
                <c:pt idx="4751">
                  <c:v>82</c:v>
                </c:pt>
                <c:pt idx="4752">
                  <c:v>109</c:v>
                </c:pt>
                <c:pt idx="4753">
                  <c:v>78</c:v>
                </c:pt>
                <c:pt idx="4754">
                  <c:v>75</c:v>
                </c:pt>
                <c:pt idx="4755">
                  <c:v>66</c:v>
                </c:pt>
                <c:pt idx="4756">
                  <c:v>60</c:v>
                </c:pt>
                <c:pt idx="4757">
                  <c:v>55</c:v>
                </c:pt>
                <c:pt idx="4758">
                  <c:v>72</c:v>
                </c:pt>
                <c:pt idx="4759">
                  <c:v>54</c:v>
                </c:pt>
                <c:pt idx="4760">
                  <c:v>61</c:v>
                </c:pt>
                <c:pt idx="4761">
                  <c:v>57</c:v>
                </c:pt>
                <c:pt idx="4762">
                  <c:v>57</c:v>
                </c:pt>
                <c:pt idx="4763">
                  <c:v>24</c:v>
                </c:pt>
                <c:pt idx="4764">
                  <c:v>25</c:v>
                </c:pt>
                <c:pt idx="4765">
                  <c:v>26</c:v>
                </c:pt>
                <c:pt idx="4766">
                  <c:v>24</c:v>
                </c:pt>
                <c:pt idx="4767">
                  <c:v>615</c:v>
                </c:pt>
                <c:pt idx="4768">
                  <c:v>557</c:v>
                </c:pt>
                <c:pt idx="4769">
                  <c:v>388</c:v>
                </c:pt>
                <c:pt idx="4770">
                  <c:v>257</c:v>
                </c:pt>
                <c:pt idx="4771">
                  <c:v>236</c:v>
                </c:pt>
                <c:pt idx="4772">
                  <c:v>227</c:v>
                </c:pt>
                <c:pt idx="4773">
                  <c:v>221</c:v>
                </c:pt>
                <c:pt idx="4774">
                  <c:v>248</c:v>
                </c:pt>
                <c:pt idx="4775">
                  <c:v>258</c:v>
                </c:pt>
                <c:pt idx="4776">
                  <c:v>312</c:v>
                </c:pt>
                <c:pt idx="4777">
                  <c:v>255</c:v>
                </c:pt>
                <c:pt idx="4778">
                  <c:v>246</c:v>
                </c:pt>
                <c:pt idx="4779">
                  <c:v>256</c:v>
                </c:pt>
                <c:pt idx="4780">
                  <c:v>258</c:v>
                </c:pt>
                <c:pt idx="4781">
                  <c:v>248</c:v>
                </c:pt>
                <c:pt idx="4782">
                  <c:v>262</c:v>
                </c:pt>
                <c:pt idx="4783">
                  <c:v>251</c:v>
                </c:pt>
                <c:pt idx="4784">
                  <c:v>230</c:v>
                </c:pt>
                <c:pt idx="4785">
                  <c:v>226</c:v>
                </c:pt>
                <c:pt idx="4786">
                  <c:v>234</c:v>
                </c:pt>
                <c:pt idx="4787">
                  <c:v>258</c:v>
                </c:pt>
                <c:pt idx="4788">
                  <c:v>238</c:v>
                </c:pt>
                <c:pt idx="4789">
                  <c:v>243</c:v>
                </c:pt>
                <c:pt idx="4790">
                  <c:v>248</c:v>
                </c:pt>
                <c:pt idx="4791">
                  <c:v>187</c:v>
                </c:pt>
                <c:pt idx="4792">
                  <c:v>91</c:v>
                </c:pt>
                <c:pt idx="4793">
                  <c:v>90</c:v>
                </c:pt>
                <c:pt idx="4794">
                  <c:v>101</c:v>
                </c:pt>
                <c:pt idx="4795">
                  <c:v>108</c:v>
                </c:pt>
                <c:pt idx="4796">
                  <c:v>114</c:v>
                </c:pt>
                <c:pt idx="4797">
                  <c:v>120</c:v>
                </c:pt>
                <c:pt idx="4798">
                  <c:v>117</c:v>
                </c:pt>
                <c:pt idx="4799">
                  <c:v>103</c:v>
                </c:pt>
                <c:pt idx="4800">
                  <c:v>76</c:v>
                </c:pt>
                <c:pt idx="4801">
                  <c:v>81</c:v>
                </c:pt>
                <c:pt idx="4802">
                  <c:v>78</c:v>
                </c:pt>
                <c:pt idx="4803">
                  <c:v>74</c:v>
                </c:pt>
                <c:pt idx="4804">
                  <c:v>85</c:v>
                </c:pt>
                <c:pt idx="4805">
                  <c:v>87</c:v>
                </c:pt>
                <c:pt idx="4806">
                  <c:v>86</c:v>
                </c:pt>
                <c:pt idx="4807">
                  <c:v>78</c:v>
                </c:pt>
                <c:pt idx="4808">
                  <c:v>80</c:v>
                </c:pt>
                <c:pt idx="4809">
                  <c:v>77</c:v>
                </c:pt>
                <c:pt idx="4810">
                  <c:v>74</c:v>
                </c:pt>
                <c:pt idx="4811">
                  <c:v>74</c:v>
                </c:pt>
                <c:pt idx="4812">
                  <c:v>73</c:v>
                </c:pt>
                <c:pt idx="4813">
                  <c:v>46</c:v>
                </c:pt>
                <c:pt idx="4814">
                  <c:v>40</c:v>
                </c:pt>
                <c:pt idx="4815">
                  <c:v>39</c:v>
                </c:pt>
                <c:pt idx="4816">
                  <c:v>48</c:v>
                </c:pt>
                <c:pt idx="4817">
                  <c:v>42</c:v>
                </c:pt>
                <c:pt idx="4818">
                  <c:v>48</c:v>
                </c:pt>
                <c:pt idx="4819">
                  <c:v>50</c:v>
                </c:pt>
                <c:pt idx="4820">
                  <c:v>46</c:v>
                </c:pt>
                <c:pt idx="4821">
                  <c:v>73</c:v>
                </c:pt>
                <c:pt idx="4822">
                  <c:v>126</c:v>
                </c:pt>
                <c:pt idx="4823">
                  <c:v>109</c:v>
                </c:pt>
                <c:pt idx="4824">
                  <c:v>99</c:v>
                </c:pt>
                <c:pt idx="4825">
                  <c:v>89</c:v>
                </c:pt>
                <c:pt idx="4826">
                  <c:v>94</c:v>
                </c:pt>
                <c:pt idx="4827">
                  <c:v>126</c:v>
                </c:pt>
                <c:pt idx="4828">
                  <c:v>138</c:v>
                </c:pt>
                <c:pt idx="4829">
                  <c:v>178</c:v>
                </c:pt>
                <c:pt idx="4830">
                  <c:v>150</c:v>
                </c:pt>
                <c:pt idx="4831">
                  <c:v>162</c:v>
                </c:pt>
                <c:pt idx="4832">
                  <c:v>152</c:v>
                </c:pt>
                <c:pt idx="4833">
                  <c:v>150</c:v>
                </c:pt>
                <c:pt idx="4834">
                  <c:v>200</c:v>
                </c:pt>
                <c:pt idx="4835">
                  <c:v>166</c:v>
                </c:pt>
                <c:pt idx="4836">
                  <c:v>177</c:v>
                </c:pt>
                <c:pt idx="4837">
                  <c:v>176</c:v>
                </c:pt>
                <c:pt idx="4838">
                  <c:v>184</c:v>
                </c:pt>
                <c:pt idx="4839">
                  <c:v>176</c:v>
                </c:pt>
                <c:pt idx="4840">
                  <c:v>164</c:v>
                </c:pt>
                <c:pt idx="4841">
                  <c:v>210</c:v>
                </c:pt>
                <c:pt idx="4842">
                  <c:v>227</c:v>
                </c:pt>
                <c:pt idx="4843">
                  <c:v>230</c:v>
                </c:pt>
                <c:pt idx="4844">
                  <c:v>261</c:v>
                </c:pt>
                <c:pt idx="4845">
                  <c:v>262</c:v>
                </c:pt>
                <c:pt idx="4846">
                  <c:v>285</c:v>
                </c:pt>
                <c:pt idx="4847">
                  <c:v>286</c:v>
                </c:pt>
                <c:pt idx="4848">
                  <c:v>328</c:v>
                </c:pt>
                <c:pt idx="4849">
                  <c:v>272</c:v>
                </c:pt>
                <c:pt idx="4850">
                  <c:v>296</c:v>
                </c:pt>
                <c:pt idx="4851">
                  <c:v>298</c:v>
                </c:pt>
                <c:pt idx="4852">
                  <c:v>287</c:v>
                </c:pt>
                <c:pt idx="4853">
                  <c:v>323</c:v>
                </c:pt>
                <c:pt idx="4854">
                  <c:v>300</c:v>
                </c:pt>
                <c:pt idx="4855">
                  <c:v>282</c:v>
                </c:pt>
                <c:pt idx="4856">
                  <c:v>271</c:v>
                </c:pt>
                <c:pt idx="4857">
                  <c:v>324</c:v>
                </c:pt>
                <c:pt idx="4858">
                  <c:v>260</c:v>
                </c:pt>
                <c:pt idx="4859">
                  <c:v>242</c:v>
                </c:pt>
                <c:pt idx="4860">
                  <c:v>249</c:v>
                </c:pt>
                <c:pt idx="4861">
                  <c:v>245</c:v>
                </c:pt>
                <c:pt idx="4862">
                  <c:v>262</c:v>
                </c:pt>
                <c:pt idx="4863">
                  <c:v>277</c:v>
                </c:pt>
                <c:pt idx="4864">
                  <c:v>278</c:v>
                </c:pt>
                <c:pt idx="4865">
                  <c:v>255</c:v>
                </c:pt>
                <c:pt idx="4866">
                  <c:v>190</c:v>
                </c:pt>
                <c:pt idx="4867">
                  <c:v>119</c:v>
                </c:pt>
                <c:pt idx="4868">
                  <c:v>104</c:v>
                </c:pt>
                <c:pt idx="4869">
                  <c:v>97</c:v>
                </c:pt>
                <c:pt idx="4870">
                  <c:v>109</c:v>
                </c:pt>
                <c:pt idx="4871">
                  <c:v>118</c:v>
                </c:pt>
                <c:pt idx="4872">
                  <c:v>104</c:v>
                </c:pt>
                <c:pt idx="4873">
                  <c:v>81</c:v>
                </c:pt>
                <c:pt idx="4874">
                  <c:v>79</c:v>
                </c:pt>
                <c:pt idx="4875">
                  <c:v>59</c:v>
                </c:pt>
                <c:pt idx="4876">
                  <c:v>59</c:v>
                </c:pt>
                <c:pt idx="4877">
                  <c:v>62</c:v>
                </c:pt>
                <c:pt idx="4878">
                  <c:v>86</c:v>
                </c:pt>
                <c:pt idx="4879">
                  <c:v>62</c:v>
                </c:pt>
                <c:pt idx="4880">
                  <c:v>56</c:v>
                </c:pt>
                <c:pt idx="4881">
                  <c:v>99</c:v>
                </c:pt>
                <c:pt idx="4882">
                  <c:v>108</c:v>
                </c:pt>
                <c:pt idx="4883">
                  <c:v>101</c:v>
                </c:pt>
                <c:pt idx="4884">
                  <c:v>104</c:v>
                </c:pt>
                <c:pt idx="4885">
                  <c:v>106</c:v>
                </c:pt>
                <c:pt idx="4886">
                  <c:v>199</c:v>
                </c:pt>
                <c:pt idx="4887">
                  <c:v>192</c:v>
                </c:pt>
                <c:pt idx="4888">
                  <c:v>156</c:v>
                </c:pt>
                <c:pt idx="4889">
                  <c:v>232</c:v>
                </c:pt>
                <c:pt idx="4890">
                  <c:v>272</c:v>
                </c:pt>
                <c:pt idx="4891">
                  <c:v>265</c:v>
                </c:pt>
                <c:pt idx="4892">
                  <c:v>301</c:v>
                </c:pt>
                <c:pt idx="4893">
                  <c:v>283</c:v>
                </c:pt>
                <c:pt idx="4894">
                  <c:v>313</c:v>
                </c:pt>
                <c:pt idx="4895">
                  <c:v>298</c:v>
                </c:pt>
                <c:pt idx="4896">
                  <c:v>292</c:v>
                </c:pt>
                <c:pt idx="4897">
                  <c:v>284</c:v>
                </c:pt>
                <c:pt idx="4898">
                  <c:v>271</c:v>
                </c:pt>
                <c:pt idx="4899">
                  <c:v>218</c:v>
                </c:pt>
                <c:pt idx="4900">
                  <c:v>173</c:v>
                </c:pt>
                <c:pt idx="4901">
                  <c:v>131</c:v>
                </c:pt>
                <c:pt idx="4902">
                  <c:v>122</c:v>
                </c:pt>
                <c:pt idx="4903">
                  <c:v>119</c:v>
                </c:pt>
                <c:pt idx="4904">
                  <c:v>126</c:v>
                </c:pt>
                <c:pt idx="4905">
                  <c:v>141</c:v>
                </c:pt>
                <c:pt idx="4906">
                  <c:v>130</c:v>
                </c:pt>
                <c:pt idx="4907">
                  <c:v>132</c:v>
                </c:pt>
                <c:pt idx="4908">
                  <c:v>124</c:v>
                </c:pt>
                <c:pt idx="4909">
                  <c:v>130</c:v>
                </c:pt>
                <c:pt idx="4910">
                  <c:v>129</c:v>
                </c:pt>
                <c:pt idx="4911">
                  <c:v>129</c:v>
                </c:pt>
                <c:pt idx="4912">
                  <c:v>119</c:v>
                </c:pt>
                <c:pt idx="4913">
                  <c:v>96</c:v>
                </c:pt>
                <c:pt idx="4914">
                  <c:v>101</c:v>
                </c:pt>
                <c:pt idx="4915">
                  <c:v>87</c:v>
                </c:pt>
                <c:pt idx="4916">
                  <c:v>92</c:v>
                </c:pt>
                <c:pt idx="4917">
                  <c:v>82</c:v>
                </c:pt>
                <c:pt idx="4918">
                  <c:v>98</c:v>
                </c:pt>
                <c:pt idx="4919">
                  <c:v>85</c:v>
                </c:pt>
                <c:pt idx="4920">
                  <c:v>94</c:v>
                </c:pt>
                <c:pt idx="4921">
                  <c:v>71</c:v>
                </c:pt>
                <c:pt idx="4922">
                  <c:v>69</c:v>
                </c:pt>
                <c:pt idx="4923">
                  <c:v>68</c:v>
                </c:pt>
                <c:pt idx="4924">
                  <c:v>68</c:v>
                </c:pt>
                <c:pt idx="4925">
                  <c:v>60</c:v>
                </c:pt>
                <c:pt idx="4926">
                  <c:v>62</c:v>
                </c:pt>
                <c:pt idx="4927">
                  <c:v>77</c:v>
                </c:pt>
                <c:pt idx="4928">
                  <c:v>58</c:v>
                </c:pt>
                <c:pt idx="4929">
                  <c:v>58</c:v>
                </c:pt>
                <c:pt idx="4930">
                  <c:v>52</c:v>
                </c:pt>
                <c:pt idx="4931">
                  <c:v>56</c:v>
                </c:pt>
                <c:pt idx="4932">
                  <c:v>45</c:v>
                </c:pt>
                <c:pt idx="4933">
                  <c:v>54</c:v>
                </c:pt>
                <c:pt idx="4934">
                  <c:v>54</c:v>
                </c:pt>
                <c:pt idx="4935">
                  <c:v>52</c:v>
                </c:pt>
                <c:pt idx="4936">
                  <c:v>44</c:v>
                </c:pt>
                <c:pt idx="4937">
                  <c:v>43</c:v>
                </c:pt>
                <c:pt idx="4938">
                  <c:v>44</c:v>
                </c:pt>
                <c:pt idx="4939">
                  <c:v>46</c:v>
                </c:pt>
                <c:pt idx="4940">
                  <c:v>44</c:v>
                </c:pt>
                <c:pt idx="4941">
                  <c:v>43</c:v>
                </c:pt>
                <c:pt idx="4942">
                  <c:v>90</c:v>
                </c:pt>
                <c:pt idx="4943">
                  <c:v>133</c:v>
                </c:pt>
                <c:pt idx="4944">
                  <c:v>101</c:v>
                </c:pt>
                <c:pt idx="4945">
                  <c:v>88</c:v>
                </c:pt>
                <c:pt idx="4946">
                  <c:v>91</c:v>
                </c:pt>
                <c:pt idx="4947">
                  <c:v>74</c:v>
                </c:pt>
                <c:pt idx="4948">
                  <c:v>96</c:v>
                </c:pt>
                <c:pt idx="4949">
                  <c:v>123</c:v>
                </c:pt>
                <c:pt idx="4950">
                  <c:v>122</c:v>
                </c:pt>
                <c:pt idx="4951">
                  <c:v>113</c:v>
                </c:pt>
                <c:pt idx="4952">
                  <c:v>154</c:v>
                </c:pt>
                <c:pt idx="4953">
                  <c:v>164</c:v>
                </c:pt>
                <c:pt idx="4954">
                  <c:v>122</c:v>
                </c:pt>
                <c:pt idx="4955">
                  <c:v>116</c:v>
                </c:pt>
                <c:pt idx="4956">
                  <c:v>143</c:v>
                </c:pt>
                <c:pt idx="4957">
                  <c:v>161</c:v>
                </c:pt>
                <c:pt idx="4958">
                  <c:v>152</c:v>
                </c:pt>
                <c:pt idx="4959">
                  <c:v>185</c:v>
                </c:pt>
                <c:pt idx="4960">
                  <c:v>187</c:v>
                </c:pt>
                <c:pt idx="4961">
                  <c:v>192</c:v>
                </c:pt>
                <c:pt idx="4962">
                  <c:v>216</c:v>
                </c:pt>
                <c:pt idx="4963">
                  <c:v>211</c:v>
                </c:pt>
                <c:pt idx="4964">
                  <c:v>208</c:v>
                </c:pt>
                <c:pt idx="4965">
                  <c:v>238</c:v>
                </c:pt>
                <c:pt idx="4966">
                  <c:v>254</c:v>
                </c:pt>
                <c:pt idx="4967">
                  <c:v>240</c:v>
                </c:pt>
                <c:pt idx="4968">
                  <c:v>258</c:v>
                </c:pt>
                <c:pt idx="4969">
                  <c:v>249</c:v>
                </c:pt>
                <c:pt idx="4970">
                  <c:v>312</c:v>
                </c:pt>
                <c:pt idx="4971">
                  <c:v>284</c:v>
                </c:pt>
                <c:pt idx="4972">
                  <c:v>272</c:v>
                </c:pt>
                <c:pt idx="4973">
                  <c:v>278</c:v>
                </c:pt>
                <c:pt idx="4974">
                  <c:v>287</c:v>
                </c:pt>
                <c:pt idx="4975">
                  <c:v>284</c:v>
                </c:pt>
                <c:pt idx="4976">
                  <c:v>339</c:v>
                </c:pt>
                <c:pt idx="4977">
                  <c:v>331</c:v>
                </c:pt>
                <c:pt idx="4978">
                  <c:v>355</c:v>
                </c:pt>
                <c:pt idx="4979">
                  <c:v>358</c:v>
                </c:pt>
                <c:pt idx="4980">
                  <c:v>329</c:v>
                </c:pt>
                <c:pt idx="4981">
                  <c:v>340</c:v>
                </c:pt>
                <c:pt idx="4982">
                  <c:v>315</c:v>
                </c:pt>
                <c:pt idx="4983">
                  <c:v>318</c:v>
                </c:pt>
                <c:pt idx="4984">
                  <c:v>246</c:v>
                </c:pt>
                <c:pt idx="4985">
                  <c:v>276</c:v>
                </c:pt>
                <c:pt idx="4986">
                  <c:v>315</c:v>
                </c:pt>
                <c:pt idx="4987">
                  <c:v>282</c:v>
                </c:pt>
                <c:pt idx="4988">
                  <c:v>308</c:v>
                </c:pt>
                <c:pt idx="4989">
                  <c:v>278</c:v>
                </c:pt>
                <c:pt idx="4990">
                  <c:v>298</c:v>
                </c:pt>
                <c:pt idx="4991">
                  <c:v>262</c:v>
                </c:pt>
                <c:pt idx="4992">
                  <c:v>262</c:v>
                </c:pt>
                <c:pt idx="4993">
                  <c:v>264</c:v>
                </c:pt>
                <c:pt idx="4994">
                  <c:v>283</c:v>
                </c:pt>
                <c:pt idx="4995">
                  <c:v>176</c:v>
                </c:pt>
                <c:pt idx="4996">
                  <c:v>131</c:v>
                </c:pt>
                <c:pt idx="4997">
                  <c:v>118</c:v>
                </c:pt>
                <c:pt idx="4998">
                  <c:v>102</c:v>
                </c:pt>
                <c:pt idx="4999">
                  <c:v>104</c:v>
                </c:pt>
                <c:pt idx="5000">
                  <c:v>119</c:v>
                </c:pt>
                <c:pt idx="5001">
                  <c:v>127</c:v>
                </c:pt>
                <c:pt idx="5002">
                  <c:v>108</c:v>
                </c:pt>
                <c:pt idx="5003">
                  <c:v>123</c:v>
                </c:pt>
                <c:pt idx="5004">
                  <c:v>116</c:v>
                </c:pt>
                <c:pt idx="5005">
                  <c:v>103</c:v>
                </c:pt>
                <c:pt idx="5006">
                  <c:v>100</c:v>
                </c:pt>
                <c:pt idx="5007">
                  <c:v>108</c:v>
                </c:pt>
                <c:pt idx="5008">
                  <c:v>114</c:v>
                </c:pt>
                <c:pt idx="5009">
                  <c:v>86</c:v>
                </c:pt>
                <c:pt idx="5010">
                  <c:v>77</c:v>
                </c:pt>
                <c:pt idx="5011">
                  <c:v>78</c:v>
                </c:pt>
                <c:pt idx="5012">
                  <c:v>68</c:v>
                </c:pt>
                <c:pt idx="5013">
                  <c:v>66</c:v>
                </c:pt>
                <c:pt idx="5014">
                  <c:v>65</c:v>
                </c:pt>
                <c:pt idx="5015">
                  <c:v>66</c:v>
                </c:pt>
                <c:pt idx="5016">
                  <c:v>64</c:v>
                </c:pt>
                <c:pt idx="5017">
                  <c:v>67</c:v>
                </c:pt>
                <c:pt idx="5018">
                  <c:v>72</c:v>
                </c:pt>
                <c:pt idx="5019">
                  <c:v>64</c:v>
                </c:pt>
                <c:pt idx="5020">
                  <c:v>66</c:v>
                </c:pt>
                <c:pt idx="5021">
                  <c:v>65</c:v>
                </c:pt>
                <c:pt idx="5022">
                  <c:v>64</c:v>
                </c:pt>
                <c:pt idx="5023">
                  <c:v>72</c:v>
                </c:pt>
                <c:pt idx="5024">
                  <c:v>62</c:v>
                </c:pt>
                <c:pt idx="5025">
                  <c:v>63</c:v>
                </c:pt>
                <c:pt idx="5026">
                  <c:v>76</c:v>
                </c:pt>
                <c:pt idx="5027">
                  <c:v>74</c:v>
                </c:pt>
                <c:pt idx="5028">
                  <c:v>59</c:v>
                </c:pt>
                <c:pt idx="5029">
                  <c:v>63</c:v>
                </c:pt>
                <c:pt idx="5030">
                  <c:v>64</c:v>
                </c:pt>
                <c:pt idx="5031">
                  <c:v>70</c:v>
                </c:pt>
                <c:pt idx="5032">
                  <c:v>65</c:v>
                </c:pt>
                <c:pt idx="5033">
                  <c:v>64</c:v>
                </c:pt>
                <c:pt idx="5034">
                  <c:v>59</c:v>
                </c:pt>
                <c:pt idx="5035">
                  <c:v>57</c:v>
                </c:pt>
                <c:pt idx="5036">
                  <c:v>54</c:v>
                </c:pt>
                <c:pt idx="5037">
                  <c:v>62</c:v>
                </c:pt>
                <c:pt idx="5038">
                  <c:v>106</c:v>
                </c:pt>
                <c:pt idx="5039">
                  <c:v>154</c:v>
                </c:pt>
                <c:pt idx="5040">
                  <c:v>103</c:v>
                </c:pt>
                <c:pt idx="5041">
                  <c:v>106</c:v>
                </c:pt>
                <c:pt idx="5042">
                  <c:v>111</c:v>
                </c:pt>
                <c:pt idx="5043">
                  <c:v>105</c:v>
                </c:pt>
                <c:pt idx="5044">
                  <c:v>135</c:v>
                </c:pt>
                <c:pt idx="5045">
                  <c:v>182</c:v>
                </c:pt>
                <c:pt idx="5046">
                  <c:v>211</c:v>
                </c:pt>
                <c:pt idx="5047">
                  <c:v>200</c:v>
                </c:pt>
                <c:pt idx="5048">
                  <c:v>193</c:v>
                </c:pt>
                <c:pt idx="5049">
                  <c:v>235</c:v>
                </c:pt>
                <c:pt idx="5050">
                  <c:v>170</c:v>
                </c:pt>
                <c:pt idx="5051">
                  <c:v>206</c:v>
                </c:pt>
                <c:pt idx="5052">
                  <c:v>282</c:v>
                </c:pt>
                <c:pt idx="5053">
                  <c:v>235</c:v>
                </c:pt>
                <c:pt idx="5054">
                  <c:v>222</c:v>
                </c:pt>
                <c:pt idx="5055">
                  <c:v>220</c:v>
                </c:pt>
                <c:pt idx="5056">
                  <c:v>219</c:v>
                </c:pt>
                <c:pt idx="5057">
                  <c:v>253</c:v>
                </c:pt>
                <c:pt idx="5058">
                  <c:v>266</c:v>
                </c:pt>
                <c:pt idx="5059">
                  <c:v>270</c:v>
                </c:pt>
                <c:pt idx="5060">
                  <c:v>255</c:v>
                </c:pt>
                <c:pt idx="5061">
                  <c:v>240</c:v>
                </c:pt>
                <c:pt idx="5062">
                  <c:v>239</c:v>
                </c:pt>
                <c:pt idx="5063">
                  <c:v>245</c:v>
                </c:pt>
                <c:pt idx="5064">
                  <c:v>260</c:v>
                </c:pt>
                <c:pt idx="5065">
                  <c:v>250</c:v>
                </c:pt>
                <c:pt idx="5066">
                  <c:v>228</c:v>
                </c:pt>
                <c:pt idx="5067">
                  <c:v>223</c:v>
                </c:pt>
                <c:pt idx="5068">
                  <c:v>224</c:v>
                </c:pt>
                <c:pt idx="5069">
                  <c:v>213</c:v>
                </c:pt>
                <c:pt idx="5070">
                  <c:v>210</c:v>
                </c:pt>
                <c:pt idx="5071">
                  <c:v>223</c:v>
                </c:pt>
                <c:pt idx="5072">
                  <c:v>233</c:v>
                </c:pt>
                <c:pt idx="5073">
                  <c:v>236</c:v>
                </c:pt>
                <c:pt idx="5074">
                  <c:v>240</c:v>
                </c:pt>
                <c:pt idx="5075">
                  <c:v>229</c:v>
                </c:pt>
                <c:pt idx="5076">
                  <c:v>237</c:v>
                </c:pt>
                <c:pt idx="5077">
                  <c:v>244</c:v>
                </c:pt>
                <c:pt idx="5078">
                  <c:v>253</c:v>
                </c:pt>
                <c:pt idx="5079">
                  <c:v>230</c:v>
                </c:pt>
                <c:pt idx="5080">
                  <c:v>221</c:v>
                </c:pt>
                <c:pt idx="5081">
                  <c:v>227</c:v>
                </c:pt>
                <c:pt idx="5082">
                  <c:v>254</c:v>
                </c:pt>
                <c:pt idx="5083">
                  <c:v>258</c:v>
                </c:pt>
                <c:pt idx="5084">
                  <c:v>267</c:v>
                </c:pt>
                <c:pt idx="5085">
                  <c:v>245</c:v>
                </c:pt>
                <c:pt idx="5086">
                  <c:v>227</c:v>
                </c:pt>
                <c:pt idx="5087">
                  <c:v>262</c:v>
                </c:pt>
                <c:pt idx="5088">
                  <c:v>269</c:v>
                </c:pt>
                <c:pt idx="5089">
                  <c:v>256</c:v>
                </c:pt>
                <c:pt idx="5090">
                  <c:v>244</c:v>
                </c:pt>
                <c:pt idx="5091">
                  <c:v>199</c:v>
                </c:pt>
                <c:pt idx="5092">
                  <c:v>762</c:v>
                </c:pt>
                <c:pt idx="5093">
                  <c:v>877</c:v>
                </c:pt>
                <c:pt idx="5094">
                  <c:v>861</c:v>
                </c:pt>
                <c:pt idx="5095">
                  <c:v>725</c:v>
                </c:pt>
                <c:pt idx="5096">
                  <c:v>492</c:v>
                </c:pt>
                <c:pt idx="5097">
                  <c:v>414</c:v>
                </c:pt>
                <c:pt idx="5098">
                  <c:v>338</c:v>
                </c:pt>
                <c:pt idx="5099">
                  <c:v>256</c:v>
                </c:pt>
                <c:pt idx="5100">
                  <c:v>303</c:v>
                </c:pt>
                <c:pt idx="5101">
                  <c:v>303</c:v>
                </c:pt>
                <c:pt idx="5102">
                  <c:v>248</c:v>
                </c:pt>
                <c:pt idx="5103">
                  <c:v>237</c:v>
                </c:pt>
                <c:pt idx="5104">
                  <c:v>157</c:v>
                </c:pt>
                <c:pt idx="5105">
                  <c:v>144</c:v>
                </c:pt>
                <c:pt idx="5106">
                  <c:v>167</c:v>
                </c:pt>
                <c:pt idx="5107">
                  <c:v>172</c:v>
                </c:pt>
                <c:pt idx="5108">
                  <c:v>146</c:v>
                </c:pt>
                <c:pt idx="5109">
                  <c:v>162</c:v>
                </c:pt>
                <c:pt idx="5110">
                  <c:v>174</c:v>
                </c:pt>
                <c:pt idx="5111">
                  <c:v>169</c:v>
                </c:pt>
                <c:pt idx="5112">
                  <c:v>155</c:v>
                </c:pt>
                <c:pt idx="5113">
                  <c:v>131</c:v>
                </c:pt>
                <c:pt idx="5114">
                  <c:v>246</c:v>
                </c:pt>
                <c:pt idx="5115">
                  <c:v>250</c:v>
                </c:pt>
                <c:pt idx="5116">
                  <c:v>233</c:v>
                </c:pt>
                <c:pt idx="5117">
                  <c:v>225</c:v>
                </c:pt>
                <c:pt idx="5118">
                  <c:v>189</c:v>
                </c:pt>
                <c:pt idx="5119">
                  <c:v>165</c:v>
                </c:pt>
                <c:pt idx="5120">
                  <c:v>134</c:v>
                </c:pt>
                <c:pt idx="5121">
                  <c:v>146</c:v>
                </c:pt>
                <c:pt idx="5122">
                  <c:v>163</c:v>
                </c:pt>
                <c:pt idx="5123">
                  <c:v>132</c:v>
                </c:pt>
                <c:pt idx="5124">
                  <c:v>162</c:v>
                </c:pt>
                <c:pt idx="5125">
                  <c:v>160</c:v>
                </c:pt>
                <c:pt idx="5126">
                  <c:v>109</c:v>
                </c:pt>
                <c:pt idx="5127">
                  <c:v>78</c:v>
                </c:pt>
                <c:pt idx="5128">
                  <c:v>78</c:v>
                </c:pt>
                <c:pt idx="5129">
                  <c:v>79</c:v>
                </c:pt>
                <c:pt idx="5130">
                  <c:v>60</c:v>
                </c:pt>
                <c:pt idx="5131">
                  <c:v>63</c:v>
                </c:pt>
                <c:pt idx="5132">
                  <c:v>64</c:v>
                </c:pt>
                <c:pt idx="5133">
                  <c:v>62</c:v>
                </c:pt>
                <c:pt idx="5134">
                  <c:v>75</c:v>
                </c:pt>
                <c:pt idx="5135">
                  <c:v>59</c:v>
                </c:pt>
                <c:pt idx="5136">
                  <c:v>63</c:v>
                </c:pt>
                <c:pt idx="5137">
                  <c:v>65</c:v>
                </c:pt>
                <c:pt idx="5138">
                  <c:v>59</c:v>
                </c:pt>
                <c:pt idx="5139">
                  <c:v>60</c:v>
                </c:pt>
                <c:pt idx="5140">
                  <c:v>61</c:v>
                </c:pt>
                <c:pt idx="5141">
                  <c:v>57</c:v>
                </c:pt>
                <c:pt idx="5142">
                  <c:v>17</c:v>
                </c:pt>
                <c:pt idx="5143">
                  <c:v>25</c:v>
                </c:pt>
                <c:pt idx="5144">
                  <c:v>25</c:v>
                </c:pt>
                <c:pt idx="5145">
                  <c:v>30</c:v>
                </c:pt>
                <c:pt idx="5146">
                  <c:v>32</c:v>
                </c:pt>
                <c:pt idx="5147">
                  <c:v>27</c:v>
                </c:pt>
                <c:pt idx="5148">
                  <c:v>27</c:v>
                </c:pt>
                <c:pt idx="5149">
                  <c:v>815</c:v>
                </c:pt>
                <c:pt idx="5150">
                  <c:v>732</c:v>
                </c:pt>
                <c:pt idx="5151">
                  <c:v>463</c:v>
                </c:pt>
                <c:pt idx="5152">
                  <c:v>382</c:v>
                </c:pt>
                <c:pt idx="5153">
                  <c:v>357</c:v>
                </c:pt>
                <c:pt idx="5154">
                  <c:v>355</c:v>
                </c:pt>
                <c:pt idx="5155">
                  <c:v>372</c:v>
                </c:pt>
                <c:pt idx="5156">
                  <c:v>358</c:v>
                </c:pt>
                <c:pt idx="5157">
                  <c:v>358</c:v>
                </c:pt>
                <c:pt idx="5158">
                  <c:v>387</c:v>
                </c:pt>
                <c:pt idx="5159">
                  <c:v>357</c:v>
                </c:pt>
                <c:pt idx="5160">
                  <c:v>335</c:v>
                </c:pt>
                <c:pt idx="5161">
                  <c:v>339</c:v>
                </c:pt>
                <c:pt idx="5162">
                  <c:v>319</c:v>
                </c:pt>
                <c:pt idx="5163">
                  <c:v>370</c:v>
                </c:pt>
                <c:pt idx="5164">
                  <c:v>339</c:v>
                </c:pt>
                <c:pt idx="5165">
                  <c:v>362</c:v>
                </c:pt>
                <c:pt idx="5166">
                  <c:v>332</c:v>
                </c:pt>
                <c:pt idx="5167">
                  <c:v>355</c:v>
                </c:pt>
                <c:pt idx="5168">
                  <c:v>331</c:v>
                </c:pt>
                <c:pt idx="5169">
                  <c:v>342</c:v>
                </c:pt>
                <c:pt idx="5170">
                  <c:v>311</c:v>
                </c:pt>
                <c:pt idx="5171">
                  <c:v>333</c:v>
                </c:pt>
                <c:pt idx="5172">
                  <c:v>349</c:v>
                </c:pt>
                <c:pt idx="5173">
                  <c:v>332</c:v>
                </c:pt>
                <c:pt idx="5174">
                  <c:v>347</c:v>
                </c:pt>
                <c:pt idx="5175">
                  <c:v>351</c:v>
                </c:pt>
                <c:pt idx="5176">
                  <c:v>381</c:v>
                </c:pt>
                <c:pt idx="5177">
                  <c:v>382</c:v>
                </c:pt>
                <c:pt idx="5178">
                  <c:v>375</c:v>
                </c:pt>
                <c:pt idx="5179">
                  <c:v>383</c:v>
                </c:pt>
                <c:pt idx="5180">
                  <c:v>341</c:v>
                </c:pt>
                <c:pt idx="5181">
                  <c:v>358</c:v>
                </c:pt>
                <c:pt idx="5182">
                  <c:v>349</c:v>
                </c:pt>
                <c:pt idx="5183">
                  <c:v>260</c:v>
                </c:pt>
                <c:pt idx="5184">
                  <c:v>154</c:v>
                </c:pt>
                <c:pt idx="5185">
                  <c:v>104</c:v>
                </c:pt>
                <c:pt idx="5186">
                  <c:v>119</c:v>
                </c:pt>
                <c:pt idx="5187">
                  <c:v>125</c:v>
                </c:pt>
                <c:pt idx="5188">
                  <c:v>163</c:v>
                </c:pt>
                <c:pt idx="5189">
                  <c:v>125</c:v>
                </c:pt>
                <c:pt idx="5190">
                  <c:v>121</c:v>
                </c:pt>
                <c:pt idx="5191">
                  <c:v>145</c:v>
                </c:pt>
                <c:pt idx="5192">
                  <c:v>149</c:v>
                </c:pt>
                <c:pt idx="5193">
                  <c:v>127</c:v>
                </c:pt>
                <c:pt idx="5194">
                  <c:v>163</c:v>
                </c:pt>
                <c:pt idx="5195">
                  <c:v>133</c:v>
                </c:pt>
                <c:pt idx="5196">
                  <c:v>107</c:v>
                </c:pt>
                <c:pt idx="5197">
                  <c:v>92</c:v>
                </c:pt>
                <c:pt idx="5198">
                  <c:v>81</c:v>
                </c:pt>
                <c:pt idx="5199">
                  <c:v>61</c:v>
                </c:pt>
                <c:pt idx="5200">
                  <c:v>78</c:v>
                </c:pt>
                <c:pt idx="5201">
                  <c:v>73</c:v>
                </c:pt>
                <c:pt idx="5202">
                  <c:v>60</c:v>
                </c:pt>
                <c:pt idx="5203">
                  <c:v>69</c:v>
                </c:pt>
                <c:pt idx="5204">
                  <c:v>68</c:v>
                </c:pt>
                <c:pt idx="5205">
                  <c:v>71</c:v>
                </c:pt>
                <c:pt idx="5206">
                  <c:v>61</c:v>
                </c:pt>
                <c:pt idx="5207">
                  <c:v>58</c:v>
                </c:pt>
                <c:pt idx="5208">
                  <c:v>55</c:v>
                </c:pt>
                <c:pt idx="5209">
                  <c:v>64</c:v>
                </c:pt>
                <c:pt idx="5210">
                  <c:v>61</c:v>
                </c:pt>
                <c:pt idx="5211">
                  <c:v>63</c:v>
                </c:pt>
                <c:pt idx="5212">
                  <c:v>59</c:v>
                </c:pt>
                <c:pt idx="5213">
                  <c:v>69</c:v>
                </c:pt>
                <c:pt idx="5214">
                  <c:v>60</c:v>
                </c:pt>
                <c:pt idx="5215">
                  <c:v>60</c:v>
                </c:pt>
                <c:pt idx="5216">
                  <c:v>61</c:v>
                </c:pt>
                <c:pt idx="5217">
                  <c:v>52</c:v>
                </c:pt>
                <c:pt idx="5218">
                  <c:v>49</c:v>
                </c:pt>
                <c:pt idx="5219">
                  <c:v>49</c:v>
                </c:pt>
                <c:pt idx="5220">
                  <c:v>49</c:v>
                </c:pt>
                <c:pt idx="5221">
                  <c:v>22</c:v>
                </c:pt>
                <c:pt idx="5222">
                  <c:v>21</c:v>
                </c:pt>
                <c:pt idx="5223">
                  <c:v>26</c:v>
                </c:pt>
                <c:pt idx="5224">
                  <c:v>29</c:v>
                </c:pt>
                <c:pt idx="5225">
                  <c:v>23</c:v>
                </c:pt>
                <c:pt idx="5226">
                  <c:v>78</c:v>
                </c:pt>
                <c:pt idx="5227">
                  <c:v>139</c:v>
                </c:pt>
                <c:pt idx="5228">
                  <c:v>296</c:v>
                </c:pt>
                <c:pt idx="5229">
                  <c:v>646</c:v>
                </c:pt>
                <c:pt idx="5230">
                  <c:v>479</c:v>
                </c:pt>
                <c:pt idx="5231">
                  <c:v>379</c:v>
                </c:pt>
                <c:pt idx="5232">
                  <c:v>360</c:v>
                </c:pt>
                <c:pt idx="5233">
                  <c:v>303</c:v>
                </c:pt>
                <c:pt idx="5234">
                  <c:v>333</c:v>
                </c:pt>
                <c:pt idx="5235">
                  <c:v>298</c:v>
                </c:pt>
                <c:pt idx="5236">
                  <c:v>302</c:v>
                </c:pt>
                <c:pt idx="5237">
                  <c:v>332</c:v>
                </c:pt>
                <c:pt idx="5238">
                  <c:v>330</c:v>
                </c:pt>
                <c:pt idx="5239">
                  <c:v>291</c:v>
                </c:pt>
                <c:pt idx="5240">
                  <c:v>306</c:v>
                </c:pt>
                <c:pt idx="5241">
                  <c:v>325</c:v>
                </c:pt>
                <c:pt idx="5242">
                  <c:v>295</c:v>
                </c:pt>
                <c:pt idx="5243">
                  <c:v>310</c:v>
                </c:pt>
                <c:pt idx="5244">
                  <c:v>309</c:v>
                </c:pt>
                <c:pt idx="5245">
                  <c:v>294</c:v>
                </c:pt>
                <c:pt idx="5246">
                  <c:v>355</c:v>
                </c:pt>
                <c:pt idx="5247">
                  <c:v>317</c:v>
                </c:pt>
                <c:pt idx="5248">
                  <c:v>353</c:v>
                </c:pt>
                <c:pt idx="5249">
                  <c:v>320</c:v>
                </c:pt>
                <c:pt idx="5250">
                  <c:v>357</c:v>
                </c:pt>
                <c:pt idx="5251">
                  <c:v>302</c:v>
                </c:pt>
                <c:pt idx="5252">
                  <c:v>317</c:v>
                </c:pt>
                <c:pt idx="5253">
                  <c:v>318</c:v>
                </c:pt>
                <c:pt idx="5254">
                  <c:v>269</c:v>
                </c:pt>
                <c:pt idx="5255">
                  <c:v>338</c:v>
                </c:pt>
                <c:pt idx="5256">
                  <c:v>273</c:v>
                </c:pt>
                <c:pt idx="5257">
                  <c:v>291</c:v>
                </c:pt>
                <c:pt idx="5258">
                  <c:v>288</c:v>
                </c:pt>
                <c:pt idx="5259">
                  <c:v>315</c:v>
                </c:pt>
                <c:pt idx="5260">
                  <c:v>274</c:v>
                </c:pt>
                <c:pt idx="5261">
                  <c:v>312</c:v>
                </c:pt>
                <c:pt idx="5262">
                  <c:v>291</c:v>
                </c:pt>
                <c:pt idx="5263">
                  <c:v>316</c:v>
                </c:pt>
                <c:pt idx="5264">
                  <c:v>323</c:v>
                </c:pt>
                <c:pt idx="5265">
                  <c:v>325</c:v>
                </c:pt>
                <c:pt idx="5266">
                  <c:v>201</c:v>
                </c:pt>
                <c:pt idx="5267">
                  <c:v>117</c:v>
                </c:pt>
                <c:pt idx="5268">
                  <c:v>98</c:v>
                </c:pt>
                <c:pt idx="5269">
                  <c:v>128</c:v>
                </c:pt>
                <c:pt idx="5270">
                  <c:v>164</c:v>
                </c:pt>
                <c:pt idx="5271">
                  <c:v>174</c:v>
                </c:pt>
                <c:pt idx="5272">
                  <c:v>179</c:v>
                </c:pt>
                <c:pt idx="5273">
                  <c:v>148</c:v>
                </c:pt>
                <c:pt idx="5274">
                  <c:v>142</c:v>
                </c:pt>
                <c:pt idx="5275">
                  <c:v>144</c:v>
                </c:pt>
                <c:pt idx="5276">
                  <c:v>140</c:v>
                </c:pt>
                <c:pt idx="5277">
                  <c:v>124</c:v>
                </c:pt>
                <c:pt idx="5278">
                  <c:v>135</c:v>
                </c:pt>
                <c:pt idx="5279">
                  <c:v>125</c:v>
                </c:pt>
                <c:pt idx="5280">
                  <c:v>112</c:v>
                </c:pt>
                <c:pt idx="5281">
                  <c:v>77</c:v>
                </c:pt>
                <c:pt idx="5282">
                  <c:v>94</c:v>
                </c:pt>
                <c:pt idx="5283">
                  <c:v>75</c:v>
                </c:pt>
                <c:pt idx="5284">
                  <c:v>88</c:v>
                </c:pt>
                <c:pt idx="5285">
                  <c:v>67</c:v>
                </c:pt>
                <c:pt idx="5286">
                  <c:v>116</c:v>
                </c:pt>
                <c:pt idx="5287">
                  <c:v>87</c:v>
                </c:pt>
                <c:pt idx="5288">
                  <c:v>62</c:v>
                </c:pt>
                <c:pt idx="5289">
                  <c:v>69</c:v>
                </c:pt>
                <c:pt idx="5290">
                  <c:v>69</c:v>
                </c:pt>
                <c:pt idx="5291">
                  <c:v>60</c:v>
                </c:pt>
                <c:pt idx="5292">
                  <c:v>71</c:v>
                </c:pt>
                <c:pt idx="5293">
                  <c:v>90</c:v>
                </c:pt>
                <c:pt idx="5294">
                  <c:v>70</c:v>
                </c:pt>
                <c:pt idx="5295">
                  <c:v>48</c:v>
                </c:pt>
                <c:pt idx="5296">
                  <c:v>57</c:v>
                </c:pt>
                <c:pt idx="5297">
                  <c:v>62</c:v>
                </c:pt>
                <c:pt idx="5298">
                  <c:v>57</c:v>
                </c:pt>
                <c:pt idx="5299">
                  <c:v>69</c:v>
                </c:pt>
                <c:pt idx="5300">
                  <c:v>59</c:v>
                </c:pt>
                <c:pt idx="5301">
                  <c:v>55</c:v>
                </c:pt>
                <c:pt idx="5302">
                  <c:v>56</c:v>
                </c:pt>
                <c:pt idx="5303">
                  <c:v>56</c:v>
                </c:pt>
                <c:pt idx="5304">
                  <c:v>48</c:v>
                </c:pt>
                <c:pt idx="5305">
                  <c:v>54</c:v>
                </c:pt>
                <c:pt idx="5306">
                  <c:v>45</c:v>
                </c:pt>
                <c:pt idx="5307">
                  <c:v>54</c:v>
                </c:pt>
                <c:pt idx="5308">
                  <c:v>48</c:v>
                </c:pt>
                <c:pt idx="5309">
                  <c:v>101</c:v>
                </c:pt>
                <c:pt idx="5310">
                  <c:v>152</c:v>
                </c:pt>
                <c:pt idx="5311">
                  <c:v>114</c:v>
                </c:pt>
                <c:pt idx="5312">
                  <c:v>114</c:v>
                </c:pt>
                <c:pt idx="5313">
                  <c:v>94</c:v>
                </c:pt>
                <c:pt idx="5314">
                  <c:v>95</c:v>
                </c:pt>
                <c:pt idx="5315">
                  <c:v>131</c:v>
                </c:pt>
                <c:pt idx="5316">
                  <c:v>266</c:v>
                </c:pt>
                <c:pt idx="5317">
                  <c:v>202</c:v>
                </c:pt>
                <c:pt idx="5318">
                  <c:v>193</c:v>
                </c:pt>
                <c:pt idx="5319">
                  <c:v>233</c:v>
                </c:pt>
                <c:pt idx="5320">
                  <c:v>229</c:v>
                </c:pt>
                <c:pt idx="5321">
                  <c:v>199</c:v>
                </c:pt>
                <c:pt idx="5322">
                  <c:v>243</c:v>
                </c:pt>
                <c:pt idx="5323">
                  <c:v>289</c:v>
                </c:pt>
                <c:pt idx="5324">
                  <c:v>212</c:v>
                </c:pt>
                <c:pt idx="5325">
                  <c:v>228</c:v>
                </c:pt>
                <c:pt idx="5326">
                  <c:v>238</c:v>
                </c:pt>
                <c:pt idx="5327">
                  <c:v>239</c:v>
                </c:pt>
                <c:pt idx="5328">
                  <c:v>245</c:v>
                </c:pt>
                <c:pt idx="5329">
                  <c:v>225</c:v>
                </c:pt>
                <c:pt idx="5330">
                  <c:v>262</c:v>
                </c:pt>
                <c:pt idx="5331">
                  <c:v>293</c:v>
                </c:pt>
                <c:pt idx="5332">
                  <c:v>316</c:v>
                </c:pt>
                <c:pt idx="5333">
                  <c:v>312</c:v>
                </c:pt>
                <c:pt idx="5334">
                  <c:v>333</c:v>
                </c:pt>
                <c:pt idx="5335">
                  <c:v>311</c:v>
                </c:pt>
                <c:pt idx="5336">
                  <c:v>295</c:v>
                </c:pt>
                <c:pt idx="5337">
                  <c:v>359</c:v>
                </c:pt>
                <c:pt idx="5338">
                  <c:v>336</c:v>
                </c:pt>
                <c:pt idx="5339">
                  <c:v>300</c:v>
                </c:pt>
                <c:pt idx="5340">
                  <c:v>328</c:v>
                </c:pt>
                <c:pt idx="5341">
                  <c:v>312</c:v>
                </c:pt>
                <c:pt idx="5342">
                  <c:v>309</c:v>
                </c:pt>
                <c:pt idx="5343">
                  <c:v>327</c:v>
                </c:pt>
                <c:pt idx="5344">
                  <c:v>355</c:v>
                </c:pt>
                <c:pt idx="5345">
                  <c:v>320</c:v>
                </c:pt>
                <c:pt idx="5346">
                  <c:v>328</c:v>
                </c:pt>
                <c:pt idx="5347">
                  <c:v>346</c:v>
                </c:pt>
                <c:pt idx="5348">
                  <c:v>370</c:v>
                </c:pt>
                <c:pt idx="5349">
                  <c:v>369</c:v>
                </c:pt>
                <c:pt idx="5350">
                  <c:v>341</c:v>
                </c:pt>
                <c:pt idx="5351">
                  <c:v>270</c:v>
                </c:pt>
                <c:pt idx="5352">
                  <c:v>257</c:v>
                </c:pt>
                <c:pt idx="5353">
                  <c:v>320</c:v>
                </c:pt>
                <c:pt idx="5354">
                  <c:v>326</c:v>
                </c:pt>
                <c:pt idx="5355">
                  <c:v>348</c:v>
                </c:pt>
                <c:pt idx="5356">
                  <c:v>282</c:v>
                </c:pt>
                <c:pt idx="5357">
                  <c:v>356</c:v>
                </c:pt>
                <c:pt idx="5358">
                  <c:v>351</c:v>
                </c:pt>
                <c:pt idx="5359">
                  <c:v>382</c:v>
                </c:pt>
                <c:pt idx="5360">
                  <c:v>335</c:v>
                </c:pt>
                <c:pt idx="5361">
                  <c:v>338</c:v>
                </c:pt>
                <c:pt idx="5362">
                  <c:v>260</c:v>
                </c:pt>
                <c:pt idx="5363">
                  <c:v>268</c:v>
                </c:pt>
                <c:pt idx="5364">
                  <c:v>266</c:v>
                </c:pt>
                <c:pt idx="5365">
                  <c:v>273</c:v>
                </c:pt>
                <c:pt idx="5366">
                  <c:v>252</c:v>
                </c:pt>
                <c:pt idx="5367">
                  <c:v>239</c:v>
                </c:pt>
                <c:pt idx="5368">
                  <c:v>260</c:v>
                </c:pt>
                <c:pt idx="5369">
                  <c:v>239</c:v>
                </c:pt>
                <c:pt idx="5370">
                  <c:v>235</c:v>
                </c:pt>
                <c:pt idx="5371">
                  <c:v>220</c:v>
                </c:pt>
                <c:pt idx="5372">
                  <c:v>237</c:v>
                </c:pt>
                <c:pt idx="5373">
                  <c:v>217</c:v>
                </c:pt>
                <c:pt idx="5374">
                  <c:v>205</c:v>
                </c:pt>
                <c:pt idx="5375">
                  <c:v>204</c:v>
                </c:pt>
                <c:pt idx="5376">
                  <c:v>175</c:v>
                </c:pt>
                <c:pt idx="5377">
                  <c:v>161</c:v>
                </c:pt>
                <c:pt idx="5378">
                  <c:v>163</c:v>
                </c:pt>
                <c:pt idx="5379">
                  <c:v>155</c:v>
                </c:pt>
                <c:pt idx="5380">
                  <c:v>157</c:v>
                </c:pt>
                <c:pt idx="5381">
                  <c:v>156</c:v>
                </c:pt>
                <c:pt idx="5382">
                  <c:v>143</c:v>
                </c:pt>
                <c:pt idx="5383">
                  <c:v>147</c:v>
                </c:pt>
                <c:pt idx="5384">
                  <c:v>153</c:v>
                </c:pt>
                <c:pt idx="5385">
                  <c:v>140</c:v>
                </c:pt>
                <c:pt idx="5386">
                  <c:v>156</c:v>
                </c:pt>
                <c:pt idx="5387">
                  <c:v>151</c:v>
                </c:pt>
                <c:pt idx="5388">
                  <c:v>143</c:v>
                </c:pt>
                <c:pt idx="5389">
                  <c:v>143</c:v>
                </c:pt>
                <c:pt idx="5390">
                  <c:v>122</c:v>
                </c:pt>
                <c:pt idx="5391">
                  <c:v>143</c:v>
                </c:pt>
                <c:pt idx="5392">
                  <c:v>145</c:v>
                </c:pt>
                <c:pt idx="5393">
                  <c:v>134</c:v>
                </c:pt>
                <c:pt idx="5394">
                  <c:v>130</c:v>
                </c:pt>
                <c:pt idx="5395">
                  <c:v>135</c:v>
                </c:pt>
                <c:pt idx="5396">
                  <c:v>91</c:v>
                </c:pt>
                <c:pt idx="5397">
                  <c:v>106</c:v>
                </c:pt>
                <c:pt idx="5398">
                  <c:v>104</c:v>
                </c:pt>
                <c:pt idx="5399">
                  <c:v>102</c:v>
                </c:pt>
                <c:pt idx="5400">
                  <c:v>98</c:v>
                </c:pt>
                <c:pt idx="5401">
                  <c:v>91</c:v>
                </c:pt>
                <c:pt idx="5402">
                  <c:v>87</c:v>
                </c:pt>
                <c:pt idx="5403">
                  <c:v>93</c:v>
                </c:pt>
                <c:pt idx="5404">
                  <c:v>101</c:v>
                </c:pt>
                <c:pt idx="5405">
                  <c:v>116</c:v>
                </c:pt>
                <c:pt idx="5406">
                  <c:v>178</c:v>
                </c:pt>
                <c:pt idx="5407">
                  <c:v>123</c:v>
                </c:pt>
                <c:pt idx="5408">
                  <c:v>114</c:v>
                </c:pt>
                <c:pt idx="5409">
                  <c:v>136</c:v>
                </c:pt>
                <c:pt idx="5410">
                  <c:v>139</c:v>
                </c:pt>
                <c:pt idx="5411">
                  <c:v>176</c:v>
                </c:pt>
                <c:pt idx="5412">
                  <c:v>567</c:v>
                </c:pt>
                <c:pt idx="5413">
                  <c:v>512</c:v>
                </c:pt>
                <c:pt idx="5414">
                  <c:v>412</c:v>
                </c:pt>
                <c:pt idx="5415">
                  <c:v>411</c:v>
                </c:pt>
                <c:pt idx="5416">
                  <c:v>364</c:v>
                </c:pt>
                <c:pt idx="5417">
                  <c:v>414</c:v>
                </c:pt>
                <c:pt idx="5418">
                  <c:v>377</c:v>
                </c:pt>
                <c:pt idx="5419">
                  <c:v>422</c:v>
                </c:pt>
                <c:pt idx="5420">
                  <c:v>448</c:v>
                </c:pt>
                <c:pt idx="5421">
                  <c:v>294</c:v>
                </c:pt>
                <c:pt idx="5422">
                  <c:v>313</c:v>
                </c:pt>
                <c:pt idx="5423">
                  <c:v>261</c:v>
                </c:pt>
                <c:pt idx="5424">
                  <c:v>279</c:v>
                </c:pt>
                <c:pt idx="5425">
                  <c:v>278</c:v>
                </c:pt>
                <c:pt idx="5426">
                  <c:v>242</c:v>
                </c:pt>
                <c:pt idx="5427">
                  <c:v>274</c:v>
                </c:pt>
                <c:pt idx="5428">
                  <c:v>234</c:v>
                </c:pt>
                <c:pt idx="5429">
                  <c:v>221</c:v>
                </c:pt>
                <c:pt idx="5430">
                  <c:v>225</c:v>
                </c:pt>
                <c:pt idx="5431">
                  <c:v>209</c:v>
                </c:pt>
                <c:pt idx="5432">
                  <c:v>208</c:v>
                </c:pt>
                <c:pt idx="5433">
                  <c:v>177</c:v>
                </c:pt>
                <c:pt idx="5434">
                  <c:v>148</c:v>
                </c:pt>
                <c:pt idx="5435">
                  <c:v>175</c:v>
                </c:pt>
                <c:pt idx="5436">
                  <c:v>119</c:v>
                </c:pt>
                <c:pt idx="5437">
                  <c:v>159</c:v>
                </c:pt>
                <c:pt idx="5438">
                  <c:v>132</c:v>
                </c:pt>
                <c:pt idx="5439">
                  <c:v>149</c:v>
                </c:pt>
                <c:pt idx="5440">
                  <c:v>125</c:v>
                </c:pt>
                <c:pt idx="5441">
                  <c:v>116</c:v>
                </c:pt>
                <c:pt idx="5442">
                  <c:v>115</c:v>
                </c:pt>
                <c:pt idx="5443">
                  <c:v>119</c:v>
                </c:pt>
                <c:pt idx="5444">
                  <c:v>120</c:v>
                </c:pt>
                <c:pt idx="5445">
                  <c:v>153</c:v>
                </c:pt>
                <c:pt idx="5446">
                  <c:v>160</c:v>
                </c:pt>
                <c:pt idx="5447">
                  <c:v>98</c:v>
                </c:pt>
                <c:pt idx="5448">
                  <c:v>80</c:v>
                </c:pt>
                <c:pt idx="5449">
                  <c:v>84</c:v>
                </c:pt>
                <c:pt idx="5450">
                  <c:v>90</c:v>
                </c:pt>
                <c:pt idx="5451">
                  <c:v>79</c:v>
                </c:pt>
                <c:pt idx="5452">
                  <c:v>78</c:v>
                </c:pt>
                <c:pt idx="5453">
                  <c:v>76</c:v>
                </c:pt>
                <c:pt idx="5454">
                  <c:v>85</c:v>
                </c:pt>
                <c:pt idx="5455">
                  <c:v>116</c:v>
                </c:pt>
                <c:pt idx="5456">
                  <c:v>81</c:v>
                </c:pt>
                <c:pt idx="5457">
                  <c:v>122</c:v>
                </c:pt>
                <c:pt idx="5458">
                  <c:v>92</c:v>
                </c:pt>
                <c:pt idx="5459">
                  <c:v>98</c:v>
                </c:pt>
                <c:pt idx="5460">
                  <c:v>110</c:v>
                </c:pt>
                <c:pt idx="5461">
                  <c:v>104</c:v>
                </c:pt>
                <c:pt idx="5462">
                  <c:v>59</c:v>
                </c:pt>
                <c:pt idx="5463">
                  <c:v>129</c:v>
                </c:pt>
                <c:pt idx="5464">
                  <c:v>199</c:v>
                </c:pt>
                <c:pt idx="5465">
                  <c:v>155</c:v>
                </c:pt>
                <c:pt idx="5466">
                  <c:v>112</c:v>
                </c:pt>
                <c:pt idx="5467">
                  <c:v>190</c:v>
                </c:pt>
                <c:pt idx="5468">
                  <c:v>156</c:v>
                </c:pt>
                <c:pt idx="5469">
                  <c:v>220</c:v>
                </c:pt>
                <c:pt idx="5470">
                  <c:v>206</c:v>
                </c:pt>
                <c:pt idx="5471">
                  <c:v>221</c:v>
                </c:pt>
                <c:pt idx="5472">
                  <c:v>195</c:v>
                </c:pt>
                <c:pt idx="5473">
                  <c:v>225</c:v>
                </c:pt>
                <c:pt idx="5474">
                  <c:v>185</c:v>
                </c:pt>
                <c:pt idx="5475">
                  <c:v>253</c:v>
                </c:pt>
                <c:pt idx="5476">
                  <c:v>223</c:v>
                </c:pt>
                <c:pt idx="5477">
                  <c:v>200</c:v>
                </c:pt>
                <c:pt idx="5478">
                  <c:v>218</c:v>
                </c:pt>
                <c:pt idx="5479">
                  <c:v>225</c:v>
                </c:pt>
                <c:pt idx="5480">
                  <c:v>258</c:v>
                </c:pt>
                <c:pt idx="5481">
                  <c:v>288</c:v>
                </c:pt>
                <c:pt idx="5482">
                  <c:v>296</c:v>
                </c:pt>
                <c:pt idx="5483">
                  <c:v>348</c:v>
                </c:pt>
                <c:pt idx="5484">
                  <c:v>367</c:v>
                </c:pt>
                <c:pt idx="5485">
                  <c:v>337</c:v>
                </c:pt>
                <c:pt idx="5486">
                  <c:v>334</c:v>
                </c:pt>
                <c:pt idx="5487">
                  <c:v>466</c:v>
                </c:pt>
                <c:pt idx="5488">
                  <c:v>493</c:v>
                </c:pt>
                <c:pt idx="5489">
                  <c:v>426</c:v>
                </c:pt>
                <c:pt idx="5490">
                  <c:v>436</c:v>
                </c:pt>
                <c:pt idx="5491">
                  <c:v>227</c:v>
                </c:pt>
                <c:pt idx="5492">
                  <c:v>488</c:v>
                </c:pt>
                <c:pt idx="5493">
                  <c:v>648</c:v>
                </c:pt>
                <c:pt idx="5494">
                  <c:v>577</c:v>
                </c:pt>
                <c:pt idx="5495">
                  <c:v>533</c:v>
                </c:pt>
                <c:pt idx="5496">
                  <c:v>424</c:v>
                </c:pt>
                <c:pt idx="5497">
                  <c:v>462</c:v>
                </c:pt>
                <c:pt idx="5498">
                  <c:v>540</c:v>
                </c:pt>
                <c:pt idx="5499">
                  <c:v>444</c:v>
                </c:pt>
                <c:pt idx="5500">
                  <c:v>455</c:v>
                </c:pt>
                <c:pt idx="5501">
                  <c:v>467</c:v>
                </c:pt>
                <c:pt idx="5502">
                  <c:v>454</c:v>
                </c:pt>
                <c:pt idx="5503">
                  <c:v>514</c:v>
                </c:pt>
                <c:pt idx="5504">
                  <c:v>454</c:v>
                </c:pt>
                <c:pt idx="5505">
                  <c:v>383</c:v>
                </c:pt>
                <c:pt idx="5506">
                  <c:v>388</c:v>
                </c:pt>
                <c:pt idx="5507">
                  <c:v>378</c:v>
                </c:pt>
                <c:pt idx="5508">
                  <c:v>381</c:v>
                </c:pt>
                <c:pt idx="5509">
                  <c:v>421</c:v>
                </c:pt>
                <c:pt idx="5510">
                  <c:v>427</c:v>
                </c:pt>
                <c:pt idx="5511">
                  <c:v>433</c:v>
                </c:pt>
                <c:pt idx="5512">
                  <c:v>423</c:v>
                </c:pt>
                <c:pt idx="5513">
                  <c:v>410</c:v>
                </c:pt>
                <c:pt idx="5514">
                  <c:v>453</c:v>
                </c:pt>
                <c:pt idx="5515">
                  <c:v>416</c:v>
                </c:pt>
                <c:pt idx="5516">
                  <c:v>417</c:v>
                </c:pt>
                <c:pt idx="5517">
                  <c:v>222</c:v>
                </c:pt>
                <c:pt idx="5518">
                  <c:v>269</c:v>
                </c:pt>
                <c:pt idx="5519">
                  <c:v>206</c:v>
                </c:pt>
                <c:pt idx="5520">
                  <c:v>223</c:v>
                </c:pt>
                <c:pt idx="5521">
                  <c:v>260</c:v>
                </c:pt>
                <c:pt idx="5522">
                  <c:v>200</c:v>
                </c:pt>
                <c:pt idx="5523">
                  <c:v>256</c:v>
                </c:pt>
                <c:pt idx="5524">
                  <c:v>288</c:v>
                </c:pt>
                <c:pt idx="5525">
                  <c:v>215</c:v>
                </c:pt>
                <c:pt idx="5526">
                  <c:v>163</c:v>
                </c:pt>
                <c:pt idx="5527">
                  <c:v>222</c:v>
                </c:pt>
                <c:pt idx="5528">
                  <c:v>246</c:v>
                </c:pt>
                <c:pt idx="5529">
                  <c:v>209</c:v>
                </c:pt>
                <c:pt idx="5530">
                  <c:v>165</c:v>
                </c:pt>
                <c:pt idx="5531">
                  <c:v>187</c:v>
                </c:pt>
                <c:pt idx="5532">
                  <c:v>235</c:v>
                </c:pt>
                <c:pt idx="5533">
                  <c:v>204</c:v>
                </c:pt>
                <c:pt idx="5534">
                  <c:v>176</c:v>
                </c:pt>
                <c:pt idx="5535">
                  <c:v>139</c:v>
                </c:pt>
                <c:pt idx="5536">
                  <c:v>251</c:v>
                </c:pt>
                <c:pt idx="5537">
                  <c:v>181</c:v>
                </c:pt>
                <c:pt idx="5538">
                  <c:v>134</c:v>
                </c:pt>
                <c:pt idx="5539">
                  <c:v>148</c:v>
                </c:pt>
                <c:pt idx="5540">
                  <c:v>194</c:v>
                </c:pt>
                <c:pt idx="5541">
                  <c:v>158</c:v>
                </c:pt>
                <c:pt idx="5542">
                  <c:v>124</c:v>
                </c:pt>
                <c:pt idx="5543">
                  <c:v>120</c:v>
                </c:pt>
                <c:pt idx="5544">
                  <c:v>188</c:v>
                </c:pt>
                <c:pt idx="5545">
                  <c:v>113</c:v>
                </c:pt>
                <c:pt idx="5546">
                  <c:v>144</c:v>
                </c:pt>
                <c:pt idx="5547">
                  <c:v>126</c:v>
                </c:pt>
                <c:pt idx="5548">
                  <c:v>132</c:v>
                </c:pt>
                <c:pt idx="5549">
                  <c:v>78</c:v>
                </c:pt>
                <c:pt idx="5550">
                  <c:v>103</c:v>
                </c:pt>
                <c:pt idx="5551">
                  <c:v>100</c:v>
                </c:pt>
                <c:pt idx="5552">
                  <c:v>161</c:v>
                </c:pt>
                <c:pt idx="5553">
                  <c:v>116</c:v>
                </c:pt>
                <c:pt idx="5554">
                  <c:v>78</c:v>
                </c:pt>
                <c:pt idx="5555">
                  <c:v>94</c:v>
                </c:pt>
                <c:pt idx="5556">
                  <c:v>108</c:v>
                </c:pt>
                <c:pt idx="5557">
                  <c:v>93</c:v>
                </c:pt>
                <c:pt idx="5558">
                  <c:v>162</c:v>
                </c:pt>
                <c:pt idx="5559">
                  <c:v>115</c:v>
                </c:pt>
                <c:pt idx="5560">
                  <c:v>142</c:v>
                </c:pt>
                <c:pt idx="5561">
                  <c:v>160</c:v>
                </c:pt>
                <c:pt idx="5562">
                  <c:v>143</c:v>
                </c:pt>
                <c:pt idx="5563">
                  <c:v>102</c:v>
                </c:pt>
                <c:pt idx="5564">
                  <c:v>126</c:v>
                </c:pt>
                <c:pt idx="5565">
                  <c:v>121</c:v>
                </c:pt>
                <c:pt idx="5566">
                  <c:v>110</c:v>
                </c:pt>
                <c:pt idx="5567">
                  <c:v>153</c:v>
                </c:pt>
                <c:pt idx="5568">
                  <c:v>104</c:v>
                </c:pt>
                <c:pt idx="5569">
                  <c:v>165</c:v>
                </c:pt>
                <c:pt idx="5570">
                  <c:v>170</c:v>
                </c:pt>
                <c:pt idx="5571">
                  <c:v>149</c:v>
                </c:pt>
                <c:pt idx="5572">
                  <c:v>113</c:v>
                </c:pt>
                <c:pt idx="5573">
                  <c:v>3</c:v>
                </c:pt>
                <c:pt idx="5574">
                  <c:v>5</c:v>
                </c:pt>
                <c:pt idx="5575">
                  <c:v>3</c:v>
                </c:pt>
                <c:pt idx="5576">
                  <c:v>8</c:v>
                </c:pt>
                <c:pt idx="5577">
                  <c:v>2</c:v>
                </c:pt>
                <c:pt idx="5578">
                  <c:v>114</c:v>
                </c:pt>
                <c:pt idx="5579">
                  <c:v>485</c:v>
                </c:pt>
                <c:pt idx="5580">
                  <c:v>379</c:v>
                </c:pt>
                <c:pt idx="5581">
                  <c:v>305</c:v>
                </c:pt>
                <c:pt idx="5582">
                  <c:v>270</c:v>
                </c:pt>
                <c:pt idx="5583">
                  <c:v>285</c:v>
                </c:pt>
                <c:pt idx="5584">
                  <c:v>240</c:v>
                </c:pt>
                <c:pt idx="5585">
                  <c:v>262</c:v>
                </c:pt>
                <c:pt idx="5586">
                  <c:v>300</c:v>
                </c:pt>
                <c:pt idx="5587">
                  <c:v>241</c:v>
                </c:pt>
                <c:pt idx="5588">
                  <c:v>288</c:v>
                </c:pt>
                <c:pt idx="5589">
                  <c:v>276</c:v>
                </c:pt>
                <c:pt idx="5590">
                  <c:v>247</c:v>
                </c:pt>
                <c:pt idx="5591">
                  <c:v>330</c:v>
                </c:pt>
                <c:pt idx="5592">
                  <c:v>297</c:v>
                </c:pt>
                <c:pt idx="5593">
                  <c:v>262</c:v>
                </c:pt>
                <c:pt idx="5594">
                  <c:v>236</c:v>
                </c:pt>
                <c:pt idx="5595">
                  <c:v>285</c:v>
                </c:pt>
                <c:pt idx="5596">
                  <c:v>281</c:v>
                </c:pt>
                <c:pt idx="5597">
                  <c:v>304</c:v>
                </c:pt>
                <c:pt idx="5598">
                  <c:v>251</c:v>
                </c:pt>
                <c:pt idx="5599">
                  <c:v>270</c:v>
                </c:pt>
                <c:pt idx="5600">
                  <c:v>329</c:v>
                </c:pt>
                <c:pt idx="5601">
                  <c:v>262</c:v>
                </c:pt>
                <c:pt idx="5602">
                  <c:v>200</c:v>
                </c:pt>
                <c:pt idx="5603">
                  <c:v>195</c:v>
                </c:pt>
                <c:pt idx="5604">
                  <c:v>215</c:v>
                </c:pt>
                <c:pt idx="5605">
                  <c:v>123</c:v>
                </c:pt>
                <c:pt idx="5606">
                  <c:v>125</c:v>
                </c:pt>
                <c:pt idx="5607">
                  <c:v>169</c:v>
                </c:pt>
                <c:pt idx="5608">
                  <c:v>223</c:v>
                </c:pt>
                <c:pt idx="5609">
                  <c:v>193</c:v>
                </c:pt>
                <c:pt idx="5610">
                  <c:v>237</c:v>
                </c:pt>
                <c:pt idx="5611">
                  <c:v>194</c:v>
                </c:pt>
                <c:pt idx="5612">
                  <c:v>227</c:v>
                </c:pt>
                <c:pt idx="5613">
                  <c:v>221</c:v>
                </c:pt>
                <c:pt idx="5614">
                  <c:v>255</c:v>
                </c:pt>
                <c:pt idx="5615">
                  <c:v>192</c:v>
                </c:pt>
                <c:pt idx="5616">
                  <c:v>228</c:v>
                </c:pt>
                <c:pt idx="5617">
                  <c:v>228</c:v>
                </c:pt>
                <c:pt idx="5618">
                  <c:v>158</c:v>
                </c:pt>
                <c:pt idx="5619">
                  <c:v>181</c:v>
                </c:pt>
                <c:pt idx="5620">
                  <c:v>169</c:v>
                </c:pt>
                <c:pt idx="5621">
                  <c:v>194</c:v>
                </c:pt>
                <c:pt idx="5622">
                  <c:v>137</c:v>
                </c:pt>
                <c:pt idx="5623">
                  <c:v>151</c:v>
                </c:pt>
                <c:pt idx="5624">
                  <c:v>133</c:v>
                </c:pt>
                <c:pt idx="5625">
                  <c:v>245</c:v>
                </c:pt>
                <c:pt idx="5626">
                  <c:v>181</c:v>
                </c:pt>
                <c:pt idx="5627">
                  <c:v>158</c:v>
                </c:pt>
                <c:pt idx="5628">
                  <c:v>167</c:v>
                </c:pt>
                <c:pt idx="5629">
                  <c:v>192</c:v>
                </c:pt>
                <c:pt idx="5630">
                  <c:v>133</c:v>
                </c:pt>
                <c:pt idx="5631">
                  <c:v>112</c:v>
                </c:pt>
                <c:pt idx="5632">
                  <c:v>139</c:v>
                </c:pt>
                <c:pt idx="5633">
                  <c:v>173</c:v>
                </c:pt>
                <c:pt idx="5634">
                  <c:v>152</c:v>
                </c:pt>
                <c:pt idx="5635">
                  <c:v>163</c:v>
                </c:pt>
                <c:pt idx="5636">
                  <c:v>127</c:v>
                </c:pt>
                <c:pt idx="5637">
                  <c:v>155</c:v>
                </c:pt>
                <c:pt idx="5638">
                  <c:v>157</c:v>
                </c:pt>
                <c:pt idx="5639">
                  <c:v>136</c:v>
                </c:pt>
                <c:pt idx="5640">
                  <c:v>126</c:v>
                </c:pt>
                <c:pt idx="5641">
                  <c:v>147</c:v>
                </c:pt>
                <c:pt idx="5642">
                  <c:v>127</c:v>
                </c:pt>
                <c:pt idx="5643">
                  <c:v>117</c:v>
                </c:pt>
                <c:pt idx="5644">
                  <c:v>147</c:v>
                </c:pt>
                <c:pt idx="5645">
                  <c:v>141</c:v>
                </c:pt>
                <c:pt idx="5646">
                  <c:v>103</c:v>
                </c:pt>
                <c:pt idx="5647">
                  <c:v>75</c:v>
                </c:pt>
                <c:pt idx="5648">
                  <c:v>116</c:v>
                </c:pt>
                <c:pt idx="5649">
                  <c:v>120</c:v>
                </c:pt>
                <c:pt idx="5650">
                  <c:v>113</c:v>
                </c:pt>
                <c:pt idx="5651">
                  <c:v>81</c:v>
                </c:pt>
                <c:pt idx="5652">
                  <c:v>93</c:v>
                </c:pt>
                <c:pt idx="5653">
                  <c:v>103</c:v>
                </c:pt>
                <c:pt idx="5654">
                  <c:v>160</c:v>
                </c:pt>
                <c:pt idx="5655">
                  <c:v>126</c:v>
                </c:pt>
                <c:pt idx="5656">
                  <c:v>133</c:v>
                </c:pt>
                <c:pt idx="5657">
                  <c:v>170</c:v>
                </c:pt>
                <c:pt idx="5658">
                  <c:v>157</c:v>
                </c:pt>
                <c:pt idx="5659">
                  <c:v>207</c:v>
                </c:pt>
                <c:pt idx="5660">
                  <c:v>179</c:v>
                </c:pt>
                <c:pt idx="5661">
                  <c:v>117</c:v>
                </c:pt>
                <c:pt idx="5662">
                  <c:v>195</c:v>
                </c:pt>
                <c:pt idx="5663">
                  <c:v>205</c:v>
                </c:pt>
                <c:pt idx="5664">
                  <c:v>175</c:v>
                </c:pt>
                <c:pt idx="5665">
                  <c:v>206</c:v>
                </c:pt>
                <c:pt idx="5666">
                  <c:v>195</c:v>
                </c:pt>
                <c:pt idx="5667">
                  <c:v>192</c:v>
                </c:pt>
                <c:pt idx="5668">
                  <c:v>227</c:v>
                </c:pt>
                <c:pt idx="5669">
                  <c:v>205</c:v>
                </c:pt>
                <c:pt idx="5670">
                  <c:v>206</c:v>
                </c:pt>
                <c:pt idx="5671">
                  <c:v>227</c:v>
                </c:pt>
                <c:pt idx="5672">
                  <c:v>251</c:v>
                </c:pt>
                <c:pt idx="5673">
                  <c:v>211</c:v>
                </c:pt>
                <c:pt idx="5674">
                  <c:v>243</c:v>
                </c:pt>
                <c:pt idx="5675">
                  <c:v>226</c:v>
                </c:pt>
                <c:pt idx="5676">
                  <c:v>286</c:v>
                </c:pt>
                <c:pt idx="5677">
                  <c:v>260</c:v>
                </c:pt>
                <c:pt idx="5678">
                  <c:v>346</c:v>
                </c:pt>
                <c:pt idx="5679">
                  <c:v>299</c:v>
                </c:pt>
                <c:pt idx="5680">
                  <c:v>294</c:v>
                </c:pt>
                <c:pt idx="5681">
                  <c:v>300</c:v>
                </c:pt>
                <c:pt idx="5682">
                  <c:v>359</c:v>
                </c:pt>
                <c:pt idx="5683">
                  <c:v>316</c:v>
                </c:pt>
                <c:pt idx="5684">
                  <c:v>294</c:v>
                </c:pt>
                <c:pt idx="5685">
                  <c:v>366</c:v>
                </c:pt>
                <c:pt idx="5686">
                  <c:v>360</c:v>
                </c:pt>
                <c:pt idx="5687">
                  <c:v>335</c:v>
                </c:pt>
                <c:pt idx="5688">
                  <c:v>324</c:v>
                </c:pt>
                <c:pt idx="5689">
                  <c:v>350</c:v>
                </c:pt>
                <c:pt idx="5690">
                  <c:v>412</c:v>
                </c:pt>
                <c:pt idx="5691">
                  <c:v>377</c:v>
                </c:pt>
                <c:pt idx="5692">
                  <c:v>324</c:v>
                </c:pt>
                <c:pt idx="5693">
                  <c:v>398</c:v>
                </c:pt>
                <c:pt idx="5694">
                  <c:v>425</c:v>
                </c:pt>
                <c:pt idx="5695">
                  <c:v>338</c:v>
                </c:pt>
                <c:pt idx="5696">
                  <c:v>322</c:v>
                </c:pt>
                <c:pt idx="5697">
                  <c:v>281</c:v>
                </c:pt>
                <c:pt idx="5698">
                  <c:v>256</c:v>
                </c:pt>
                <c:pt idx="5699">
                  <c:v>283</c:v>
                </c:pt>
                <c:pt idx="5700">
                  <c:v>316</c:v>
                </c:pt>
                <c:pt idx="5701">
                  <c:v>277</c:v>
                </c:pt>
                <c:pt idx="5702">
                  <c:v>299</c:v>
                </c:pt>
                <c:pt idx="5703">
                  <c:v>272</c:v>
                </c:pt>
                <c:pt idx="5704">
                  <c:v>224</c:v>
                </c:pt>
                <c:pt idx="5705">
                  <c:v>282</c:v>
                </c:pt>
                <c:pt idx="5706">
                  <c:v>328</c:v>
                </c:pt>
                <c:pt idx="5707">
                  <c:v>300</c:v>
                </c:pt>
                <c:pt idx="5708">
                  <c:v>337</c:v>
                </c:pt>
                <c:pt idx="5709">
                  <c:v>338</c:v>
                </c:pt>
                <c:pt idx="5710">
                  <c:v>269</c:v>
                </c:pt>
                <c:pt idx="5711">
                  <c:v>226</c:v>
                </c:pt>
                <c:pt idx="5712">
                  <c:v>293</c:v>
                </c:pt>
                <c:pt idx="5713">
                  <c:v>324</c:v>
                </c:pt>
                <c:pt idx="5714">
                  <c:v>236</c:v>
                </c:pt>
                <c:pt idx="5715">
                  <c:v>240</c:v>
                </c:pt>
                <c:pt idx="5716">
                  <c:v>208</c:v>
                </c:pt>
                <c:pt idx="5717">
                  <c:v>271</c:v>
                </c:pt>
                <c:pt idx="5718">
                  <c:v>277</c:v>
                </c:pt>
                <c:pt idx="5719">
                  <c:v>191</c:v>
                </c:pt>
                <c:pt idx="5720">
                  <c:v>227</c:v>
                </c:pt>
                <c:pt idx="5721">
                  <c:v>252</c:v>
                </c:pt>
                <c:pt idx="5722">
                  <c:v>216</c:v>
                </c:pt>
                <c:pt idx="5723">
                  <c:v>174</c:v>
                </c:pt>
                <c:pt idx="5724">
                  <c:v>169</c:v>
                </c:pt>
                <c:pt idx="5725">
                  <c:v>204</c:v>
                </c:pt>
                <c:pt idx="5726">
                  <c:v>207</c:v>
                </c:pt>
                <c:pt idx="5727">
                  <c:v>171</c:v>
                </c:pt>
                <c:pt idx="5728">
                  <c:v>194</c:v>
                </c:pt>
                <c:pt idx="5729">
                  <c:v>172</c:v>
                </c:pt>
                <c:pt idx="5730">
                  <c:v>140</c:v>
                </c:pt>
                <c:pt idx="5731">
                  <c:v>119</c:v>
                </c:pt>
                <c:pt idx="5732">
                  <c:v>176</c:v>
                </c:pt>
                <c:pt idx="5733">
                  <c:v>140</c:v>
                </c:pt>
                <c:pt idx="5734">
                  <c:v>177</c:v>
                </c:pt>
                <c:pt idx="5735">
                  <c:v>212</c:v>
                </c:pt>
                <c:pt idx="5736">
                  <c:v>224</c:v>
                </c:pt>
                <c:pt idx="5737">
                  <c:v>166</c:v>
                </c:pt>
                <c:pt idx="5738">
                  <c:v>128</c:v>
                </c:pt>
                <c:pt idx="5739">
                  <c:v>146</c:v>
                </c:pt>
                <c:pt idx="5740">
                  <c:v>173</c:v>
                </c:pt>
                <c:pt idx="5741">
                  <c:v>117</c:v>
                </c:pt>
                <c:pt idx="5742">
                  <c:v>120</c:v>
                </c:pt>
                <c:pt idx="5743">
                  <c:v>119</c:v>
                </c:pt>
                <c:pt idx="5744">
                  <c:v>173</c:v>
                </c:pt>
                <c:pt idx="5745">
                  <c:v>112</c:v>
                </c:pt>
                <c:pt idx="5746">
                  <c:v>130</c:v>
                </c:pt>
                <c:pt idx="5747">
                  <c:v>166</c:v>
                </c:pt>
                <c:pt idx="5748">
                  <c:v>143</c:v>
                </c:pt>
                <c:pt idx="5749">
                  <c:v>135</c:v>
                </c:pt>
                <c:pt idx="5750">
                  <c:v>122</c:v>
                </c:pt>
                <c:pt idx="5751">
                  <c:v>329</c:v>
                </c:pt>
                <c:pt idx="5752">
                  <c:v>325</c:v>
                </c:pt>
                <c:pt idx="5753">
                  <c:v>216</c:v>
                </c:pt>
                <c:pt idx="5754">
                  <c:v>262</c:v>
                </c:pt>
                <c:pt idx="5755">
                  <c:v>250</c:v>
                </c:pt>
                <c:pt idx="5756">
                  <c:v>268</c:v>
                </c:pt>
                <c:pt idx="5757">
                  <c:v>387</c:v>
                </c:pt>
                <c:pt idx="5758">
                  <c:v>343</c:v>
                </c:pt>
                <c:pt idx="5759">
                  <c:v>245</c:v>
                </c:pt>
                <c:pt idx="5760">
                  <c:v>322</c:v>
                </c:pt>
                <c:pt idx="5761">
                  <c:v>364</c:v>
                </c:pt>
                <c:pt idx="5762">
                  <c:v>369</c:v>
                </c:pt>
                <c:pt idx="5763">
                  <c:v>307</c:v>
                </c:pt>
                <c:pt idx="5764">
                  <c:v>433</c:v>
                </c:pt>
                <c:pt idx="5765">
                  <c:v>420</c:v>
                </c:pt>
                <c:pt idx="5766">
                  <c:v>396</c:v>
                </c:pt>
                <c:pt idx="5767">
                  <c:v>407</c:v>
                </c:pt>
                <c:pt idx="5768">
                  <c:v>444</c:v>
                </c:pt>
                <c:pt idx="5769">
                  <c:v>422</c:v>
                </c:pt>
                <c:pt idx="5770">
                  <c:v>449</c:v>
                </c:pt>
                <c:pt idx="5771">
                  <c:v>486</c:v>
                </c:pt>
                <c:pt idx="5772">
                  <c:v>550</c:v>
                </c:pt>
                <c:pt idx="5773">
                  <c:v>532</c:v>
                </c:pt>
                <c:pt idx="5774">
                  <c:v>535</c:v>
                </c:pt>
                <c:pt idx="5775">
                  <c:v>503</c:v>
                </c:pt>
                <c:pt idx="5776">
                  <c:v>508</c:v>
                </c:pt>
                <c:pt idx="5777">
                  <c:v>550</c:v>
                </c:pt>
                <c:pt idx="5778">
                  <c:v>476</c:v>
                </c:pt>
                <c:pt idx="5779">
                  <c:v>464</c:v>
                </c:pt>
                <c:pt idx="5780">
                  <c:v>510</c:v>
                </c:pt>
                <c:pt idx="5781">
                  <c:v>469</c:v>
                </c:pt>
                <c:pt idx="5782">
                  <c:v>458</c:v>
                </c:pt>
                <c:pt idx="5783">
                  <c:v>516</c:v>
                </c:pt>
                <c:pt idx="5784">
                  <c:v>530</c:v>
                </c:pt>
                <c:pt idx="5785">
                  <c:v>522</c:v>
                </c:pt>
                <c:pt idx="5786">
                  <c:v>463</c:v>
                </c:pt>
                <c:pt idx="5787">
                  <c:v>468</c:v>
                </c:pt>
                <c:pt idx="5788">
                  <c:v>451</c:v>
                </c:pt>
                <c:pt idx="5789">
                  <c:v>467</c:v>
                </c:pt>
                <c:pt idx="5790">
                  <c:v>501</c:v>
                </c:pt>
                <c:pt idx="5791">
                  <c:v>549</c:v>
                </c:pt>
                <c:pt idx="5792">
                  <c:v>542</c:v>
                </c:pt>
                <c:pt idx="5793">
                  <c:v>579</c:v>
                </c:pt>
                <c:pt idx="5794">
                  <c:v>547</c:v>
                </c:pt>
                <c:pt idx="5795">
                  <c:v>579</c:v>
                </c:pt>
                <c:pt idx="5796">
                  <c:v>602</c:v>
                </c:pt>
                <c:pt idx="5797">
                  <c:v>610</c:v>
                </c:pt>
                <c:pt idx="5798">
                  <c:v>609</c:v>
                </c:pt>
                <c:pt idx="5799">
                  <c:v>596</c:v>
                </c:pt>
                <c:pt idx="5800">
                  <c:v>596</c:v>
                </c:pt>
                <c:pt idx="5801">
                  <c:v>615</c:v>
                </c:pt>
                <c:pt idx="5802">
                  <c:v>522</c:v>
                </c:pt>
                <c:pt idx="5803">
                  <c:v>532</c:v>
                </c:pt>
                <c:pt idx="5804">
                  <c:v>352</c:v>
                </c:pt>
                <c:pt idx="5805">
                  <c:v>368</c:v>
                </c:pt>
                <c:pt idx="5806">
                  <c:v>336</c:v>
                </c:pt>
                <c:pt idx="5807">
                  <c:v>360</c:v>
                </c:pt>
                <c:pt idx="5808">
                  <c:v>341</c:v>
                </c:pt>
                <c:pt idx="5809">
                  <c:v>359</c:v>
                </c:pt>
                <c:pt idx="5810">
                  <c:v>322</c:v>
                </c:pt>
                <c:pt idx="5811">
                  <c:v>332</c:v>
                </c:pt>
                <c:pt idx="5812">
                  <c:v>324</c:v>
                </c:pt>
                <c:pt idx="5813">
                  <c:v>313</c:v>
                </c:pt>
                <c:pt idx="5814">
                  <c:v>324</c:v>
                </c:pt>
                <c:pt idx="5815">
                  <c:v>237</c:v>
                </c:pt>
                <c:pt idx="5816">
                  <c:v>283</c:v>
                </c:pt>
                <c:pt idx="5817">
                  <c:v>201</c:v>
                </c:pt>
                <c:pt idx="5818">
                  <c:v>224</c:v>
                </c:pt>
                <c:pt idx="5819">
                  <c:v>252</c:v>
                </c:pt>
                <c:pt idx="5820">
                  <c:v>202</c:v>
                </c:pt>
                <c:pt idx="5821">
                  <c:v>228</c:v>
                </c:pt>
                <c:pt idx="5822">
                  <c:v>272</c:v>
                </c:pt>
                <c:pt idx="5823">
                  <c:v>213</c:v>
                </c:pt>
                <c:pt idx="5824">
                  <c:v>156</c:v>
                </c:pt>
                <c:pt idx="5825">
                  <c:v>179</c:v>
                </c:pt>
                <c:pt idx="5826">
                  <c:v>206</c:v>
                </c:pt>
                <c:pt idx="5827">
                  <c:v>143</c:v>
                </c:pt>
                <c:pt idx="5828">
                  <c:v>183</c:v>
                </c:pt>
                <c:pt idx="5829">
                  <c:v>172</c:v>
                </c:pt>
                <c:pt idx="5830">
                  <c:v>147</c:v>
                </c:pt>
                <c:pt idx="5831">
                  <c:v>148</c:v>
                </c:pt>
                <c:pt idx="5832">
                  <c:v>115</c:v>
                </c:pt>
                <c:pt idx="5833">
                  <c:v>192</c:v>
                </c:pt>
                <c:pt idx="5834">
                  <c:v>169</c:v>
                </c:pt>
                <c:pt idx="5835">
                  <c:v>160</c:v>
                </c:pt>
                <c:pt idx="5836">
                  <c:v>146</c:v>
                </c:pt>
                <c:pt idx="5837">
                  <c:v>199</c:v>
                </c:pt>
                <c:pt idx="5838">
                  <c:v>132</c:v>
                </c:pt>
                <c:pt idx="5839">
                  <c:v>125</c:v>
                </c:pt>
                <c:pt idx="5840">
                  <c:v>151</c:v>
                </c:pt>
                <c:pt idx="5841">
                  <c:v>148</c:v>
                </c:pt>
                <c:pt idx="5842">
                  <c:v>143</c:v>
                </c:pt>
                <c:pt idx="5843">
                  <c:v>128</c:v>
                </c:pt>
                <c:pt idx="5844">
                  <c:v>157</c:v>
                </c:pt>
                <c:pt idx="5845">
                  <c:v>126</c:v>
                </c:pt>
                <c:pt idx="5846">
                  <c:v>99</c:v>
                </c:pt>
                <c:pt idx="5847">
                  <c:v>210</c:v>
                </c:pt>
                <c:pt idx="5848">
                  <c:v>265</c:v>
                </c:pt>
                <c:pt idx="5849">
                  <c:v>191</c:v>
                </c:pt>
                <c:pt idx="5850">
                  <c:v>259</c:v>
                </c:pt>
                <c:pt idx="5851">
                  <c:v>268</c:v>
                </c:pt>
                <c:pt idx="5852">
                  <c:v>294</c:v>
                </c:pt>
                <c:pt idx="5853">
                  <c:v>276</c:v>
                </c:pt>
                <c:pt idx="5854">
                  <c:v>276</c:v>
                </c:pt>
                <c:pt idx="5855">
                  <c:v>281</c:v>
                </c:pt>
                <c:pt idx="5856">
                  <c:v>271</c:v>
                </c:pt>
                <c:pt idx="5857">
                  <c:v>282</c:v>
                </c:pt>
                <c:pt idx="5858">
                  <c:v>328</c:v>
                </c:pt>
                <c:pt idx="5859">
                  <c:v>301</c:v>
                </c:pt>
                <c:pt idx="5860">
                  <c:v>541</c:v>
                </c:pt>
                <c:pt idx="5861">
                  <c:v>410</c:v>
                </c:pt>
                <c:pt idx="5862">
                  <c:v>410</c:v>
                </c:pt>
                <c:pt idx="5863">
                  <c:v>404</c:v>
                </c:pt>
                <c:pt idx="5864">
                  <c:v>463</c:v>
                </c:pt>
                <c:pt idx="5865">
                  <c:v>481</c:v>
                </c:pt>
                <c:pt idx="5866">
                  <c:v>456</c:v>
                </c:pt>
                <c:pt idx="5867">
                  <c:v>478</c:v>
                </c:pt>
                <c:pt idx="5868">
                  <c:v>540</c:v>
                </c:pt>
                <c:pt idx="5869">
                  <c:v>493</c:v>
                </c:pt>
                <c:pt idx="5870">
                  <c:v>494</c:v>
                </c:pt>
                <c:pt idx="5871">
                  <c:v>504</c:v>
                </c:pt>
                <c:pt idx="5872">
                  <c:v>600</c:v>
                </c:pt>
                <c:pt idx="5873">
                  <c:v>539</c:v>
                </c:pt>
                <c:pt idx="5874">
                  <c:v>611</c:v>
                </c:pt>
                <c:pt idx="5875">
                  <c:v>479</c:v>
                </c:pt>
                <c:pt idx="5876">
                  <c:v>580</c:v>
                </c:pt>
                <c:pt idx="5877">
                  <c:v>674</c:v>
                </c:pt>
                <c:pt idx="5878">
                  <c:v>631</c:v>
                </c:pt>
                <c:pt idx="5879">
                  <c:v>699</c:v>
                </c:pt>
                <c:pt idx="5880">
                  <c:v>713</c:v>
                </c:pt>
                <c:pt idx="5881">
                  <c:v>634</c:v>
                </c:pt>
                <c:pt idx="5882">
                  <c:v>653</c:v>
                </c:pt>
                <c:pt idx="5883">
                  <c:v>651</c:v>
                </c:pt>
                <c:pt idx="5884">
                  <c:v>666</c:v>
                </c:pt>
                <c:pt idx="5885">
                  <c:v>686</c:v>
                </c:pt>
                <c:pt idx="5886">
                  <c:v>794</c:v>
                </c:pt>
                <c:pt idx="5887">
                  <c:v>672</c:v>
                </c:pt>
                <c:pt idx="5888">
                  <c:v>553</c:v>
                </c:pt>
                <c:pt idx="5889">
                  <c:v>652</c:v>
                </c:pt>
                <c:pt idx="5890">
                  <c:v>584</c:v>
                </c:pt>
                <c:pt idx="5891">
                  <c:v>618</c:v>
                </c:pt>
                <c:pt idx="5892">
                  <c:v>563</c:v>
                </c:pt>
                <c:pt idx="5893">
                  <c:v>557</c:v>
                </c:pt>
                <c:pt idx="5894">
                  <c:v>611</c:v>
                </c:pt>
                <c:pt idx="5895">
                  <c:v>628</c:v>
                </c:pt>
                <c:pt idx="5896">
                  <c:v>617</c:v>
                </c:pt>
                <c:pt idx="5897">
                  <c:v>601</c:v>
                </c:pt>
                <c:pt idx="5898">
                  <c:v>631</c:v>
                </c:pt>
                <c:pt idx="5899">
                  <c:v>539</c:v>
                </c:pt>
                <c:pt idx="5900">
                  <c:v>504</c:v>
                </c:pt>
                <c:pt idx="5901">
                  <c:v>363</c:v>
                </c:pt>
                <c:pt idx="5902">
                  <c:v>402</c:v>
                </c:pt>
                <c:pt idx="5903">
                  <c:v>349</c:v>
                </c:pt>
                <c:pt idx="5904">
                  <c:v>413</c:v>
                </c:pt>
                <c:pt idx="5905">
                  <c:v>345</c:v>
                </c:pt>
                <c:pt idx="5906">
                  <c:v>350</c:v>
                </c:pt>
                <c:pt idx="5907">
                  <c:v>354</c:v>
                </c:pt>
                <c:pt idx="5908">
                  <c:v>487</c:v>
                </c:pt>
                <c:pt idx="5909">
                  <c:v>370</c:v>
                </c:pt>
                <c:pt idx="5910">
                  <c:v>351</c:v>
                </c:pt>
                <c:pt idx="5911">
                  <c:v>345</c:v>
                </c:pt>
                <c:pt idx="5912">
                  <c:v>365</c:v>
                </c:pt>
                <c:pt idx="5913">
                  <c:v>284</c:v>
                </c:pt>
                <c:pt idx="5914">
                  <c:v>250</c:v>
                </c:pt>
                <c:pt idx="5915">
                  <c:v>240</c:v>
                </c:pt>
                <c:pt idx="5916">
                  <c:v>243</c:v>
                </c:pt>
                <c:pt idx="5917">
                  <c:v>182</c:v>
                </c:pt>
                <c:pt idx="5918">
                  <c:v>181</c:v>
                </c:pt>
                <c:pt idx="5919">
                  <c:v>317</c:v>
                </c:pt>
                <c:pt idx="5920">
                  <c:v>264</c:v>
                </c:pt>
                <c:pt idx="5921">
                  <c:v>250</c:v>
                </c:pt>
                <c:pt idx="5922">
                  <c:v>249</c:v>
                </c:pt>
                <c:pt idx="5923">
                  <c:v>272</c:v>
                </c:pt>
                <c:pt idx="5924">
                  <c:v>224</c:v>
                </c:pt>
                <c:pt idx="5925">
                  <c:v>256</c:v>
                </c:pt>
                <c:pt idx="5926">
                  <c:v>253</c:v>
                </c:pt>
                <c:pt idx="5927">
                  <c:v>221</c:v>
                </c:pt>
                <c:pt idx="5928">
                  <c:v>141</c:v>
                </c:pt>
                <c:pt idx="5929">
                  <c:v>147</c:v>
                </c:pt>
                <c:pt idx="5930">
                  <c:v>174</c:v>
                </c:pt>
                <c:pt idx="5931">
                  <c:v>135</c:v>
                </c:pt>
                <c:pt idx="5932">
                  <c:v>147</c:v>
                </c:pt>
                <c:pt idx="5933">
                  <c:v>167</c:v>
                </c:pt>
                <c:pt idx="5934">
                  <c:v>200</c:v>
                </c:pt>
                <c:pt idx="5935">
                  <c:v>161</c:v>
                </c:pt>
                <c:pt idx="5936">
                  <c:v>153</c:v>
                </c:pt>
                <c:pt idx="5937">
                  <c:v>185</c:v>
                </c:pt>
                <c:pt idx="5938">
                  <c:v>154</c:v>
                </c:pt>
                <c:pt idx="5939">
                  <c:v>153</c:v>
                </c:pt>
                <c:pt idx="5940">
                  <c:v>154</c:v>
                </c:pt>
                <c:pt idx="5941">
                  <c:v>197</c:v>
                </c:pt>
                <c:pt idx="5942">
                  <c:v>196</c:v>
                </c:pt>
                <c:pt idx="5943">
                  <c:v>217</c:v>
                </c:pt>
                <c:pt idx="5944">
                  <c:v>298</c:v>
                </c:pt>
                <c:pt idx="5945">
                  <c:v>226</c:v>
                </c:pt>
                <c:pt idx="5946">
                  <c:v>211</c:v>
                </c:pt>
                <c:pt idx="5947">
                  <c:v>251</c:v>
                </c:pt>
                <c:pt idx="5948">
                  <c:v>251</c:v>
                </c:pt>
                <c:pt idx="5949">
                  <c:v>277</c:v>
                </c:pt>
                <c:pt idx="5950">
                  <c:v>344</c:v>
                </c:pt>
                <c:pt idx="5951">
                  <c:v>412</c:v>
                </c:pt>
                <c:pt idx="5952">
                  <c:v>446</c:v>
                </c:pt>
                <c:pt idx="5953">
                  <c:v>435</c:v>
                </c:pt>
                <c:pt idx="5954">
                  <c:v>348</c:v>
                </c:pt>
                <c:pt idx="5955">
                  <c:v>410</c:v>
                </c:pt>
                <c:pt idx="5956">
                  <c:v>494</c:v>
                </c:pt>
                <c:pt idx="5957">
                  <c:v>517</c:v>
                </c:pt>
                <c:pt idx="5958">
                  <c:v>505</c:v>
                </c:pt>
                <c:pt idx="5959">
                  <c:v>573</c:v>
                </c:pt>
                <c:pt idx="5960">
                  <c:v>562</c:v>
                </c:pt>
                <c:pt idx="5961">
                  <c:v>580</c:v>
                </c:pt>
                <c:pt idx="5962">
                  <c:v>562</c:v>
                </c:pt>
                <c:pt idx="5963">
                  <c:v>579</c:v>
                </c:pt>
                <c:pt idx="5964">
                  <c:v>509</c:v>
                </c:pt>
                <c:pt idx="5965">
                  <c:v>504</c:v>
                </c:pt>
                <c:pt idx="5966">
                  <c:v>418</c:v>
                </c:pt>
                <c:pt idx="5967">
                  <c:v>426</c:v>
                </c:pt>
                <c:pt idx="5968">
                  <c:v>512</c:v>
                </c:pt>
                <c:pt idx="5969">
                  <c:v>468</c:v>
                </c:pt>
                <c:pt idx="5970">
                  <c:v>535</c:v>
                </c:pt>
                <c:pt idx="5971">
                  <c:v>731</c:v>
                </c:pt>
                <c:pt idx="5972">
                  <c:v>652</c:v>
                </c:pt>
                <c:pt idx="5973">
                  <c:v>582</c:v>
                </c:pt>
                <c:pt idx="5974">
                  <c:v>805</c:v>
                </c:pt>
                <c:pt idx="5975">
                  <c:v>653</c:v>
                </c:pt>
                <c:pt idx="5976">
                  <c:v>589</c:v>
                </c:pt>
                <c:pt idx="5977">
                  <c:v>568</c:v>
                </c:pt>
                <c:pt idx="5978">
                  <c:v>676</c:v>
                </c:pt>
                <c:pt idx="5979">
                  <c:v>667</c:v>
                </c:pt>
                <c:pt idx="5980">
                  <c:v>697</c:v>
                </c:pt>
                <c:pt idx="5981">
                  <c:v>697</c:v>
                </c:pt>
                <c:pt idx="5982">
                  <c:v>699</c:v>
                </c:pt>
                <c:pt idx="5983">
                  <c:v>478</c:v>
                </c:pt>
                <c:pt idx="5984">
                  <c:v>396</c:v>
                </c:pt>
                <c:pt idx="5985">
                  <c:v>429</c:v>
                </c:pt>
                <c:pt idx="5986">
                  <c:v>431</c:v>
                </c:pt>
                <c:pt idx="5987">
                  <c:v>451</c:v>
                </c:pt>
                <c:pt idx="5988">
                  <c:v>448</c:v>
                </c:pt>
                <c:pt idx="5989">
                  <c:v>525</c:v>
                </c:pt>
                <c:pt idx="5990">
                  <c:v>618</c:v>
                </c:pt>
                <c:pt idx="5991">
                  <c:v>561</c:v>
                </c:pt>
                <c:pt idx="5992">
                  <c:v>530</c:v>
                </c:pt>
                <c:pt idx="5993">
                  <c:v>513</c:v>
                </c:pt>
                <c:pt idx="5994">
                  <c:v>583</c:v>
                </c:pt>
                <c:pt idx="5995">
                  <c:v>587</c:v>
                </c:pt>
                <c:pt idx="5996">
                  <c:v>511</c:v>
                </c:pt>
                <c:pt idx="5997">
                  <c:v>394</c:v>
                </c:pt>
                <c:pt idx="5998">
                  <c:v>365</c:v>
                </c:pt>
                <c:pt idx="5999">
                  <c:v>425</c:v>
                </c:pt>
                <c:pt idx="6000">
                  <c:v>420</c:v>
                </c:pt>
                <c:pt idx="6001">
                  <c:v>391</c:v>
                </c:pt>
                <c:pt idx="6002">
                  <c:v>396</c:v>
                </c:pt>
                <c:pt idx="6003">
                  <c:v>423</c:v>
                </c:pt>
                <c:pt idx="6004">
                  <c:v>409</c:v>
                </c:pt>
                <c:pt idx="6005">
                  <c:v>428</c:v>
                </c:pt>
                <c:pt idx="6006">
                  <c:v>408</c:v>
                </c:pt>
                <c:pt idx="6007">
                  <c:v>408</c:v>
                </c:pt>
                <c:pt idx="6008">
                  <c:v>327</c:v>
                </c:pt>
                <c:pt idx="6009">
                  <c:v>316</c:v>
                </c:pt>
                <c:pt idx="6010">
                  <c:v>276</c:v>
                </c:pt>
                <c:pt idx="6011">
                  <c:v>291</c:v>
                </c:pt>
                <c:pt idx="6012">
                  <c:v>303</c:v>
                </c:pt>
                <c:pt idx="6013">
                  <c:v>246</c:v>
                </c:pt>
                <c:pt idx="6014">
                  <c:v>230</c:v>
                </c:pt>
                <c:pt idx="6015">
                  <c:v>240</c:v>
                </c:pt>
                <c:pt idx="6016">
                  <c:v>231</c:v>
                </c:pt>
                <c:pt idx="6017">
                  <c:v>221</c:v>
                </c:pt>
                <c:pt idx="6018">
                  <c:v>204</c:v>
                </c:pt>
                <c:pt idx="6019">
                  <c:v>209</c:v>
                </c:pt>
                <c:pt idx="6020">
                  <c:v>205</c:v>
                </c:pt>
                <c:pt idx="6021">
                  <c:v>225</c:v>
                </c:pt>
                <c:pt idx="6022">
                  <c:v>218</c:v>
                </c:pt>
                <c:pt idx="6023">
                  <c:v>220</c:v>
                </c:pt>
                <c:pt idx="6024">
                  <c:v>198</c:v>
                </c:pt>
                <c:pt idx="6025">
                  <c:v>222</c:v>
                </c:pt>
                <c:pt idx="6026">
                  <c:v>212</c:v>
                </c:pt>
                <c:pt idx="6027">
                  <c:v>215</c:v>
                </c:pt>
                <c:pt idx="6028">
                  <c:v>197</c:v>
                </c:pt>
                <c:pt idx="6029">
                  <c:v>191</c:v>
                </c:pt>
                <c:pt idx="6030">
                  <c:v>159</c:v>
                </c:pt>
                <c:pt idx="6031">
                  <c:v>147</c:v>
                </c:pt>
                <c:pt idx="6032">
                  <c:v>153</c:v>
                </c:pt>
                <c:pt idx="6033">
                  <c:v>137</c:v>
                </c:pt>
                <c:pt idx="6034">
                  <c:v>143</c:v>
                </c:pt>
                <c:pt idx="6035">
                  <c:v>181</c:v>
                </c:pt>
                <c:pt idx="6036">
                  <c:v>174</c:v>
                </c:pt>
                <c:pt idx="6037">
                  <c:v>152</c:v>
                </c:pt>
                <c:pt idx="6038">
                  <c:v>215</c:v>
                </c:pt>
                <c:pt idx="6039">
                  <c:v>330</c:v>
                </c:pt>
                <c:pt idx="6040">
                  <c:v>268</c:v>
                </c:pt>
                <c:pt idx="6041">
                  <c:v>405</c:v>
                </c:pt>
                <c:pt idx="6042">
                  <c:v>323</c:v>
                </c:pt>
                <c:pt idx="6043">
                  <c:v>352</c:v>
                </c:pt>
                <c:pt idx="6044">
                  <c:v>340</c:v>
                </c:pt>
                <c:pt idx="6045">
                  <c:v>431</c:v>
                </c:pt>
                <c:pt idx="6046">
                  <c:v>441</c:v>
                </c:pt>
                <c:pt idx="6047">
                  <c:v>422</c:v>
                </c:pt>
                <c:pt idx="6048">
                  <c:v>390</c:v>
                </c:pt>
                <c:pt idx="6049">
                  <c:v>369</c:v>
                </c:pt>
                <c:pt idx="6050">
                  <c:v>554</c:v>
                </c:pt>
                <c:pt idx="6051">
                  <c:v>511</c:v>
                </c:pt>
                <c:pt idx="6052">
                  <c:v>609</c:v>
                </c:pt>
                <c:pt idx="6053">
                  <c:v>577</c:v>
                </c:pt>
                <c:pt idx="6054">
                  <c:v>601</c:v>
                </c:pt>
                <c:pt idx="6055">
                  <c:v>568</c:v>
                </c:pt>
                <c:pt idx="6056">
                  <c:v>487</c:v>
                </c:pt>
                <c:pt idx="6057">
                  <c:v>695</c:v>
                </c:pt>
                <c:pt idx="6058">
                  <c:v>694</c:v>
                </c:pt>
                <c:pt idx="6059">
                  <c:v>593</c:v>
                </c:pt>
                <c:pt idx="6060">
                  <c:v>604</c:v>
                </c:pt>
                <c:pt idx="6061">
                  <c:v>445</c:v>
                </c:pt>
                <c:pt idx="6062">
                  <c:v>525</c:v>
                </c:pt>
                <c:pt idx="6063">
                  <c:v>543</c:v>
                </c:pt>
                <c:pt idx="6064">
                  <c:v>582</c:v>
                </c:pt>
                <c:pt idx="6065">
                  <c:v>602</c:v>
                </c:pt>
                <c:pt idx="6066">
                  <c:v>551</c:v>
                </c:pt>
                <c:pt idx="6067">
                  <c:v>582</c:v>
                </c:pt>
                <c:pt idx="6068">
                  <c:v>482</c:v>
                </c:pt>
                <c:pt idx="6069">
                  <c:v>513</c:v>
                </c:pt>
                <c:pt idx="6070">
                  <c:v>492</c:v>
                </c:pt>
                <c:pt idx="6071">
                  <c:v>508</c:v>
                </c:pt>
                <c:pt idx="6072">
                  <c:v>433</c:v>
                </c:pt>
                <c:pt idx="6073">
                  <c:v>537</c:v>
                </c:pt>
                <c:pt idx="6074">
                  <c:v>798</c:v>
                </c:pt>
                <c:pt idx="6075">
                  <c:v>774</c:v>
                </c:pt>
                <c:pt idx="6076">
                  <c:v>745</c:v>
                </c:pt>
                <c:pt idx="6077">
                  <c:v>716</c:v>
                </c:pt>
                <c:pt idx="6078">
                  <c:v>716</c:v>
                </c:pt>
                <c:pt idx="6079">
                  <c:v>761</c:v>
                </c:pt>
                <c:pt idx="6080">
                  <c:v>757</c:v>
                </c:pt>
                <c:pt idx="6081">
                  <c:v>695</c:v>
                </c:pt>
                <c:pt idx="6082">
                  <c:v>765</c:v>
                </c:pt>
                <c:pt idx="6083">
                  <c:v>774</c:v>
                </c:pt>
                <c:pt idx="6084">
                  <c:v>778</c:v>
                </c:pt>
                <c:pt idx="6085">
                  <c:v>817</c:v>
                </c:pt>
                <c:pt idx="6086">
                  <c:v>798</c:v>
                </c:pt>
                <c:pt idx="6087">
                  <c:v>862</c:v>
                </c:pt>
                <c:pt idx="6088">
                  <c:v>800</c:v>
                </c:pt>
                <c:pt idx="6089">
                  <c:v>841</c:v>
                </c:pt>
                <c:pt idx="6090">
                  <c:v>863</c:v>
                </c:pt>
                <c:pt idx="6091">
                  <c:v>793</c:v>
                </c:pt>
                <c:pt idx="6092">
                  <c:v>709</c:v>
                </c:pt>
                <c:pt idx="6093">
                  <c:v>768</c:v>
                </c:pt>
                <c:pt idx="6094">
                  <c:v>670</c:v>
                </c:pt>
                <c:pt idx="6095">
                  <c:v>662</c:v>
                </c:pt>
                <c:pt idx="6096">
                  <c:v>586</c:v>
                </c:pt>
                <c:pt idx="6097">
                  <c:v>590</c:v>
                </c:pt>
                <c:pt idx="6098">
                  <c:v>640</c:v>
                </c:pt>
                <c:pt idx="6099">
                  <c:v>561</c:v>
                </c:pt>
                <c:pt idx="6100">
                  <c:v>557</c:v>
                </c:pt>
                <c:pt idx="6101">
                  <c:v>461</c:v>
                </c:pt>
                <c:pt idx="6102">
                  <c:v>434</c:v>
                </c:pt>
                <c:pt idx="6103">
                  <c:v>429</c:v>
                </c:pt>
                <c:pt idx="6104">
                  <c:v>419</c:v>
                </c:pt>
                <c:pt idx="6105">
                  <c:v>413</c:v>
                </c:pt>
                <c:pt idx="6106">
                  <c:v>355</c:v>
                </c:pt>
                <c:pt idx="6107">
                  <c:v>367</c:v>
                </c:pt>
                <c:pt idx="6108">
                  <c:v>391</c:v>
                </c:pt>
                <c:pt idx="6109">
                  <c:v>350</c:v>
                </c:pt>
                <c:pt idx="6110">
                  <c:v>304</c:v>
                </c:pt>
                <c:pt idx="6111">
                  <c:v>312</c:v>
                </c:pt>
                <c:pt idx="6112">
                  <c:v>293</c:v>
                </c:pt>
                <c:pt idx="6113">
                  <c:v>303</c:v>
                </c:pt>
                <c:pt idx="6114">
                  <c:v>285</c:v>
                </c:pt>
                <c:pt idx="6115">
                  <c:v>303</c:v>
                </c:pt>
                <c:pt idx="6116">
                  <c:v>305</c:v>
                </c:pt>
                <c:pt idx="6117">
                  <c:v>286</c:v>
                </c:pt>
                <c:pt idx="6118">
                  <c:v>313</c:v>
                </c:pt>
                <c:pt idx="6119">
                  <c:v>331</c:v>
                </c:pt>
                <c:pt idx="6120">
                  <c:v>339</c:v>
                </c:pt>
                <c:pt idx="6121">
                  <c:v>374</c:v>
                </c:pt>
                <c:pt idx="6122">
                  <c:v>381</c:v>
                </c:pt>
                <c:pt idx="6123">
                  <c:v>374</c:v>
                </c:pt>
                <c:pt idx="6124">
                  <c:v>353</c:v>
                </c:pt>
                <c:pt idx="6125">
                  <c:v>351</c:v>
                </c:pt>
                <c:pt idx="6126">
                  <c:v>351</c:v>
                </c:pt>
                <c:pt idx="6127">
                  <c:v>444</c:v>
                </c:pt>
                <c:pt idx="6128">
                  <c:v>406</c:v>
                </c:pt>
                <c:pt idx="6129">
                  <c:v>404</c:v>
                </c:pt>
                <c:pt idx="6130">
                  <c:v>394</c:v>
                </c:pt>
                <c:pt idx="6131">
                  <c:v>388</c:v>
                </c:pt>
                <c:pt idx="6132">
                  <c:v>373</c:v>
                </c:pt>
                <c:pt idx="6133">
                  <c:v>382</c:v>
                </c:pt>
                <c:pt idx="6134">
                  <c:v>379</c:v>
                </c:pt>
                <c:pt idx="6135">
                  <c:v>374</c:v>
                </c:pt>
                <c:pt idx="6136">
                  <c:v>355</c:v>
                </c:pt>
                <c:pt idx="6137">
                  <c:v>350</c:v>
                </c:pt>
                <c:pt idx="6138">
                  <c:v>444</c:v>
                </c:pt>
                <c:pt idx="6139">
                  <c:v>457</c:v>
                </c:pt>
                <c:pt idx="6140">
                  <c:v>428</c:v>
                </c:pt>
                <c:pt idx="6141">
                  <c:v>576</c:v>
                </c:pt>
                <c:pt idx="6142">
                  <c:v>494</c:v>
                </c:pt>
                <c:pt idx="6143">
                  <c:v>569</c:v>
                </c:pt>
                <c:pt idx="6144">
                  <c:v>465</c:v>
                </c:pt>
                <c:pt idx="6145">
                  <c:v>489</c:v>
                </c:pt>
                <c:pt idx="6146">
                  <c:v>558</c:v>
                </c:pt>
                <c:pt idx="6147">
                  <c:v>602</c:v>
                </c:pt>
                <c:pt idx="6148">
                  <c:v>503</c:v>
                </c:pt>
                <c:pt idx="6149">
                  <c:v>478</c:v>
                </c:pt>
                <c:pt idx="6150">
                  <c:v>512</c:v>
                </c:pt>
                <c:pt idx="6151">
                  <c:v>464</c:v>
                </c:pt>
                <c:pt idx="6152">
                  <c:v>500</c:v>
                </c:pt>
                <c:pt idx="6153">
                  <c:v>612</c:v>
                </c:pt>
                <c:pt idx="6154">
                  <c:v>660</c:v>
                </c:pt>
                <c:pt idx="6155">
                  <c:v>542</c:v>
                </c:pt>
                <c:pt idx="6156">
                  <c:v>657</c:v>
                </c:pt>
                <c:pt idx="6157">
                  <c:v>565</c:v>
                </c:pt>
                <c:pt idx="6158">
                  <c:v>577</c:v>
                </c:pt>
                <c:pt idx="6159">
                  <c:v>504</c:v>
                </c:pt>
                <c:pt idx="6160">
                  <c:v>524</c:v>
                </c:pt>
                <c:pt idx="6161">
                  <c:v>445</c:v>
                </c:pt>
                <c:pt idx="6162">
                  <c:v>474</c:v>
                </c:pt>
                <c:pt idx="6163">
                  <c:v>630</c:v>
                </c:pt>
                <c:pt idx="6164">
                  <c:v>932</c:v>
                </c:pt>
                <c:pt idx="6165">
                  <c:v>1014</c:v>
                </c:pt>
                <c:pt idx="6166">
                  <c:v>867</c:v>
                </c:pt>
                <c:pt idx="6167">
                  <c:v>821</c:v>
                </c:pt>
                <c:pt idx="6168">
                  <c:v>819</c:v>
                </c:pt>
                <c:pt idx="6169">
                  <c:v>803</c:v>
                </c:pt>
                <c:pt idx="6170">
                  <c:v>817</c:v>
                </c:pt>
                <c:pt idx="6171">
                  <c:v>809</c:v>
                </c:pt>
                <c:pt idx="6172">
                  <c:v>736</c:v>
                </c:pt>
                <c:pt idx="6173">
                  <c:v>790</c:v>
                </c:pt>
                <c:pt idx="6174">
                  <c:v>804</c:v>
                </c:pt>
                <c:pt idx="6175">
                  <c:v>770</c:v>
                </c:pt>
                <c:pt idx="6176">
                  <c:v>764</c:v>
                </c:pt>
                <c:pt idx="6177">
                  <c:v>750</c:v>
                </c:pt>
                <c:pt idx="6178">
                  <c:v>734</c:v>
                </c:pt>
                <c:pt idx="6179">
                  <c:v>740</c:v>
                </c:pt>
                <c:pt idx="6180">
                  <c:v>739</c:v>
                </c:pt>
                <c:pt idx="6181">
                  <c:v>789</c:v>
                </c:pt>
                <c:pt idx="6182">
                  <c:v>774</c:v>
                </c:pt>
                <c:pt idx="6183">
                  <c:v>805</c:v>
                </c:pt>
                <c:pt idx="6184">
                  <c:v>729</c:v>
                </c:pt>
                <c:pt idx="6185">
                  <c:v>690</c:v>
                </c:pt>
                <c:pt idx="6186">
                  <c:v>410</c:v>
                </c:pt>
                <c:pt idx="6187">
                  <c:v>563</c:v>
                </c:pt>
                <c:pt idx="6188">
                  <c:v>649</c:v>
                </c:pt>
                <c:pt idx="6189">
                  <c:v>584</c:v>
                </c:pt>
                <c:pt idx="6190">
                  <c:v>561</c:v>
                </c:pt>
                <c:pt idx="6191">
                  <c:v>526</c:v>
                </c:pt>
                <c:pt idx="6192">
                  <c:v>582</c:v>
                </c:pt>
                <c:pt idx="6193">
                  <c:v>565</c:v>
                </c:pt>
                <c:pt idx="6194">
                  <c:v>550</c:v>
                </c:pt>
                <c:pt idx="6195">
                  <c:v>560</c:v>
                </c:pt>
                <c:pt idx="6196">
                  <c:v>536</c:v>
                </c:pt>
                <c:pt idx="6197">
                  <c:v>571</c:v>
                </c:pt>
                <c:pt idx="6198">
                  <c:v>555</c:v>
                </c:pt>
                <c:pt idx="6199">
                  <c:v>505</c:v>
                </c:pt>
                <c:pt idx="6200">
                  <c:v>517</c:v>
                </c:pt>
                <c:pt idx="6201">
                  <c:v>507</c:v>
                </c:pt>
                <c:pt idx="6202">
                  <c:v>466</c:v>
                </c:pt>
                <c:pt idx="6203">
                  <c:v>465</c:v>
                </c:pt>
                <c:pt idx="6204">
                  <c:v>450</c:v>
                </c:pt>
                <c:pt idx="6205">
                  <c:v>437</c:v>
                </c:pt>
                <c:pt idx="6206">
                  <c:v>371</c:v>
                </c:pt>
                <c:pt idx="6207">
                  <c:v>392</c:v>
                </c:pt>
                <c:pt idx="6208">
                  <c:v>366</c:v>
                </c:pt>
                <c:pt idx="6209">
                  <c:v>348</c:v>
                </c:pt>
                <c:pt idx="6210">
                  <c:v>333</c:v>
                </c:pt>
                <c:pt idx="6211">
                  <c:v>346</c:v>
                </c:pt>
                <c:pt idx="6212">
                  <c:v>345</c:v>
                </c:pt>
                <c:pt idx="6213">
                  <c:v>354</c:v>
                </c:pt>
                <c:pt idx="6214">
                  <c:v>350</c:v>
                </c:pt>
                <c:pt idx="6215">
                  <c:v>333</c:v>
                </c:pt>
                <c:pt idx="6216">
                  <c:v>343</c:v>
                </c:pt>
                <c:pt idx="6217">
                  <c:v>345</c:v>
                </c:pt>
                <c:pt idx="6218">
                  <c:v>351</c:v>
                </c:pt>
                <c:pt idx="6219">
                  <c:v>347</c:v>
                </c:pt>
                <c:pt idx="6220">
                  <c:v>329</c:v>
                </c:pt>
                <c:pt idx="6221">
                  <c:v>320</c:v>
                </c:pt>
                <c:pt idx="6222">
                  <c:v>315</c:v>
                </c:pt>
                <c:pt idx="6223">
                  <c:v>340</c:v>
                </c:pt>
                <c:pt idx="6224">
                  <c:v>338</c:v>
                </c:pt>
                <c:pt idx="6225">
                  <c:v>340</c:v>
                </c:pt>
                <c:pt idx="6226">
                  <c:v>330</c:v>
                </c:pt>
                <c:pt idx="6227">
                  <c:v>336</c:v>
                </c:pt>
                <c:pt idx="6228">
                  <c:v>332</c:v>
                </c:pt>
                <c:pt idx="6229">
                  <c:v>336</c:v>
                </c:pt>
                <c:pt idx="6230">
                  <c:v>326</c:v>
                </c:pt>
                <c:pt idx="6231">
                  <c:v>320</c:v>
                </c:pt>
                <c:pt idx="6232">
                  <c:v>338</c:v>
                </c:pt>
                <c:pt idx="6233">
                  <c:v>327</c:v>
                </c:pt>
                <c:pt idx="6234">
                  <c:v>326</c:v>
                </c:pt>
                <c:pt idx="6235">
                  <c:v>313</c:v>
                </c:pt>
                <c:pt idx="6236">
                  <c:v>350</c:v>
                </c:pt>
                <c:pt idx="6237">
                  <c:v>353</c:v>
                </c:pt>
                <c:pt idx="6238">
                  <c:v>382</c:v>
                </c:pt>
                <c:pt idx="6239">
                  <c:v>410</c:v>
                </c:pt>
                <c:pt idx="6240">
                  <c:v>403</c:v>
                </c:pt>
                <c:pt idx="6241">
                  <c:v>392</c:v>
                </c:pt>
                <c:pt idx="6242">
                  <c:v>374</c:v>
                </c:pt>
                <c:pt idx="6243">
                  <c:v>345</c:v>
                </c:pt>
                <c:pt idx="6244">
                  <c:v>349</c:v>
                </c:pt>
                <c:pt idx="6245">
                  <c:v>349</c:v>
                </c:pt>
                <c:pt idx="6246">
                  <c:v>367</c:v>
                </c:pt>
                <c:pt idx="6247">
                  <c:v>345</c:v>
                </c:pt>
                <c:pt idx="6248">
                  <c:v>396</c:v>
                </c:pt>
                <c:pt idx="6249">
                  <c:v>518</c:v>
                </c:pt>
                <c:pt idx="6250">
                  <c:v>465</c:v>
                </c:pt>
                <c:pt idx="6251">
                  <c:v>460</c:v>
                </c:pt>
                <c:pt idx="6252">
                  <c:v>438</c:v>
                </c:pt>
                <c:pt idx="6253">
                  <c:v>461</c:v>
                </c:pt>
                <c:pt idx="6254">
                  <c:v>479</c:v>
                </c:pt>
                <c:pt idx="6255">
                  <c:v>432</c:v>
                </c:pt>
                <c:pt idx="6256">
                  <c:v>468</c:v>
                </c:pt>
                <c:pt idx="6257">
                  <c:v>483</c:v>
                </c:pt>
                <c:pt idx="6258">
                  <c:v>550</c:v>
                </c:pt>
                <c:pt idx="6259">
                  <c:v>508</c:v>
                </c:pt>
                <c:pt idx="6260">
                  <c:v>549</c:v>
                </c:pt>
                <c:pt idx="6261">
                  <c:v>578</c:v>
                </c:pt>
                <c:pt idx="6262">
                  <c:v>549</c:v>
                </c:pt>
                <c:pt idx="6263">
                  <c:v>577</c:v>
                </c:pt>
                <c:pt idx="6264">
                  <c:v>530</c:v>
                </c:pt>
                <c:pt idx="6265">
                  <c:v>524</c:v>
                </c:pt>
                <c:pt idx="6266">
                  <c:v>547</c:v>
                </c:pt>
                <c:pt idx="6267">
                  <c:v>559</c:v>
                </c:pt>
                <c:pt idx="6268">
                  <c:v>551</c:v>
                </c:pt>
                <c:pt idx="6269">
                  <c:v>539</c:v>
                </c:pt>
                <c:pt idx="6270">
                  <c:v>568</c:v>
                </c:pt>
                <c:pt idx="6271">
                  <c:v>570</c:v>
                </c:pt>
                <c:pt idx="6272">
                  <c:v>479</c:v>
                </c:pt>
                <c:pt idx="6273">
                  <c:v>492</c:v>
                </c:pt>
                <c:pt idx="6274">
                  <c:v>490</c:v>
                </c:pt>
                <c:pt idx="6275">
                  <c:v>472</c:v>
                </c:pt>
                <c:pt idx="6276">
                  <c:v>475</c:v>
                </c:pt>
                <c:pt idx="6277">
                  <c:v>523</c:v>
                </c:pt>
                <c:pt idx="6278">
                  <c:v>465</c:v>
                </c:pt>
                <c:pt idx="6279">
                  <c:v>473</c:v>
                </c:pt>
                <c:pt idx="6280">
                  <c:v>468</c:v>
                </c:pt>
                <c:pt idx="6281">
                  <c:v>470</c:v>
                </c:pt>
                <c:pt idx="6282">
                  <c:v>484</c:v>
                </c:pt>
                <c:pt idx="6283">
                  <c:v>432</c:v>
                </c:pt>
                <c:pt idx="6284">
                  <c:v>415</c:v>
                </c:pt>
                <c:pt idx="6285">
                  <c:v>432</c:v>
                </c:pt>
                <c:pt idx="6286">
                  <c:v>431</c:v>
                </c:pt>
                <c:pt idx="6287">
                  <c:v>420</c:v>
                </c:pt>
                <c:pt idx="6288">
                  <c:v>446</c:v>
                </c:pt>
                <c:pt idx="6289">
                  <c:v>435</c:v>
                </c:pt>
                <c:pt idx="6290">
                  <c:v>407</c:v>
                </c:pt>
                <c:pt idx="6291">
                  <c:v>397</c:v>
                </c:pt>
                <c:pt idx="6292">
                  <c:v>416</c:v>
                </c:pt>
                <c:pt idx="6293">
                  <c:v>413</c:v>
                </c:pt>
                <c:pt idx="6294">
                  <c:v>420</c:v>
                </c:pt>
                <c:pt idx="6295">
                  <c:v>390</c:v>
                </c:pt>
                <c:pt idx="6296">
                  <c:v>381</c:v>
                </c:pt>
                <c:pt idx="6297">
                  <c:v>370</c:v>
                </c:pt>
                <c:pt idx="6298">
                  <c:v>377</c:v>
                </c:pt>
                <c:pt idx="6299">
                  <c:v>356</c:v>
                </c:pt>
                <c:pt idx="6300">
                  <c:v>336</c:v>
                </c:pt>
                <c:pt idx="6301">
                  <c:v>335</c:v>
                </c:pt>
                <c:pt idx="6302">
                  <c:v>330</c:v>
                </c:pt>
                <c:pt idx="6303">
                  <c:v>332</c:v>
                </c:pt>
                <c:pt idx="6304">
                  <c:v>341</c:v>
                </c:pt>
                <c:pt idx="6305">
                  <c:v>326</c:v>
                </c:pt>
                <c:pt idx="6306">
                  <c:v>309</c:v>
                </c:pt>
                <c:pt idx="6307">
                  <c:v>313</c:v>
                </c:pt>
                <c:pt idx="6308">
                  <c:v>296</c:v>
                </c:pt>
                <c:pt idx="6309">
                  <c:v>306</c:v>
                </c:pt>
                <c:pt idx="6310">
                  <c:v>328</c:v>
                </c:pt>
                <c:pt idx="6311">
                  <c:v>308</c:v>
                </c:pt>
                <c:pt idx="6312">
                  <c:v>307</c:v>
                </c:pt>
                <c:pt idx="6313">
                  <c:v>303</c:v>
                </c:pt>
                <c:pt idx="6314">
                  <c:v>298</c:v>
                </c:pt>
                <c:pt idx="6315">
                  <c:v>301</c:v>
                </c:pt>
                <c:pt idx="6316">
                  <c:v>307</c:v>
                </c:pt>
                <c:pt idx="6317">
                  <c:v>298</c:v>
                </c:pt>
                <c:pt idx="6318">
                  <c:v>298</c:v>
                </c:pt>
                <c:pt idx="6319">
                  <c:v>296</c:v>
                </c:pt>
                <c:pt idx="6320">
                  <c:v>290</c:v>
                </c:pt>
                <c:pt idx="6321">
                  <c:v>292</c:v>
                </c:pt>
                <c:pt idx="6322">
                  <c:v>283</c:v>
                </c:pt>
                <c:pt idx="6323">
                  <c:v>283</c:v>
                </c:pt>
                <c:pt idx="6324">
                  <c:v>280</c:v>
                </c:pt>
                <c:pt idx="6325">
                  <c:v>277</c:v>
                </c:pt>
                <c:pt idx="6326">
                  <c:v>286</c:v>
                </c:pt>
                <c:pt idx="6327">
                  <c:v>288</c:v>
                </c:pt>
                <c:pt idx="6328">
                  <c:v>282</c:v>
                </c:pt>
                <c:pt idx="6329">
                  <c:v>288</c:v>
                </c:pt>
                <c:pt idx="6330">
                  <c:v>278</c:v>
                </c:pt>
                <c:pt idx="6331">
                  <c:v>289</c:v>
                </c:pt>
                <c:pt idx="6332">
                  <c:v>296</c:v>
                </c:pt>
                <c:pt idx="6333">
                  <c:v>330</c:v>
                </c:pt>
                <c:pt idx="6334">
                  <c:v>349</c:v>
                </c:pt>
                <c:pt idx="6335">
                  <c:v>381</c:v>
                </c:pt>
                <c:pt idx="6336">
                  <c:v>397</c:v>
                </c:pt>
                <c:pt idx="6337">
                  <c:v>362</c:v>
                </c:pt>
                <c:pt idx="6338">
                  <c:v>371</c:v>
                </c:pt>
                <c:pt idx="6339">
                  <c:v>333</c:v>
                </c:pt>
                <c:pt idx="6340">
                  <c:v>333</c:v>
                </c:pt>
                <c:pt idx="6341">
                  <c:v>325</c:v>
                </c:pt>
                <c:pt idx="6342">
                  <c:v>356</c:v>
                </c:pt>
                <c:pt idx="6343">
                  <c:v>353</c:v>
                </c:pt>
                <c:pt idx="6344">
                  <c:v>337</c:v>
                </c:pt>
                <c:pt idx="6345">
                  <c:v>342</c:v>
                </c:pt>
                <c:pt idx="6346">
                  <c:v>392</c:v>
                </c:pt>
                <c:pt idx="6347">
                  <c:v>376</c:v>
                </c:pt>
                <c:pt idx="6348">
                  <c:v>375</c:v>
                </c:pt>
                <c:pt idx="6349">
                  <c:v>523</c:v>
                </c:pt>
                <c:pt idx="6350">
                  <c:v>477</c:v>
                </c:pt>
                <c:pt idx="6351">
                  <c:v>469</c:v>
                </c:pt>
                <c:pt idx="6352">
                  <c:v>471</c:v>
                </c:pt>
                <c:pt idx="6353">
                  <c:v>449</c:v>
                </c:pt>
                <c:pt idx="6354">
                  <c:v>531</c:v>
                </c:pt>
                <c:pt idx="6355">
                  <c:v>514</c:v>
                </c:pt>
                <c:pt idx="6356">
                  <c:v>446</c:v>
                </c:pt>
                <c:pt idx="6357">
                  <c:v>447</c:v>
                </c:pt>
                <c:pt idx="6358">
                  <c:v>458</c:v>
                </c:pt>
                <c:pt idx="6359">
                  <c:v>462</c:v>
                </c:pt>
                <c:pt idx="6360">
                  <c:v>469</c:v>
                </c:pt>
                <c:pt idx="6361">
                  <c:v>473</c:v>
                </c:pt>
                <c:pt idx="6362">
                  <c:v>485</c:v>
                </c:pt>
                <c:pt idx="6363">
                  <c:v>501</c:v>
                </c:pt>
                <c:pt idx="6364">
                  <c:v>474</c:v>
                </c:pt>
                <c:pt idx="6365">
                  <c:v>483</c:v>
                </c:pt>
                <c:pt idx="6366">
                  <c:v>497</c:v>
                </c:pt>
                <c:pt idx="6367">
                  <c:v>495</c:v>
                </c:pt>
                <c:pt idx="6368">
                  <c:v>472</c:v>
                </c:pt>
                <c:pt idx="6369">
                  <c:v>506</c:v>
                </c:pt>
                <c:pt idx="6370">
                  <c:v>520</c:v>
                </c:pt>
                <c:pt idx="6371">
                  <c:v>481</c:v>
                </c:pt>
                <c:pt idx="6372">
                  <c:v>522</c:v>
                </c:pt>
                <c:pt idx="6373">
                  <c:v>510</c:v>
                </c:pt>
                <c:pt idx="6374">
                  <c:v>488</c:v>
                </c:pt>
                <c:pt idx="6375">
                  <c:v>477</c:v>
                </c:pt>
                <c:pt idx="6376">
                  <c:v>472</c:v>
                </c:pt>
                <c:pt idx="6377">
                  <c:v>468</c:v>
                </c:pt>
                <c:pt idx="6378">
                  <c:v>487</c:v>
                </c:pt>
                <c:pt idx="6379">
                  <c:v>472</c:v>
                </c:pt>
                <c:pt idx="6380">
                  <c:v>483</c:v>
                </c:pt>
                <c:pt idx="6381">
                  <c:v>500</c:v>
                </c:pt>
                <c:pt idx="6382">
                  <c:v>494</c:v>
                </c:pt>
                <c:pt idx="6383">
                  <c:v>488</c:v>
                </c:pt>
                <c:pt idx="6384">
                  <c:v>513</c:v>
                </c:pt>
                <c:pt idx="6385">
                  <c:v>513</c:v>
                </c:pt>
                <c:pt idx="6386">
                  <c:v>500</c:v>
                </c:pt>
                <c:pt idx="6387">
                  <c:v>477</c:v>
                </c:pt>
                <c:pt idx="6388">
                  <c:v>489</c:v>
                </c:pt>
                <c:pt idx="6389">
                  <c:v>395</c:v>
                </c:pt>
                <c:pt idx="6390">
                  <c:v>380</c:v>
                </c:pt>
                <c:pt idx="6391">
                  <c:v>372</c:v>
                </c:pt>
                <c:pt idx="6392">
                  <c:v>348</c:v>
                </c:pt>
                <c:pt idx="6393">
                  <c:v>357</c:v>
                </c:pt>
                <c:pt idx="6394">
                  <c:v>347</c:v>
                </c:pt>
                <c:pt idx="6395">
                  <c:v>346</c:v>
                </c:pt>
                <c:pt idx="6396">
                  <c:v>342</c:v>
                </c:pt>
                <c:pt idx="6397">
                  <c:v>289</c:v>
                </c:pt>
                <c:pt idx="6398">
                  <c:v>299</c:v>
                </c:pt>
                <c:pt idx="6399">
                  <c:v>288</c:v>
                </c:pt>
                <c:pt idx="6400">
                  <c:v>278</c:v>
                </c:pt>
                <c:pt idx="6401">
                  <c:v>303</c:v>
                </c:pt>
                <c:pt idx="6402">
                  <c:v>295</c:v>
                </c:pt>
                <c:pt idx="6403">
                  <c:v>293</c:v>
                </c:pt>
                <c:pt idx="6404">
                  <c:v>319</c:v>
                </c:pt>
                <c:pt idx="6405">
                  <c:v>323</c:v>
                </c:pt>
                <c:pt idx="6406">
                  <c:v>320</c:v>
                </c:pt>
                <c:pt idx="6407">
                  <c:v>313</c:v>
                </c:pt>
                <c:pt idx="6408">
                  <c:v>266</c:v>
                </c:pt>
                <c:pt idx="6409">
                  <c:v>269</c:v>
                </c:pt>
                <c:pt idx="6410">
                  <c:v>272</c:v>
                </c:pt>
                <c:pt idx="6411">
                  <c:v>271</c:v>
                </c:pt>
                <c:pt idx="6412">
                  <c:v>273</c:v>
                </c:pt>
                <c:pt idx="6413">
                  <c:v>271</c:v>
                </c:pt>
                <c:pt idx="6414">
                  <c:v>268</c:v>
                </c:pt>
                <c:pt idx="6415">
                  <c:v>316</c:v>
                </c:pt>
                <c:pt idx="6416">
                  <c:v>391</c:v>
                </c:pt>
                <c:pt idx="6417">
                  <c:v>337</c:v>
                </c:pt>
                <c:pt idx="6418">
                  <c:v>310</c:v>
                </c:pt>
                <c:pt idx="6419">
                  <c:v>327</c:v>
                </c:pt>
                <c:pt idx="6420">
                  <c:v>325</c:v>
                </c:pt>
                <c:pt idx="6421">
                  <c:v>326</c:v>
                </c:pt>
                <c:pt idx="6422">
                  <c:v>320</c:v>
                </c:pt>
                <c:pt idx="6423">
                  <c:v>369</c:v>
                </c:pt>
                <c:pt idx="6424">
                  <c:v>466</c:v>
                </c:pt>
                <c:pt idx="6425">
                  <c:v>444</c:v>
                </c:pt>
                <c:pt idx="6426">
                  <c:v>505</c:v>
                </c:pt>
                <c:pt idx="6427">
                  <c:v>409</c:v>
                </c:pt>
                <c:pt idx="6428">
                  <c:v>413</c:v>
                </c:pt>
                <c:pt idx="6429">
                  <c:v>546</c:v>
                </c:pt>
                <c:pt idx="6430">
                  <c:v>531</c:v>
                </c:pt>
                <c:pt idx="6431">
                  <c:v>621</c:v>
                </c:pt>
                <c:pt idx="6432">
                  <c:v>545</c:v>
                </c:pt>
                <c:pt idx="6433">
                  <c:v>620</c:v>
                </c:pt>
                <c:pt idx="6434">
                  <c:v>538</c:v>
                </c:pt>
                <c:pt idx="6435">
                  <c:v>616</c:v>
                </c:pt>
                <c:pt idx="6436">
                  <c:v>646</c:v>
                </c:pt>
                <c:pt idx="6437">
                  <c:v>662</c:v>
                </c:pt>
                <c:pt idx="6438">
                  <c:v>586</c:v>
                </c:pt>
                <c:pt idx="6439">
                  <c:v>475</c:v>
                </c:pt>
                <c:pt idx="6440">
                  <c:v>582</c:v>
                </c:pt>
                <c:pt idx="6441">
                  <c:v>599</c:v>
                </c:pt>
                <c:pt idx="6442">
                  <c:v>620</c:v>
                </c:pt>
                <c:pt idx="6443">
                  <c:v>615</c:v>
                </c:pt>
                <c:pt idx="6444">
                  <c:v>645</c:v>
                </c:pt>
                <c:pt idx="6445">
                  <c:v>639</c:v>
                </c:pt>
                <c:pt idx="6446">
                  <c:v>562</c:v>
                </c:pt>
                <c:pt idx="6447">
                  <c:v>565</c:v>
                </c:pt>
                <c:pt idx="6448">
                  <c:v>572</c:v>
                </c:pt>
                <c:pt idx="6449">
                  <c:v>619</c:v>
                </c:pt>
                <c:pt idx="6450">
                  <c:v>704</c:v>
                </c:pt>
                <c:pt idx="6451">
                  <c:v>69</c:v>
                </c:pt>
                <c:pt idx="6452">
                  <c:v>1014</c:v>
                </c:pt>
                <c:pt idx="6453">
                  <c:v>870</c:v>
                </c:pt>
                <c:pt idx="6454">
                  <c:v>811</c:v>
                </c:pt>
                <c:pt idx="6455">
                  <c:v>809</c:v>
                </c:pt>
                <c:pt idx="6456">
                  <c:v>574</c:v>
                </c:pt>
                <c:pt idx="6457">
                  <c:v>546</c:v>
                </c:pt>
                <c:pt idx="6458">
                  <c:v>557</c:v>
                </c:pt>
                <c:pt idx="6459">
                  <c:v>475</c:v>
                </c:pt>
                <c:pt idx="6460">
                  <c:v>748</c:v>
                </c:pt>
                <c:pt idx="6461">
                  <c:v>969</c:v>
                </c:pt>
                <c:pt idx="6462">
                  <c:v>804</c:v>
                </c:pt>
                <c:pt idx="6463">
                  <c:v>778</c:v>
                </c:pt>
                <c:pt idx="6464">
                  <c:v>778</c:v>
                </c:pt>
                <c:pt idx="6465">
                  <c:v>809</c:v>
                </c:pt>
                <c:pt idx="6466">
                  <c:v>775</c:v>
                </c:pt>
                <c:pt idx="6467">
                  <c:v>725</c:v>
                </c:pt>
                <c:pt idx="6468">
                  <c:v>708</c:v>
                </c:pt>
                <c:pt idx="6469">
                  <c:v>622</c:v>
                </c:pt>
                <c:pt idx="6470">
                  <c:v>383</c:v>
                </c:pt>
                <c:pt idx="6471">
                  <c:v>493</c:v>
                </c:pt>
                <c:pt idx="6472">
                  <c:v>528</c:v>
                </c:pt>
                <c:pt idx="6473">
                  <c:v>529</c:v>
                </c:pt>
                <c:pt idx="6474">
                  <c:v>473</c:v>
                </c:pt>
                <c:pt idx="6475">
                  <c:v>732</c:v>
                </c:pt>
                <c:pt idx="6476">
                  <c:v>693</c:v>
                </c:pt>
                <c:pt idx="6477">
                  <c:v>619</c:v>
                </c:pt>
                <c:pt idx="6478">
                  <c:v>598</c:v>
                </c:pt>
                <c:pt idx="6479">
                  <c:v>611</c:v>
                </c:pt>
                <c:pt idx="6480">
                  <c:v>621</c:v>
                </c:pt>
                <c:pt idx="6481">
                  <c:v>599</c:v>
                </c:pt>
                <c:pt idx="6482">
                  <c:v>586</c:v>
                </c:pt>
                <c:pt idx="6483">
                  <c:v>603</c:v>
                </c:pt>
                <c:pt idx="6484">
                  <c:v>548</c:v>
                </c:pt>
                <c:pt idx="6485">
                  <c:v>431</c:v>
                </c:pt>
                <c:pt idx="6486">
                  <c:v>422</c:v>
                </c:pt>
                <c:pt idx="6487">
                  <c:v>440</c:v>
                </c:pt>
                <c:pt idx="6488">
                  <c:v>433</c:v>
                </c:pt>
                <c:pt idx="6489">
                  <c:v>401</c:v>
                </c:pt>
                <c:pt idx="6490">
                  <c:v>369</c:v>
                </c:pt>
                <c:pt idx="6491">
                  <c:v>350</c:v>
                </c:pt>
                <c:pt idx="6492">
                  <c:v>338</c:v>
                </c:pt>
                <c:pt idx="6493">
                  <c:v>354</c:v>
                </c:pt>
                <c:pt idx="6494">
                  <c:v>339</c:v>
                </c:pt>
                <c:pt idx="6495">
                  <c:v>321</c:v>
                </c:pt>
                <c:pt idx="6496">
                  <c:v>318</c:v>
                </c:pt>
                <c:pt idx="6497">
                  <c:v>315</c:v>
                </c:pt>
                <c:pt idx="6498">
                  <c:v>337</c:v>
                </c:pt>
                <c:pt idx="6499">
                  <c:v>333</c:v>
                </c:pt>
                <c:pt idx="6500">
                  <c:v>345</c:v>
                </c:pt>
                <c:pt idx="6501">
                  <c:v>324</c:v>
                </c:pt>
                <c:pt idx="6502">
                  <c:v>328</c:v>
                </c:pt>
                <c:pt idx="6503">
                  <c:v>285</c:v>
                </c:pt>
                <c:pt idx="6504">
                  <c:v>293</c:v>
                </c:pt>
                <c:pt idx="6505">
                  <c:v>301</c:v>
                </c:pt>
                <c:pt idx="6506">
                  <c:v>295</c:v>
                </c:pt>
                <c:pt idx="6507">
                  <c:v>284</c:v>
                </c:pt>
                <c:pt idx="6508">
                  <c:v>289</c:v>
                </c:pt>
                <c:pt idx="6509">
                  <c:v>293</c:v>
                </c:pt>
                <c:pt idx="6510">
                  <c:v>277</c:v>
                </c:pt>
                <c:pt idx="6511">
                  <c:v>363</c:v>
                </c:pt>
                <c:pt idx="6512">
                  <c:v>408</c:v>
                </c:pt>
                <c:pt idx="6513">
                  <c:v>340</c:v>
                </c:pt>
                <c:pt idx="6514">
                  <c:v>338</c:v>
                </c:pt>
                <c:pt idx="6515">
                  <c:v>323</c:v>
                </c:pt>
                <c:pt idx="6516">
                  <c:v>323</c:v>
                </c:pt>
                <c:pt idx="6517">
                  <c:v>313</c:v>
                </c:pt>
                <c:pt idx="6518">
                  <c:v>319</c:v>
                </c:pt>
                <c:pt idx="6519">
                  <c:v>315</c:v>
                </c:pt>
                <c:pt idx="6520">
                  <c:v>325</c:v>
                </c:pt>
                <c:pt idx="6521">
                  <c:v>347</c:v>
                </c:pt>
                <c:pt idx="6522">
                  <c:v>319</c:v>
                </c:pt>
                <c:pt idx="6523">
                  <c:v>308</c:v>
                </c:pt>
                <c:pt idx="6524">
                  <c:v>321</c:v>
                </c:pt>
                <c:pt idx="6525">
                  <c:v>481</c:v>
                </c:pt>
                <c:pt idx="6526">
                  <c:v>442</c:v>
                </c:pt>
                <c:pt idx="6527">
                  <c:v>461</c:v>
                </c:pt>
                <c:pt idx="6528">
                  <c:v>446</c:v>
                </c:pt>
                <c:pt idx="6529">
                  <c:v>382</c:v>
                </c:pt>
                <c:pt idx="6530">
                  <c:v>371</c:v>
                </c:pt>
                <c:pt idx="6531">
                  <c:v>436</c:v>
                </c:pt>
                <c:pt idx="6532">
                  <c:v>488</c:v>
                </c:pt>
                <c:pt idx="6533">
                  <c:v>588</c:v>
                </c:pt>
                <c:pt idx="6534">
                  <c:v>556</c:v>
                </c:pt>
                <c:pt idx="6535">
                  <c:v>559</c:v>
                </c:pt>
                <c:pt idx="6536">
                  <c:v>561</c:v>
                </c:pt>
                <c:pt idx="6537">
                  <c:v>579</c:v>
                </c:pt>
                <c:pt idx="6538">
                  <c:v>534</c:v>
                </c:pt>
                <c:pt idx="6539">
                  <c:v>547</c:v>
                </c:pt>
                <c:pt idx="6540">
                  <c:v>486</c:v>
                </c:pt>
                <c:pt idx="6541">
                  <c:v>482</c:v>
                </c:pt>
                <c:pt idx="6542">
                  <c:v>499</c:v>
                </c:pt>
                <c:pt idx="6543">
                  <c:v>438</c:v>
                </c:pt>
                <c:pt idx="6544">
                  <c:v>415</c:v>
                </c:pt>
                <c:pt idx="6545">
                  <c:v>476</c:v>
                </c:pt>
                <c:pt idx="6546">
                  <c:v>817</c:v>
                </c:pt>
                <c:pt idx="6547">
                  <c:v>627</c:v>
                </c:pt>
                <c:pt idx="6548">
                  <c:v>643</c:v>
                </c:pt>
                <c:pt idx="6549">
                  <c:v>323</c:v>
                </c:pt>
                <c:pt idx="6550">
                  <c:v>416</c:v>
                </c:pt>
                <c:pt idx="6551">
                  <c:v>408</c:v>
                </c:pt>
                <c:pt idx="6552">
                  <c:v>525</c:v>
                </c:pt>
                <c:pt idx="6553">
                  <c:v>768</c:v>
                </c:pt>
                <c:pt idx="6554">
                  <c:v>684</c:v>
                </c:pt>
                <c:pt idx="6555">
                  <c:v>653</c:v>
                </c:pt>
                <c:pt idx="6556">
                  <c:v>614</c:v>
                </c:pt>
                <c:pt idx="6557">
                  <c:v>325</c:v>
                </c:pt>
                <c:pt idx="6558">
                  <c:v>415</c:v>
                </c:pt>
                <c:pt idx="6559">
                  <c:v>422</c:v>
                </c:pt>
                <c:pt idx="6560">
                  <c:v>713</c:v>
                </c:pt>
                <c:pt idx="6561">
                  <c:v>631</c:v>
                </c:pt>
                <c:pt idx="6562">
                  <c:v>626</c:v>
                </c:pt>
                <c:pt idx="6563">
                  <c:v>334</c:v>
                </c:pt>
                <c:pt idx="6564">
                  <c:v>372</c:v>
                </c:pt>
                <c:pt idx="6565">
                  <c:v>679</c:v>
                </c:pt>
                <c:pt idx="6566">
                  <c:v>732</c:v>
                </c:pt>
                <c:pt idx="6567">
                  <c:v>585</c:v>
                </c:pt>
                <c:pt idx="6568">
                  <c:v>674</c:v>
                </c:pt>
                <c:pt idx="6569">
                  <c:v>605</c:v>
                </c:pt>
                <c:pt idx="6570">
                  <c:v>613</c:v>
                </c:pt>
                <c:pt idx="6571">
                  <c:v>649</c:v>
                </c:pt>
                <c:pt idx="6572">
                  <c:v>627</c:v>
                </c:pt>
                <c:pt idx="6573">
                  <c:v>597</c:v>
                </c:pt>
                <c:pt idx="6574">
                  <c:v>615</c:v>
                </c:pt>
                <c:pt idx="6575">
                  <c:v>602</c:v>
                </c:pt>
                <c:pt idx="6576">
                  <c:v>642</c:v>
                </c:pt>
                <c:pt idx="6577">
                  <c:v>526</c:v>
                </c:pt>
                <c:pt idx="6578">
                  <c:v>575</c:v>
                </c:pt>
                <c:pt idx="6579">
                  <c:v>569</c:v>
                </c:pt>
                <c:pt idx="6580">
                  <c:v>560</c:v>
                </c:pt>
                <c:pt idx="6581">
                  <c:v>405</c:v>
                </c:pt>
                <c:pt idx="6582">
                  <c:v>446</c:v>
                </c:pt>
                <c:pt idx="6583">
                  <c:v>409</c:v>
                </c:pt>
                <c:pt idx="6584">
                  <c:v>417</c:v>
                </c:pt>
                <c:pt idx="6585">
                  <c:v>426</c:v>
                </c:pt>
                <c:pt idx="6586">
                  <c:v>384</c:v>
                </c:pt>
                <c:pt idx="6587">
                  <c:v>361</c:v>
                </c:pt>
                <c:pt idx="6588">
                  <c:v>362</c:v>
                </c:pt>
                <c:pt idx="6589">
                  <c:v>305</c:v>
                </c:pt>
                <c:pt idx="6590">
                  <c:v>306</c:v>
                </c:pt>
                <c:pt idx="6591">
                  <c:v>331</c:v>
                </c:pt>
                <c:pt idx="6592">
                  <c:v>319</c:v>
                </c:pt>
                <c:pt idx="6593">
                  <c:v>332</c:v>
                </c:pt>
                <c:pt idx="6594">
                  <c:v>331</c:v>
                </c:pt>
                <c:pt idx="6595">
                  <c:v>327</c:v>
                </c:pt>
                <c:pt idx="6596">
                  <c:v>313</c:v>
                </c:pt>
                <c:pt idx="6597">
                  <c:v>280</c:v>
                </c:pt>
                <c:pt idx="6598">
                  <c:v>280</c:v>
                </c:pt>
                <c:pt idx="6599">
                  <c:v>280</c:v>
                </c:pt>
                <c:pt idx="6600">
                  <c:v>272</c:v>
                </c:pt>
                <c:pt idx="6601">
                  <c:v>267</c:v>
                </c:pt>
                <c:pt idx="6602">
                  <c:v>314</c:v>
                </c:pt>
                <c:pt idx="6603">
                  <c:v>291</c:v>
                </c:pt>
                <c:pt idx="6604">
                  <c:v>259</c:v>
                </c:pt>
                <c:pt idx="6605">
                  <c:v>279</c:v>
                </c:pt>
                <c:pt idx="6606">
                  <c:v>305</c:v>
                </c:pt>
                <c:pt idx="6607">
                  <c:v>364</c:v>
                </c:pt>
                <c:pt idx="6608">
                  <c:v>366</c:v>
                </c:pt>
                <c:pt idx="6609">
                  <c:v>328</c:v>
                </c:pt>
                <c:pt idx="6610">
                  <c:v>328</c:v>
                </c:pt>
                <c:pt idx="6611">
                  <c:v>314</c:v>
                </c:pt>
                <c:pt idx="6612">
                  <c:v>307</c:v>
                </c:pt>
                <c:pt idx="6613">
                  <c:v>306</c:v>
                </c:pt>
                <c:pt idx="6614">
                  <c:v>303</c:v>
                </c:pt>
                <c:pt idx="6615">
                  <c:v>301</c:v>
                </c:pt>
                <c:pt idx="6616">
                  <c:v>314</c:v>
                </c:pt>
                <c:pt idx="6617">
                  <c:v>346</c:v>
                </c:pt>
                <c:pt idx="6618">
                  <c:v>302</c:v>
                </c:pt>
                <c:pt idx="6619">
                  <c:v>364</c:v>
                </c:pt>
                <c:pt idx="6620">
                  <c:v>368</c:v>
                </c:pt>
                <c:pt idx="6621">
                  <c:v>458</c:v>
                </c:pt>
                <c:pt idx="6622">
                  <c:v>425</c:v>
                </c:pt>
                <c:pt idx="6623">
                  <c:v>405</c:v>
                </c:pt>
                <c:pt idx="6624">
                  <c:v>369</c:v>
                </c:pt>
                <c:pt idx="6625">
                  <c:v>366</c:v>
                </c:pt>
                <c:pt idx="6626">
                  <c:v>399</c:v>
                </c:pt>
                <c:pt idx="6627">
                  <c:v>410</c:v>
                </c:pt>
                <c:pt idx="6628">
                  <c:v>492</c:v>
                </c:pt>
                <c:pt idx="6629">
                  <c:v>452</c:v>
                </c:pt>
                <c:pt idx="6630">
                  <c:v>442</c:v>
                </c:pt>
                <c:pt idx="6631">
                  <c:v>447</c:v>
                </c:pt>
                <c:pt idx="6632">
                  <c:v>454</c:v>
                </c:pt>
                <c:pt idx="6633">
                  <c:v>466</c:v>
                </c:pt>
                <c:pt idx="6634">
                  <c:v>514</c:v>
                </c:pt>
                <c:pt idx="6635">
                  <c:v>551</c:v>
                </c:pt>
                <c:pt idx="6636">
                  <c:v>542</c:v>
                </c:pt>
                <c:pt idx="6637">
                  <c:v>479</c:v>
                </c:pt>
                <c:pt idx="6638">
                  <c:v>545</c:v>
                </c:pt>
                <c:pt idx="6639">
                  <c:v>549</c:v>
                </c:pt>
                <c:pt idx="6640">
                  <c:v>551</c:v>
                </c:pt>
                <c:pt idx="6641">
                  <c:v>572</c:v>
                </c:pt>
                <c:pt idx="6642">
                  <c:v>635</c:v>
                </c:pt>
                <c:pt idx="6643">
                  <c:v>568</c:v>
                </c:pt>
                <c:pt idx="6644">
                  <c:v>575</c:v>
                </c:pt>
                <c:pt idx="6645">
                  <c:v>404</c:v>
                </c:pt>
                <c:pt idx="6646">
                  <c:v>529</c:v>
                </c:pt>
                <c:pt idx="6647">
                  <c:v>459</c:v>
                </c:pt>
                <c:pt idx="6648">
                  <c:v>400</c:v>
                </c:pt>
                <c:pt idx="6649">
                  <c:v>415</c:v>
                </c:pt>
                <c:pt idx="6650">
                  <c:v>338</c:v>
                </c:pt>
                <c:pt idx="6651">
                  <c:v>361</c:v>
                </c:pt>
                <c:pt idx="6652">
                  <c:v>412</c:v>
                </c:pt>
                <c:pt idx="6653">
                  <c:v>410</c:v>
                </c:pt>
                <c:pt idx="6654">
                  <c:v>384</c:v>
                </c:pt>
                <c:pt idx="6655">
                  <c:v>342</c:v>
                </c:pt>
                <c:pt idx="6656">
                  <c:v>463</c:v>
                </c:pt>
                <c:pt idx="6657">
                  <c:v>656</c:v>
                </c:pt>
                <c:pt idx="6658">
                  <c:v>527</c:v>
                </c:pt>
                <c:pt idx="6659">
                  <c:v>423</c:v>
                </c:pt>
                <c:pt idx="6660">
                  <c:v>540</c:v>
                </c:pt>
                <c:pt idx="6661">
                  <c:v>531</c:v>
                </c:pt>
                <c:pt idx="6662">
                  <c:v>539</c:v>
                </c:pt>
                <c:pt idx="6663">
                  <c:v>413</c:v>
                </c:pt>
                <c:pt idx="6664">
                  <c:v>516</c:v>
                </c:pt>
                <c:pt idx="6665">
                  <c:v>517</c:v>
                </c:pt>
                <c:pt idx="6666">
                  <c:v>507</c:v>
                </c:pt>
                <c:pt idx="6667">
                  <c:v>531</c:v>
                </c:pt>
                <c:pt idx="6668">
                  <c:v>573</c:v>
                </c:pt>
                <c:pt idx="6669">
                  <c:v>556</c:v>
                </c:pt>
                <c:pt idx="6670">
                  <c:v>566</c:v>
                </c:pt>
                <c:pt idx="6671">
                  <c:v>542</c:v>
                </c:pt>
                <c:pt idx="6672">
                  <c:v>561</c:v>
                </c:pt>
                <c:pt idx="6673">
                  <c:v>508</c:v>
                </c:pt>
                <c:pt idx="6674">
                  <c:v>484</c:v>
                </c:pt>
                <c:pt idx="6675">
                  <c:v>502</c:v>
                </c:pt>
                <c:pt idx="6676">
                  <c:v>411</c:v>
                </c:pt>
                <c:pt idx="6677">
                  <c:v>376</c:v>
                </c:pt>
                <c:pt idx="6678">
                  <c:v>389</c:v>
                </c:pt>
                <c:pt idx="6679">
                  <c:v>388</c:v>
                </c:pt>
                <c:pt idx="6680">
                  <c:v>351</c:v>
                </c:pt>
                <c:pt idx="6681">
                  <c:v>304</c:v>
                </c:pt>
                <c:pt idx="6682">
                  <c:v>362</c:v>
                </c:pt>
                <c:pt idx="6683">
                  <c:v>306</c:v>
                </c:pt>
                <c:pt idx="6684">
                  <c:v>320</c:v>
                </c:pt>
                <c:pt idx="6685">
                  <c:v>353</c:v>
                </c:pt>
                <c:pt idx="6686">
                  <c:v>257</c:v>
                </c:pt>
                <c:pt idx="6687">
                  <c:v>252</c:v>
                </c:pt>
                <c:pt idx="6688">
                  <c:v>259</c:v>
                </c:pt>
                <c:pt idx="6689">
                  <c:v>261</c:v>
                </c:pt>
                <c:pt idx="6690">
                  <c:v>261</c:v>
                </c:pt>
                <c:pt idx="6691">
                  <c:v>261</c:v>
                </c:pt>
                <c:pt idx="6692">
                  <c:v>313</c:v>
                </c:pt>
                <c:pt idx="6693">
                  <c:v>262</c:v>
                </c:pt>
                <c:pt idx="6694">
                  <c:v>274</c:v>
                </c:pt>
                <c:pt idx="6695">
                  <c:v>273</c:v>
                </c:pt>
                <c:pt idx="6696">
                  <c:v>249</c:v>
                </c:pt>
                <c:pt idx="6697">
                  <c:v>257</c:v>
                </c:pt>
                <c:pt idx="6698">
                  <c:v>257</c:v>
                </c:pt>
                <c:pt idx="6699">
                  <c:v>269</c:v>
                </c:pt>
                <c:pt idx="6700">
                  <c:v>256</c:v>
                </c:pt>
                <c:pt idx="6701">
                  <c:v>258</c:v>
                </c:pt>
                <c:pt idx="6702">
                  <c:v>305</c:v>
                </c:pt>
                <c:pt idx="6703">
                  <c:v>336</c:v>
                </c:pt>
                <c:pt idx="6704">
                  <c:v>292</c:v>
                </c:pt>
                <c:pt idx="6705">
                  <c:v>293</c:v>
                </c:pt>
                <c:pt idx="6706">
                  <c:v>287</c:v>
                </c:pt>
                <c:pt idx="6707">
                  <c:v>291</c:v>
                </c:pt>
                <c:pt idx="6708">
                  <c:v>299</c:v>
                </c:pt>
                <c:pt idx="6709">
                  <c:v>313</c:v>
                </c:pt>
                <c:pt idx="6710">
                  <c:v>283</c:v>
                </c:pt>
                <c:pt idx="6711">
                  <c:v>263</c:v>
                </c:pt>
                <c:pt idx="6712">
                  <c:v>254</c:v>
                </c:pt>
                <c:pt idx="6713">
                  <c:v>309</c:v>
                </c:pt>
                <c:pt idx="6714">
                  <c:v>268</c:v>
                </c:pt>
                <c:pt idx="6715">
                  <c:v>244</c:v>
                </c:pt>
                <c:pt idx="6716">
                  <c:v>276</c:v>
                </c:pt>
                <c:pt idx="6717">
                  <c:v>451</c:v>
                </c:pt>
                <c:pt idx="6718">
                  <c:v>405</c:v>
                </c:pt>
                <c:pt idx="6719">
                  <c:v>348</c:v>
                </c:pt>
                <c:pt idx="6720">
                  <c:v>370</c:v>
                </c:pt>
                <c:pt idx="6721">
                  <c:v>416</c:v>
                </c:pt>
                <c:pt idx="6722">
                  <c:v>309</c:v>
                </c:pt>
                <c:pt idx="6723">
                  <c:v>305</c:v>
                </c:pt>
                <c:pt idx="6724">
                  <c:v>401</c:v>
                </c:pt>
                <c:pt idx="6725">
                  <c:v>403</c:v>
                </c:pt>
                <c:pt idx="6726">
                  <c:v>401</c:v>
                </c:pt>
                <c:pt idx="6727">
                  <c:v>391</c:v>
                </c:pt>
                <c:pt idx="6728">
                  <c:v>410</c:v>
                </c:pt>
                <c:pt idx="6729">
                  <c:v>487</c:v>
                </c:pt>
                <c:pt idx="6730">
                  <c:v>510</c:v>
                </c:pt>
                <c:pt idx="6731">
                  <c:v>516</c:v>
                </c:pt>
                <c:pt idx="6732">
                  <c:v>519</c:v>
                </c:pt>
                <c:pt idx="6733">
                  <c:v>530</c:v>
                </c:pt>
                <c:pt idx="6734">
                  <c:v>482</c:v>
                </c:pt>
                <c:pt idx="6735">
                  <c:v>533</c:v>
                </c:pt>
                <c:pt idx="6736">
                  <c:v>447</c:v>
                </c:pt>
                <c:pt idx="6737">
                  <c:v>415</c:v>
                </c:pt>
                <c:pt idx="6738">
                  <c:v>447</c:v>
                </c:pt>
                <c:pt idx="6739">
                  <c:v>503</c:v>
                </c:pt>
                <c:pt idx="6740">
                  <c:v>442</c:v>
                </c:pt>
                <c:pt idx="6741">
                  <c:v>485</c:v>
                </c:pt>
                <c:pt idx="6742">
                  <c:v>391</c:v>
                </c:pt>
                <c:pt idx="6743">
                  <c:v>450</c:v>
                </c:pt>
                <c:pt idx="6744">
                  <c:v>368</c:v>
                </c:pt>
                <c:pt idx="6745">
                  <c:v>444</c:v>
                </c:pt>
                <c:pt idx="6746">
                  <c:v>603</c:v>
                </c:pt>
                <c:pt idx="6747">
                  <c:v>421</c:v>
                </c:pt>
                <c:pt idx="6748">
                  <c:v>438</c:v>
                </c:pt>
                <c:pt idx="6749">
                  <c:v>471</c:v>
                </c:pt>
                <c:pt idx="6750">
                  <c:v>433</c:v>
                </c:pt>
                <c:pt idx="6751">
                  <c:v>453</c:v>
                </c:pt>
                <c:pt idx="6752">
                  <c:v>387</c:v>
                </c:pt>
                <c:pt idx="6753">
                  <c:v>384</c:v>
                </c:pt>
                <c:pt idx="6754">
                  <c:v>563</c:v>
                </c:pt>
                <c:pt idx="6755">
                  <c:v>504</c:v>
                </c:pt>
                <c:pt idx="6756">
                  <c:v>563</c:v>
                </c:pt>
                <c:pt idx="6757">
                  <c:v>409</c:v>
                </c:pt>
                <c:pt idx="6758">
                  <c:v>475</c:v>
                </c:pt>
                <c:pt idx="6759">
                  <c:v>580</c:v>
                </c:pt>
                <c:pt idx="6760">
                  <c:v>581</c:v>
                </c:pt>
                <c:pt idx="6761">
                  <c:v>566</c:v>
                </c:pt>
                <c:pt idx="6762">
                  <c:v>535</c:v>
                </c:pt>
                <c:pt idx="6763">
                  <c:v>546</c:v>
                </c:pt>
                <c:pt idx="6764">
                  <c:v>568</c:v>
                </c:pt>
                <c:pt idx="6765">
                  <c:v>566</c:v>
                </c:pt>
                <c:pt idx="6766">
                  <c:v>542</c:v>
                </c:pt>
                <c:pt idx="6767">
                  <c:v>574</c:v>
                </c:pt>
                <c:pt idx="6768">
                  <c:v>568</c:v>
                </c:pt>
                <c:pt idx="6769">
                  <c:v>547</c:v>
                </c:pt>
                <c:pt idx="6770">
                  <c:v>557</c:v>
                </c:pt>
                <c:pt idx="6771">
                  <c:v>565</c:v>
                </c:pt>
                <c:pt idx="6772">
                  <c:v>392</c:v>
                </c:pt>
                <c:pt idx="6773">
                  <c:v>363</c:v>
                </c:pt>
                <c:pt idx="6774">
                  <c:v>399</c:v>
                </c:pt>
                <c:pt idx="6775">
                  <c:v>372</c:v>
                </c:pt>
                <c:pt idx="6776">
                  <c:v>374</c:v>
                </c:pt>
                <c:pt idx="6777">
                  <c:v>331</c:v>
                </c:pt>
                <c:pt idx="6778">
                  <c:v>337</c:v>
                </c:pt>
                <c:pt idx="6779">
                  <c:v>327</c:v>
                </c:pt>
                <c:pt idx="6780">
                  <c:v>436</c:v>
                </c:pt>
                <c:pt idx="6781">
                  <c:v>290</c:v>
                </c:pt>
                <c:pt idx="6782">
                  <c:v>306</c:v>
                </c:pt>
                <c:pt idx="6783">
                  <c:v>313</c:v>
                </c:pt>
                <c:pt idx="6784">
                  <c:v>300</c:v>
                </c:pt>
                <c:pt idx="6785">
                  <c:v>321</c:v>
                </c:pt>
                <c:pt idx="6786">
                  <c:v>288</c:v>
                </c:pt>
                <c:pt idx="6787">
                  <c:v>287</c:v>
                </c:pt>
                <c:pt idx="6788">
                  <c:v>295</c:v>
                </c:pt>
                <c:pt idx="6789">
                  <c:v>316</c:v>
                </c:pt>
                <c:pt idx="6790">
                  <c:v>301</c:v>
                </c:pt>
                <c:pt idx="6791">
                  <c:v>264</c:v>
                </c:pt>
                <c:pt idx="6792">
                  <c:v>270</c:v>
                </c:pt>
                <c:pt idx="6793">
                  <c:v>282</c:v>
                </c:pt>
                <c:pt idx="6794">
                  <c:v>282</c:v>
                </c:pt>
                <c:pt idx="6795">
                  <c:v>268</c:v>
                </c:pt>
                <c:pt idx="6796">
                  <c:v>259</c:v>
                </c:pt>
                <c:pt idx="6797">
                  <c:v>266</c:v>
                </c:pt>
                <c:pt idx="6798">
                  <c:v>323</c:v>
                </c:pt>
                <c:pt idx="6799">
                  <c:v>347</c:v>
                </c:pt>
                <c:pt idx="6800">
                  <c:v>329</c:v>
                </c:pt>
                <c:pt idx="6801">
                  <c:v>325</c:v>
                </c:pt>
                <c:pt idx="6802">
                  <c:v>310</c:v>
                </c:pt>
                <c:pt idx="6803">
                  <c:v>302</c:v>
                </c:pt>
                <c:pt idx="6804">
                  <c:v>303</c:v>
                </c:pt>
                <c:pt idx="6805">
                  <c:v>305</c:v>
                </c:pt>
                <c:pt idx="6806">
                  <c:v>292</c:v>
                </c:pt>
                <c:pt idx="6807">
                  <c:v>298</c:v>
                </c:pt>
                <c:pt idx="6808">
                  <c:v>316</c:v>
                </c:pt>
                <c:pt idx="6809">
                  <c:v>351</c:v>
                </c:pt>
                <c:pt idx="6810">
                  <c:v>267</c:v>
                </c:pt>
                <c:pt idx="6811">
                  <c:v>261</c:v>
                </c:pt>
                <c:pt idx="6812">
                  <c:v>391</c:v>
                </c:pt>
                <c:pt idx="6813">
                  <c:v>347</c:v>
                </c:pt>
                <c:pt idx="6814">
                  <c:v>240</c:v>
                </c:pt>
                <c:pt idx="6815">
                  <c:v>368</c:v>
                </c:pt>
                <c:pt idx="6816">
                  <c:v>271</c:v>
                </c:pt>
                <c:pt idx="6817">
                  <c:v>161</c:v>
                </c:pt>
                <c:pt idx="6818">
                  <c:v>319</c:v>
                </c:pt>
                <c:pt idx="6819">
                  <c:v>286</c:v>
                </c:pt>
                <c:pt idx="6820">
                  <c:v>354</c:v>
                </c:pt>
                <c:pt idx="6821">
                  <c:v>284</c:v>
                </c:pt>
                <c:pt idx="6822">
                  <c:v>300</c:v>
                </c:pt>
                <c:pt idx="6823">
                  <c:v>291</c:v>
                </c:pt>
                <c:pt idx="6824">
                  <c:v>317</c:v>
                </c:pt>
                <c:pt idx="6825">
                  <c:v>322</c:v>
                </c:pt>
                <c:pt idx="6826">
                  <c:v>311</c:v>
                </c:pt>
                <c:pt idx="6827">
                  <c:v>330</c:v>
                </c:pt>
                <c:pt idx="6828">
                  <c:v>341</c:v>
                </c:pt>
                <c:pt idx="6829">
                  <c:v>565</c:v>
                </c:pt>
                <c:pt idx="6830">
                  <c:v>491</c:v>
                </c:pt>
                <c:pt idx="6831">
                  <c:v>469</c:v>
                </c:pt>
                <c:pt idx="6832">
                  <c:v>373</c:v>
                </c:pt>
                <c:pt idx="6833">
                  <c:v>313</c:v>
                </c:pt>
                <c:pt idx="6834">
                  <c:v>466</c:v>
                </c:pt>
                <c:pt idx="6835">
                  <c:v>423</c:v>
                </c:pt>
                <c:pt idx="6836">
                  <c:v>399</c:v>
                </c:pt>
                <c:pt idx="6837">
                  <c:v>394</c:v>
                </c:pt>
                <c:pt idx="6838">
                  <c:v>446</c:v>
                </c:pt>
                <c:pt idx="6839">
                  <c:v>556</c:v>
                </c:pt>
                <c:pt idx="6840">
                  <c:v>526</c:v>
                </c:pt>
                <c:pt idx="6841">
                  <c:v>580</c:v>
                </c:pt>
                <c:pt idx="6842">
                  <c:v>673</c:v>
                </c:pt>
                <c:pt idx="6843">
                  <c:v>479</c:v>
                </c:pt>
                <c:pt idx="6844">
                  <c:v>473</c:v>
                </c:pt>
                <c:pt idx="6845">
                  <c:v>495</c:v>
                </c:pt>
                <c:pt idx="6846">
                  <c:v>620</c:v>
                </c:pt>
                <c:pt idx="6847">
                  <c:v>642</c:v>
                </c:pt>
                <c:pt idx="6848">
                  <c:v>455</c:v>
                </c:pt>
                <c:pt idx="6849">
                  <c:v>610</c:v>
                </c:pt>
                <c:pt idx="6850">
                  <c:v>604</c:v>
                </c:pt>
                <c:pt idx="6851">
                  <c:v>695</c:v>
                </c:pt>
                <c:pt idx="6852">
                  <c:v>666</c:v>
                </c:pt>
                <c:pt idx="6853">
                  <c:v>525</c:v>
                </c:pt>
                <c:pt idx="6854">
                  <c:v>513</c:v>
                </c:pt>
                <c:pt idx="6855">
                  <c:v>695</c:v>
                </c:pt>
                <c:pt idx="6856">
                  <c:v>630</c:v>
                </c:pt>
                <c:pt idx="6857">
                  <c:v>691</c:v>
                </c:pt>
                <c:pt idx="6858">
                  <c:v>638</c:v>
                </c:pt>
                <c:pt idx="6859">
                  <c:v>525</c:v>
                </c:pt>
                <c:pt idx="6860">
                  <c:v>460</c:v>
                </c:pt>
                <c:pt idx="6861">
                  <c:v>450</c:v>
                </c:pt>
                <c:pt idx="6862">
                  <c:v>451</c:v>
                </c:pt>
                <c:pt idx="6863">
                  <c:v>468</c:v>
                </c:pt>
                <c:pt idx="6864">
                  <c:v>479</c:v>
                </c:pt>
                <c:pt idx="6865">
                  <c:v>448</c:v>
                </c:pt>
                <c:pt idx="6866">
                  <c:v>465</c:v>
                </c:pt>
                <c:pt idx="6867">
                  <c:v>484</c:v>
                </c:pt>
                <c:pt idx="6868">
                  <c:v>439</c:v>
                </c:pt>
                <c:pt idx="6869">
                  <c:v>472</c:v>
                </c:pt>
                <c:pt idx="6870">
                  <c:v>467</c:v>
                </c:pt>
                <c:pt idx="6871">
                  <c:v>453</c:v>
                </c:pt>
                <c:pt idx="6872">
                  <c:v>417</c:v>
                </c:pt>
                <c:pt idx="6873">
                  <c:v>372</c:v>
                </c:pt>
                <c:pt idx="6874">
                  <c:v>372</c:v>
                </c:pt>
                <c:pt idx="6875">
                  <c:v>353</c:v>
                </c:pt>
                <c:pt idx="6876">
                  <c:v>328</c:v>
                </c:pt>
                <c:pt idx="6877">
                  <c:v>327</c:v>
                </c:pt>
                <c:pt idx="6878">
                  <c:v>291</c:v>
                </c:pt>
                <c:pt idx="6879">
                  <c:v>319</c:v>
                </c:pt>
                <c:pt idx="6880">
                  <c:v>313</c:v>
                </c:pt>
                <c:pt idx="6881">
                  <c:v>293</c:v>
                </c:pt>
                <c:pt idx="6882">
                  <c:v>301</c:v>
                </c:pt>
                <c:pt idx="6883">
                  <c:v>297</c:v>
                </c:pt>
                <c:pt idx="6884">
                  <c:v>299</c:v>
                </c:pt>
                <c:pt idx="6885">
                  <c:v>317</c:v>
                </c:pt>
                <c:pt idx="6886">
                  <c:v>315</c:v>
                </c:pt>
                <c:pt idx="6887">
                  <c:v>304</c:v>
                </c:pt>
                <c:pt idx="6888">
                  <c:v>311</c:v>
                </c:pt>
                <c:pt idx="6889">
                  <c:v>302</c:v>
                </c:pt>
                <c:pt idx="6890">
                  <c:v>303</c:v>
                </c:pt>
                <c:pt idx="6891">
                  <c:v>314</c:v>
                </c:pt>
                <c:pt idx="6892">
                  <c:v>289</c:v>
                </c:pt>
                <c:pt idx="6893">
                  <c:v>298</c:v>
                </c:pt>
                <c:pt idx="6894">
                  <c:v>293</c:v>
                </c:pt>
                <c:pt idx="6895">
                  <c:v>290</c:v>
                </c:pt>
                <c:pt idx="6896">
                  <c:v>277</c:v>
                </c:pt>
                <c:pt idx="6897">
                  <c:v>271</c:v>
                </c:pt>
                <c:pt idx="6898">
                  <c:v>269</c:v>
                </c:pt>
                <c:pt idx="6899">
                  <c:v>274</c:v>
                </c:pt>
                <c:pt idx="6900">
                  <c:v>275</c:v>
                </c:pt>
                <c:pt idx="6901">
                  <c:v>276</c:v>
                </c:pt>
                <c:pt idx="6902">
                  <c:v>271</c:v>
                </c:pt>
                <c:pt idx="6903">
                  <c:v>267</c:v>
                </c:pt>
                <c:pt idx="6904">
                  <c:v>270</c:v>
                </c:pt>
                <c:pt idx="6905">
                  <c:v>274</c:v>
                </c:pt>
                <c:pt idx="6906">
                  <c:v>268</c:v>
                </c:pt>
                <c:pt idx="6907">
                  <c:v>262</c:v>
                </c:pt>
                <c:pt idx="6908">
                  <c:v>410</c:v>
                </c:pt>
                <c:pt idx="6909">
                  <c:v>415</c:v>
                </c:pt>
                <c:pt idx="6910">
                  <c:v>419</c:v>
                </c:pt>
                <c:pt idx="6911">
                  <c:v>421</c:v>
                </c:pt>
                <c:pt idx="6912">
                  <c:v>419</c:v>
                </c:pt>
                <c:pt idx="6913">
                  <c:v>417</c:v>
                </c:pt>
                <c:pt idx="6914">
                  <c:v>391</c:v>
                </c:pt>
                <c:pt idx="6915">
                  <c:v>428</c:v>
                </c:pt>
                <c:pt idx="6916">
                  <c:v>442</c:v>
                </c:pt>
                <c:pt idx="6917">
                  <c:v>567</c:v>
                </c:pt>
                <c:pt idx="6918">
                  <c:v>495</c:v>
                </c:pt>
                <c:pt idx="6919">
                  <c:v>497</c:v>
                </c:pt>
                <c:pt idx="6920">
                  <c:v>656</c:v>
                </c:pt>
                <c:pt idx="6921">
                  <c:v>527</c:v>
                </c:pt>
                <c:pt idx="6922">
                  <c:v>522</c:v>
                </c:pt>
                <c:pt idx="6923">
                  <c:v>544</c:v>
                </c:pt>
                <c:pt idx="6924">
                  <c:v>639</c:v>
                </c:pt>
                <c:pt idx="6925">
                  <c:v>632</c:v>
                </c:pt>
                <c:pt idx="6926">
                  <c:v>599</c:v>
                </c:pt>
                <c:pt idx="6927">
                  <c:v>612</c:v>
                </c:pt>
                <c:pt idx="6928">
                  <c:v>663</c:v>
                </c:pt>
                <c:pt idx="6929">
                  <c:v>619</c:v>
                </c:pt>
                <c:pt idx="6930">
                  <c:v>622</c:v>
                </c:pt>
                <c:pt idx="6931">
                  <c:v>745</c:v>
                </c:pt>
                <c:pt idx="6932">
                  <c:v>678</c:v>
                </c:pt>
                <c:pt idx="6933">
                  <c:v>647</c:v>
                </c:pt>
                <c:pt idx="6934">
                  <c:v>727</c:v>
                </c:pt>
                <c:pt idx="6935">
                  <c:v>746</c:v>
                </c:pt>
                <c:pt idx="6936">
                  <c:v>698</c:v>
                </c:pt>
                <c:pt idx="6937">
                  <c:v>727</c:v>
                </c:pt>
                <c:pt idx="6938">
                  <c:v>669</c:v>
                </c:pt>
                <c:pt idx="6939">
                  <c:v>648</c:v>
                </c:pt>
                <c:pt idx="6940">
                  <c:v>752</c:v>
                </c:pt>
                <c:pt idx="6941">
                  <c:v>766</c:v>
                </c:pt>
                <c:pt idx="6942">
                  <c:v>745</c:v>
                </c:pt>
                <c:pt idx="6943">
                  <c:v>726</c:v>
                </c:pt>
                <c:pt idx="6944">
                  <c:v>597</c:v>
                </c:pt>
                <c:pt idx="6945">
                  <c:v>456</c:v>
                </c:pt>
                <c:pt idx="6946">
                  <c:v>525</c:v>
                </c:pt>
                <c:pt idx="6947">
                  <c:v>555</c:v>
                </c:pt>
                <c:pt idx="6948">
                  <c:v>495</c:v>
                </c:pt>
                <c:pt idx="6949">
                  <c:v>511</c:v>
                </c:pt>
                <c:pt idx="6950">
                  <c:v>540</c:v>
                </c:pt>
                <c:pt idx="6951">
                  <c:v>519</c:v>
                </c:pt>
                <c:pt idx="6952">
                  <c:v>525</c:v>
                </c:pt>
                <c:pt idx="6953">
                  <c:v>537</c:v>
                </c:pt>
                <c:pt idx="6954">
                  <c:v>574</c:v>
                </c:pt>
                <c:pt idx="6955">
                  <c:v>502</c:v>
                </c:pt>
                <c:pt idx="6956">
                  <c:v>520</c:v>
                </c:pt>
                <c:pt idx="6957">
                  <c:v>554</c:v>
                </c:pt>
                <c:pt idx="6958">
                  <c:v>568</c:v>
                </c:pt>
                <c:pt idx="6959">
                  <c:v>528</c:v>
                </c:pt>
                <c:pt idx="6960">
                  <c:v>539</c:v>
                </c:pt>
                <c:pt idx="6961">
                  <c:v>515</c:v>
                </c:pt>
                <c:pt idx="6962">
                  <c:v>525</c:v>
                </c:pt>
                <c:pt idx="6963">
                  <c:v>536</c:v>
                </c:pt>
                <c:pt idx="6964">
                  <c:v>510</c:v>
                </c:pt>
                <c:pt idx="6965">
                  <c:v>507</c:v>
                </c:pt>
                <c:pt idx="6966">
                  <c:v>493</c:v>
                </c:pt>
                <c:pt idx="6967">
                  <c:v>472</c:v>
                </c:pt>
                <c:pt idx="6968">
                  <c:v>459</c:v>
                </c:pt>
                <c:pt idx="6969">
                  <c:v>467</c:v>
                </c:pt>
                <c:pt idx="6970">
                  <c:v>459</c:v>
                </c:pt>
                <c:pt idx="6971">
                  <c:v>465</c:v>
                </c:pt>
                <c:pt idx="6972">
                  <c:v>396</c:v>
                </c:pt>
                <c:pt idx="6973">
                  <c:v>413</c:v>
                </c:pt>
                <c:pt idx="6974">
                  <c:v>418</c:v>
                </c:pt>
                <c:pt idx="6975">
                  <c:v>351</c:v>
                </c:pt>
                <c:pt idx="6976">
                  <c:v>375</c:v>
                </c:pt>
                <c:pt idx="6977">
                  <c:v>373</c:v>
                </c:pt>
                <c:pt idx="6978">
                  <c:v>362</c:v>
                </c:pt>
                <c:pt idx="6979">
                  <c:v>335</c:v>
                </c:pt>
                <c:pt idx="6980">
                  <c:v>346</c:v>
                </c:pt>
                <c:pt idx="6981">
                  <c:v>354</c:v>
                </c:pt>
                <c:pt idx="6982">
                  <c:v>354</c:v>
                </c:pt>
                <c:pt idx="6983">
                  <c:v>351</c:v>
                </c:pt>
                <c:pt idx="6984">
                  <c:v>320</c:v>
                </c:pt>
                <c:pt idx="6985">
                  <c:v>321</c:v>
                </c:pt>
                <c:pt idx="6986">
                  <c:v>325</c:v>
                </c:pt>
                <c:pt idx="6987">
                  <c:v>302</c:v>
                </c:pt>
                <c:pt idx="6988">
                  <c:v>316</c:v>
                </c:pt>
                <c:pt idx="6989">
                  <c:v>314</c:v>
                </c:pt>
                <c:pt idx="6990">
                  <c:v>320</c:v>
                </c:pt>
                <c:pt idx="6991">
                  <c:v>315</c:v>
                </c:pt>
                <c:pt idx="6992">
                  <c:v>310</c:v>
                </c:pt>
                <c:pt idx="6993">
                  <c:v>317</c:v>
                </c:pt>
                <c:pt idx="6994">
                  <c:v>311</c:v>
                </c:pt>
                <c:pt idx="6995">
                  <c:v>309</c:v>
                </c:pt>
                <c:pt idx="6996">
                  <c:v>295</c:v>
                </c:pt>
                <c:pt idx="6997">
                  <c:v>293</c:v>
                </c:pt>
                <c:pt idx="6998">
                  <c:v>294</c:v>
                </c:pt>
                <c:pt idx="6999">
                  <c:v>300</c:v>
                </c:pt>
                <c:pt idx="7000">
                  <c:v>296</c:v>
                </c:pt>
                <c:pt idx="7001">
                  <c:v>295</c:v>
                </c:pt>
                <c:pt idx="7002">
                  <c:v>289</c:v>
                </c:pt>
                <c:pt idx="7003">
                  <c:v>306</c:v>
                </c:pt>
                <c:pt idx="7004">
                  <c:v>350</c:v>
                </c:pt>
                <c:pt idx="7005">
                  <c:v>373</c:v>
                </c:pt>
                <c:pt idx="7006">
                  <c:v>377</c:v>
                </c:pt>
                <c:pt idx="7007">
                  <c:v>384</c:v>
                </c:pt>
                <c:pt idx="7008">
                  <c:v>380</c:v>
                </c:pt>
                <c:pt idx="7009">
                  <c:v>383</c:v>
                </c:pt>
                <c:pt idx="7010">
                  <c:v>364</c:v>
                </c:pt>
                <c:pt idx="7011">
                  <c:v>345</c:v>
                </c:pt>
                <c:pt idx="7012">
                  <c:v>347</c:v>
                </c:pt>
                <c:pt idx="7013">
                  <c:v>380</c:v>
                </c:pt>
                <c:pt idx="7014">
                  <c:v>462</c:v>
                </c:pt>
                <c:pt idx="7015">
                  <c:v>400</c:v>
                </c:pt>
                <c:pt idx="7016">
                  <c:v>406</c:v>
                </c:pt>
                <c:pt idx="7017">
                  <c:v>451</c:v>
                </c:pt>
                <c:pt idx="7018">
                  <c:v>389</c:v>
                </c:pt>
                <c:pt idx="7019">
                  <c:v>427</c:v>
                </c:pt>
                <c:pt idx="7020">
                  <c:v>668</c:v>
                </c:pt>
                <c:pt idx="7021">
                  <c:v>596</c:v>
                </c:pt>
                <c:pt idx="7022">
                  <c:v>517</c:v>
                </c:pt>
                <c:pt idx="7023">
                  <c:v>546</c:v>
                </c:pt>
                <c:pt idx="7024">
                  <c:v>494</c:v>
                </c:pt>
                <c:pt idx="7025">
                  <c:v>493</c:v>
                </c:pt>
                <c:pt idx="7026">
                  <c:v>508</c:v>
                </c:pt>
                <c:pt idx="7027">
                  <c:v>551</c:v>
                </c:pt>
                <c:pt idx="7028">
                  <c:v>555</c:v>
                </c:pt>
                <c:pt idx="7029">
                  <c:v>586</c:v>
                </c:pt>
                <c:pt idx="7030">
                  <c:v>577</c:v>
                </c:pt>
                <c:pt idx="7031">
                  <c:v>577</c:v>
                </c:pt>
                <c:pt idx="7032">
                  <c:v>516</c:v>
                </c:pt>
                <c:pt idx="7033">
                  <c:v>530</c:v>
                </c:pt>
                <c:pt idx="7034">
                  <c:v>556</c:v>
                </c:pt>
                <c:pt idx="7035">
                  <c:v>566</c:v>
                </c:pt>
                <c:pt idx="7036">
                  <c:v>559</c:v>
                </c:pt>
                <c:pt idx="7037">
                  <c:v>560</c:v>
                </c:pt>
                <c:pt idx="7038">
                  <c:v>569</c:v>
                </c:pt>
                <c:pt idx="7039">
                  <c:v>564</c:v>
                </c:pt>
                <c:pt idx="7040">
                  <c:v>618</c:v>
                </c:pt>
                <c:pt idx="7041">
                  <c:v>626</c:v>
                </c:pt>
                <c:pt idx="7042">
                  <c:v>644</c:v>
                </c:pt>
                <c:pt idx="7043">
                  <c:v>590</c:v>
                </c:pt>
                <c:pt idx="7044">
                  <c:v>549</c:v>
                </c:pt>
                <c:pt idx="7045">
                  <c:v>547</c:v>
                </c:pt>
                <c:pt idx="7046">
                  <c:v>553</c:v>
                </c:pt>
                <c:pt idx="7047">
                  <c:v>583</c:v>
                </c:pt>
                <c:pt idx="7048">
                  <c:v>554</c:v>
                </c:pt>
                <c:pt idx="7049">
                  <c:v>597</c:v>
                </c:pt>
                <c:pt idx="7050">
                  <c:v>538</c:v>
                </c:pt>
                <c:pt idx="7051">
                  <c:v>657</c:v>
                </c:pt>
                <c:pt idx="7052">
                  <c:v>543</c:v>
                </c:pt>
                <c:pt idx="7053">
                  <c:v>552</c:v>
                </c:pt>
                <c:pt idx="7054">
                  <c:v>601</c:v>
                </c:pt>
                <c:pt idx="7055">
                  <c:v>552</c:v>
                </c:pt>
                <c:pt idx="7056">
                  <c:v>583</c:v>
                </c:pt>
                <c:pt idx="7057">
                  <c:v>481</c:v>
                </c:pt>
                <c:pt idx="7058">
                  <c:v>590</c:v>
                </c:pt>
                <c:pt idx="7059">
                  <c:v>529</c:v>
                </c:pt>
                <c:pt idx="7060">
                  <c:v>554</c:v>
                </c:pt>
                <c:pt idx="7061">
                  <c:v>472</c:v>
                </c:pt>
                <c:pt idx="7062">
                  <c:v>456</c:v>
                </c:pt>
                <c:pt idx="7063">
                  <c:v>452</c:v>
                </c:pt>
                <c:pt idx="7064">
                  <c:v>450</c:v>
                </c:pt>
                <c:pt idx="7065">
                  <c:v>413</c:v>
                </c:pt>
                <c:pt idx="7066">
                  <c:v>382</c:v>
                </c:pt>
                <c:pt idx="7067">
                  <c:v>318</c:v>
                </c:pt>
                <c:pt idx="7068">
                  <c:v>330</c:v>
                </c:pt>
                <c:pt idx="7069">
                  <c:v>342</c:v>
                </c:pt>
                <c:pt idx="7070">
                  <c:v>346</c:v>
                </c:pt>
                <c:pt idx="7071">
                  <c:v>341</c:v>
                </c:pt>
                <c:pt idx="7072">
                  <c:v>330</c:v>
                </c:pt>
                <c:pt idx="7073">
                  <c:v>311</c:v>
                </c:pt>
                <c:pt idx="7074">
                  <c:v>324</c:v>
                </c:pt>
                <c:pt idx="7075">
                  <c:v>331</c:v>
                </c:pt>
                <c:pt idx="7076">
                  <c:v>313</c:v>
                </c:pt>
                <c:pt idx="7077">
                  <c:v>301</c:v>
                </c:pt>
                <c:pt idx="7078">
                  <c:v>309</c:v>
                </c:pt>
                <c:pt idx="7079">
                  <c:v>321</c:v>
                </c:pt>
                <c:pt idx="7080">
                  <c:v>319</c:v>
                </c:pt>
                <c:pt idx="7081">
                  <c:v>289</c:v>
                </c:pt>
                <c:pt idx="7082">
                  <c:v>293</c:v>
                </c:pt>
                <c:pt idx="7083">
                  <c:v>279</c:v>
                </c:pt>
                <c:pt idx="7084">
                  <c:v>296</c:v>
                </c:pt>
                <c:pt idx="7085">
                  <c:v>495</c:v>
                </c:pt>
                <c:pt idx="7086">
                  <c:v>352</c:v>
                </c:pt>
                <c:pt idx="7087">
                  <c:v>352</c:v>
                </c:pt>
                <c:pt idx="7088">
                  <c:v>337</c:v>
                </c:pt>
                <c:pt idx="7089">
                  <c:v>327</c:v>
                </c:pt>
                <c:pt idx="7090">
                  <c:v>330</c:v>
                </c:pt>
                <c:pt idx="7091">
                  <c:v>315</c:v>
                </c:pt>
                <c:pt idx="7092">
                  <c:v>379</c:v>
                </c:pt>
                <c:pt idx="7093">
                  <c:v>512</c:v>
                </c:pt>
                <c:pt idx="7094">
                  <c:v>525</c:v>
                </c:pt>
                <c:pt idx="7095">
                  <c:v>533</c:v>
                </c:pt>
                <c:pt idx="7096">
                  <c:v>368</c:v>
                </c:pt>
                <c:pt idx="7097">
                  <c:v>361</c:v>
                </c:pt>
                <c:pt idx="7098">
                  <c:v>315</c:v>
                </c:pt>
                <c:pt idx="7099">
                  <c:v>434</c:v>
                </c:pt>
                <c:pt idx="7100">
                  <c:v>365</c:v>
                </c:pt>
                <c:pt idx="7101">
                  <c:v>319</c:v>
                </c:pt>
                <c:pt idx="7102">
                  <c:v>356</c:v>
                </c:pt>
                <c:pt idx="7103">
                  <c:v>127</c:v>
                </c:pt>
                <c:pt idx="7104">
                  <c:v>1141</c:v>
                </c:pt>
                <c:pt idx="7105">
                  <c:v>873</c:v>
                </c:pt>
                <c:pt idx="7106">
                  <c:v>776</c:v>
                </c:pt>
                <c:pt idx="7107">
                  <c:v>488</c:v>
                </c:pt>
                <c:pt idx="7108">
                  <c:v>472</c:v>
                </c:pt>
                <c:pt idx="7109">
                  <c:v>490</c:v>
                </c:pt>
                <c:pt idx="7110">
                  <c:v>487</c:v>
                </c:pt>
                <c:pt idx="7111">
                  <c:v>429</c:v>
                </c:pt>
                <c:pt idx="7112">
                  <c:v>546</c:v>
                </c:pt>
                <c:pt idx="7113">
                  <c:v>911</c:v>
                </c:pt>
                <c:pt idx="7114">
                  <c:v>1013</c:v>
                </c:pt>
                <c:pt idx="7115">
                  <c:v>912</c:v>
                </c:pt>
                <c:pt idx="7116">
                  <c:v>865</c:v>
                </c:pt>
                <c:pt idx="7117">
                  <c:v>814</c:v>
                </c:pt>
                <c:pt idx="7118">
                  <c:v>796</c:v>
                </c:pt>
                <c:pt idx="7119">
                  <c:v>784</c:v>
                </c:pt>
                <c:pt idx="7120">
                  <c:v>792</c:v>
                </c:pt>
                <c:pt idx="7121">
                  <c:v>814</c:v>
                </c:pt>
                <c:pt idx="7122">
                  <c:v>783</c:v>
                </c:pt>
                <c:pt idx="7123">
                  <c:v>797</c:v>
                </c:pt>
                <c:pt idx="7124">
                  <c:v>794</c:v>
                </c:pt>
                <c:pt idx="7125">
                  <c:v>792</c:v>
                </c:pt>
                <c:pt idx="7126">
                  <c:v>797</c:v>
                </c:pt>
                <c:pt idx="7127">
                  <c:v>816</c:v>
                </c:pt>
                <c:pt idx="7128">
                  <c:v>812</c:v>
                </c:pt>
                <c:pt idx="7129">
                  <c:v>843</c:v>
                </c:pt>
                <c:pt idx="7130">
                  <c:v>858</c:v>
                </c:pt>
                <c:pt idx="7131">
                  <c:v>855</c:v>
                </c:pt>
                <c:pt idx="7132">
                  <c:v>857</c:v>
                </c:pt>
                <c:pt idx="7133">
                  <c:v>759</c:v>
                </c:pt>
                <c:pt idx="7134">
                  <c:v>714</c:v>
                </c:pt>
                <c:pt idx="7135">
                  <c:v>780</c:v>
                </c:pt>
                <c:pt idx="7136">
                  <c:v>752</c:v>
                </c:pt>
                <c:pt idx="7137">
                  <c:v>754</c:v>
                </c:pt>
                <c:pt idx="7138">
                  <c:v>758</c:v>
                </c:pt>
                <c:pt idx="7139">
                  <c:v>753</c:v>
                </c:pt>
                <c:pt idx="7140">
                  <c:v>360</c:v>
                </c:pt>
                <c:pt idx="7141">
                  <c:v>535</c:v>
                </c:pt>
                <c:pt idx="7142">
                  <c:v>620</c:v>
                </c:pt>
                <c:pt idx="7143">
                  <c:v>707</c:v>
                </c:pt>
                <c:pt idx="7144">
                  <c:v>721</c:v>
                </c:pt>
                <c:pt idx="7145">
                  <c:v>667</c:v>
                </c:pt>
                <c:pt idx="7146">
                  <c:v>691</c:v>
                </c:pt>
                <c:pt idx="7147">
                  <c:v>590</c:v>
                </c:pt>
                <c:pt idx="7148">
                  <c:v>582</c:v>
                </c:pt>
                <c:pt idx="7149">
                  <c:v>517</c:v>
                </c:pt>
                <c:pt idx="7150">
                  <c:v>461</c:v>
                </c:pt>
                <c:pt idx="7151">
                  <c:v>455</c:v>
                </c:pt>
                <c:pt idx="7152">
                  <c:v>575</c:v>
                </c:pt>
                <c:pt idx="7153">
                  <c:v>540</c:v>
                </c:pt>
                <c:pt idx="7154">
                  <c:v>484</c:v>
                </c:pt>
                <c:pt idx="7155">
                  <c:v>465</c:v>
                </c:pt>
                <c:pt idx="7156">
                  <c:v>431</c:v>
                </c:pt>
                <c:pt idx="7157">
                  <c:v>393</c:v>
                </c:pt>
                <c:pt idx="7158">
                  <c:v>472</c:v>
                </c:pt>
                <c:pt idx="7159">
                  <c:v>364</c:v>
                </c:pt>
                <c:pt idx="7160">
                  <c:v>434</c:v>
                </c:pt>
                <c:pt idx="7161">
                  <c:v>379</c:v>
                </c:pt>
                <c:pt idx="7162">
                  <c:v>344</c:v>
                </c:pt>
                <c:pt idx="7163">
                  <c:v>315</c:v>
                </c:pt>
                <c:pt idx="7164">
                  <c:v>245</c:v>
                </c:pt>
                <c:pt idx="7165">
                  <c:v>340</c:v>
                </c:pt>
                <c:pt idx="7166">
                  <c:v>348</c:v>
                </c:pt>
                <c:pt idx="7167">
                  <c:v>315</c:v>
                </c:pt>
                <c:pt idx="7168">
                  <c:v>299</c:v>
                </c:pt>
                <c:pt idx="7169">
                  <c:v>315</c:v>
                </c:pt>
                <c:pt idx="7170">
                  <c:v>297</c:v>
                </c:pt>
                <c:pt idx="7171">
                  <c:v>313</c:v>
                </c:pt>
                <c:pt idx="7172">
                  <c:v>291</c:v>
                </c:pt>
                <c:pt idx="7173">
                  <c:v>293</c:v>
                </c:pt>
                <c:pt idx="7174">
                  <c:v>277</c:v>
                </c:pt>
                <c:pt idx="7175">
                  <c:v>280</c:v>
                </c:pt>
                <c:pt idx="7176">
                  <c:v>278</c:v>
                </c:pt>
                <c:pt idx="7177">
                  <c:v>260</c:v>
                </c:pt>
                <c:pt idx="7178">
                  <c:v>253</c:v>
                </c:pt>
                <c:pt idx="7179">
                  <c:v>268</c:v>
                </c:pt>
                <c:pt idx="7180">
                  <c:v>348</c:v>
                </c:pt>
                <c:pt idx="7181">
                  <c:v>410</c:v>
                </c:pt>
                <c:pt idx="7182">
                  <c:v>399</c:v>
                </c:pt>
                <c:pt idx="7183">
                  <c:v>380</c:v>
                </c:pt>
                <c:pt idx="7184">
                  <c:v>391</c:v>
                </c:pt>
                <c:pt idx="7185">
                  <c:v>358</c:v>
                </c:pt>
                <c:pt idx="7186">
                  <c:v>350</c:v>
                </c:pt>
                <c:pt idx="7187">
                  <c:v>358</c:v>
                </c:pt>
                <c:pt idx="7188">
                  <c:v>348</c:v>
                </c:pt>
                <c:pt idx="7189">
                  <c:v>372</c:v>
                </c:pt>
                <c:pt idx="7190">
                  <c:v>401</c:v>
                </c:pt>
                <c:pt idx="7191">
                  <c:v>522</c:v>
                </c:pt>
                <c:pt idx="7192">
                  <c:v>467</c:v>
                </c:pt>
                <c:pt idx="7193">
                  <c:v>431</c:v>
                </c:pt>
                <c:pt idx="7194">
                  <c:v>470</c:v>
                </c:pt>
                <c:pt idx="7195">
                  <c:v>578</c:v>
                </c:pt>
                <c:pt idx="7196">
                  <c:v>595</c:v>
                </c:pt>
                <c:pt idx="7197">
                  <c:v>588</c:v>
                </c:pt>
                <c:pt idx="7198">
                  <c:v>501</c:v>
                </c:pt>
                <c:pt idx="7199">
                  <c:v>413</c:v>
                </c:pt>
                <c:pt idx="7200">
                  <c:v>606</c:v>
                </c:pt>
                <c:pt idx="7201">
                  <c:v>663</c:v>
                </c:pt>
                <c:pt idx="7202">
                  <c:v>669</c:v>
                </c:pt>
                <c:pt idx="7203">
                  <c:v>616</c:v>
                </c:pt>
                <c:pt idx="7204">
                  <c:v>702</c:v>
                </c:pt>
                <c:pt idx="7205">
                  <c:v>811</c:v>
                </c:pt>
                <c:pt idx="7206">
                  <c:v>661</c:v>
                </c:pt>
                <c:pt idx="7207">
                  <c:v>686</c:v>
                </c:pt>
                <c:pt idx="7208">
                  <c:v>666</c:v>
                </c:pt>
                <c:pt idx="7209">
                  <c:v>704</c:v>
                </c:pt>
                <c:pt idx="7210">
                  <c:v>600</c:v>
                </c:pt>
                <c:pt idx="7211">
                  <c:v>623</c:v>
                </c:pt>
                <c:pt idx="7212">
                  <c:v>505</c:v>
                </c:pt>
                <c:pt idx="7213">
                  <c:v>606</c:v>
                </c:pt>
                <c:pt idx="7214">
                  <c:v>524</c:v>
                </c:pt>
                <c:pt idx="7215">
                  <c:v>505</c:v>
                </c:pt>
                <c:pt idx="7216">
                  <c:v>632</c:v>
                </c:pt>
                <c:pt idx="7217">
                  <c:v>520</c:v>
                </c:pt>
                <c:pt idx="7218">
                  <c:v>516</c:v>
                </c:pt>
                <c:pt idx="7219">
                  <c:v>590</c:v>
                </c:pt>
                <c:pt idx="7220">
                  <c:v>595</c:v>
                </c:pt>
                <c:pt idx="7221">
                  <c:v>967</c:v>
                </c:pt>
                <c:pt idx="7222">
                  <c:v>874</c:v>
                </c:pt>
                <c:pt idx="7223">
                  <c:v>750</c:v>
                </c:pt>
                <c:pt idx="7224">
                  <c:v>795</c:v>
                </c:pt>
                <c:pt idx="7225">
                  <c:v>774</c:v>
                </c:pt>
                <c:pt idx="7226">
                  <c:v>801</c:v>
                </c:pt>
                <c:pt idx="7227">
                  <c:v>801</c:v>
                </c:pt>
                <c:pt idx="7228">
                  <c:v>756</c:v>
                </c:pt>
                <c:pt idx="7229">
                  <c:v>715</c:v>
                </c:pt>
                <c:pt idx="7230">
                  <c:v>676</c:v>
                </c:pt>
                <c:pt idx="7231">
                  <c:v>661</c:v>
                </c:pt>
                <c:pt idx="7232">
                  <c:v>670</c:v>
                </c:pt>
                <c:pt idx="7233">
                  <c:v>812</c:v>
                </c:pt>
                <c:pt idx="7234">
                  <c:v>820</c:v>
                </c:pt>
                <c:pt idx="7235">
                  <c:v>904</c:v>
                </c:pt>
                <c:pt idx="7236">
                  <c:v>821</c:v>
                </c:pt>
                <c:pt idx="7237">
                  <c:v>809</c:v>
                </c:pt>
                <c:pt idx="7238">
                  <c:v>775</c:v>
                </c:pt>
                <c:pt idx="7239">
                  <c:v>773</c:v>
                </c:pt>
                <c:pt idx="7240">
                  <c:v>865</c:v>
                </c:pt>
                <c:pt idx="7241">
                  <c:v>707</c:v>
                </c:pt>
                <c:pt idx="7242">
                  <c:v>851</c:v>
                </c:pt>
                <c:pt idx="7243">
                  <c:v>663</c:v>
                </c:pt>
                <c:pt idx="7244">
                  <c:v>660</c:v>
                </c:pt>
                <c:pt idx="7245">
                  <c:v>676</c:v>
                </c:pt>
                <c:pt idx="7246">
                  <c:v>660</c:v>
                </c:pt>
                <c:pt idx="7247">
                  <c:v>638</c:v>
                </c:pt>
                <c:pt idx="7248">
                  <c:v>706</c:v>
                </c:pt>
                <c:pt idx="7249">
                  <c:v>709</c:v>
                </c:pt>
                <c:pt idx="7250">
                  <c:v>615</c:v>
                </c:pt>
                <c:pt idx="7251">
                  <c:v>546</c:v>
                </c:pt>
                <c:pt idx="7252">
                  <c:v>480</c:v>
                </c:pt>
                <c:pt idx="7253">
                  <c:v>485</c:v>
                </c:pt>
                <c:pt idx="7254">
                  <c:v>472</c:v>
                </c:pt>
                <c:pt idx="7255">
                  <c:v>436</c:v>
                </c:pt>
                <c:pt idx="7256">
                  <c:v>449</c:v>
                </c:pt>
                <c:pt idx="7257">
                  <c:v>416</c:v>
                </c:pt>
                <c:pt idx="7258">
                  <c:v>368</c:v>
                </c:pt>
                <c:pt idx="7259">
                  <c:v>368</c:v>
                </c:pt>
                <c:pt idx="7260">
                  <c:v>367</c:v>
                </c:pt>
                <c:pt idx="7261">
                  <c:v>356</c:v>
                </c:pt>
                <c:pt idx="7262">
                  <c:v>300</c:v>
                </c:pt>
                <c:pt idx="7263">
                  <c:v>318</c:v>
                </c:pt>
                <c:pt idx="7264">
                  <c:v>317</c:v>
                </c:pt>
                <c:pt idx="7265">
                  <c:v>312</c:v>
                </c:pt>
                <c:pt idx="7266">
                  <c:v>300</c:v>
                </c:pt>
                <c:pt idx="7267">
                  <c:v>283</c:v>
                </c:pt>
                <c:pt idx="7268">
                  <c:v>277</c:v>
                </c:pt>
                <c:pt idx="7269">
                  <c:v>274</c:v>
                </c:pt>
                <c:pt idx="7270">
                  <c:v>260</c:v>
                </c:pt>
                <c:pt idx="7271">
                  <c:v>295</c:v>
                </c:pt>
                <c:pt idx="7272">
                  <c:v>285</c:v>
                </c:pt>
                <c:pt idx="7273">
                  <c:v>271</c:v>
                </c:pt>
                <c:pt idx="7274">
                  <c:v>278</c:v>
                </c:pt>
                <c:pt idx="7275">
                  <c:v>276</c:v>
                </c:pt>
                <c:pt idx="7276">
                  <c:v>348</c:v>
                </c:pt>
                <c:pt idx="7277">
                  <c:v>456</c:v>
                </c:pt>
                <c:pt idx="7278">
                  <c:v>347</c:v>
                </c:pt>
                <c:pt idx="7279">
                  <c:v>347</c:v>
                </c:pt>
                <c:pt idx="7280">
                  <c:v>346</c:v>
                </c:pt>
                <c:pt idx="7281">
                  <c:v>351</c:v>
                </c:pt>
                <c:pt idx="7282">
                  <c:v>343</c:v>
                </c:pt>
                <c:pt idx="7283">
                  <c:v>340</c:v>
                </c:pt>
                <c:pt idx="7284">
                  <c:v>344</c:v>
                </c:pt>
                <c:pt idx="7285">
                  <c:v>343</c:v>
                </c:pt>
                <c:pt idx="7286">
                  <c:v>365</c:v>
                </c:pt>
                <c:pt idx="7287">
                  <c:v>455</c:v>
                </c:pt>
                <c:pt idx="7288">
                  <c:v>462</c:v>
                </c:pt>
                <c:pt idx="7289">
                  <c:v>432</c:v>
                </c:pt>
                <c:pt idx="7290">
                  <c:v>465</c:v>
                </c:pt>
                <c:pt idx="7291">
                  <c:v>519</c:v>
                </c:pt>
                <c:pt idx="7292">
                  <c:v>521</c:v>
                </c:pt>
                <c:pt idx="7293">
                  <c:v>543</c:v>
                </c:pt>
                <c:pt idx="7294">
                  <c:v>525</c:v>
                </c:pt>
                <c:pt idx="7295">
                  <c:v>522</c:v>
                </c:pt>
                <c:pt idx="7296">
                  <c:v>467</c:v>
                </c:pt>
                <c:pt idx="7297">
                  <c:v>436</c:v>
                </c:pt>
                <c:pt idx="7298">
                  <c:v>524</c:v>
                </c:pt>
                <c:pt idx="7299">
                  <c:v>904</c:v>
                </c:pt>
                <c:pt idx="7300">
                  <c:v>671</c:v>
                </c:pt>
                <c:pt idx="7301">
                  <c:v>617</c:v>
                </c:pt>
                <c:pt idx="7302">
                  <c:v>669</c:v>
                </c:pt>
                <c:pt idx="7303">
                  <c:v>419</c:v>
                </c:pt>
                <c:pt idx="7304">
                  <c:v>554</c:v>
                </c:pt>
                <c:pt idx="7305">
                  <c:v>456</c:v>
                </c:pt>
                <c:pt idx="7306">
                  <c:v>507</c:v>
                </c:pt>
                <c:pt idx="7307">
                  <c:v>486</c:v>
                </c:pt>
                <c:pt idx="7308">
                  <c:v>428</c:v>
                </c:pt>
                <c:pt idx="7309">
                  <c:v>781</c:v>
                </c:pt>
                <c:pt idx="7310">
                  <c:v>776</c:v>
                </c:pt>
                <c:pt idx="7311">
                  <c:v>646</c:v>
                </c:pt>
                <c:pt idx="7312">
                  <c:v>647</c:v>
                </c:pt>
                <c:pt idx="7313">
                  <c:v>412</c:v>
                </c:pt>
                <c:pt idx="7314">
                  <c:v>481</c:v>
                </c:pt>
                <c:pt idx="7315">
                  <c:v>499</c:v>
                </c:pt>
                <c:pt idx="7316">
                  <c:v>444</c:v>
                </c:pt>
                <c:pt idx="7317">
                  <c:v>447</c:v>
                </c:pt>
                <c:pt idx="7318">
                  <c:v>413</c:v>
                </c:pt>
                <c:pt idx="7319">
                  <c:v>414</c:v>
                </c:pt>
                <c:pt idx="7320">
                  <c:v>370</c:v>
                </c:pt>
                <c:pt idx="7321">
                  <c:v>389</c:v>
                </c:pt>
                <c:pt idx="7322">
                  <c:v>454</c:v>
                </c:pt>
                <c:pt idx="7323">
                  <c:v>432</c:v>
                </c:pt>
                <c:pt idx="7324">
                  <c:v>430</c:v>
                </c:pt>
                <c:pt idx="7325">
                  <c:v>438</c:v>
                </c:pt>
                <c:pt idx="7326">
                  <c:v>419</c:v>
                </c:pt>
                <c:pt idx="7327">
                  <c:v>478</c:v>
                </c:pt>
                <c:pt idx="7328">
                  <c:v>551</c:v>
                </c:pt>
                <c:pt idx="7329">
                  <c:v>524</c:v>
                </c:pt>
                <c:pt idx="7330">
                  <c:v>537</c:v>
                </c:pt>
                <c:pt idx="7331">
                  <c:v>465</c:v>
                </c:pt>
                <c:pt idx="7332">
                  <c:v>654</c:v>
                </c:pt>
                <c:pt idx="7333">
                  <c:v>643</c:v>
                </c:pt>
                <c:pt idx="7334">
                  <c:v>555</c:v>
                </c:pt>
                <c:pt idx="7335">
                  <c:v>489</c:v>
                </c:pt>
                <c:pt idx="7336">
                  <c:v>470</c:v>
                </c:pt>
                <c:pt idx="7337">
                  <c:v>482</c:v>
                </c:pt>
                <c:pt idx="7338">
                  <c:v>439</c:v>
                </c:pt>
                <c:pt idx="7339">
                  <c:v>417</c:v>
                </c:pt>
                <c:pt idx="7340">
                  <c:v>441</c:v>
                </c:pt>
                <c:pt idx="7341">
                  <c:v>398</c:v>
                </c:pt>
                <c:pt idx="7342">
                  <c:v>406</c:v>
                </c:pt>
                <c:pt idx="7343">
                  <c:v>350</c:v>
                </c:pt>
                <c:pt idx="7344">
                  <c:v>338</c:v>
                </c:pt>
                <c:pt idx="7345">
                  <c:v>332</c:v>
                </c:pt>
                <c:pt idx="7346">
                  <c:v>342</c:v>
                </c:pt>
                <c:pt idx="7347">
                  <c:v>331</c:v>
                </c:pt>
                <c:pt idx="7348">
                  <c:v>306</c:v>
                </c:pt>
                <c:pt idx="7349">
                  <c:v>295</c:v>
                </c:pt>
                <c:pt idx="7350">
                  <c:v>299</c:v>
                </c:pt>
                <c:pt idx="7351">
                  <c:v>299</c:v>
                </c:pt>
                <c:pt idx="7352">
                  <c:v>295</c:v>
                </c:pt>
                <c:pt idx="7353">
                  <c:v>284</c:v>
                </c:pt>
                <c:pt idx="7354">
                  <c:v>288</c:v>
                </c:pt>
                <c:pt idx="7355">
                  <c:v>276</c:v>
                </c:pt>
                <c:pt idx="7356">
                  <c:v>258</c:v>
                </c:pt>
                <c:pt idx="7357">
                  <c:v>256</c:v>
                </c:pt>
                <c:pt idx="7358">
                  <c:v>266</c:v>
                </c:pt>
                <c:pt idx="7359">
                  <c:v>258</c:v>
                </c:pt>
                <c:pt idx="7360">
                  <c:v>310</c:v>
                </c:pt>
                <c:pt idx="7361">
                  <c:v>430</c:v>
                </c:pt>
                <c:pt idx="7362">
                  <c:v>335</c:v>
                </c:pt>
                <c:pt idx="7363">
                  <c:v>316</c:v>
                </c:pt>
                <c:pt idx="7364">
                  <c:v>303</c:v>
                </c:pt>
                <c:pt idx="7365">
                  <c:v>316</c:v>
                </c:pt>
                <c:pt idx="7366">
                  <c:v>289</c:v>
                </c:pt>
                <c:pt idx="7367">
                  <c:v>301</c:v>
                </c:pt>
                <c:pt idx="7368">
                  <c:v>314</c:v>
                </c:pt>
                <c:pt idx="7369">
                  <c:v>308</c:v>
                </c:pt>
                <c:pt idx="7370">
                  <c:v>323</c:v>
                </c:pt>
                <c:pt idx="7371">
                  <c:v>316</c:v>
                </c:pt>
                <c:pt idx="7372">
                  <c:v>319</c:v>
                </c:pt>
                <c:pt idx="7373">
                  <c:v>365</c:v>
                </c:pt>
                <c:pt idx="7374">
                  <c:v>432</c:v>
                </c:pt>
                <c:pt idx="7375">
                  <c:v>503</c:v>
                </c:pt>
                <c:pt idx="7376">
                  <c:v>510</c:v>
                </c:pt>
                <c:pt idx="7377">
                  <c:v>427</c:v>
                </c:pt>
                <c:pt idx="7378">
                  <c:v>401</c:v>
                </c:pt>
                <c:pt idx="7379">
                  <c:v>405</c:v>
                </c:pt>
                <c:pt idx="7380">
                  <c:v>470</c:v>
                </c:pt>
                <c:pt idx="7381">
                  <c:v>546</c:v>
                </c:pt>
                <c:pt idx="7382">
                  <c:v>638</c:v>
                </c:pt>
                <c:pt idx="7383">
                  <c:v>590</c:v>
                </c:pt>
                <c:pt idx="7384">
                  <c:v>555</c:v>
                </c:pt>
                <c:pt idx="7385">
                  <c:v>561</c:v>
                </c:pt>
                <c:pt idx="7386">
                  <c:v>680</c:v>
                </c:pt>
                <c:pt idx="7387">
                  <c:v>515</c:v>
                </c:pt>
                <c:pt idx="7388">
                  <c:v>637</c:v>
                </c:pt>
                <c:pt idx="7389">
                  <c:v>589</c:v>
                </c:pt>
                <c:pt idx="7390">
                  <c:v>449</c:v>
                </c:pt>
                <c:pt idx="7391">
                  <c:v>468</c:v>
                </c:pt>
                <c:pt idx="7392">
                  <c:v>429</c:v>
                </c:pt>
                <c:pt idx="7393">
                  <c:v>433</c:v>
                </c:pt>
                <c:pt idx="7394">
                  <c:v>375</c:v>
                </c:pt>
                <c:pt idx="7395">
                  <c:v>392</c:v>
                </c:pt>
                <c:pt idx="7396">
                  <c:v>789</c:v>
                </c:pt>
                <c:pt idx="7397">
                  <c:v>803</c:v>
                </c:pt>
                <c:pt idx="7398">
                  <c:v>821</c:v>
                </c:pt>
                <c:pt idx="7399">
                  <c:v>708</c:v>
                </c:pt>
                <c:pt idx="7400">
                  <c:v>799</c:v>
                </c:pt>
                <c:pt idx="7401">
                  <c:v>862</c:v>
                </c:pt>
                <c:pt idx="7402">
                  <c:v>858</c:v>
                </c:pt>
                <c:pt idx="7403">
                  <c:v>855</c:v>
                </c:pt>
                <c:pt idx="7404">
                  <c:v>739</c:v>
                </c:pt>
                <c:pt idx="7405">
                  <c:v>752</c:v>
                </c:pt>
                <c:pt idx="7406">
                  <c:v>742</c:v>
                </c:pt>
                <c:pt idx="7407">
                  <c:v>859</c:v>
                </c:pt>
                <c:pt idx="7408">
                  <c:v>822</c:v>
                </c:pt>
                <c:pt idx="7409">
                  <c:v>815</c:v>
                </c:pt>
                <c:pt idx="7410">
                  <c:v>776</c:v>
                </c:pt>
                <c:pt idx="7411">
                  <c:v>791</c:v>
                </c:pt>
                <c:pt idx="7412">
                  <c:v>777</c:v>
                </c:pt>
                <c:pt idx="7413">
                  <c:v>823</c:v>
                </c:pt>
                <c:pt idx="7414">
                  <c:v>721</c:v>
                </c:pt>
                <c:pt idx="7415">
                  <c:v>837</c:v>
                </c:pt>
                <c:pt idx="7416">
                  <c:v>780</c:v>
                </c:pt>
                <c:pt idx="7417">
                  <c:v>799</c:v>
                </c:pt>
                <c:pt idx="7418">
                  <c:v>794</c:v>
                </c:pt>
                <c:pt idx="7419">
                  <c:v>826</c:v>
                </c:pt>
                <c:pt idx="7420">
                  <c:v>843</c:v>
                </c:pt>
                <c:pt idx="7421">
                  <c:v>723</c:v>
                </c:pt>
                <c:pt idx="7422">
                  <c:v>823</c:v>
                </c:pt>
                <c:pt idx="7423">
                  <c:v>707</c:v>
                </c:pt>
                <c:pt idx="7424">
                  <c:v>704</c:v>
                </c:pt>
                <c:pt idx="7425">
                  <c:v>669</c:v>
                </c:pt>
                <c:pt idx="7426">
                  <c:v>686</c:v>
                </c:pt>
                <c:pt idx="7427">
                  <c:v>648</c:v>
                </c:pt>
                <c:pt idx="7428">
                  <c:v>575</c:v>
                </c:pt>
                <c:pt idx="7429">
                  <c:v>668</c:v>
                </c:pt>
                <c:pt idx="7430">
                  <c:v>531</c:v>
                </c:pt>
                <c:pt idx="7431">
                  <c:v>491</c:v>
                </c:pt>
                <c:pt idx="7432">
                  <c:v>480</c:v>
                </c:pt>
                <c:pt idx="7433">
                  <c:v>416</c:v>
                </c:pt>
                <c:pt idx="7434">
                  <c:v>398</c:v>
                </c:pt>
                <c:pt idx="7435">
                  <c:v>424</c:v>
                </c:pt>
                <c:pt idx="7436">
                  <c:v>446</c:v>
                </c:pt>
                <c:pt idx="7437">
                  <c:v>484</c:v>
                </c:pt>
                <c:pt idx="7438">
                  <c:v>377</c:v>
                </c:pt>
                <c:pt idx="7439">
                  <c:v>421</c:v>
                </c:pt>
                <c:pt idx="7440">
                  <c:v>391</c:v>
                </c:pt>
                <c:pt idx="7441">
                  <c:v>406</c:v>
                </c:pt>
                <c:pt idx="7442">
                  <c:v>381</c:v>
                </c:pt>
                <c:pt idx="7443">
                  <c:v>416</c:v>
                </c:pt>
                <c:pt idx="7444">
                  <c:v>421</c:v>
                </c:pt>
                <c:pt idx="7445">
                  <c:v>398</c:v>
                </c:pt>
                <c:pt idx="7446">
                  <c:v>387</c:v>
                </c:pt>
                <c:pt idx="7447">
                  <c:v>383</c:v>
                </c:pt>
                <c:pt idx="7448">
                  <c:v>385</c:v>
                </c:pt>
                <c:pt idx="7449">
                  <c:v>374</c:v>
                </c:pt>
                <c:pt idx="7450">
                  <c:v>390</c:v>
                </c:pt>
                <c:pt idx="7451">
                  <c:v>393</c:v>
                </c:pt>
                <c:pt idx="7452">
                  <c:v>403</c:v>
                </c:pt>
                <c:pt idx="7453">
                  <c:v>359</c:v>
                </c:pt>
                <c:pt idx="7454">
                  <c:v>351</c:v>
                </c:pt>
                <c:pt idx="7455">
                  <c:v>365</c:v>
                </c:pt>
                <c:pt idx="7456">
                  <c:v>440</c:v>
                </c:pt>
                <c:pt idx="7457">
                  <c:v>480</c:v>
                </c:pt>
                <c:pt idx="7458">
                  <c:v>406</c:v>
                </c:pt>
                <c:pt idx="7459">
                  <c:v>391</c:v>
                </c:pt>
                <c:pt idx="7460">
                  <c:v>382</c:v>
                </c:pt>
                <c:pt idx="7461">
                  <c:v>396</c:v>
                </c:pt>
                <c:pt idx="7462">
                  <c:v>412</c:v>
                </c:pt>
                <c:pt idx="7463">
                  <c:v>408</c:v>
                </c:pt>
                <c:pt idx="7464">
                  <c:v>417</c:v>
                </c:pt>
                <c:pt idx="7465">
                  <c:v>411</c:v>
                </c:pt>
                <c:pt idx="7466">
                  <c:v>408</c:v>
                </c:pt>
                <c:pt idx="7467">
                  <c:v>500</c:v>
                </c:pt>
                <c:pt idx="7468">
                  <c:v>420</c:v>
                </c:pt>
                <c:pt idx="7469">
                  <c:v>404</c:v>
                </c:pt>
                <c:pt idx="7470">
                  <c:v>439</c:v>
                </c:pt>
                <c:pt idx="7471">
                  <c:v>470</c:v>
                </c:pt>
                <c:pt idx="7472">
                  <c:v>507</c:v>
                </c:pt>
                <c:pt idx="7473">
                  <c:v>490</c:v>
                </c:pt>
                <c:pt idx="7474">
                  <c:v>476</c:v>
                </c:pt>
                <c:pt idx="7475">
                  <c:v>507</c:v>
                </c:pt>
                <c:pt idx="7476">
                  <c:v>456</c:v>
                </c:pt>
                <c:pt idx="7477">
                  <c:v>524</c:v>
                </c:pt>
                <c:pt idx="7478">
                  <c:v>550</c:v>
                </c:pt>
                <c:pt idx="7479">
                  <c:v>633</c:v>
                </c:pt>
                <c:pt idx="7480">
                  <c:v>767</c:v>
                </c:pt>
                <c:pt idx="7481">
                  <c:v>794</c:v>
                </c:pt>
                <c:pt idx="7482">
                  <c:v>866</c:v>
                </c:pt>
                <c:pt idx="7483">
                  <c:v>815</c:v>
                </c:pt>
                <c:pt idx="7484">
                  <c:v>797</c:v>
                </c:pt>
                <c:pt idx="7485">
                  <c:v>728</c:v>
                </c:pt>
                <c:pt idx="7486">
                  <c:v>773</c:v>
                </c:pt>
                <c:pt idx="7487">
                  <c:v>798</c:v>
                </c:pt>
                <c:pt idx="7488">
                  <c:v>777</c:v>
                </c:pt>
                <c:pt idx="7489">
                  <c:v>747</c:v>
                </c:pt>
                <c:pt idx="7490">
                  <c:v>667</c:v>
                </c:pt>
                <c:pt idx="7491">
                  <c:v>1228</c:v>
                </c:pt>
                <c:pt idx="7492">
                  <c:v>1094</c:v>
                </c:pt>
                <c:pt idx="7493">
                  <c:v>1005</c:v>
                </c:pt>
                <c:pt idx="7494">
                  <c:v>899</c:v>
                </c:pt>
                <c:pt idx="7495">
                  <c:v>887</c:v>
                </c:pt>
                <c:pt idx="7496">
                  <c:v>918</c:v>
                </c:pt>
                <c:pt idx="7497">
                  <c:v>926</c:v>
                </c:pt>
                <c:pt idx="7498">
                  <c:v>849</c:v>
                </c:pt>
                <c:pt idx="7499">
                  <c:v>831</c:v>
                </c:pt>
                <c:pt idx="7500">
                  <c:v>818</c:v>
                </c:pt>
                <c:pt idx="7501">
                  <c:v>841</c:v>
                </c:pt>
                <c:pt idx="7502">
                  <c:v>866</c:v>
                </c:pt>
                <c:pt idx="7503">
                  <c:v>803</c:v>
                </c:pt>
                <c:pt idx="7504">
                  <c:v>841</c:v>
                </c:pt>
                <c:pt idx="7505">
                  <c:v>830</c:v>
                </c:pt>
                <c:pt idx="7506">
                  <c:v>861</c:v>
                </c:pt>
                <c:pt idx="7507">
                  <c:v>851</c:v>
                </c:pt>
                <c:pt idx="7508">
                  <c:v>865</c:v>
                </c:pt>
                <c:pt idx="7509">
                  <c:v>890</c:v>
                </c:pt>
                <c:pt idx="7510">
                  <c:v>805</c:v>
                </c:pt>
                <c:pt idx="7511">
                  <c:v>808</c:v>
                </c:pt>
                <c:pt idx="7512">
                  <c:v>737</c:v>
                </c:pt>
                <c:pt idx="7513">
                  <c:v>292</c:v>
                </c:pt>
                <c:pt idx="7514">
                  <c:v>629</c:v>
                </c:pt>
                <c:pt idx="7515">
                  <c:v>626</c:v>
                </c:pt>
                <c:pt idx="7516">
                  <c:v>547</c:v>
                </c:pt>
                <c:pt idx="7517">
                  <c:v>684</c:v>
                </c:pt>
                <c:pt idx="7518">
                  <c:v>539</c:v>
                </c:pt>
                <c:pt idx="7519">
                  <c:v>530</c:v>
                </c:pt>
                <c:pt idx="7520">
                  <c:v>625</c:v>
                </c:pt>
                <c:pt idx="7521">
                  <c:v>638</c:v>
                </c:pt>
                <c:pt idx="7522">
                  <c:v>613</c:v>
                </c:pt>
                <c:pt idx="7523">
                  <c:v>655</c:v>
                </c:pt>
                <c:pt idx="7524">
                  <c:v>582</c:v>
                </c:pt>
                <c:pt idx="7525">
                  <c:v>692</c:v>
                </c:pt>
                <c:pt idx="7526">
                  <c:v>579</c:v>
                </c:pt>
                <c:pt idx="7527">
                  <c:v>583</c:v>
                </c:pt>
                <c:pt idx="7528">
                  <c:v>551</c:v>
                </c:pt>
                <c:pt idx="7529">
                  <c:v>567</c:v>
                </c:pt>
                <c:pt idx="7530">
                  <c:v>625</c:v>
                </c:pt>
                <c:pt idx="7531">
                  <c:v>575</c:v>
                </c:pt>
                <c:pt idx="7532">
                  <c:v>491</c:v>
                </c:pt>
                <c:pt idx="7533">
                  <c:v>529</c:v>
                </c:pt>
                <c:pt idx="7534">
                  <c:v>512</c:v>
                </c:pt>
                <c:pt idx="7535">
                  <c:v>529</c:v>
                </c:pt>
                <c:pt idx="7536">
                  <c:v>492</c:v>
                </c:pt>
                <c:pt idx="7537">
                  <c:v>482</c:v>
                </c:pt>
                <c:pt idx="7538">
                  <c:v>492</c:v>
                </c:pt>
                <c:pt idx="7539">
                  <c:v>445</c:v>
                </c:pt>
                <c:pt idx="7540">
                  <c:v>476</c:v>
                </c:pt>
                <c:pt idx="7541">
                  <c:v>511</c:v>
                </c:pt>
                <c:pt idx="7542">
                  <c:v>479</c:v>
                </c:pt>
                <c:pt idx="7543">
                  <c:v>458</c:v>
                </c:pt>
                <c:pt idx="7544">
                  <c:v>443</c:v>
                </c:pt>
                <c:pt idx="7545">
                  <c:v>453</c:v>
                </c:pt>
                <c:pt idx="7546">
                  <c:v>402</c:v>
                </c:pt>
                <c:pt idx="7547">
                  <c:v>413</c:v>
                </c:pt>
                <c:pt idx="7548">
                  <c:v>399</c:v>
                </c:pt>
                <c:pt idx="7549">
                  <c:v>403</c:v>
                </c:pt>
                <c:pt idx="7550">
                  <c:v>315</c:v>
                </c:pt>
                <c:pt idx="7551">
                  <c:v>335</c:v>
                </c:pt>
                <c:pt idx="7552">
                  <c:v>289</c:v>
                </c:pt>
                <c:pt idx="7553">
                  <c:v>324</c:v>
                </c:pt>
                <c:pt idx="7554">
                  <c:v>355</c:v>
                </c:pt>
                <c:pt idx="7555">
                  <c:v>320</c:v>
                </c:pt>
                <c:pt idx="7556">
                  <c:v>347</c:v>
                </c:pt>
                <c:pt idx="7557">
                  <c:v>334</c:v>
                </c:pt>
                <c:pt idx="7558">
                  <c:v>368</c:v>
                </c:pt>
                <c:pt idx="7559">
                  <c:v>328</c:v>
                </c:pt>
                <c:pt idx="7560">
                  <c:v>305</c:v>
                </c:pt>
                <c:pt idx="7561">
                  <c:v>331</c:v>
                </c:pt>
                <c:pt idx="7562">
                  <c:v>303</c:v>
                </c:pt>
                <c:pt idx="7563">
                  <c:v>315</c:v>
                </c:pt>
                <c:pt idx="7564">
                  <c:v>313</c:v>
                </c:pt>
                <c:pt idx="7565">
                  <c:v>313</c:v>
                </c:pt>
                <c:pt idx="7566">
                  <c:v>341</c:v>
                </c:pt>
                <c:pt idx="7567">
                  <c:v>354</c:v>
                </c:pt>
                <c:pt idx="7568">
                  <c:v>391</c:v>
                </c:pt>
                <c:pt idx="7569">
                  <c:v>328</c:v>
                </c:pt>
                <c:pt idx="7570">
                  <c:v>328</c:v>
                </c:pt>
                <c:pt idx="7571">
                  <c:v>346</c:v>
                </c:pt>
                <c:pt idx="7572">
                  <c:v>299</c:v>
                </c:pt>
                <c:pt idx="7573">
                  <c:v>356</c:v>
                </c:pt>
                <c:pt idx="7574">
                  <c:v>355</c:v>
                </c:pt>
                <c:pt idx="7575">
                  <c:v>390</c:v>
                </c:pt>
                <c:pt idx="7576">
                  <c:v>363</c:v>
                </c:pt>
                <c:pt idx="7577">
                  <c:v>381</c:v>
                </c:pt>
                <c:pt idx="7578">
                  <c:v>449</c:v>
                </c:pt>
                <c:pt idx="7579">
                  <c:v>441</c:v>
                </c:pt>
                <c:pt idx="7580">
                  <c:v>498</c:v>
                </c:pt>
                <c:pt idx="7581">
                  <c:v>558</c:v>
                </c:pt>
                <c:pt idx="7582">
                  <c:v>604</c:v>
                </c:pt>
                <c:pt idx="7583">
                  <c:v>464</c:v>
                </c:pt>
                <c:pt idx="7584">
                  <c:v>473</c:v>
                </c:pt>
                <c:pt idx="7585">
                  <c:v>450</c:v>
                </c:pt>
                <c:pt idx="7586">
                  <c:v>432</c:v>
                </c:pt>
                <c:pt idx="7587">
                  <c:v>456</c:v>
                </c:pt>
                <c:pt idx="7588">
                  <c:v>468</c:v>
                </c:pt>
                <c:pt idx="7589">
                  <c:v>493</c:v>
                </c:pt>
                <c:pt idx="7590">
                  <c:v>443</c:v>
                </c:pt>
                <c:pt idx="7591">
                  <c:v>472</c:v>
                </c:pt>
                <c:pt idx="7592">
                  <c:v>462</c:v>
                </c:pt>
                <c:pt idx="7593">
                  <c:v>473</c:v>
                </c:pt>
                <c:pt idx="7594">
                  <c:v>509</c:v>
                </c:pt>
                <c:pt idx="7595">
                  <c:v>455</c:v>
                </c:pt>
                <c:pt idx="7596">
                  <c:v>550</c:v>
                </c:pt>
                <c:pt idx="7597">
                  <c:v>446</c:v>
                </c:pt>
                <c:pt idx="7598">
                  <c:v>467</c:v>
                </c:pt>
                <c:pt idx="7599">
                  <c:v>462</c:v>
                </c:pt>
                <c:pt idx="7600">
                  <c:v>431</c:v>
                </c:pt>
                <c:pt idx="7601">
                  <c:v>427</c:v>
                </c:pt>
                <c:pt idx="7602">
                  <c:v>426</c:v>
                </c:pt>
                <c:pt idx="7603">
                  <c:v>411</c:v>
                </c:pt>
                <c:pt idx="7604">
                  <c:v>424</c:v>
                </c:pt>
                <c:pt idx="7605">
                  <c:v>405</c:v>
                </c:pt>
                <c:pt idx="7606">
                  <c:v>434</c:v>
                </c:pt>
                <c:pt idx="7607">
                  <c:v>454</c:v>
                </c:pt>
                <c:pt idx="7608">
                  <c:v>390</c:v>
                </c:pt>
                <c:pt idx="7609">
                  <c:v>411</c:v>
                </c:pt>
                <c:pt idx="7610">
                  <c:v>408</c:v>
                </c:pt>
                <c:pt idx="7611">
                  <c:v>365</c:v>
                </c:pt>
                <c:pt idx="7612">
                  <c:v>438</c:v>
                </c:pt>
                <c:pt idx="7613">
                  <c:v>388</c:v>
                </c:pt>
                <c:pt idx="7614">
                  <c:v>379</c:v>
                </c:pt>
                <c:pt idx="7615">
                  <c:v>432</c:v>
                </c:pt>
                <c:pt idx="7616">
                  <c:v>389</c:v>
                </c:pt>
                <c:pt idx="7617">
                  <c:v>446</c:v>
                </c:pt>
                <c:pt idx="7618">
                  <c:v>370</c:v>
                </c:pt>
                <c:pt idx="7619">
                  <c:v>404</c:v>
                </c:pt>
                <c:pt idx="7620">
                  <c:v>389</c:v>
                </c:pt>
                <c:pt idx="7621">
                  <c:v>456</c:v>
                </c:pt>
                <c:pt idx="7622">
                  <c:v>407</c:v>
                </c:pt>
                <c:pt idx="7623">
                  <c:v>369</c:v>
                </c:pt>
                <c:pt idx="7624">
                  <c:v>383</c:v>
                </c:pt>
                <c:pt idx="7625">
                  <c:v>350</c:v>
                </c:pt>
                <c:pt idx="7626">
                  <c:v>448</c:v>
                </c:pt>
                <c:pt idx="7627">
                  <c:v>470</c:v>
                </c:pt>
                <c:pt idx="7628">
                  <c:v>357</c:v>
                </c:pt>
                <c:pt idx="7629">
                  <c:v>364</c:v>
                </c:pt>
                <c:pt idx="7630">
                  <c:v>444</c:v>
                </c:pt>
                <c:pt idx="7631">
                  <c:v>351</c:v>
                </c:pt>
                <c:pt idx="7632">
                  <c:v>341</c:v>
                </c:pt>
                <c:pt idx="7633">
                  <c:v>348</c:v>
                </c:pt>
                <c:pt idx="7634">
                  <c:v>264</c:v>
                </c:pt>
                <c:pt idx="7635">
                  <c:v>296</c:v>
                </c:pt>
                <c:pt idx="7636">
                  <c:v>282</c:v>
                </c:pt>
                <c:pt idx="7637">
                  <c:v>326</c:v>
                </c:pt>
                <c:pt idx="7638">
                  <c:v>401</c:v>
                </c:pt>
                <c:pt idx="7639">
                  <c:v>339</c:v>
                </c:pt>
                <c:pt idx="7640">
                  <c:v>330</c:v>
                </c:pt>
                <c:pt idx="7641">
                  <c:v>343</c:v>
                </c:pt>
                <c:pt idx="7642">
                  <c:v>314</c:v>
                </c:pt>
                <c:pt idx="7643">
                  <c:v>314</c:v>
                </c:pt>
                <c:pt idx="7644">
                  <c:v>299</c:v>
                </c:pt>
                <c:pt idx="7645">
                  <c:v>369</c:v>
                </c:pt>
                <c:pt idx="7646">
                  <c:v>289</c:v>
                </c:pt>
                <c:pt idx="7647">
                  <c:v>266</c:v>
                </c:pt>
                <c:pt idx="7648">
                  <c:v>292</c:v>
                </c:pt>
                <c:pt idx="7649">
                  <c:v>278</c:v>
                </c:pt>
                <c:pt idx="7650">
                  <c:v>353</c:v>
                </c:pt>
                <c:pt idx="7651">
                  <c:v>349</c:v>
                </c:pt>
                <c:pt idx="7652">
                  <c:v>324</c:v>
                </c:pt>
                <c:pt idx="7653">
                  <c:v>330</c:v>
                </c:pt>
                <c:pt idx="7654">
                  <c:v>341</c:v>
                </c:pt>
                <c:pt idx="7655">
                  <c:v>341</c:v>
                </c:pt>
                <c:pt idx="7656">
                  <c:v>312</c:v>
                </c:pt>
                <c:pt idx="7657">
                  <c:v>291</c:v>
                </c:pt>
                <c:pt idx="7658">
                  <c:v>361</c:v>
                </c:pt>
                <c:pt idx="7659">
                  <c:v>310</c:v>
                </c:pt>
                <c:pt idx="7660">
                  <c:v>365</c:v>
                </c:pt>
                <c:pt idx="7661">
                  <c:v>286</c:v>
                </c:pt>
                <c:pt idx="7662">
                  <c:v>329</c:v>
                </c:pt>
                <c:pt idx="7663">
                  <c:v>374</c:v>
                </c:pt>
                <c:pt idx="7664">
                  <c:v>340</c:v>
                </c:pt>
                <c:pt idx="7665">
                  <c:v>327</c:v>
                </c:pt>
                <c:pt idx="7666">
                  <c:v>334</c:v>
                </c:pt>
                <c:pt idx="7667">
                  <c:v>383</c:v>
                </c:pt>
                <c:pt idx="7668">
                  <c:v>434</c:v>
                </c:pt>
                <c:pt idx="7669">
                  <c:v>568</c:v>
                </c:pt>
                <c:pt idx="7670">
                  <c:v>442</c:v>
                </c:pt>
                <c:pt idx="7671">
                  <c:v>402</c:v>
                </c:pt>
                <c:pt idx="7672">
                  <c:v>420</c:v>
                </c:pt>
                <c:pt idx="7673">
                  <c:v>433</c:v>
                </c:pt>
                <c:pt idx="7674">
                  <c:v>440</c:v>
                </c:pt>
                <c:pt idx="7675">
                  <c:v>450</c:v>
                </c:pt>
                <c:pt idx="7676">
                  <c:v>427</c:v>
                </c:pt>
                <c:pt idx="7677">
                  <c:v>464</c:v>
                </c:pt>
                <c:pt idx="7678">
                  <c:v>480</c:v>
                </c:pt>
                <c:pt idx="7679">
                  <c:v>506</c:v>
                </c:pt>
                <c:pt idx="7680">
                  <c:v>488</c:v>
                </c:pt>
                <c:pt idx="7681">
                  <c:v>514</c:v>
                </c:pt>
                <c:pt idx="7682">
                  <c:v>472</c:v>
                </c:pt>
                <c:pt idx="7683">
                  <c:v>429</c:v>
                </c:pt>
                <c:pt idx="7684">
                  <c:v>449</c:v>
                </c:pt>
                <c:pt idx="7685">
                  <c:v>429</c:v>
                </c:pt>
                <c:pt idx="7686">
                  <c:v>474</c:v>
                </c:pt>
                <c:pt idx="7687">
                  <c:v>446</c:v>
                </c:pt>
                <c:pt idx="7688">
                  <c:v>429</c:v>
                </c:pt>
                <c:pt idx="7689">
                  <c:v>489</c:v>
                </c:pt>
                <c:pt idx="7690">
                  <c:v>505</c:v>
                </c:pt>
                <c:pt idx="7691">
                  <c:v>525</c:v>
                </c:pt>
                <c:pt idx="7692">
                  <c:v>555</c:v>
                </c:pt>
                <c:pt idx="7693">
                  <c:v>591</c:v>
                </c:pt>
                <c:pt idx="7694">
                  <c:v>539</c:v>
                </c:pt>
                <c:pt idx="7695">
                  <c:v>436</c:v>
                </c:pt>
                <c:pt idx="7696">
                  <c:v>484</c:v>
                </c:pt>
                <c:pt idx="7697">
                  <c:v>477</c:v>
                </c:pt>
                <c:pt idx="7698">
                  <c:v>460</c:v>
                </c:pt>
                <c:pt idx="7699">
                  <c:v>504</c:v>
                </c:pt>
                <c:pt idx="7700">
                  <c:v>469</c:v>
                </c:pt>
                <c:pt idx="7701">
                  <c:v>498</c:v>
                </c:pt>
                <c:pt idx="7702">
                  <c:v>446</c:v>
                </c:pt>
                <c:pt idx="7703">
                  <c:v>484</c:v>
                </c:pt>
                <c:pt idx="7704">
                  <c:v>448</c:v>
                </c:pt>
                <c:pt idx="7705">
                  <c:v>475</c:v>
                </c:pt>
                <c:pt idx="7706">
                  <c:v>463</c:v>
                </c:pt>
                <c:pt idx="7707">
                  <c:v>466</c:v>
                </c:pt>
                <c:pt idx="7708">
                  <c:v>443</c:v>
                </c:pt>
                <c:pt idx="7709">
                  <c:v>398</c:v>
                </c:pt>
                <c:pt idx="7710">
                  <c:v>435</c:v>
                </c:pt>
                <c:pt idx="7711">
                  <c:v>421</c:v>
                </c:pt>
                <c:pt idx="7712">
                  <c:v>360</c:v>
                </c:pt>
                <c:pt idx="7713">
                  <c:v>421</c:v>
                </c:pt>
                <c:pt idx="7714">
                  <c:v>393</c:v>
                </c:pt>
                <c:pt idx="7715">
                  <c:v>408</c:v>
                </c:pt>
                <c:pt idx="7716">
                  <c:v>407</c:v>
                </c:pt>
                <c:pt idx="7717">
                  <c:v>365</c:v>
                </c:pt>
                <c:pt idx="7718">
                  <c:v>344</c:v>
                </c:pt>
                <c:pt idx="7719">
                  <c:v>403</c:v>
                </c:pt>
                <c:pt idx="7720">
                  <c:v>317</c:v>
                </c:pt>
                <c:pt idx="7721">
                  <c:v>352</c:v>
                </c:pt>
                <c:pt idx="7722">
                  <c:v>337</c:v>
                </c:pt>
                <c:pt idx="7723">
                  <c:v>382</c:v>
                </c:pt>
                <c:pt idx="7724">
                  <c:v>319</c:v>
                </c:pt>
                <c:pt idx="7725">
                  <c:v>339</c:v>
                </c:pt>
                <c:pt idx="7726">
                  <c:v>312</c:v>
                </c:pt>
                <c:pt idx="7727">
                  <c:v>293</c:v>
                </c:pt>
                <c:pt idx="7728">
                  <c:v>339</c:v>
                </c:pt>
                <c:pt idx="7729">
                  <c:v>298</c:v>
                </c:pt>
                <c:pt idx="7730">
                  <c:v>325</c:v>
                </c:pt>
                <c:pt idx="7731">
                  <c:v>254</c:v>
                </c:pt>
                <c:pt idx="7732">
                  <c:v>281</c:v>
                </c:pt>
                <c:pt idx="7733">
                  <c:v>302</c:v>
                </c:pt>
                <c:pt idx="7734">
                  <c:v>344</c:v>
                </c:pt>
                <c:pt idx="7735">
                  <c:v>392</c:v>
                </c:pt>
                <c:pt idx="7736">
                  <c:v>378</c:v>
                </c:pt>
                <c:pt idx="7737">
                  <c:v>348</c:v>
                </c:pt>
                <c:pt idx="7738">
                  <c:v>341</c:v>
                </c:pt>
                <c:pt idx="7739">
                  <c:v>336</c:v>
                </c:pt>
                <c:pt idx="7740">
                  <c:v>320</c:v>
                </c:pt>
                <c:pt idx="7741">
                  <c:v>310</c:v>
                </c:pt>
                <c:pt idx="7742">
                  <c:v>356</c:v>
                </c:pt>
                <c:pt idx="7743">
                  <c:v>464</c:v>
                </c:pt>
                <c:pt idx="7744">
                  <c:v>414</c:v>
                </c:pt>
                <c:pt idx="7745">
                  <c:v>414</c:v>
                </c:pt>
                <c:pt idx="7746">
                  <c:v>352</c:v>
                </c:pt>
                <c:pt idx="7747">
                  <c:v>333</c:v>
                </c:pt>
                <c:pt idx="7748">
                  <c:v>383</c:v>
                </c:pt>
                <c:pt idx="7749">
                  <c:v>376</c:v>
                </c:pt>
                <c:pt idx="7750">
                  <c:v>362</c:v>
                </c:pt>
                <c:pt idx="7751">
                  <c:v>347</c:v>
                </c:pt>
                <c:pt idx="7752">
                  <c:v>388</c:v>
                </c:pt>
                <c:pt idx="7753">
                  <c:v>390</c:v>
                </c:pt>
                <c:pt idx="7754">
                  <c:v>360</c:v>
                </c:pt>
                <c:pt idx="7755">
                  <c:v>407</c:v>
                </c:pt>
                <c:pt idx="7756">
                  <c:v>401</c:v>
                </c:pt>
                <c:pt idx="7757">
                  <c:v>480</c:v>
                </c:pt>
                <c:pt idx="7758">
                  <c:v>445</c:v>
                </c:pt>
                <c:pt idx="7759">
                  <c:v>482</c:v>
                </c:pt>
                <c:pt idx="7760">
                  <c:v>496</c:v>
                </c:pt>
                <c:pt idx="7761">
                  <c:v>455</c:v>
                </c:pt>
                <c:pt idx="7762">
                  <c:v>490</c:v>
                </c:pt>
                <c:pt idx="7763">
                  <c:v>515</c:v>
                </c:pt>
                <c:pt idx="7764">
                  <c:v>485</c:v>
                </c:pt>
                <c:pt idx="7765">
                  <c:v>542</c:v>
                </c:pt>
                <c:pt idx="7766">
                  <c:v>556</c:v>
                </c:pt>
                <c:pt idx="7767">
                  <c:v>548</c:v>
                </c:pt>
                <c:pt idx="7768">
                  <c:v>563</c:v>
                </c:pt>
                <c:pt idx="7769">
                  <c:v>638</c:v>
                </c:pt>
                <c:pt idx="7770">
                  <c:v>576</c:v>
                </c:pt>
                <c:pt idx="7771">
                  <c:v>586</c:v>
                </c:pt>
                <c:pt idx="7772">
                  <c:v>590</c:v>
                </c:pt>
                <c:pt idx="7773">
                  <c:v>586</c:v>
                </c:pt>
                <c:pt idx="7774">
                  <c:v>622</c:v>
                </c:pt>
                <c:pt idx="7775">
                  <c:v>615</c:v>
                </c:pt>
                <c:pt idx="7776">
                  <c:v>616</c:v>
                </c:pt>
                <c:pt idx="7777">
                  <c:v>592</c:v>
                </c:pt>
                <c:pt idx="7778">
                  <c:v>637</c:v>
                </c:pt>
                <c:pt idx="7779">
                  <c:v>642</c:v>
                </c:pt>
                <c:pt idx="7780">
                  <c:v>605</c:v>
                </c:pt>
                <c:pt idx="7781">
                  <c:v>617</c:v>
                </c:pt>
                <c:pt idx="7782">
                  <c:v>621</c:v>
                </c:pt>
                <c:pt idx="7783">
                  <c:v>602</c:v>
                </c:pt>
                <c:pt idx="7784">
                  <c:v>555</c:v>
                </c:pt>
                <c:pt idx="7785">
                  <c:v>574</c:v>
                </c:pt>
                <c:pt idx="7786">
                  <c:v>558</c:v>
                </c:pt>
                <c:pt idx="7787">
                  <c:v>210</c:v>
                </c:pt>
                <c:pt idx="7788">
                  <c:v>233</c:v>
                </c:pt>
                <c:pt idx="7789">
                  <c:v>231</c:v>
                </c:pt>
                <c:pt idx="7790">
                  <c:v>278</c:v>
                </c:pt>
                <c:pt idx="7791">
                  <c:v>367</c:v>
                </c:pt>
                <c:pt idx="7792">
                  <c:v>292</c:v>
                </c:pt>
                <c:pt idx="7793">
                  <c:v>305</c:v>
                </c:pt>
                <c:pt idx="7794">
                  <c:v>263</c:v>
                </c:pt>
                <c:pt idx="7795">
                  <c:v>300</c:v>
                </c:pt>
                <c:pt idx="7796">
                  <c:v>276</c:v>
                </c:pt>
                <c:pt idx="7797">
                  <c:v>258</c:v>
                </c:pt>
                <c:pt idx="7798">
                  <c:v>247</c:v>
                </c:pt>
                <c:pt idx="7799">
                  <c:v>248</c:v>
                </c:pt>
                <c:pt idx="7800">
                  <c:v>258</c:v>
                </c:pt>
                <c:pt idx="7801">
                  <c:v>224</c:v>
                </c:pt>
                <c:pt idx="7802">
                  <c:v>275</c:v>
                </c:pt>
                <c:pt idx="7803">
                  <c:v>292</c:v>
                </c:pt>
                <c:pt idx="7804">
                  <c:v>318</c:v>
                </c:pt>
                <c:pt idx="7805">
                  <c:v>319</c:v>
                </c:pt>
                <c:pt idx="7806">
                  <c:v>294</c:v>
                </c:pt>
                <c:pt idx="7807">
                  <c:v>330</c:v>
                </c:pt>
                <c:pt idx="7808">
                  <c:v>356</c:v>
                </c:pt>
                <c:pt idx="7809">
                  <c:v>289</c:v>
                </c:pt>
                <c:pt idx="7810">
                  <c:v>393</c:v>
                </c:pt>
                <c:pt idx="7811">
                  <c:v>373</c:v>
                </c:pt>
                <c:pt idx="7812">
                  <c:v>359</c:v>
                </c:pt>
                <c:pt idx="7813">
                  <c:v>520</c:v>
                </c:pt>
                <c:pt idx="7814">
                  <c:v>514</c:v>
                </c:pt>
                <c:pt idx="7815">
                  <c:v>520</c:v>
                </c:pt>
                <c:pt idx="7816">
                  <c:v>525</c:v>
                </c:pt>
                <c:pt idx="7817">
                  <c:v>557</c:v>
                </c:pt>
                <c:pt idx="7818">
                  <c:v>575</c:v>
                </c:pt>
                <c:pt idx="7819">
                  <c:v>583</c:v>
                </c:pt>
                <c:pt idx="7820">
                  <c:v>599</c:v>
                </c:pt>
                <c:pt idx="7821">
                  <c:v>655</c:v>
                </c:pt>
                <c:pt idx="7822">
                  <c:v>596</c:v>
                </c:pt>
                <c:pt idx="7823">
                  <c:v>587</c:v>
                </c:pt>
                <c:pt idx="7824">
                  <c:v>596</c:v>
                </c:pt>
                <c:pt idx="7825">
                  <c:v>656</c:v>
                </c:pt>
                <c:pt idx="7826">
                  <c:v>651</c:v>
                </c:pt>
                <c:pt idx="7827">
                  <c:v>720</c:v>
                </c:pt>
                <c:pt idx="7828">
                  <c:v>725</c:v>
                </c:pt>
                <c:pt idx="7829">
                  <c:v>612</c:v>
                </c:pt>
                <c:pt idx="7830">
                  <c:v>576</c:v>
                </c:pt>
                <c:pt idx="7831">
                  <c:v>747</c:v>
                </c:pt>
                <c:pt idx="7832">
                  <c:v>745</c:v>
                </c:pt>
                <c:pt idx="7833">
                  <c:v>736</c:v>
                </c:pt>
                <c:pt idx="7834">
                  <c:v>743</c:v>
                </c:pt>
                <c:pt idx="7835">
                  <c:v>726</c:v>
                </c:pt>
                <c:pt idx="7836">
                  <c:v>763</c:v>
                </c:pt>
                <c:pt idx="7837">
                  <c:v>790</c:v>
                </c:pt>
                <c:pt idx="7838">
                  <c:v>786</c:v>
                </c:pt>
                <c:pt idx="7839">
                  <c:v>829</c:v>
                </c:pt>
                <c:pt idx="7840">
                  <c:v>831</c:v>
                </c:pt>
                <c:pt idx="7841">
                  <c:v>808</c:v>
                </c:pt>
                <c:pt idx="7842">
                  <c:v>793</c:v>
                </c:pt>
                <c:pt idx="7843">
                  <c:v>703</c:v>
                </c:pt>
                <c:pt idx="7844">
                  <c:v>730</c:v>
                </c:pt>
                <c:pt idx="7845">
                  <c:v>717</c:v>
                </c:pt>
                <c:pt idx="7846">
                  <c:v>677</c:v>
                </c:pt>
                <c:pt idx="7847">
                  <c:v>655</c:v>
                </c:pt>
                <c:pt idx="7848">
                  <c:v>666</c:v>
                </c:pt>
                <c:pt idx="7849">
                  <c:v>635</c:v>
                </c:pt>
                <c:pt idx="7850">
                  <c:v>616</c:v>
                </c:pt>
                <c:pt idx="7851">
                  <c:v>461</c:v>
                </c:pt>
                <c:pt idx="7852">
                  <c:v>491</c:v>
                </c:pt>
                <c:pt idx="7853">
                  <c:v>559</c:v>
                </c:pt>
                <c:pt idx="7854">
                  <c:v>515</c:v>
                </c:pt>
                <c:pt idx="7855">
                  <c:v>519</c:v>
                </c:pt>
                <c:pt idx="7856">
                  <c:v>524</c:v>
                </c:pt>
                <c:pt idx="7857">
                  <c:v>549</c:v>
                </c:pt>
                <c:pt idx="7858">
                  <c:v>529</c:v>
                </c:pt>
                <c:pt idx="7859">
                  <c:v>488</c:v>
                </c:pt>
                <c:pt idx="7860">
                  <c:v>459</c:v>
                </c:pt>
                <c:pt idx="7861">
                  <c:v>420</c:v>
                </c:pt>
                <c:pt idx="7862">
                  <c:v>395</c:v>
                </c:pt>
                <c:pt idx="7863">
                  <c:v>399</c:v>
                </c:pt>
                <c:pt idx="7864">
                  <c:v>373</c:v>
                </c:pt>
                <c:pt idx="7865">
                  <c:v>375</c:v>
                </c:pt>
                <c:pt idx="7866">
                  <c:v>318</c:v>
                </c:pt>
                <c:pt idx="7867">
                  <c:v>312</c:v>
                </c:pt>
                <c:pt idx="7868">
                  <c:v>261</c:v>
                </c:pt>
                <c:pt idx="7869">
                  <c:v>286</c:v>
                </c:pt>
                <c:pt idx="7870">
                  <c:v>313</c:v>
                </c:pt>
                <c:pt idx="7871">
                  <c:v>286</c:v>
                </c:pt>
                <c:pt idx="7872">
                  <c:v>247</c:v>
                </c:pt>
                <c:pt idx="7873">
                  <c:v>225</c:v>
                </c:pt>
                <c:pt idx="7874">
                  <c:v>226</c:v>
                </c:pt>
                <c:pt idx="7875">
                  <c:v>234</c:v>
                </c:pt>
                <c:pt idx="7876">
                  <c:v>248</c:v>
                </c:pt>
                <c:pt idx="7877">
                  <c:v>247</c:v>
                </c:pt>
                <c:pt idx="7878">
                  <c:v>272</c:v>
                </c:pt>
                <c:pt idx="7879">
                  <c:v>252</c:v>
                </c:pt>
                <c:pt idx="7880">
                  <c:v>281</c:v>
                </c:pt>
                <c:pt idx="7881">
                  <c:v>223</c:v>
                </c:pt>
                <c:pt idx="7882">
                  <c:v>228</c:v>
                </c:pt>
                <c:pt idx="7883">
                  <c:v>211</c:v>
                </c:pt>
                <c:pt idx="7884">
                  <c:v>244</c:v>
                </c:pt>
                <c:pt idx="7885">
                  <c:v>241</c:v>
                </c:pt>
                <c:pt idx="7886">
                  <c:v>283</c:v>
                </c:pt>
                <c:pt idx="7887">
                  <c:v>353</c:v>
                </c:pt>
                <c:pt idx="7888">
                  <c:v>312</c:v>
                </c:pt>
                <c:pt idx="7889">
                  <c:v>298</c:v>
                </c:pt>
                <c:pt idx="7890">
                  <c:v>277</c:v>
                </c:pt>
                <c:pt idx="7891">
                  <c:v>323</c:v>
                </c:pt>
                <c:pt idx="7892">
                  <c:v>289</c:v>
                </c:pt>
                <c:pt idx="7893">
                  <c:v>282</c:v>
                </c:pt>
                <c:pt idx="7894">
                  <c:v>273</c:v>
                </c:pt>
                <c:pt idx="7895">
                  <c:v>274</c:v>
                </c:pt>
                <c:pt idx="7896">
                  <c:v>287</c:v>
                </c:pt>
                <c:pt idx="7897">
                  <c:v>519</c:v>
                </c:pt>
                <c:pt idx="7898">
                  <c:v>400</c:v>
                </c:pt>
                <c:pt idx="7899">
                  <c:v>399</c:v>
                </c:pt>
                <c:pt idx="7900">
                  <c:v>463</c:v>
                </c:pt>
                <c:pt idx="7901">
                  <c:v>504</c:v>
                </c:pt>
                <c:pt idx="7902">
                  <c:v>445</c:v>
                </c:pt>
                <c:pt idx="7903">
                  <c:v>492</c:v>
                </c:pt>
                <c:pt idx="7904">
                  <c:v>457</c:v>
                </c:pt>
                <c:pt idx="7905">
                  <c:v>432</c:v>
                </c:pt>
                <c:pt idx="7906">
                  <c:v>578</c:v>
                </c:pt>
                <c:pt idx="7907">
                  <c:v>569</c:v>
                </c:pt>
                <c:pt idx="7908">
                  <c:v>514</c:v>
                </c:pt>
                <c:pt idx="7909">
                  <c:v>520</c:v>
                </c:pt>
                <c:pt idx="7910">
                  <c:v>532</c:v>
                </c:pt>
                <c:pt idx="7911">
                  <c:v>591</c:v>
                </c:pt>
                <c:pt idx="7912">
                  <c:v>532</c:v>
                </c:pt>
                <c:pt idx="7913">
                  <c:v>573</c:v>
                </c:pt>
                <c:pt idx="7914">
                  <c:v>567</c:v>
                </c:pt>
                <c:pt idx="7915">
                  <c:v>571</c:v>
                </c:pt>
                <c:pt idx="7916">
                  <c:v>613</c:v>
                </c:pt>
                <c:pt idx="7917">
                  <c:v>623</c:v>
                </c:pt>
                <c:pt idx="7918">
                  <c:v>593</c:v>
                </c:pt>
                <c:pt idx="7919">
                  <c:v>683</c:v>
                </c:pt>
                <c:pt idx="7920">
                  <c:v>705</c:v>
                </c:pt>
                <c:pt idx="7921">
                  <c:v>715</c:v>
                </c:pt>
                <c:pt idx="7922">
                  <c:v>700</c:v>
                </c:pt>
                <c:pt idx="7923">
                  <c:v>667</c:v>
                </c:pt>
                <c:pt idx="7924">
                  <c:v>767</c:v>
                </c:pt>
                <c:pt idx="7925">
                  <c:v>793</c:v>
                </c:pt>
                <c:pt idx="7926">
                  <c:v>734</c:v>
                </c:pt>
                <c:pt idx="7927">
                  <c:v>662</c:v>
                </c:pt>
                <c:pt idx="7928">
                  <c:v>769</c:v>
                </c:pt>
                <c:pt idx="7929">
                  <c:v>785</c:v>
                </c:pt>
                <c:pt idx="7930">
                  <c:v>787</c:v>
                </c:pt>
                <c:pt idx="7931">
                  <c:v>757</c:v>
                </c:pt>
                <c:pt idx="7932">
                  <c:v>830</c:v>
                </c:pt>
                <c:pt idx="7933">
                  <c:v>770</c:v>
                </c:pt>
                <c:pt idx="7934">
                  <c:v>799</c:v>
                </c:pt>
                <c:pt idx="7935">
                  <c:v>758</c:v>
                </c:pt>
                <c:pt idx="7936">
                  <c:v>790</c:v>
                </c:pt>
                <c:pt idx="7937">
                  <c:v>798</c:v>
                </c:pt>
                <c:pt idx="7938">
                  <c:v>744</c:v>
                </c:pt>
                <c:pt idx="7939">
                  <c:v>729</c:v>
                </c:pt>
                <c:pt idx="7940">
                  <c:v>13</c:v>
                </c:pt>
                <c:pt idx="7941">
                  <c:v>482</c:v>
                </c:pt>
                <c:pt idx="7942">
                  <c:v>416</c:v>
                </c:pt>
                <c:pt idx="7943">
                  <c:v>581</c:v>
                </c:pt>
                <c:pt idx="7944">
                  <c:v>707</c:v>
                </c:pt>
                <c:pt idx="7945">
                  <c:v>983</c:v>
                </c:pt>
                <c:pt idx="7946">
                  <c:v>786</c:v>
                </c:pt>
                <c:pt idx="7947">
                  <c:v>729</c:v>
                </c:pt>
                <c:pt idx="7948">
                  <c:v>538</c:v>
                </c:pt>
                <c:pt idx="7949">
                  <c:v>686</c:v>
                </c:pt>
                <c:pt idx="7950">
                  <c:v>630</c:v>
                </c:pt>
                <c:pt idx="7951">
                  <c:v>659</c:v>
                </c:pt>
                <c:pt idx="7952">
                  <c:v>584</c:v>
                </c:pt>
                <c:pt idx="7953">
                  <c:v>644</c:v>
                </c:pt>
                <c:pt idx="7954">
                  <c:v>564</c:v>
                </c:pt>
                <c:pt idx="7955">
                  <c:v>576</c:v>
                </c:pt>
                <c:pt idx="7956">
                  <c:v>466</c:v>
                </c:pt>
                <c:pt idx="7957">
                  <c:v>438</c:v>
                </c:pt>
                <c:pt idx="7958">
                  <c:v>462</c:v>
                </c:pt>
                <c:pt idx="7959">
                  <c:v>487</c:v>
                </c:pt>
                <c:pt idx="7960">
                  <c:v>455</c:v>
                </c:pt>
                <c:pt idx="7961">
                  <c:v>450</c:v>
                </c:pt>
                <c:pt idx="7962">
                  <c:v>407</c:v>
                </c:pt>
                <c:pt idx="7963">
                  <c:v>396</c:v>
                </c:pt>
                <c:pt idx="7964">
                  <c:v>357</c:v>
                </c:pt>
                <c:pt idx="7965">
                  <c:v>368</c:v>
                </c:pt>
                <c:pt idx="7966">
                  <c:v>359</c:v>
                </c:pt>
                <c:pt idx="7967">
                  <c:v>341</c:v>
                </c:pt>
                <c:pt idx="7968">
                  <c:v>364</c:v>
                </c:pt>
                <c:pt idx="7969">
                  <c:v>371</c:v>
                </c:pt>
                <c:pt idx="7970">
                  <c:v>374</c:v>
                </c:pt>
                <c:pt idx="7971">
                  <c:v>362</c:v>
                </c:pt>
                <c:pt idx="7972">
                  <c:v>344</c:v>
                </c:pt>
                <c:pt idx="7973">
                  <c:v>312</c:v>
                </c:pt>
                <c:pt idx="7974">
                  <c:v>356</c:v>
                </c:pt>
                <c:pt idx="7975">
                  <c:v>292</c:v>
                </c:pt>
                <c:pt idx="7976">
                  <c:v>317</c:v>
                </c:pt>
                <c:pt idx="7977">
                  <c:v>323</c:v>
                </c:pt>
                <c:pt idx="7978">
                  <c:v>303</c:v>
                </c:pt>
                <c:pt idx="7979">
                  <c:v>304</c:v>
                </c:pt>
                <c:pt idx="7980">
                  <c:v>403</c:v>
                </c:pt>
                <c:pt idx="7981">
                  <c:v>482</c:v>
                </c:pt>
                <c:pt idx="7982">
                  <c:v>362</c:v>
                </c:pt>
                <c:pt idx="7983">
                  <c:v>359</c:v>
                </c:pt>
                <c:pt idx="7984">
                  <c:v>358</c:v>
                </c:pt>
                <c:pt idx="7985">
                  <c:v>387</c:v>
                </c:pt>
                <c:pt idx="7986">
                  <c:v>355</c:v>
                </c:pt>
                <c:pt idx="7987">
                  <c:v>358</c:v>
                </c:pt>
                <c:pt idx="7988">
                  <c:v>384</c:v>
                </c:pt>
                <c:pt idx="7989">
                  <c:v>352</c:v>
                </c:pt>
                <c:pt idx="7990">
                  <c:v>368</c:v>
                </c:pt>
                <c:pt idx="7991">
                  <c:v>515</c:v>
                </c:pt>
                <c:pt idx="7992">
                  <c:v>508</c:v>
                </c:pt>
                <c:pt idx="7993">
                  <c:v>442</c:v>
                </c:pt>
                <c:pt idx="7994">
                  <c:v>516</c:v>
                </c:pt>
                <c:pt idx="7995">
                  <c:v>515</c:v>
                </c:pt>
                <c:pt idx="7996">
                  <c:v>547</c:v>
                </c:pt>
                <c:pt idx="7997">
                  <c:v>526</c:v>
                </c:pt>
                <c:pt idx="7998">
                  <c:v>509</c:v>
                </c:pt>
                <c:pt idx="7999">
                  <c:v>493</c:v>
                </c:pt>
                <c:pt idx="8000">
                  <c:v>589</c:v>
                </c:pt>
                <c:pt idx="8001">
                  <c:v>614</c:v>
                </c:pt>
                <c:pt idx="8002">
                  <c:v>583</c:v>
                </c:pt>
                <c:pt idx="8003">
                  <c:v>624</c:v>
                </c:pt>
                <c:pt idx="8004">
                  <c:v>616</c:v>
                </c:pt>
                <c:pt idx="8005">
                  <c:v>647</c:v>
                </c:pt>
                <c:pt idx="8006">
                  <c:v>639</c:v>
                </c:pt>
                <c:pt idx="8007">
                  <c:v>631</c:v>
                </c:pt>
                <c:pt idx="8008">
                  <c:v>682</c:v>
                </c:pt>
                <c:pt idx="8009">
                  <c:v>694</c:v>
                </c:pt>
                <c:pt idx="8010">
                  <c:v>718</c:v>
                </c:pt>
                <c:pt idx="8011">
                  <c:v>719</c:v>
                </c:pt>
                <c:pt idx="8012">
                  <c:v>598</c:v>
                </c:pt>
                <c:pt idx="8013">
                  <c:v>771</c:v>
                </c:pt>
                <c:pt idx="8014">
                  <c:v>750</c:v>
                </c:pt>
                <c:pt idx="8015">
                  <c:v>829</c:v>
                </c:pt>
                <c:pt idx="8016">
                  <c:v>795</c:v>
                </c:pt>
                <c:pt idx="8017">
                  <c:v>770</c:v>
                </c:pt>
                <c:pt idx="8018">
                  <c:v>840</c:v>
                </c:pt>
                <c:pt idx="8019">
                  <c:v>790</c:v>
                </c:pt>
                <c:pt idx="8020">
                  <c:v>793</c:v>
                </c:pt>
                <c:pt idx="8021">
                  <c:v>816</c:v>
                </c:pt>
                <c:pt idx="8022">
                  <c:v>792</c:v>
                </c:pt>
                <c:pt idx="8023">
                  <c:v>700</c:v>
                </c:pt>
                <c:pt idx="8024">
                  <c:v>751</c:v>
                </c:pt>
                <c:pt idx="8025">
                  <c:v>751</c:v>
                </c:pt>
                <c:pt idx="8026">
                  <c:v>820</c:v>
                </c:pt>
                <c:pt idx="8027">
                  <c:v>746</c:v>
                </c:pt>
                <c:pt idx="8028">
                  <c:v>760</c:v>
                </c:pt>
                <c:pt idx="8029">
                  <c:v>748</c:v>
                </c:pt>
                <c:pt idx="8030">
                  <c:v>786</c:v>
                </c:pt>
                <c:pt idx="8031">
                  <c:v>800</c:v>
                </c:pt>
                <c:pt idx="8032">
                  <c:v>846</c:v>
                </c:pt>
                <c:pt idx="8033">
                  <c:v>733</c:v>
                </c:pt>
                <c:pt idx="8034">
                  <c:v>753</c:v>
                </c:pt>
                <c:pt idx="8035">
                  <c:v>743</c:v>
                </c:pt>
                <c:pt idx="8036">
                  <c:v>854</c:v>
                </c:pt>
                <c:pt idx="8037">
                  <c:v>854</c:v>
                </c:pt>
                <c:pt idx="8038">
                  <c:v>803</c:v>
                </c:pt>
                <c:pt idx="8039">
                  <c:v>791</c:v>
                </c:pt>
                <c:pt idx="8040">
                  <c:v>844</c:v>
                </c:pt>
                <c:pt idx="8041">
                  <c:v>674</c:v>
                </c:pt>
                <c:pt idx="8042">
                  <c:v>729</c:v>
                </c:pt>
                <c:pt idx="8043">
                  <c:v>544</c:v>
                </c:pt>
                <c:pt idx="8044">
                  <c:v>566</c:v>
                </c:pt>
                <c:pt idx="8045">
                  <c:v>452</c:v>
                </c:pt>
                <c:pt idx="8046">
                  <c:v>608</c:v>
                </c:pt>
                <c:pt idx="8047">
                  <c:v>477</c:v>
                </c:pt>
                <c:pt idx="8048">
                  <c:v>451</c:v>
                </c:pt>
                <c:pt idx="8049">
                  <c:v>519</c:v>
                </c:pt>
                <c:pt idx="8050">
                  <c:v>361</c:v>
                </c:pt>
                <c:pt idx="8051">
                  <c:v>406</c:v>
                </c:pt>
                <c:pt idx="8052">
                  <c:v>332</c:v>
                </c:pt>
                <c:pt idx="8053">
                  <c:v>379</c:v>
                </c:pt>
                <c:pt idx="8054">
                  <c:v>305</c:v>
                </c:pt>
                <c:pt idx="8055">
                  <c:v>332</c:v>
                </c:pt>
                <c:pt idx="8056">
                  <c:v>278</c:v>
                </c:pt>
                <c:pt idx="8057">
                  <c:v>306</c:v>
                </c:pt>
                <c:pt idx="8058">
                  <c:v>273</c:v>
                </c:pt>
                <c:pt idx="8059">
                  <c:v>244</c:v>
                </c:pt>
                <c:pt idx="8060">
                  <c:v>259</c:v>
                </c:pt>
                <c:pt idx="8061">
                  <c:v>248</c:v>
                </c:pt>
                <c:pt idx="8062">
                  <c:v>307</c:v>
                </c:pt>
                <c:pt idx="8063">
                  <c:v>301</c:v>
                </c:pt>
                <c:pt idx="8064">
                  <c:v>307</c:v>
                </c:pt>
                <c:pt idx="8065">
                  <c:v>311</c:v>
                </c:pt>
                <c:pt idx="8066">
                  <c:v>306</c:v>
                </c:pt>
                <c:pt idx="8067">
                  <c:v>268</c:v>
                </c:pt>
                <c:pt idx="8068">
                  <c:v>296</c:v>
                </c:pt>
                <c:pt idx="8069">
                  <c:v>277</c:v>
                </c:pt>
                <c:pt idx="8070">
                  <c:v>272</c:v>
                </c:pt>
                <c:pt idx="8071">
                  <c:v>284</c:v>
                </c:pt>
                <c:pt idx="8072">
                  <c:v>253</c:v>
                </c:pt>
                <c:pt idx="8073">
                  <c:v>382</c:v>
                </c:pt>
                <c:pt idx="8074">
                  <c:v>255</c:v>
                </c:pt>
                <c:pt idx="8075">
                  <c:v>262</c:v>
                </c:pt>
                <c:pt idx="8076">
                  <c:v>304</c:v>
                </c:pt>
                <c:pt idx="8077">
                  <c:v>420</c:v>
                </c:pt>
                <c:pt idx="8078">
                  <c:v>370</c:v>
                </c:pt>
                <c:pt idx="8079">
                  <c:v>331</c:v>
                </c:pt>
                <c:pt idx="8080">
                  <c:v>326</c:v>
                </c:pt>
                <c:pt idx="8081">
                  <c:v>328</c:v>
                </c:pt>
                <c:pt idx="8082">
                  <c:v>308</c:v>
                </c:pt>
                <c:pt idx="8083">
                  <c:v>327</c:v>
                </c:pt>
                <c:pt idx="8084">
                  <c:v>324</c:v>
                </c:pt>
                <c:pt idx="8085">
                  <c:v>326</c:v>
                </c:pt>
                <c:pt idx="8086">
                  <c:v>357</c:v>
                </c:pt>
                <c:pt idx="8087">
                  <c:v>470</c:v>
                </c:pt>
                <c:pt idx="8088">
                  <c:v>408</c:v>
                </c:pt>
                <c:pt idx="8089">
                  <c:v>397</c:v>
                </c:pt>
                <c:pt idx="8090">
                  <c:v>418</c:v>
                </c:pt>
                <c:pt idx="8091">
                  <c:v>480</c:v>
                </c:pt>
                <c:pt idx="8092">
                  <c:v>472</c:v>
                </c:pt>
                <c:pt idx="8093">
                  <c:v>441</c:v>
                </c:pt>
                <c:pt idx="8094">
                  <c:v>651</c:v>
                </c:pt>
                <c:pt idx="8095">
                  <c:v>528</c:v>
                </c:pt>
                <c:pt idx="8096">
                  <c:v>692</c:v>
                </c:pt>
                <c:pt idx="8097">
                  <c:v>576</c:v>
                </c:pt>
                <c:pt idx="8098">
                  <c:v>607</c:v>
                </c:pt>
                <c:pt idx="8099">
                  <c:v>607</c:v>
                </c:pt>
                <c:pt idx="8100">
                  <c:v>595</c:v>
                </c:pt>
                <c:pt idx="8101">
                  <c:v>682</c:v>
                </c:pt>
                <c:pt idx="8102">
                  <c:v>677</c:v>
                </c:pt>
                <c:pt idx="8103">
                  <c:v>652</c:v>
                </c:pt>
                <c:pt idx="8104">
                  <c:v>833</c:v>
                </c:pt>
                <c:pt idx="8105">
                  <c:v>807</c:v>
                </c:pt>
                <c:pt idx="8106">
                  <c:v>746</c:v>
                </c:pt>
                <c:pt idx="8107">
                  <c:v>817</c:v>
                </c:pt>
                <c:pt idx="8108">
                  <c:v>832</c:v>
                </c:pt>
                <c:pt idx="8109">
                  <c:v>854</c:v>
                </c:pt>
                <c:pt idx="8110">
                  <c:v>875</c:v>
                </c:pt>
                <c:pt idx="8111">
                  <c:v>853</c:v>
                </c:pt>
                <c:pt idx="8112">
                  <c:v>779</c:v>
                </c:pt>
                <c:pt idx="8113">
                  <c:v>713</c:v>
                </c:pt>
                <c:pt idx="8114">
                  <c:v>801</c:v>
                </c:pt>
                <c:pt idx="8115">
                  <c:v>814</c:v>
                </c:pt>
                <c:pt idx="8116">
                  <c:v>812</c:v>
                </c:pt>
                <c:pt idx="8117">
                  <c:v>802</c:v>
                </c:pt>
                <c:pt idx="8118">
                  <c:v>878</c:v>
                </c:pt>
                <c:pt idx="8119">
                  <c:v>800</c:v>
                </c:pt>
                <c:pt idx="8120">
                  <c:v>808</c:v>
                </c:pt>
                <c:pt idx="8121">
                  <c:v>812</c:v>
                </c:pt>
                <c:pt idx="8122">
                  <c:v>824</c:v>
                </c:pt>
                <c:pt idx="8123">
                  <c:v>906</c:v>
                </c:pt>
                <c:pt idx="8124">
                  <c:v>863</c:v>
                </c:pt>
                <c:pt idx="8125">
                  <c:v>951</c:v>
                </c:pt>
                <c:pt idx="8126">
                  <c:v>1153</c:v>
                </c:pt>
                <c:pt idx="8127">
                  <c:v>1019</c:v>
                </c:pt>
                <c:pt idx="8128">
                  <c:v>930</c:v>
                </c:pt>
                <c:pt idx="8129">
                  <c:v>874</c:v>
                </c:pt>
                <c:pt idx="8130">
                  <c:v>734</c:v>
                </c:pt>
                <c:pt idx="8131">
                  <c:v>710</c:v>
                </c:pt>
                <c:pt idx="8132">
                  <c:v>789</c:v>
                </c:pt>
                <c:pt idx="8133">
                  <c:v>778</c:v>
                </c:pt>
                <c:pt idx="8134">
                  <c:v>706</c:v>
                </c:pt>
                <c:pt idx="8135">
                  <c:v>723</c:v>
                </c:pt>
                <c:pt idx="8136">
                  <c:v>411</c:v>
                </c:pt>
                <c:pt idx="8137">
                  <c:v>660</c:v>
                </c:pt>
                <c:pt idx="8138">
                  <c:v>548</c:v>
                </c:pt>
                <c:pt idx="8139">
                  <c:v>525</c:v>
                </c:pt>
                <c:pt idx="8140">
                  <c:v>658</c:v>
                </c:pt>
                <c:pt idx="8141">
                  <c:v>642</c:v>
                </c:pt>
                <c:pt idx="8142">
                  <c:v>639</c:v>
                </c:pt>
                <c:pt idx="8143">
                  <c:v>556</c:v>
                </c:pt>
                <c:pt idx="8144">
                  <c:v>583</c:v>
                </c:pt>
                <c:pt idx="8145">
                  <c:v>560</c:v>
                </c:pt>
                <c:pt idx="8146">
                  <c:v>573</c:v>
                </c:pt>
                <c:pt idx="8147">
                  <c:v>554</c:v>
                </c:pt>
                <c:pt idx="8148">
                  <c:v>499</c:v>
                </c:pt>
                <c:pt idx="8149">
                  <c:v>512</c:v>
                </c:pt>
                <c:pt idx="8150">
                  <c:v>545</c:v>
                </c:pt>
                <c:pt idx="8151">
                  <c:v>479</c:v>
                </c:pt>
                <c:pt idx="8152">
                  <c:v>467</c:v>
                </c:pt>
                <c:pt idx="8153">
                  <c:v>459</c:v>
                </c:pt>
                <c:pt idx="8154">
                  <c:v>438</c:v>
                </c:pt>
                <c:pt idx="8155">
                  <c:v>435</c:v>
                </c:pt>
                <c:pt idx="8156">
                  <c:v>406</c:v>
                </c:pt>
                <c:pt idx="8157">
                  <c:v>405</c:v>
                </c:pt>
                <c:pt idx="8158">
                  <c:v>352</c:v>
                </c:pt>
                <c:pt idx="8159">
                  <c:v>397</c:v>
                </c:pt>
                <c:pt idx="8160">
                  <c:v>456</c:v>
                </c:pt>
                <c:pt idx="8161">
                  <c:v>376</c:v>
                </c:pt>
                <c:pt idx="8162">
                  <c:v>371</c:v>
                </c:pt>
                <c:pt idx="8163">
                  <c:v>356</c:v>
                </c:pt>
                <c:pt idx="8164">
                  <c:v>327</c:v>
                </c:pt>
                <c:pt idx="8165">
                  <c:v>381</c:v>
                </c:pt>
                <c:pt idx="8166">
                  <c:v>348</c:v>
                </c:pt>
                <c:pt idx="8167">
                  <c:v>367</c:v>
                </c:pt>
                <c:pt idx="8168">
                  <c:v>328</c:v>
                </c:pt>
                <c:pt idx="8169">
                  <c:v>384</c:v>
                </c:pt>
                <c:pt idx="8170">
                  <c:v>400</c:v>
                </c:pt>
                <c:pt idx="8171">
                  <c:v>351</c:v>
                </c:pt>
                <c:pt idx="8172">
                  <c:v>349</c:v>
                </c:pt>
                <c:pt idx="8173">
                  <c:v>353</c:v>
                </c:pt>
                <c:pt idx="8174">
                  <c:v>357</c:v>
                </c:pt>
                <c:pt idx="8175">
                  <c:v>387</c:v>
                </c:pt>
                <c:pt idx="8176">
                  <c:v>366</c:v>
                </c:pt>
                <c:pt idx="8177">
                  <c:v>337</c:v>
                </c:pt>
                <c:pt idx="8178">
                  <c:v>329</c:v>
                </c:pt>
                <c:pt idx="8179">
                  <c:v>328</c:v>
                </c:pt>
                <c:pt idx="8180">
                  <c:v>392</c:v>
                </c:pt>
                <c:pt idx="8181">
                  <c:v>363</c:v>
                </c:pt>
                <c:pt idx="8182">
                  <c:v>383</c:v>
                </c:pt>
                <c:pt idx="8183">
                  <c:v>337</c:v>
                </c:pt>
                <c:pt idx="8184">
                  <c:v>376</c:v>
                </c:pt>
                <c:pt idx="8185">
                  <c:v>386</c:v>
                </c:pt>
                <c:pt idx="8186">
                  <c:v>378</c:v>
                </c:pt>
                <c:pt idx="8187">
                  <c:v>460</c:v>
                </c:pt>
                <c:pt idx="8188">
                  <c:v>446</c:v>
                </c:pt>
                <c:pt idx="8189">
                  <c:v>446</c:v>
                </c:pt>
                <c:pt idx="8190">
                  <c:v>422</c:v>
                </c:pt>
                <c:pt idx="8191">
                  <c:v>412</c:v>
                </c:pt>
                <c:pt idx="8192">
                  <c:v>423</c:v>
                </c:pt>
                <c:pt idx="8193">
                  <c:v>439</c:v>
                </c:pt>
                <c:pt idx="8194">
                  <c:v>476</c:v>
                </c:pt>
                <c:pt idx="8195">
                  <c:v>439</c:v>
                </c:pt>
                <c:pt idx="8196">
                  <c:v>433</c:v>
                </c:pt>
                <c:pt idx="8197">
                  <c:v>428</c:v>
                </c:pt>
                <c:pt idx="8198">
                  <c:v>612</c:v>
                </c:pt>
                <c:pt idx="8199">
                  <c:v>653</c:v>
                </c:pt>
                <c:pt idx="8200">
                  <c:v>670</c:v>
                </c:pt>
                <c:pt idx="8201">
                  <c:v>646</c:v>
                </c:pt>
                <c:pt idx="8202">
                  <c:v>593</c:v>
                </c:pt>
                <c:pt idx="8203">
                  <c:v>569</c:v>
                </c:pt>
                <c:pt idx="8204">
                  <c:v>640</c:v>
                </c:pt>
                <c:pt idx="8205">
                  <c:v>672</c:v>
                </c:pt>
                <c:pt idx="8206">
                  <c:v>565</c:v>
                </c:pt>
                <c:pt idx="8207">
                  <c:v>697</c:v>
                </c:pt>
                <c:pt idx="8208">
                  <c:v>678</c:v>
                </c:pt>
                <c:pt idx="8209">
                  <c:v>700</c:v>
                </c:pt>
                <c:pt idx="8210">
                  <c:v>657</c:v>
                </c:pt>
                <c:pt idx="8211">
                  <c:v>650</c:v>
                </c:pt>
                <c:pt idx="8212">
                  <c:v>613</c:v>
                </c:pt>
                <c:pt idx="8213">
                  <c:v>552</c:v>
                </c:pt>
                <c:pt idx="8214">
                  <c:v>618</c:v>
                </c:pt>
                <c:pt idx="8215">
                  <c:v>634</c:v>
                </c:pt>
                <c:pt idx="8216">
                  <c:v>663</c:v>
                </c:pt>
                <c:pt idx="8217">
                  <c:v>631</c:v>
                </c:pt>
                <c:pt idx="8218">
                  <c:v>626</c:v>
                </c:pt>
                <c:pt idx="8219">
                  <c:v>574</c:v>
                </c:pt>
                <c:pt idx="8220">
                  <c:v>623</c:v>
                </c:pt>
                <c:pt idx="8221">
                  <c:v>559</c:v>
                </c:pt>
                <c:pt idx="8222">
                  <c:v>442</c:v>
                </c:pt>
                <c:pt idx="8223">
                  <c:v>526</c:v>
                </c:pt>
                <c:pt idx="8224">
                  <c:v>498</c:v>
                </c:pt>
                <c:pt idx="8225">
                  <c:v>470</c:v>
                </c:pt>
                <c:pt idx="8226">
                  <c:v>471</c:v>
                </c:pt>
                <c:pt idx="8227">
                  <c:v>504</c:v>
                </c:pt>
                <c:pt idx="8228">
                  <c:v>532</c:v>
                </c:pt>
                <c:pt idx="8229">
                  <c:v>440</c:v>
                </c:pt>
                <c:pt idx="8230">
                  <c:v>495</c:v>
                </c:pt>
                <c:pt idx="8231">
                  <c:v>561</c:v>
                </c:pt>
                <c:pt idx="8232">
                  <c:v>556</c:v>
                </c:pt>
                <c:pt idx="8233">
                  <c:v>474</c:v>
                </c:pt>
                <c:pt idx="8234">
                  <c:v>533</c:v>
                </c:pt>
                <c:pt idx="8235">
                  <c:v>607</c:v>
                </c:pt>
                <c:pt idx="8236">
                  <c:v>570</c:v>
                </c:pt>
                <c:pt idx="8237">
                  <c:v>544</c:v>
                </c:pt>
                <c:pt idx="8238">
                  <c:v>547</c:v>
                </c:pt>
                <c:pt idx="8239">
                  <c:v>652</c:v>
                </c:pt>
                <c:pt idx="8240">
                  <c:v>593</c:v>
                </c:pt>
                <c:pt idx="8241">
                  <c:v>503</c:v>
                </c:pt>
                <c:pt idx="8242">
                  <c:v>512</c:v>
                </c:pt>
                <c:pt idx="8243">
                  <c:v>462</c:v>
                </c:pt>
                <c:pt idx="8244">
                  <c:v>500</c:v>
                </c:pt>
                <c:pt idx="8245">
                  <c:v>524</c:v>
                </c:pt>
                <c:pt idx="8246">
                  <c:v>514</c:v>
                </c:pt>
                <c:pt idx="8247">
                  <c:v>502</c:v>
                </c:pt>
                <c:pt idx="8248">
                  <c:v>449</c:v>
                </c:pt>
                <c:pt idx="8249">
                  <c:v>443</c:v>
                </c:pt>
                <c:pt idx="8250">
                  <c:v>423</c:v>
                </c:pt>
                <c:pt idx="8251">
                  <c:v>462</c:v>
                </c:pt>
                <c:pt idx="8252">
                  <c:v>564</c:v>
                </c:pt>
                <c:pt idx="8253">
                  <c:v>497</c:v>
                </c:pt>
                <c:pt idx="8254">
                  <c:v>519</c:v>
                </c:pt>
                <c:pt idx="8255">
                  <c:v>498</c:v>
                </c:pt>
                <c:pt idx="8256">
                  <c:v>406</c:v>
                </c:pt>
                <c:pt idx="8257">
                  <c:v>393</c:v>
                </c:pt>
                <c:pt idx="8258">
                  <c:v>379</c:v>
                </c:pt>
                <c:pt idx="8259">
                  <c:v>422</c:v>
                </c:pt>
                <c:pt idx="8260">
                  <c:v>387</c:v>
                </c:pt>
                <c:pt idx="8261">
                  <c:v>402</c:v>
                </c:pt>
                <c:pt idx="8262">
                  <c:v>367</c:v>
                </c:pt>
                <c:pt idx="8263">
                  <c:v>362</c:v>
                </c:pt>
                <c:pt idx="8264">
                  <c:v>422</c:v>
                </c:pt>
                <c:pt idx="8265">
                  <c:v>325</c:v>
                </c:pt>
                <c:pt idx="8266">
                  <c:v>383</c:v>
                </c:pt>
                <c:pt idx="8267">
                  <c:v>387</c:v>
                </c:pt>
                <c:pt idx="8268">
                  <c:v>389</c:v>
                </c:pt>
                <c:pt idx="8269">
                  <c:v>401</c:v>
                </c:pt>
                <c:pt idx="8270">
                  <c:v>390</c:v>
                </c:pt>
                <c:pt idx="8271">
                  <c:v>379</c:v>
                </c:pt>
                <c:pt idx="8272">
                  <c:v>366</c:v>
                </c:pt>
                <c:pt idx="8273">
                  <c:v>341</c:v>
                </c:pt>
                <c:pt idx="8274">
                  <c:v>366</c:v>
                </c:pt>
                <c:pt idx="8275">
                  <c:v>359</c:v>
                </c:pt>
                <c:pt idx="8276">
                  <c:v>348</c:v>
                </c:pt>
                <c:pt idx="8277">
                  <c:v>352</c:v>
                </c:pt>
                <c:pt idx="8278">
                  <c:v>376</c:v>
                </c:pt>
                <c:pt idx="8279">
                  <c:v>362</c:v>
                </c:pt>
                <c:pt idx="8280">
                  <c:v>423</c:v>
                </c:pt>
                <c:pt idx="8281">
                  <c:v>436</c:v>
                </c:pt>
                <c:pt idx="8282">
                  <c:v>414</c:v>
                </c:pt>
                <c:pt idx="8283">
                  <c:v>496</c:v>
                </c:pt>
                <c:pt idx="8284">
                  <c:v>525</c:v>
                </c:pt>
                <c:pt idx="8285">
                  <c:v>430</c:v>
                </c:pt>
                <c:pt idx="8286">
                  <c:v>424</c:v>
                </c:pt>
                <c:pt idx="8287">
                  <c:v>431</c:v>
                </c:pt>
                <c:pt idx="8288">
                  <c:v>426</c:v>
                </c:pt>
                <c:pt idx="8289">
                  <c:v>426</c:v>
                </c:pt>
                <c:pt idx="8290">
                  <c:v>425</c:v>
                </c:pt>
                <c:pt idx="8291">
                  <c:v>429</c:v>
                </c:pt>
                <c:pt idx="8292">
                  <c:v>518</c:v>
                </c:pt>
                <c:pt idx="8293">
                  <c:v>490</c:v>
                </c:pt>
                <c:pt idx="8294">
                  <c:v>541</c:v>
                </c:pt>
                <c:pt idx="8295">
                  <c:v>613</c:v>
                </c:pt>
                <c:pt idx="8296">
                  <c:v>479</c:v>
                </c:pt>
                <c:pt idx="8297">
                  <c:v>585</c:v>
                </c:pt>
                <c:pt idx="8298">
                  <c:v>605</c:v>
                </c:pt>
                <c:pt idx="8299">
                  <c:v>714</c:v>
                </c:pt>
                <c:pt idx="8300">
                  <c:v>825</c:v>
                </c:pt>
                <c:pt idx="8301">
                  <c:v>713</c:v>
                </c:pt>
                <c:pt idx="8302">
                  <c:v>779</c:v>
                </c:pt>
                <c:pt idx="8303">
                  <c:v>791</c:v>
                </c:pt>
                <c:pt idx="8304">
                  <c:v>652</c:v>
                </c:pt>
                <c:pt idx="8305">
                  <c:v>684</c:v>
                </c:pt>
                <c:pt idx="8306">
                  <c:v>614</c:v>
                </c:pt>
                <c:pt idx="8307">
                  <c:v>712</c:v>
                </c:pt>
                <c:pt idx="8308">
                  <c:v>722</c:v>
                </c:pt>
                <c:pt idx="8309">
                  <c:v>696</c:v>
                </c:pt>
                <c:pt idx="8310">
                  <c:v>752</c:v>
                </c:pt>
                <c:pt idx="8311">
                  <c:v>699</c:v>
                </c:pt>
                <c:pt idx="8312">
                  <c:v>717</c:v>
                </c:pt>
                <c:pt idx="8313">
                  <c:v>721</c:v>
                </c:pt>
                <c:pt idx="8314">
                  <c:v>759</c:v>
                </c:pt>
                <c:pt idx="8315">
                  <c:v>576</c:v>
                </c:pt>
                <c:pt idx="8316">
                  <c:v>647</c:v>
                </c:pt>
                <c:pt idx="8317">
                  <c:v>702</c:v>
                </c:pt>
                <c:pt idx="8318">
                  <c:v>800</c:v>
                </c:pt>
                <c:pt idx="8319">
                  <c:v>841</c:v>
                </c:pt>
                <c:pt idx="8320">
                  <c:v>765</c:v>
                </c:pt>
                <c:pt idx="8321">
                  <c:v>780</c:v>
                </c:pt>
                <c:pt idx="8322">
                  <c:v>780</c:v>
                </c:pt>
                <c:pt idx="8323">
                  <c:v>704</c:v>
                </c:pt>
                <c:pt idx="8324">
                  <c:v>305</c:v>
                </c:pt>
                <c:pt idx="8325">
                  <c:v>564</c:v>
                </c:pt>
                <c:pt idx="8326">
                  <c:v>432</c:v>
                </c:pt>
                <c:pt idx="8327">
                  <c:v>548</c:v>
                </c:pt>
                <c:pt idx="8328">
                  <c:v>517</c:v>
                </c:pt>
                <c:pt idx="8329">
                  <c:v>509</c:v>
                </c:pt>
                <c:pt idx="8330">
                  <c:v>478</c:v>
                </c:pt>
                <c:pt idx="8331">
                  <c:v>505</c:v>
                </c:pt>
                <c:pt idx="8332">
                  <c:v>450</c:v>
                </c:pt>
                <c:pt idx="8333">
                  <c:v>474</c:v>
                </c:pt>
                <c:pt idx="8334">
                  <c:v>490</c:v>
                </c:pt>
                <c:pt idx="8335">
                  <c:v>487</c:v>
                </c:pt>
                <c:pt idx="8336">
                  <c:v>529</c:v>
                </c:pt>
                <c:pt idx="8337">
                  <c:v>470</c:v>
                </c:pt>
                <c:pt idx="8338">
                  <c:v>394</c:v>
                </c:pt>
                <c:pt idx="8339">
                  <c:v>435</c:v>
                </c:pt>
                <c:pt idx="8340">
                  <c:v>434</c:v>
                </c:pt>
                <c:pt idx="8341">
                  <c:v>501</c:v>
                </c:pt>
                <c:pt idx="8342">
                  <c:v>517</c:v>
                </c:pt>
                <c:pt idx="8343">
                  <c:v>487</c:v>
                </c:pt>
                <c:pt idx="8344">
                  <c:v>406</c:v>
                </c:pt>
                <c:pt idx="8345">
                  <c:v>419</c:v>
                </c:pt>
                <c:pt idx="8346">
                  <c:v>368</c:v>
                </c:pt>
                <c:pt idx="8347">
                  <c:v>372</c:v>
                </c:pt>
                <c:pt idx="8348">
                  <c:v>368</c:v>
                </c:pt>
                <c:pt idx="8349">
                  <c:v>362</c:v>
                </c:pt>
                <c:pt idx="8350">
                  <c:v>351</c:v>
                </c:pt>
                <c:pt idx="8351">
                  <c:v>350</c:v>
                </c:pt>
                <c:pt idx="8352">
                  <c:v>367</c:v>
                </c:pt>
                <c:pt idx="8353">
                  <c:v>373</c:v>
                </c:pt>
                <c:pt idx="8354">
                  <c:v>375</c:v>
                </c:pt>
                <c:pt idx="8355">
                  <c:v>396</c:v>
                </c:pt>
                <c:pt idx="8356">
                  <c:v>382</c:v>
                </c:pt>
                <c:pt idx="8357">
                  <c:v>557</c:v>
                </c:pt>
                <c:pt idx="8358">
                  <c:v>536</c:v>
                </c:pt>
                <c:pt idx="8359">
                  <c:v>421</c:v>
                </c:pt>
                <c:pt idx="8360">
                  <c:v>449</c:v>
                </c:pt>
                <c:pt idx="8361">
                  <c:v>421</c:v>
                </c:pt>
                <c:pt idx="8362">
                  <c:v>449</c:v>
                </c:pt>
                <c:pt idx="8363">
                  <c:v>443</c:v>
                </c:pt>
                <c:pt idx="8364">
                  <c:v>410</c:v>
                </c:pt>
                <c:pt idx="8365">
                  <c:v>413</c:v>
                </c:pt>
                <c:pt idx="8366">
                  <c:v>391</c:v>
                </c:pt>
                <c:pt idx="8367">
                  <c:v>431</c:v>
                </c:pt>
                <c:pt idx="8368">
                  <c:v>470</c:v>
                </c:pt>
                <c:pt idx="8369">
                  <c:v>429</c:v>
                </c:pt>
                <c:pt idx="8370">
                  <c:v>454</c:v>
                </c:pt>
                <c:pt idx="8371">
                  <c:v>614</c:v>
                </c:pt>
                <c:pt idx="8372">
                  <c:v>561</c:v>
                </c:pt>
                <c:pt idx="8373">
                  <c:v>644</c:v>
                </c:pt>
                <c:pt idx="8374">
                  <c:v>568</c:v>
                </c:pt>
                <c:pt idx="8375">
                  <c:v>497</c:v>
                </c:pt>
                <c:pt idx="8376">
                  <c:v>539</c:v>
                </c:pt>
                <c:pt idx="8377">
                  <c:v>675</c:v>
                </c:pt>
                <c:pt idx="8378">
                  <c:v>616</c:v>
                </c:pt>
                <c:pt idx="8379">
                  <c:v>555</c:v>
                </c:pt>
                <c:pt idx="8380">
                  <c:v>612</c:v>
                </c:pt>
                <c:pt idx="8381">
                  <c:v>665</c:v>
                </c:pt>
                <c:pt idx="8382">
                  <c:v>660</c:v>
                </c:pt>
                <c:pt idx="8383">
                  <c:v>696</c:v>
                </c:pt>
                <c:pt idx="8384">
                  <c:v>684</c:v>
                </c:pt>
                <c:pt idx="8385">
                  <c:v>709</c:v>
                </c:pt>
                <c:pt idx="8386">
                  <c:v>898</c:v>
                </c:pt>
                <c:pt idx="8387">
                  <c:v>962</c:v>
                </c:pt>
                <c:pt idx="8388">
                  <c:v>838</c:v>
                </c:pt>
                <c:pt idx="8389">
                  <c:v>814</c:v>
                </c:pt>
                <c:pt idx="8390">
                  <c:v>787</c:v>
                </c:pt>
                <c:pt idx="8391">
                  <c:v>849</c:v>
                </c:pt>
                <c:pt idx="8392">
                  <c:v>788</c:v>
                </c:pt>
                <c:pt idx="8393">
                  <c:v>856</c:v>
                </c:pt>
                <c:pt idx="8394">
                  <c:v>797</c:v>
                </c:pt>
                <c:pt idx="8395">
                  <c:v>800</c:v>
                </c:pt>
                <c:pt idx="8396">
                  <c:v>848</c:v>
                </c:pt>
                <c:pt idx="8397">
                  <c:v>772</c:v>
                </c:pt>
                <c:pt idx="8398">
                  <c:v>870</c:v>
                </c:pt>
                <c:pt idx="8399">
                  <c:v>869</c:v>
                </c:pt>
                <c:pt idx="8400">
                  <c:v>846</c:v>
                </c:pt>
                <c:pt idx="8401">
                  <c:v>771</c:v>
                </c:pt>
                <c:pt idx="8402">
                  <c:v>894</c:v>
                </c:pt>
                <c:pt idx="8403">
                  <c:v>1170</c:v>
                </c:pt>
                <c:pt idx="8404">
                  <c:v>1096</c:v>
                </c:pt>
                <c:pt idx="8405">
                  <c:v>1038</c:v>
                </c:pt>
                <c:pt idx="8406">
                  <c:v>1032</c:v>
                </c:pt>
                <c:pt idx="8407">
                  <c:v>1041</c:v>
                </c:pt>
                <c:pt idx="8408">
                  <c:v>1035</c:v>
                </c:pt>
                <c:pt idx="8409">
                  <c:v>1040</c:v>
                </c:pt>
                <c:pt idx="8410">
                  <c:v>957</c:v>
                </c:pt>
                <c:pt idx="8411">
                  <c:v>923</c:v>
                </c:pt>
                <c:pt idx="8412">
                  <c:v>930</c:v>
                </c:pt>
                <c:pt idx="8413">
                  <c:v>955</c:v>
                </c:pt>
                <c:pt idx="8414">
                  <c:v>927</c:v>
                </c:pt>
                <c:pt idx="8415">
                  <c:v>952</c:v>
                </c:pt>
                <c:pt idx="8416">
                  <c:v>948</c:v>
                </c:pt>
                <c:pt idx="8417">
                  <c:v>981</c:v>
                </c:pt>
                <c:pt idx="8418">
                  <c:v>876</c:v>
                </c:pt>
                <c:pt idx="8419">
                  <c:v>863</c:v>
                </c:pt>
                <c:pt idx="8420">
                  <c:v>885</c:v>
                </c:pt>
                <c:pt idx="8421">
                  <c:v>920</c:v>
                </c:pt>
                <c:pt idx="8422">
                  <c:v>859</c:v>
                </c:pt>
                <c:pt idx="8423">
                  <c:v>757</c:v>
                </c:pt>
                <c:pt idx="8424">
                  <c:v>816</c:v>
                </c:pt>
                <c:pt idx="8425">
                  <c:v>869</c:v>
                </c:pt>
                <c:pt idx="8426">
                  <c:v>795</c:v>
                </c:pt>
                <c:pt idx="8427">
                  <c:v>886</c:v>
                </c:pt>
                <c:pt idx="8428">
                  <c:v>824</c:v>
                </c:pt>
                <c:pt idx="8429">
                  <c:v>783</c:v>
                </c:pt>
                <c:pt idx="8430">
                  <c:v>750</c:v>
                </c:pt>
                <c:pt idx="8431">
                  <c:v>747</c:v>
                </c:pt>
                <c:pt idx="8432">
                  <c:v>750</c:v>
                </c:pt>
                <c:pt idx="8433">
                  <c:v>781</c:v>
                </c:pt>
                <c:pt idx="8434">
                  <c:v>734</c:v>
                </c:pt>
                <c:pt idx="8435">
                  <c:v>700</c:v>
                </c:pt>
                <c:pt idx="8436">
                  <c:v>673</c:v>
                </c:pt>
                <c:pt idx="8437">
                  <c:v>718</c:v>
                </c:pt>
                <c:pt idx="8438">
                  <c:v>704</c:v>
                </c:pt>
                <c:pt idx="8439">
                  <c:v>700</c:v>
                </c:pt>
                <c:pt idx="8440">
                  <c:v>660</c:v>
                </c:pt>
                <c:pt idx="8441">
                  <c:v>624</c:v>
                </c:pt>
                <c:pt idx="8442">
                  <c:v>568</c:v>
                </c:pt>
                <c:pt idx="8443">
                  <c:v>639</c:v>
                </c:pt>
                <c:pt idx="8444">
                  <c:v>600</c:v>
                </c:pt>
                <c:pt idx="8445">
                  <c:v>596</c:v>
                </c:pt>
                <c:pt idx="8446">
                  <c:v>610</c:v>
                </c:pt>
                <c:pt idx="8447">
                  <c:v>621</c:v>
                </c:pt>
                <c:pt idx="8448">
                  <c:v>694</c:v>
                </c:pt>
                <c:pt idx="8449">
                  <c:v>662</c:v>
                </c:pt>
                <c:pt idx="8450">
                  <c:v>597</c:v>
                </c:pt>
                <c:pt idx="8451">
                  <c:v>563</c:v>
                </c:pt>
                <c:pt idx="8452">
                  <c:v>585</c:v>
                </c:pt>
                <c:pt idx="8453">
                  <c:v>567</c:v>
                </c:pt>
                <c:pt idx="8454">
                  <c:v>583</c:v>
                </c:pt>
                <c:pt idx="8455">
                  <c:v>616</c:v>
                </c:pt>
                <c:pt idx="8456">
                  <c:v>568</c:v>
                </c:pt>
                <c:pt idx="8457">
                  <c:v>574</c:v>
                </c:pt>
                <c:pt idx="8458">
                  <c:v>577</c:v>
                </c:pt>
                <c:pt idx="8459">
                  <c:v>598</c:v>
                </c:pt>
                <c:pt idx="8460">
                  <c:v>611</c:v>
                </c:pt>
                <c:pt idx="8461">
                  <c:v>579</c:v>
                </c:pt>
                <c:pt idx="8462">
                  <c:v>532</c:v>
                </c:pt>
                <c:pt idx="8463">
                  <c:v>560</c:v>
                </c:pt>
                <c:pt idx="8464">
                  <c:v>550</c:v>
                </c:pt>
                <c:pt idx="8465">
                  <c:v>537</c:v>
                </c:pt>
                <c:pt idx="8466">
                  <c:v>579</c:v>
                </c:pt>
                <c:pt idx="8467">
                  <c:v>582</c:v>
                </c:pt>
                <c:pt idx="8468">
                  <c:v>600</c:v>
                </c:pt>
                <c:pt idx="8469">
                  <c:v>585</c:v>
                </c:pt>
                <c:pt idx="8470">
                  <c:v>550</c:v>
                </c:pt>
                <c:pt idx="8471">
                  <c:v>540</c:v>
                </c:pt>
                <c:pt idx="8472">
                  <c:v>680</c:v>
                </c:pt>
                <c:pt idx="8473">
                  <c:v>702</c:v>
                </c:pt>
                <c:pt idx="8474">
                  <c:v>715</c:v>
                </c:pt>
                <c:pt idx="8475">
                  <c:v>749</c:v>
                </c:pt>
                <c:pt idx="8476">
                  <c:v>744</c:v>
                </c:pt>
                <c:pt idx="8477">
                  <c:v>768</c:v>
                </c:pt>
                <c:pt idx="8478">
                  <c:v>835</c:v>
                </c:pt>
                <c:pt idx="8479">
                  <c:v>837</c:v>
                </c:pt>
                <c:pt idx="8480">
                  <c:v>785</c:v>
                </c:pt>
                <c:pt idx="8481">
                  <c:v>734</c:v>
                </c:pt>
                <c:pt idx="8482">
                  <c:v>779</c:v>
                </c:pt>
                <c:pt idx="8483">
                  <c:v>782</c:v>
                </c:pt>
                <c:pt idx="8484">
                  <c:v>796</c:v>
                </c:pt>
                <c:pt idx="8485">
                  <c:v>834</c:v>
                </c:pt>
                <c:pt idx="8486">
                  <c:v>829</c:v>
                </c:pt>
                <c:pt idx="8487">
                  <c:v>810</c:v>
                </c:pt>
                <c:pt idx="8488">
                  <c:v>766</c:v>
                </c:pt>
                <c:pt idx="8489">
                  <c:v>827</c:v>
                </c:pt>
                <c:pt idx="8490">
                  <c:v>851</c:v>
                </c:pt>
                <c:pt idx="8491">
                  <c:v>848</c:v>
                </c:pt>
                <c:pt idx="8492">
                  <c:v>826</c:v>
                </c:pt>
                <c:pt idx="8493">
                  <c:v>836</c:v>
                </c:pt>
                <c:pt idx="8494">
                  <c:v>814</c:v>
                </c:pt>
                <c:pt idx="8495">
                  <c:v>749</c:v>
                </c:pt>
                <c:pt idx="8496">
                  <c:v>814</c:v>
                </c:pt>
                <c:pt idx="8497">
                  <c:v>888</c:v>
                </c:pt>
                <c:pt idx="8498">
                  <c:v>901</c:v>
                </c:pt>
                <c:pt idx="8499">
                  <c:v>903</c:v>
                </c:pt>
                <c:pt idx="8500">
                  <c:v>824</c:v>
                </c:pt>
                <c:pt idx="8501">
                  <c:v>835</c:v>
                </c:pt>
                <c:pt idx="8502">
                  <c:v>840</c:v>
                </c:pt>
                <c:pt idx="8503">
                  <c:v>865</c:v>
                </c:pt>
                <c:pt idx="8504">
                  <c:v>810</c:v>
                </c:pt>
                <c:pt idx="8505">
                  <c:v>795</c:v>
                </c:pt>
                <c:pt idx="8506">
                  <c:v>797</c:v>
                </c:pt>
                <c:pt idx="8507">
                  <c:v>795</c:v>
                </c:pt>
                <c:pt idx="8508">
                  <c:v>797</c:v>
                </c:pt>
                <c:pt idx="8509">
                  <c:v>793</c:v>
                </c:pt>
                <c:pt idx="8510">
                  <c:v>897</c:v>
                </c:pt>
                <c:pt idx="8511">
                  <c:v>896</c:v>
                </c:pt>
                <c:pt idx="8512">
                  <c:v>901</c:v>
                </c:pt>
                <c:pt idx="8513">
                  <c:v>829</c:v>
                </c:pt>
                <c:pt idx="8514">
                  <c:v>827</c:v>
                </c:pt>
                <c:pt idx="8515">
                  <c:v>828</c:v>
                </c:pt>
                <c:pt idx="8516">
                  <c:v>873</c:v>
                </c:pt>
                <c:pt idx="8517">
                  <c:v>874</c:v>
                </c:pt>
                <c:pt idx="8518">
                  <c:v>902</c:v>
                </c:pt>
                <c:pt idx="8519">
                  <c:v>748</c:v>
                </c:pt>
                <c:pt idx="8520">
                  <c:v>921</c:v>
                </c:pt>
                <c:pt idx="8521">
                  <c:v>807</c:v>
                </c:pt>
                <c:pt idx="8522">
                  <c:v>775</c:v>
                </c:pt>
                <c:pt idx="8523">
                  <c:v>836</c:v>
                </c:pt>
                <c:pt idx="8524">
                  <c:v>727</c:v>
                </c:pt>
                <c:pt idx="8525">
                  <c:v>748</c:v>
                </c:pt>
                <c:pt idx="8526">
                  <c:v>791</c:v>
                </c:pt>
                <c:pt idx="8527">
                  <c:v>729</c:v>
                </c:pt>
                <c:pt idx="8528">
                  <c:v>614</c:v>
                </c:pt>
                <c:pt idx="8529">
                  <c:v>616</c:v>
                </c:pt>
                <c:pt idx="8530">
                  <c:v>610</c:v>
                </c:pt>
                <c:pt idx="8531">
                  <c:v>560</c:v>
                </c:pt>
                <c:pt idx="8532">
                  <c:v>557</c:v>
                </c:pt>
                <c:pt idx="8533">
                  <c:v>527</c:v>
                </c:pt>
                <c:pt idx="8534">
                  <c:v>508</c:v>
                </c:pt>
                <c:pt idx="8535">
                  <c:v>558</c:v>
                </c:pt>
                <c:pt idx="8536">
                  <c:v>435</c:v>
                </c:pt>
                <c:pt idx="8537">
                  <c:v>553</c:v>
                </c:pt>
                <c:pt idx="8538">
                  <c:v>476</c:v>
                </c:pt>
                <c:pt idx="8539">
                  <c:v>480</c:v>
                </c:pt>
                <c:pt idx="8540">
                  <c:v>478</c:v>
                </c:pt>
                <c:pt idx="8541">
                  <c:v>473</c:v>
                </c:pt>
                <c:pt idx="8542">
                  <c:v>459</c:v>
                </c:pt>
                <c:pt idx="8543">
                  <c:v>473</c:v>
                </c:pt>
                <c:pt idx="8544">
                  <c:v>478</c:v>
                </c:pt>
                <c:pt idx="8545">
                  <c:v>454</c:v>
                </c:pt>
                <c:pt idx="8546">
                  <c:v>478</c:v>
                </c:pt>
                <c:pt idx="8547">
                  <c:v>473</c:v>
                </c:pt>
                <c:pt idx="8548">
                  <c:v>452</c:v>
                </c:pt>
                <c:pt idx="8549">
                  <c:v>460</c:v>
                </c:pt>
                <c:pt idx="8550">
                  <c:v>544</c:v>
                </c:pt>
                <c:pt idx="8551">
                  <c:v>565</c:v>
                </c:pt>
                <c:pt idx="8552">
                  <c:v>512</c:v>
                </c:pt>
                <c:pt idx="8553">
                  <c:v>535</c:v>
                </c:pt>
                <c:pt idx="8554">
                  <c:v>485</c:v>
                </c:pt>
                <c:pt idx="8555">
                  <c:v>505</c:v>
                </c:pt>
                <c:pt idx="8556">
                  <c:v>516</c:v>
                </c:pt>
                <c:pt idx="8557">
                  <c:v>495</c:v>
                </c:pt>
                <c:pt idx="8558">
                  <c:v>508</c:v>
                </c:pt>
                <c:pt idx="8559">
                  <c:v>489</c:v>
                </c:pt>
                <c:pt idx="8560">
                  <c:v>496</c:v>
                </c:pt>
                <c:pt idx="8561">
                  <c:v>499</c:v>
                </c:pt>
                <c:pt idx="8562">
                  <c:v>497</c:v>
                </c:pt>
                <c:pt idx="8563">
                  <c:v>469</c:v>
                </c:pt>
                <c:pt idx="8564">
                  <c:v>542</c:v>
                </c:pt>
                <c:pt idx="8565">
                  <c:v>626</c:v>
                </c:pt>
                <c:pt idx="8566">
                  <c:v>706</c:v>
                </c:pt>
                <c:pt idx="8567">
                  <c:v>498</c:v>
                </c:pt>
                <c:pt idx="8568">
                  <c:v>636</c:v>
                </c:pt>
                <c:pt idx="8569">
                  <c:v>527</c:v>
                </c:pt>
                <c:pt idx="8570">
                  <c:v>548</c:v>
                </c:pt>
                <c:pt idx="8571">
                  <c:v>616</c:v>
                </c:pt>
                <c:pt idx="8572">
                  <c:v>610</c:v>
                </c:pt>
                <c:pt idx="8573">
                  <c:v>619</c:v>
                </c:pt>
                <c:pt idx="8574">
                  <c:v>705</c:v>
                </c:pt>
                <c:pt idx="8575">
                  <c:v>757</c:v>
                </c:pt>
                <c:pt idx="8576">
                  <c:v>876</c:v>
                </c:pt>
                <c:pt idx="8577">
                  <c:v>848</c:v>
                </c:pt>
                <c:pt idx="8578">
                  <c:v>842</c:v>
                </c:pt>
                <c:pt idx="8579">
                  <c:v>826</c:v>
                </c:pt>
                <c:pt idx="8580">
                  <c:v>760</c:v>
                </c:pt>
                <c:pt idx="8581">
                  <c:v>763</c:v>
                </c:pt>
                <c:pt idx="8582">
                  <c:v>817</c:v>
                </c:pt>
                <c:pt idx="8583">
                  <c:v>795</c:v>
                </c:pt>
                <c:pt idx="8584">
                  <c:v>834</c:v>
                </c:pt>
                <c:pt idx="8585">
                  <c:v>805</c:v>
                </c:pt>
                <c:pt idx="8586">
                  <c:v>831</c:v>
                </c:pt>
                <c:pt idx="8587">
                  <c:v>801</c:v>
                </c:pt>
                <c:pt idx="8588">
                  <c:v>818</c:v>
                </c:pt>
                <c:pt idx="8589">
                  <c:v>843</c:v>
                </c:pt>
                <c:pt idx="8590">
                  <c:v>716</c:v>
                </c:pt>
                <c:pt idx="8591">
                  <c:v>829</c:v>
                </c:pt>
                <c:pt idx="8592">
                  <c:v>721</c:v>
                </c:pt>
                <c:pt idx="8593">
                  <c:v>811</c:v>
                </c:pt>
                <c:pt idx="8594">
                  <c:v>847</c:v>
                </c:pt>
                <c:pt idx="8595">
                  <c:v>857</c:v>
                </c:pt>
                <c:pt idx="8596">
                  <c:v>850</c:v>
                </c:pt>
                <c:pt idx="8597">
                  <c:v>859</c:v>
                </c:pt>
                <c:pt idx="8598">
                  <c:v>667</c:v>
                </c:pt>
                <c:pt idx="8599">
                  <c:v>1227</c:v>
                </c:pt>
                <c:pt idx="8600">
                  <c:v>1027</c:v>
                </c:pt>
                <c:pt idx="8601">
                  <c:v>967</c:v>
                </c:pt>
                <c:pt idx="8602">
                  <c:v>871</c:v>
                </c:pt>
                <c:pt idx="8603">
                  <c:v>773</c:v>
                </c:pt>
                <c:pt idx="8604">
                  <c:v>773</c:v>
                </c:pt>
                <c:pt idx="8605">
                  <c:v>832</c:v>
                </c:pt>
                <c:pt idx="8606">
                  <c:v>792</c:v>
                </c:pt>
                <c:pt idx="8607">
                  <c:v>783</c:v>
                </c:pt>
                <c:pt idx="8608">
                  <c:v>781</c:v>
                </c:pt>
                <c:pt idx="8609">
                  <c:v>768</c:v>
                </c:pt>
                <c:pt idx="8610">
                  <c:v>783</c:v>
                </c:pt>
                <c:pt idx="8611">
                  <c:v>832</c:v>
                </c:pt>
                <c:pt idx="8612">
                  <c:v>850</c:v>
                </c:pt>
                <c:pt idx="8613">
                  <c:v>877</c:v>
                </c:pt>
                <c:pt idx="8614">
                  <c:v>869</c:v>
                </c:pt>
                <c:pt idx="8615">
                  <c:v>693</c:v>
                </c:pt>
                <c:pt idx="8616">
                  <c:v>856</c:v>
                </c:pt>
                <c:pt idx="8617">
                  <c:v>831</c:v>
                </c:pt>
                <c:pt idx="8618">
                  <c:v>825</c:v>
                </c:pt>
                <c:pt idx="8619">
                  <c:v>787</c:v>
                </c:pt>
                <c:pt idx="8620">
                  <c:v>796</c:v>
                </c:pt>
                <c:pt idx="8621">
                  <c:v>796</c:v>
                </c:pt>
                <c:pt idx="8622">
                  <c:v>782</c:v>
                </c:pt>
                <c:pt idx="8623">
                  <c:v>791</c:v>
                </c:pt>
                <c:pt idx="8624">
                  <c:v>694</c:v>
                </c:pt>
                <c:pt idx="8625">
                  <c:v>711</c:v>
                </c:pt>
                <c:pt idx="8626">
                  <c:v>665</c:v>
                </c:pt>
                <c:pt idx="8627">
                  <c:v>648</c:v>
                </c:pt>
                <c:pt idx="8628">
                  <c:v>694</c:v>
                </c:pt>
                <c:pt idx="8629">
                  <c:v>578</c:v>
                </c:pt>
                <c:pt idx="8630">
                  <c:v>599</c:v>
                </c:pt>
                <c:pt idx="8631">
                  <c:v>546</c:v>
                </c:pt>
                <c:pt idx="8632">
                  <c:v>538</c:v>
                </c:pt>
                <c:pt idx="8633">
                  <c:v>553</c:v>
                </c:pt>
                <c:pt idx="8634">
                  <c:v>530</c:v>
                </c:pt>
                <c:pt idx="8635">
                  <c:v>535</c:v>
                </c:pt>
                <c:pt idx="8636">
                  <c:v>494</c:v>
                </c:pt>
                <c:pt idx="8637">
                  <c:v>524</c:v>
                </c:pt>
                <c:pt idx="8638">
                  <c:v>505</c:v>
                </c:pt>
                <c:pt idx="8639">
                  <c:v>461</c:v>
                </c:pt>
                <c:pt idx="8640">
                  <c:v>458</c:v>
                </c:pt>
                <c:pt idx="8641">
                  <c:v>449</c:v>
                </c:pt>
                <c:pt idx="8642">
                  <c:v>427</c:v>
                </c:pt>
                <c:pt idx="8643">
                  <c:v>498</c:v>
                </c:pt>
                <c:pt idx="8644">
                  <c:v>436</c:v>
                </c:pt>
                <c:pt idx="8645">
                  <c:v>449</c:v>
                </c:pt>
                <c:pt idx="8646">
                  <c:v>612</c:v>
                </c:pt>
                <c:pt idx="8647">
                  <c:v>597</c:v>
                </c:pt>
                <c:pt idx="8648">
                  <c:v>531</c:v>
                </c:pt>
                <c:pt idx="8649">
                  <c:v>545</c:v>
                </c:pt>
                <c:pt idx="8650">
                  <c:v>571</c:v>
                </c:pt>
                <c:pt idx="8651">
                  <c:v>529</c:v>
                </c:pt>
                <c:pt idx="8652">
                  <c:v>530</c:v>
                </c:pt>
                <c:pt idx="8653">
                  <c:v>514</c:v>
                </c:pt>
                <c:pt idx="8654">
                  <c:v>525</c:v>
                </c:pt>
                <c:pt idx="8655">
                  <c:v>499</c:v>
                </c:pt>
                <c:pt idx="8656">
                  <c:v>488</c:v>
                </c:pt>
                <c:pt idx="8657">
                  <c:v>460</c:v>
                </c:pt>
                <c:pt idx="8658">
                  <c:v>459</c:v>
                </c:pt>
                <c:pt idx="8659">
                  <c:v>458</c:v>
                </c:pt>
                <c:pt idx="8660">
                  <c:v>505</c:v>
                </c:pt>
                <c:pt idx="8661">
                  <c:v>560</c:v>
                </c:pt>
                <c:pt idx="8662">
                  <c:v>493</c:v>
                </c:pt>
                <c:pt idx="8663">
                  <c:v>506</c:v>
                </c:pt>
                <c:pt idx="8664">
                  <c:v>548</c:v>
                </c:pt>
                <c:pt idx="8665">
                  <c:v>542</c:v>
                </c:pt>
                <c:pt idx="8666">
                  <c:v>559</c:v>
                </c:pt>
                <c:pt idx="8667">
                  <c:v>539</c:v>
                </c:pt>
                <c:pt idx="8668">
                  <c:v>497</c:v>
                </c:pt>
                <c:pt idx="8669">
                  <c:v>492</c:v>
                </c:pt>
                <c:pt idx="8670">
                  <c:v>493</c:v>
                </c:pt>
                <c:pt idx="8671">
                  <c:v>605</c:v>
                </c:pt>
                <c:pt idx="8672">
                  <c:v>582</c:v>
                </c:pt>
                <c:pt idx="8673">
                  <c:v>598</c:v>
                </c:pt>
                <c:pt idx="8674">
                  <c:v>644</c:v>
                </c:pt>
                <c:pt idx="8675">
                  <c:v>675</c:v>
                </c:pt>
                <c:pt idx="8676">
                  <c:v>655</c:v>
                </c:pt>
                <c:pt idx="8677">
                  <c:v>679</c:v>
                </c:pt>
                <c:pt idx="8678">
                  <c:v>657</c:v>
                </c:pt>
                <c:pt idx="8679">
                  <c:v>668</c:v>
                </c:pt>
                <c:pt idx="8680">
                  <c:v>644</c:v>
                </c:pt>
                <c:pt idx="8681">
                  <c:v>718</c:v>
                </c:pt>
                <c:pt idx="8682">
                  <c:v>737</c:v>
                </c:pt>
                <c:pt idx="8683">
                  <c:v>741</c:v>
                </c:pt>
                <c:pt idx="8684">
                  <c:v>754</c:v>
                </c:pt>
                <c:pt idx="8685">
                  <c:v>753</c:v>
                </c:pt>
                <c:pt idx="8686">
                  <c:v>813</c:v>
                </c:pt>
                <c:pt idx="8687">
                  <c:v>803</c:v>
                </c:pt>
                <c:pt idx="8688">
                  <c:v>789</c:v>
                </c:pt>
                <c:pt idx="8689">
                  <c:v>753</c:v>
                </c:pt>
                <c:pt idx="8690">
                  <c:v>726</c:v>
                </c:pt>
                <c:pt idx="8691">
                  <c:v>694</c:v>
                </c:pt>
                <c:pt idx="8692">
                  <c:v>709</c:v>
                </c:pt>
                <c:pt idx="8693">
                  <c:v>719</c:v>
                </c:pt>
                <c:pt idx="8694">
                  <c:v>809</c:v>
                </c:pt>
                <c:pt idx="8695">
                  <c:v>798</c:v>
                </c:pt>
                <c:pt idx="8696">
                  <c:v>743</c:v>
                </c:pt>
                <c:pt idx="8697">
                  <c:v>720</c:v>
                </c:pt>
                <c:pt idx="8698">
                  <c:v>725</c:v>
                </c:pt>
                <c:pt idx="8699">
                  <c:v>716</c:v>
                </c:pt>
                <c:pt idx="8700">
                  <c:v>747</c:v>
                </c:pt>
                <c:pt idx="8701">
                  <c:v>781</c:v>
                </c:pt>
                <c:pt idx="8702">
                  <c:v>761</c:v>
                </c:pt>
                <c:pt idx="8703">
                  <c:v>764</c:v>
                </c:pt>
                <c:pt idx="8704">
                  <c:v>735</c:v>
                </c:pt>
                <c:pt idx="8705">
                  <c:v>753</c:v>
                </c:pt>
                <c:pt idx="8706">
                  <c:v>782</c:v>
                </c:pt>
                <c:pt idx="8707">
                  <c:v>757</c:v>
                </c:pt>
                <c:pt idx="8708">
                  <c:v>748</c:v>
                </c:pt>
                <c:pt idx="8709">
                  <c:v>717</c:v>
                </c:pt>
                <c:pt idx="8710">
                  <c:v>708</c:v>
                </c:pt>
                <c:pt idx="8711">
                  <c:v>602</c:v>
                </c:pt>
                <c:pt idx="8712">
                  <c:v>666</c:v>
                </c:pt>
                <c:pt idx="8713">
                  <c:v>646</c:v>
                </c:pt>
                <c:pt idx="8714">
                  <c:v>694</c:v>
                </c:pt>
                <c:pt idx="8715">
                  <c:v>641</c:v>
                </c:pt>
                <c:pt idx="8716">
                  <c:v>688</c:v>
                </c:pt>
                <c:pt idx="8717">
                  <c:v>699</c:v>
                </c:pt>
                <c:pt idx="8718">
                  <c:v>708</c:v>
                </c:pt>
                <c:pt idx="8719">
                  <c:v>712</c:v>
                </c:pt>
                <c:pt idx="8720">
                  <c:v>648</c:v>
                </c:pt>
                <c:pt idx="8721">
                  <c:v>653</c:v>
                </c:pt>
                <c:pt idx="8722">
                  <c:v>611</c:v>
                </c:pt>
                <c:pt idx="8723">
                  <c:v>536</c:v>
                </c:pt>
                <c:pt idx="8724">
                  <c:v>577</c:v>
                </c:pt>
                <c:pt idx="8725">
                  <c:v>443</c:v>
                </c:pt>
                <c:pt idx="8726">
                  <c:v>472</c:v>
                </c:pt>
                <c:pt idx="8727">
                  <c:v>465</c:v>
                </c:pt>
                <c:pt idx="8728">
                  <c:v>411</c:v>
                </c:pt>
                <c:pt idx="8729">
                  <c:v>417</c:v>
                </c:pt>
                <c:pt idx="8730">
                  <c:v>411</c:v>
                </c:pt>
                <c:pt idx="8731">
                  <c:v>410</c:v>
                </c:pt>
                <c:pt idx="8732">
                  <c:v>393</c:v>
                </c:pt>
                <c:pt idx="8733">
                  <c:v>467</c:v>
                </c:pt>
                <c:pt idx="8734">
                  <c:v>388</c:v>
                </c:pt>
                <c:pt idx="8735">
                  <c:v>404</c:v>
                </c:pt>
                <c:pt idx="8736">
                  <c:v>381</c:v>
                </c:pt>
                <c:pt idx="8737">
                  <c:v>382</c:v>
                </c:pt>
                <c:pt idx="8738">
                  <c:v>378</c:v>
                </c:pt>
                <c:pt idx="8739">
                  <c:v>358</c:v>
                </c:pt>
                <c:pt idx="8740">
                  <c:v>375</c:v>
                </c:pt>
                <c:pt idx="8741">
                  <c:v>372</c:v>
                </c:pt>
                <c:pt idx="8742">
                  <c:v>362</c:v>
                </c:pt>
                <c:pt idx="8743">
                  <c:v>351</c:v>
                </c:pt>
                <c:pt idx="8744">
                  <c:v>352</c:v>
                </c:pt>
                <c:pt idx="8745">
                  <c:v>353</c:v>
                </c:pt>
                <c:pt idx="8746">
                  <c:v>372</c:v>
                </c:pt>
                <c:pt idx="8747">
                  <c:v>347</c:v>
                </c:pt>
                <c:pt idx="8748">
                  <c:v>358</c:v>
                </c:pt>
                <c:pt idx="8749">
                  <c:v>376</c:v>
                </c:pt>
                <c:pt idx="8750">
                  <c:v>350</c:v>
                </c:pt>
                <c:pt idx="8751">
                  <c:v>348</c:v>
                </c:pt>
                <c:pt idx="8752">
                  <c:v>344</c:v>
                </c:pt>
                <c:pt idx="8753">
                  <c:v>348</c:v>
                </c:pt>
                <c:pt idx="8754">
                  <c:v>372</c:v>
                </c:pt>
                <c:pt idx="8755">
                  <c:v>355</c:v>
                </c:pt>
                <c:pt idx="8756">
                  <c:v>355</c:v>
                </c:pt>
                <c:pt idx="8757">
                  <c:v>376</c:v>
                </c:pt>
                <c:pt idx="8758">
                  <c:v>317</c:v>
                </c:pt>
                <c:pt idx="8759">
                  <c:v>281</c:v>
                </c:pt>
                <c:pt idx="8760">
                  <c:v>360</c:v>
                </c:pt>
                <c:pt idx="8761">
                  <c:v>327</c:v>
                </c:pt>
                <c:pt idx="8762">
                  <c:v>382</c:v>
                </c:pt>
                <c:pt idx="8763">
                  <c:v>387</c:v>
                </c:pt>
                <c:pt idx="8764">
                  <c:v>432</c:v>
                </c:pt>
                <c:pt idx="8765">
                  <c:v>448</c:v>
                </c:pt>
                <c:pt idx="8766">
                  <c:v>408</c:v>
                </c:pt>
                <c:pt idx="8767">
                  <c:v>432</c:v>
                </c:pt>
                <c:pt idx="8768">
                  <c:v>414</c:v>
                </c:pt>
                <c:pt idx="8769">
                  <c:v>434</c:v>
                </c:pt>
                <c:pt idx="8770">
                  <c:v>448</c:v>
                </c:pt>
                <c:pt idx="8771">
                  <c:v>434</c:v>
                </c:pt>
                <c:pt idx="8772">
                  <c:v>446</c:v>
                </c:pt>
                <c:pt idx="8773">
                  <c:v>432</c:v>
                </c:pt>
                <c:pt idx="8774">
                  <c:v>578</c:v>
                </c:pt>
                <c:pt idx="8775">
                  <c:v>531</c:v>
                </c:pt>
                <c:pt idx="8776">
                  <c:v>594</c:v>
                </c:pt>
                <c:pt idx="8777">
                  <c:v>646</c:v>
                </c:pt>
                <c:pt idx="8778">
                  <c:v>601</c:v>
                </c:pt>
                <c:pt idx="8779">
                  <c:v>674</c:v>
                </c:pt>
                <c:pt idx="8780">
                  <c:v>678</c:v>
                </c:pt>
                <c:pt idx="8781">
                  <c:v>660</c:v>
                </c:pt>
                <c:pt idx="8782">
                  <c:v>699</c:v>
                </c:pt>
                <c:pt idx="8783">
                  <c:v>636</c:v>
                </c:pt>
                <c:pt idx="8784">
                  <c:v>618</c:v>
                </c:pt>
                <c:pt idx="8785">
                  <c:v>570</c:v>
                </c:pt>
                <c:pt idx="8786">
                  <c:v>623</c:v>
                </c:pt>
                <c:pt idx="8787">
                  <c:v>622</c:v>
                </c:pt>
                <c:pt idx="8788">
                  <c:v>623</c:v>
                </c:pt>
                <c:pt idx="8789">
                  <c:v>618</c:v>
                </c:pt>
                <c:pt idx="8790">
                  <c:v>600</c:v>
                </c:pt>
                <c:pt idx="8791">
                  <c:v>625</c:v>
                </c:pt>
                <c:pt idx="8792">
                  <c:v>684</c:v>
                </c:pt>
                <c:pt idx="8793">
                  <c:v>696</c:v>
                </c:pt>
                <c:pt idx="8794">
                  <c:v>710</c:v>
                </c:pt>
                <c:pt idx="8795">
                  <c:v>722</c:v>
                </c:pt>
                <c:pt idx="8796">
                  <c:v>584</c:v>
                </c:pt>
                <c:pt idx="8797">
                  <c:v>525</c:v>
                </c:pt>
                <c:pt idx="8798">
                  <c:v>508</c:v>
                </c:pt>
                <c:pt idx="8799">
                  <c:v>593</c:v>
                </c:pt>
                <c:pt idx="8800">
                  <c:v>602</c:v>
                </c:pt>
                <c:pt idx="8801">
                  <c:v>722</c:v>
                </c:pt>
                <c:pt idx="8802">
                  <c:v>634</c:v>
                </c:pt>
                <c:pt idx="8803">
                  <c:v>585</c:v>
                </c:pt>
                <c:pt idx="8804">
                  <c:v>580</c:v>
                </c:pt>
                <c:pt idx="8805">
                  <c:v>636</c:v>
                </c:pt>
                <c:pt idx="8806">
                  <c:v>615</c:v>
                </c:pt>
                <c:pt idx="8807">
                  <c:v>566</c:v>
                </c:pt>
                <c:pt idx="8808">
                  <c:v>570</c:v>
                </c:pt>
                <c:pt idx="8809">
                  <c:v>740</c:v>
                </c:pt>
                <c:pt idx="8810">
                  <c:v>545</c:v>
                </c:pt>
                <c:pt idx="8811">
                  <c:v>608</c:v>
                </c:pt>
                <c:pt idx="8812">
                  <c:v>599</c:v>
                </c:pt>
                <c:pt idx="8813">
                  <c:v>517</c:v>
                </c:pt>
                <c:pt idx="8814">
                  <c:v>673</c:v>
                </c:pt>
                <c:pt idx="8815">
                  <c:v>596</c:v>
                </c:pt>
                <c:pt idx="8816">
                  <c:v>567</c:v>
                </c:pt>
                <c:pt idx="8817">
                  <c:v>594</c:v>
                </c:pt>
                <c:pt idx="8818">
                  <c:v>547</c:v>
                </c:pt>
                <c:pt idx="8819">
                  <c:v>531</c:v>
                </c:pt>
                <c:pt idx="8820">
                  <c:v>517</c:v>
                </c:pt>
                <c:pt idx="8821">
                  <c:v>492</c:v>
                </c:pt>
                <c:pt idx="8822">
                  <c:v>532</c:v>
                </c:pt>
                <c:pt idx="8823">
                  <c:v>515</c:v>
                </c:pt>
                <c:pt idx="8824">
                  <c:v>467</c:v>
                </c:pt>
                <c:pt idx="8825">
                  <c:v>483</c:v>
                </c:pt>
                <c:pt idx="8826">
                  <c:v>468</c:v>
                </c:pt>
                <c:pt idx="8827">
                  <c:v>478</c:v>
                </c:pt>
                <c:pt idx="8828">
                  <c:v>475</c:v>
                </c:pt>
                <c:pt idx="8829">
                  <c:v>472</c:v>
                </c:pt>
                <c:pt idx="8830">
                  <c:v>474</c:v>
                </c:pt>
                <c:pt idx="8831">
                  <c:v>470</c:v>
                </c:pt>
                <c:pt idx="8832">
                  <c:v>452</c:v>
                </c:pt>
                <c:pt idx="8833">
                  <c:v>457</c:v>
                </c:pt>
                <c:pt idx="8834">
                  <c:v>436</c:v>
                </c:pt>
                <c:pt idx="8835">
                  <c:v>478</c:v>
                </c:pt>
                <c:pt idx="8836">
                  <c:v>494</c:v>
                </c:pt>
                <c:pt idx="8837">
                  <c:v>479</c:v>
                </c:pt>
                <c:pt idx="8838">
                  <c:v>455</c:v>
                </c:pt>
                <c:pt idx="8839">
                  <c:v>453</c:v>
                </c:pt>
                <c:pt idx="8840">
                  <c:v>445</c:v>
                </c:pt>
                <c:pt idx="8841">
                  <c:v>417</c:v>
                </c:pt>
                <c:pt idx="8842">
                  <c:v>403</c:v>
                </c:pt>
                <c:pt idx="8843">
                  <c:v>413</c:v>
                </c:pt>
                <c:pt idx="8844">
                  <c:v>409</c:v>
                </c:pt>
                <c:pt idx="8845">
                  <c:v>402</c:v>
                </c:pt>
                <c:pt idx="8846">
                  <c:v>416</c:v>
                </c:pt>
                <c:pt idx="8847">
                  <c:v>422</c:v>
                </c:pt>
                <c:pt idx="8848">
                  <c:v>425</c:v>
                </c:pt>
                <c:pt idx="8849">
                  <c:v>425</c:v>
                </c:pt>
                <c:pt idx="8850">
                  <c:v>407</c:v>
                </c:pt>
                <c:pt idx="8851">
                  <c:v>432</c:v>
                </c:pt>
                <c:pt idx="8852">
                  <c:v>421</c:v>
                </c:pt>
                <c:pt idx="8853">
                  <c:v>444</c:v>
                </c:pt>
                <c:pt idx="8854">
                  <c:v>427</c:v>
                </c:pt>
                <c:pt idx="8855">
                  <c:v>408</c:v>
                </c:pt>
                <c:pt idx="8856">
                  <c:v>476</c:v>
                </c:pt>
                <c:pt idx="8857">
                  <c:v>529</c:v>
                </c:pt>
                <c:pt idx="8858">
                  <c:v>523</c:v>
                </c:pt>
                <c:pt idx="8859">
                  <c:v>491</c:v>
                </c:pt>
                <c:pt idx="8860">
                  <c:v>545</c:v>
                </c:pt>
                <c:pt idx="8861">
                  <c:v>505</c:v>
                </c:pt>
                <c:pt idx="8862">
                  <c:v>508</c:v>
                </c:pt>
                <c:pt idx="8863">
                  <c:v>519</c:v>
                </c:pt>
                <c:pt idx="8864">
                  <c:v>489</c:v>
                </c:pt>
                <c:pt idx="8865">
                  <c:v>591</c:v>
                </c:pt>
                <c:pt idx="8866">
                  <c:v>525</c:v>
                </c:pt>
                <c:pt idx="8867">
                  <c:v>500</c:v>
                </c:pt>
                <c:pt idx="8868">
                  <c:v>519</c:v>
                </c:pt>
                <c:pt idx="8869">
                  <c:v>554</c:v>
                </c:pt>
                <c:pt idx="8870">
                  <c:v>752</c:v>
                </c:pt>
                <c:pt idx="8871">
                  <c:v>762</c:v>
                </c:pt>
                <c:pt idx="8872">
                  <c:v>763</c:v>
                </c:pt>
                <c:pt idx="8873">
                  <c:v>700</c:v>
                </c:pt>
                <c:pt idx="8874">
                  <c:v>688</c:v>
                </c:pt>
                <c:pt idx="8875">
                  <c:v>738</c:v>
                </c:pt>
                <c:pt idx="8876">
                  <c:v>738</c:v>
                </c:pt>
                <c:pt idx="8877">
                  <c:v>738</c:v>
                </c:pt>
                <c:pt idx="8878">
                  <c:v>297</c:v>
                </c:pt>
                <c:pt idx="8879">
                  <c:v>686</c:v>
                </c:pt>
                <c:pt idx="8880">
                  <c:v>686</c:v>
                </c:pt>
                <c:pt idx="8881">
                  <c:v>668</c:v>
                </c:pt>
                <c:pt idx="8882">
                  <c:v>647</c:v>
                </c:pt>
                <c:pt idx="8883">
                  <c:v>620</c:v>
                </c:pt>
                <c:pt idx="8884">
                  <c:v>652</c:v>
                </c:pt>
                <c:pt idx="8885">
                  <c:v>647</c:v>
                </c:pt>
                <c:pt idx="8886">
                  <c:v>653</c:v>
                </c:pt>
                <c:pt idx="8887">
                  <c:v>689</c:v>
                </c:pt>
                <c:pt idx="8888">
                  <c:v>678</c:v>
                </c:pt>
                <c:pt idx="8889">
                  <c:v>541</c:v>
                </c:pt>
                <c:pt idx="8890">
                  <c:v>829</c:v>
                </c:pt>
                <c:pt idx="8891">
                  <c:v>724</c:v>
                </c:pt>
                <c:pt idx="8892">
                  <c:v>655</c:v>
                </c:pt>
                <c:pt idx="8893">
                  <c:v>554</c:v>
                </c:pt>
                <c:pt idx="8894">
                  <c:v>598</c:v>
                </c:pt>
                <c:pt idx="8895">
                  <c:v>538</c:v>
                </c:pt>
                <c:pt idx="8896">
                  <c:v>541</c:v>
                </c:pt>
                <c:pt idx="8897">
                  <c:v>324</c:v>
                </c:pt>
                <c:pt idx="8898">
                  <c:v>966</c:v>
                </c:pt>
                <c:pt idx="8899">
                  <c:v>919</c:v>
                </c:pt>
                <c:pt idx="8900">
                  <c:v>573</c:v>
                </c:pt>
                <c:pt idx="8901">
                  <c:v>550</c:v>
                </c:pt>
                <c:pt idx="8902">
                  <c:v>492</c:v>
                </c:pt>
                <c:pt idx="8903">
                  <c:v>508</c:v>
                </c:pt>
                <c:pt idx="8904">
                  <c:v>466</c:v>
                </c:pt>
                <c:pt idx="8905">
                  <c:v>450</c:v>
                </c:pt>
                <c:pt idx="8906">
                  <c:v>456</c:v>
                </c:pt>
                <c:pt idx="8907">
                  <c:v>418</c:v>
                </c:pt>
                <c:pt idx="8908">
                  <c:v>418</c:v>
                </c:pt>
                <c:pt idx="8909">
                  <c:v>407</c:v>
                </c:pt>
                <c:pt idx="8910">
                  <c:v>418</c:v>
                </c:pt>
                <c:pt idx="8911">
                  <c:v>413</c:v>
                </c:pt>
                <c:pt idx="8912">
                  <c:v>406</c:v>
                </c:pt>
                <c:pt idx="8913">
                  <c:v>406</c:v>
                </c:pt>
                <c:pt idx="8914">
                  <c:v>402</c:v>
                </c:pt>
                <c:pt idx="8915">
                  <c:v>400</c:v>
                </c:pt>
                <c:pt idx="8916">
                  <c:v>399</c:v>
                </c:pt>
                <c:pt idx="8917">
                  <c:v>384</c:v>
                </c:pt>
                <c:pt idx="8918">
                  <c:v>424</c:v>
                </c:pt>
                <c:pt idx="8919">
                  <c:v>406</c:v>
                </c:pt>
                <c:pt idx="8920">
                  <c:v>403</c:v>
                </c:pt>
                <c:pt idx="8921">
                  <c:v>381</c:v>
                </c:pt>
                <c:pt idx="8922">
                  <c:v>400</c:v>
                </c:pt>
                <c:pt idx="8923">
                  <c:v>398</c:v>
                </c:pt>
                <c:pt idx="8924">
                  <c:v>376</c:v>
                </c:pt>
                <c:pt idx="8925">
                  <c:v>401</c:v>
                </c:pt>
                <c:pt idx="8926">
                  <c:v>381</c:v>
                </c:pt>
                <c:pt idx="8927">
                  <c:v>364</c:v>
                </c:pt>
                <c:pt idx="8928">
                  <c:v>363</c:v>
                </c:pt>
                <c:pt idx="8929">
                  <c:v>391</c:v>
                </c:pt>
                <c:pt idx="8930">
                  <c:v>452</c:v>
                </c:pt>
                <c:pt idx="8931">
                  <c:v>389</c:v>
                </c:pt>
                <c:pt idx="8932">
                  <c:v>399</c:v>
                </c:pt>
                <c:pt idx="8933">
                  <c:v>447</c:v>
                </c:pt>
                <c:pt idx="8934">
                  <c:v>447</c:v>
                </c:pt>
                <c:pt idx="8935">
                  <c:v>424</c:v>
                </c:pt>
                <c:pt idx="8936">
                  <c:v>424</c:v>
                </c:pt>
                <c:pt idx="8937">
                  <c:v>441</c:v>
                </c:pt>
                <c:pt idx="8938">
                  <c:v>444</c:v>
                </c:pt>
                <c:pt idx="8939">
                  <c:v>429</c:v>
                </c:pt>
                <c:pt idx="8940">
                  <c:v>447</c:v>
                </c:pt>
                <c:pt idx="8941">
                  <c:v>470</c:v>
                </c:pt>
                <c:pt idx="8942">
                  <c:v>451</c:v>
                </c:pt>
                <c:pt idx="8943">
                  <c:v>465</c:v>
                </c:pt>
                <c:pt idx="8944">
                  <c:v>443</c:v>
                </c:pt>
                <c:pt idx="8945">
                  <c:v>453</c:v>
                </c:pt>
                <c:pt idx="8946">
                  <c:v>473</c:v>
                </c:pt>
                <c:pt idx="8947">
                  <c:v>485</c:v>
                </c:pt>
                <c:pt idx="8948">
                  <c:v>485</c:v>
                </c:pt>
                <c:pt idx="8949">
                  <c:v>490</c:v>
                </c:pt>
                <c:pt idx="8950">
                  <c:v>526</c:v>
                </c:pt>
                <c:pt idx="8951">
                  <c:v>545</c:v>
                </c:pt>
                <c:pt idx="8952">
                  <c:v>552</c:v>
                </c:pt>
                <c:pt idx="8953">
                  <c:v>608</c:v>
                </c:pt>
                <c:pt idx="8954">
                  <c:v>670</c:v>
                </c:pt>
                <c:pt idx="8955">
                  <c:v>612</c:v>
                </c:pt>
                <c:pt idx="8956">
                  <c:v>587</c:v>
                </c:pt>
                <c:pt idx="8957">
                  <c:v>591</c:v>
                </c:pt>
                <c:pt idx="8958">
                  <c:v>557</c:v>
                </c:pt>
                <c:pt idx="8959">
                  <c:v>860</c:v>
                </c:pt>
                <c:pt idx="8960">
                  <c:v>909</c:v>
                </c:pt>
                <c:pt idx="8961">
                  <c:v>841</c:v>
                </c:pt>
                <c:pt idx="8962">
                  <c:v>879</c:v>
                </c:pt>
                <c:pt idx="8963">
                  <c:v>873</c:v>
                </c:pt>
                <c:pt idx="8964">
                  <c:v>926</c:v>
                </c:pt>
                <c:pt idx="8965">
                  <c:v>877</c:v>
                </c:pt>
                <c:pt idx="8966">
                  <c:v>857</c:v>
                </c:pt>
                <c:pt idx="8967">
                  <c:v>858</c:v>
                </c:pt>
                <c:pt idx="8968">
                  <c:v>868</c:v>
                </c:pt>
                <c:pt idx="8969">
                  <c:v>859</c:v>
                </c:pt>
                <c:pt idx="8970">
                  <c:v>815</c:v>
                </c:pt>
                <c:pt idx="8971">
                  <c:v>824</c:v>
                </c:pt>
                <c:pt idx="8972">
                  <c:v>849</c:v>
                </c:pt>
                <c:pt idx="8973">
                  <c:v>853</c:v>
                </c:pt>
                <c:pt idx="8974">
                  <c:v>887</c:v>
                </c:pt>
                <c:pt idx="8975">
                  <c:v>902</c:v>
                </c:pt>
                <c:pt idx="8976">
                  <c:v>847</c:v>
                </c:pt>
                <c:pt idx="8977">
                  <c:v>879</c:v>
                </c:pt>
                <c:pt idx="8978">
                  <c:v>771</c:v>
                </c:pt>
                <c:pt idx="8979">
                  <c:v>767</c:v>
                </c:pt>
                <c:pt idx="8980">
                  <c:v>770</c:v>
                </c:pt>
                <c:pt idx="8981">
                  <c:v>790</c:v>
                </c:pt>
                <c:pt idx="8982">
                  <c:v>809</c:v>
                </c:pt>
                <c:pt idx="8983">
                  <c:v>768</c:v>
                </c:pt>
                <c:pt idx="8984">
                  <c:v>721</c:v>
                </c:pt>
                <c:pt idx="8985">
                  <c:v>709</c:v>
                </c:pt>
                <c:pt idx="8986">
                  <c:v>719</c:v>
                </c:pt>
                <c:pt idx="8987">
                  <c:v>715</c:v>
                </c:pt>
                <c:pt idx="8988">
                  <c:v>710</c:v>
                </c:pt>
                <c:pt idx="8989">
                  <c:v>719</c:v>
                </c:pt>
                <c:pt idx="8990">
                  <c:v>682</c:v>
                </c:pt>
                <c:pt idx="8991">
                  <c:v>722</c:v>
                </c:pt>
                <c:pt idx="8992">
                  <c:v>659</c:v>
                </c:pt>
                <c:pt idx="8993">
                  <c:v>683</c:v>
                </c:pt>
                <c:pt idx="8994">
                  <c:v>696</c:v>
                </c:pt>
                <c:pt idx="8995">
                  <c:v>668</c:v>
                </c:pt>
                <c:pt idx="8996">
                  <c:v>563</c:v>
                </c:pt>
                <c:pt idx="8997">
                  <c:v>622</c:v>
                </c:pt>
                <c:pt idx="8998">
                  <c:v>620</c:v>
                </c:pt>
                <c:pt idx="8999">
                  <c:v>650</c:v>
                </c:pt>
                <c:pt idx="9000">
                  <c:v>637</c:v>
                </c:pt>
                <c:pt idx="9001">
                  <c:v>638</c:v>
                </c:pt>
                <c:pt idx="9002">
                  <c:v>695</c:v>
                </c:pt>
                <c:pt idx="9003">
                  <c:v>634</c:v>
                </c:pt>
                <c:pt idx="9004">
                  <c:v>650</c:v>
                </c:pt>
                <c:pt idx="9005">
                  <c:v>746</c:v>
                </c:pt>
                <c:pt idx="9006">
                  <c:v>754</c:v>
                </c:pt>
                <c:pt idx="9007">
                  <c:v>761</c:v>
                </c:pt>
                <c:pt idx="9008">
                  <c:v>703</c:v>
                </c:pt>
                <c:pt idx="9009">
                  <c:v>727</c:v>
                </c:pt>
                <c:pt idx="9010">
                  <c:v>708</c:v>
                </c:pt>
                <c:pt idx="9011">
                  <c:v>709</c:v>
                </c:pt>
                <c:pt idx="9012">
                  <c:v>766</c:v>
                </c:pt>
                <c:pt idx="9013">
                  <c:v>768</c:v>
                </c:pt>
                <c:pt idx="9014">
                  <c:v>751</c:v>
                </c:pt>
                <c:pt idx="9015">
                  <c:v>765</c:v>
                </c:pt>
                <c:pt idx="9016">
                  <c:v>719</c:v>
                </c:pt>
                <c:pt idx="9017">
                  <c:v>795</c:v>
                </c:pt>
                <c:pt idx="9018">
                  <c:v>774</c:v>
                </c:pt>
                <c:pt idx="9019">
                  <c:v>746</c:v>
                </c:pt>
                <c:pt idx="9020">
                  <c:v>733</c:v>
                </c:pt>
                <c:pt idx="9021">
                  <c:v>751</c:v>
                </c:pt>
                <c:pt idx="9022">
                  <c:v>703</c:v>
                </c:pt>
                <c:pt idx="9023">
                  <c:v>726</c:v>
                </c:pt>
                <c:pt idx="9024">
                  <c:v>716</c:v>
                </c:pt>
                <c:pt idx="9025">
                  <c:v>779</c:v>
                </c:pt>
                <c:pt idx="9026">
                  <c:v>803</c:v>
                </c:pt>
                <c:pt idx="9027">
                  <c:v>783</c:v>
                </c:pt>
                <c:pt idx="9028">
                  <c:v>839</c:v>
                </c:pt>
                <c:pt idx="9029">
                  <c:v>869</c:v>
                </c:pt>
                <c:pt idx="9030">
                  <c:v>866</c:v>
                </c:pt>
                <c:pt idx="9031">
                  <c:v>849</c:v>
                </c:pt>
                <c:pt idx="9032">
                  <c:v>799</c:v>
                </c:pt>
                <c:pt idx="9033">
                  <c:v>825</c:v>
                </c:pt>
                <c:pt idx="9034">
                  <c:v>837</c:v>
                </c:pt>
                <c:pt idx="9035">
                  <c:v>831</c:v>
                </c:pt>
                <c:pt idx="9036">
                  <c:v>857</c:v>
                </c:pt>
                <c:pt idx="9037">
                  <c:v>837</c:v>
                </c:pt>
                <c:pt idx="9038">
                  <c:v>849</c:v>
                </c:pt>
                <c:pt idx="9039">
                  <c:v>863</c:v>
                </c:pt>
                <c:pt idx="9040">
                  <c:v>867</c:v>
                </c:pt>
                <c:pt idx="9041">
                  <c:v>862</c:v>
                </c:pt>
                <c:pt idx="9042">
                  <c:v>877</c:v>
                </c:pt>
                <c:pt idx="9043">
                  <c:v>877</c:v>
                </c:pt>
                <c:pt idx="9044">
                  <c:v>880</c:v>
                </c:pt>
                <c:pt idx="9045">
                  <c:v>884</c:v>
                </c:pt>
                <c:pt idx="9046">
                  <c:v>832</c:v>
                </c:pt>
                <c:pt idx="9047">
                  <c:v>833</c:v>
                </c:pt>
                <c:pt idx="9048">
                  <c:v>787</c:v>
                </c:pt>
                <c:pt idx="9049">
                  <c:v>936</c:v>
                </c:pt>
                <c:pt idx="9050">
                  <c:v>885</c:v>
                </c:pt>
                <c:pt idx="9051">
                  <c:v>777</c:v>
                </c:pt>
                <c:pt idx="9052">
                  <c:v>788</c:v>
                </c:pt>
                <c:pt idx="9053">
                  <c:v>814</c:v>
                </c:pt>
                <c:pt idx="9054">
                  <c:v>820</c:v>
                </c:pt>
                <c:pt idx="9055">
                  <c:v>846</c:v>
                </c:pt>
                <c:pt idx="9056">
                  <c:v>800</c:v>
                </c:pt>
                <c:pt idx="9057">
                  <c:v>794</c:v>
                </c:pt>
                <c:pt idx="9058">
                  <c:v>794</c:v>
                </c:pt>
                <c:pt idx="9059">
                  <c:v>927</c:v>
                </c:pt>
                <c:pt idx="9060">
                  <c:v>890</c:v>
                </c:pt>
                <c:pt idx="9061">
                  <c:v>905</c:v>
                </c:pt>
                <c:pt idx="9062">
                  <c:v>901</c:v>
                </c:pt>
                <c:pt idx="9063">
                  <c:v>938</c:v>
                </c:pt>
                <c:pt idx="9064">
                  <c:v>942</c:v>
                </c:pt>
                <c:pt idx="9065">
                  <c:v>881</c:v>
                </c:pt>
                <c:pt idx="9066">
                  <c:v>882</c:v>
                </c:pt>
                <c:pt idx="9067">
                  <c:v>883</c:v>
                </c:pt>
                <c:pt idx="9068">
                  <c:v>780</c:v>
                </c:pt>
                <c:pt idx="9069">
                  <c:v>777</c:v>
                </c:pt>
                <c:pt idx="9070">
                  <c:v>822</c:v>
                </c:pt>
                <c:pt idx="9071">
                  <c:v>801</c:v>
                </c:pt>
                <c:pt idx="9072">
                  <c:v>861</c:v>
                </c:pt>
                <c:pt idx="9073">
                  <c:v>870</c:v>
                </c:pt>
                <c:pt idx="9074">
                  <c:v>859</c:v>
                </c:pt>
                <c:pt idx="9075">
                  <c:v>652</c:v>
                </c:pt>
                <c:pt idx="9076">
                  <c:v>772</c:v>
                </c:pt>
                <c:pt idx="9077">
                  <c:v>701</c:v>
                </c:pt>
                <c:pt idx="9078">
                  <c:v>630</c:v>
                </c:pt>
                <c:pt idx="9079">
                  <c:v>638</c:v>
                </c:pt>
                <c:pt idx="9080">
                  <c:v>661</c:v>
                </c:pt>
                <c:pt idx="9081">
                  <c:v>683</c:v>
                </c:pt>
                <c:pt idx="9082">
                  <c:v>787</c:v>
                </c:pt>
                <c:pt idx="9083">
                  <c:v>689</c:v>
                </c:pt>
                <c:pt idx="9084">
                  <c:v>679</c:v>
                </c:pt>
                <c:pt idx="9085">
                  <c:v>714</c:v>
                </c:pt>
                <c:pt idx="9086">
                  <c:v>659</c:v>
                </c:pt>
                <c:pt idx="9087">
                  <c:v>664</c:v>
                </c:pt>
                <c:pt idx="9088">
                  <c:v>680</c:v>
                </c:pt>
                <c:pt idx="9089">
                  <c:v>608</c:v>
                </c:pt>
                <c:pt idx="9090">
                  <c:v>605</c:v>
                </c:pt>
                <c:pt idx="9091">
                  <c:v>612</c:v>
                </c:pt>
                <c:pt idx="9092">
                  <c:v>531</c:v>
                </c:pt>
                <c:pt idx="9093">
                  <c:v>530</c:v>
                </c:pt>
                <c:pt idx="9094">
                  <c:v>527</c:v>
                </c:pt>
                <c:pt idx="9095">
                  <c:v>577</c:v>
                </c:pt>
                <c:pt idx="9096">
                  <c:v>560</c:v>
                </c:pt>
                <c:pt idx="9097">
                  <c:v>552</c:v>
                </c:pt>
                <c:pt idx="9098">
                  <c:v>523</c:v>
                </c:pt>
                <c:pt idx="9099">
                  <c:v>524</c:v>
                </c:pt>
                <c:pt idx="9100">
                  <c:v>552</c:v>
                </c:pt>
                <c:pt idx="9101">
                  <c:v>552</c:v>
                </c:pt>
                <c:pt idx="9102">
                  <c:v>538</c:v>
                </c:pt>
                <c:pt idx="9103">
                  <c:v>478</c:v>
                </c:pt>
                <c:pt idx="9104">
                  <c:v>498</c:v>
                </c:pt>
                <c:pt idx="9105">
                  <c:v>507</c:v>
                </c:pt>
                <c:pt idx="9106">
                  <c:v>587</c:v>
                </c:pt>
                <c:pt idx="9107">
                  <c:v>640</c:v>
                </c:pt>
                <c:pt idx="9108">
                  <c:v>643</c:v>
                </c:pt>
                <c:pt idx="9109">
                  <c:v>587</c:v>
                </c:pt>
                <c:pt idx="9110">
                  <c:v>633</c:v>
                </c:pt>
                <c:pt idx="9111">
                  <c:v>580</c:v>
                </c:pt>
                <c:pt idx="9112">
                  <c:v>609</c:v>
                </c:pt>
                <c:pt idx="9113">
                  <c:v>577</c:v>
                </c:pt>
                <c:pt idx="9114">
                  <c:v>524</c:v>
                </c:pt>
                <c:pt idx="9115">
                  <c:v>553</c:v>
                </c:pt>
                <c:pt idx="9116">
                  <c:v>530</c:v>
                </c:pt>
                <c:pt idx="9117">
                  <c:v>674</c:v>
                </c:pt>
                <c:pt idx="9118">
                  <c:v>638</c:v>
                </c:pt>
                <c:pt idx="9119">
                  <c:v>679</c:v>
                </c:pt>
                <c:pt idx="9120">
                  <c:v>633</c:v>
                </c:pt>
                <c:pt idx="9121">
                  <c:v>678</c:v>
                </c:pt>
                <c:pt idx="9122">
                  <c:v>736</c:v>
                </c:pt>
                <c:pt idx="9123">
                  <c:v>683</c:v>
                </c:pt>
                <c:pt idx="9124">
                  <c:v>786</c:v>
                </c:pt>
                <c:pt idx="9125">
                  <c:v>861</c:v>
                </c:pt>
                <c:pt idx="9126">
                  <c:v>840</c:v>
                </c:pt>
                <c:pt idx="9127">
                  <c:v>828</c:v>
                </c:pt>
                <c:pt idx="9128">
                  <c:v>883</c:v>
                </c:pt>
                <c:pt idx="9129">
                  <c:v>885</c:v>
                </c:pt>
                <c:pt idx="9130">
                  <c:v>852</c:v>
                </c:pt>
                <c:pt idx="9131">
                  <c:v>891</c:v>
                </c:pt>
                <c:pt idx="9132">
                  <c:v>859</c:v>
                </c:pt>
                <c:pt idx="9133">
                  <c:v>870</c:v>
                </c:pt>
                <c:pt idx="9134">
                  <c:v>767</c:v>
                </c:pt>
                <c:pt idx="9135">
                  <c:v>870</c:v>
                </c:pt>
                <c:pt idx="9136">
                  <c:v>908</c:v>
                </c:pt>
                <c:pt idx="9137">
                  <c:v>918</c:v>
                </c:pt>
                <c:pt idx="9138">
                  <c:v>795</c:v>
                </c:pt>
                <c:pt idx="9139">
                  <c:v>912</c:v>
                </c:pt>
                <c:pt idx="9140">
                  <c:v>835</c:v>
                </c:pt>
                <c:pt idx="9141">
                  <c:v>801</c:v>
                </c:pt>
                <c:pt idx="9142">
                  <c:v>857</c:v>
                </c:pt>
                <c:pt idx="9143">
                  <c:v>827</c:v>
                </c:pt>
                <c:pt idx="9144">
                  <c:v>830</c:v>
                </c:pt>
                <c:pt idx="9145">
                  <c:v>890</c:v>
                </c:pt>
                <c:pt idx="9146">
                  <c:v>844</c:v>
                </c:pt>
                <c:pt idx="9147">
                  <c:v>798</c:v>
                </c:pt>
                <c:pt idx="9148">
                  <c:v>803</c:v>
                </c:pt>
                <c:pt idx="9149">
                  <c:v>792</c:v>
                </c:pt>
                <c:pt idx="9150">
                  <c:v>801</c:v>
                </c:pt>
                <c:pt idx="9151">
                  <c:v>889</c:v>
                </c:pt>
                <c:pt idx="9152">
                  <c:v>800</c:v>
                </c:pt>
                <c:pt idx="9153">
                  <c:v>882</c:v>
                </c:pt>
                <c:pt idx="9154">
                  <c:v>869</c:v>
                </c:pt>
                <c:pt idx="9155">
                  <c:v>794</c:v>
                </c:pt>
                <c:pt idx="9156">
                  <c:v>786</c:v>
                </c:pt>
                <c:pt idx="9157">
                  <c:v>796</c:v>
                </c:pt>
                <c:pt idx="9158">
                  <c:v>853</c:v>
                </c:pt>
                <c:pt idx="9159">
                  <c:v>838</c:v>
                </c:pt>
                <c:pt idx="9160">
                  <c:v>767</c:v>
                </c:pt>
                <c:pt idx="9161">
                  <c:v>812</c:v>
                </c:pt>
                <c:pt idx="9162">
                  <c:v>800</c:v>
                </c:pt>
                <c:pt idx="9163">
                  <c:v>782</c:v>
                </c:pt>
                <c:pt idx="9164">
                  <c:v>787</c:v>
                </c:pt>
                <c:pt idx="9165">
                  <c:v>772</c:v>
                </c:pt>
                <c:pt idx="9166">
                  <c:v>774</c:v>
                </c:pt>
                <c:pt idx="9167">
                  <c:v>785</c:v>
                </c:pt>
                <c:pt idx="9168">
                  <c:v>747</c:v>
                </c:pt>
                <c:pt idx="9169">
                  <c:v>739</c:v>
                </c:pt>
                <c:pt idx="9170">
                  <c:v>720</c:v>
                </c:pt>
                <c:pt idx="9171">
                  <c:v>626</c:v>
                </c:pt>
                <c:pt idx="9172">
                  <c:v>700</c:v>
                </c:pt>
                <c:pt idx="9173">
                  <c:v>695</c:v>
                </c:pt>
                <c:pt idx="9174">
                  <c:v>638</c:v>
                </c:pt>
                <c:pt idx="9175">
                  <c:v>674</c:v>
                </c:pt>
                <c:pt idx="9176">
                  <c:v>699</c:v>
                </c:pt>
                <c:pt idx="9177">
                  <c:v>723</c:v>
                </c:pt>
                <c:pt idx="9178">
                  <c:v>648</c:v>
                </c:pt>
                <c:pt idx="9179">
                  <c:v>663</c:v>
                </c:pt>
                <c:pt idx="9180">
                  <c:v>624</c:v>
                </c:pt>
                <c:pt idx="9181">
                  <c:v>586</c:v>
                </c:pt>
                <c:pt idx="9182">
                  <c:v>565</c:v>
                </c:pt>
                <c:pt idx="9183">
                  <c:v>506</c:v>
                </c:pt>
                <c:pt idx="9184">
                  <c:v>478</c:v>
                </c:pt>
                <c:pt idx="9185">
                  <c:v>408</c:v>
                </c:pt>
                <c:pt idx="9186">
                  <c:v>459</c:v>
                </c:pt>
                <c:pt idx="9187">
                  <c:v>463</c:v>
                </c:pt>
                <c:pt idx="9188">
                  <c:v>379</c:v>
                </c:pt>
                <c:pt idx="9189">
                  <c:v>436</c:v>
                </c:pt>
                <c:pt idx="9190">
                  <c:v>434</c:v>
                </c:pt>
                <c:pt idx="9191">
                  <c:v>417</c:v>
                </c:pt>
                <c:pt idx="9192">
                  <c:v>413</c:v>
                </c:pt>
                <c:pt idx="9193">
                  <c:v>399</c:v>
                </c:pt>
                <c:pt idx="9194">
                  <c:v>420</c:v>
                </c:pt>
                <c:pt idx="9195">
                  <c:v>374</c:v>
                </c:pt>
                <c:pt idx="9196">
                  <c:v>415</c:v>
                </c:pt>
                <c:pt idx="9197">
                  <c:v>415</c:v>
                </c:pt>
                <c:pt idx="9198">
                  <c:v>354</c:v>
                </c:pt>
                <c:pt idx="9199">
                  <c:v>451</c:v>
                </c:pt>
                <c:pt idx="9200">
                  <c:v>438</c:v>
                </c:pt>
                <c:pt idx="9201">
                  <c:v>387</c:v>
                </c:pt>
                <c:pt idx="9202">
                  <c:v>454</c:v>
                </c:pt>
                <c:pt idx="9203">
                  <c:v>556</c:v>
                </c:pt>
                <c:pt idx="9204">
                  <c:v>468</c:v>
                </c:pt>
                <c:pt idx="9205">
                  <c:v>484</c:v>
                </c:pt>
                <c:pt idx="9206">
                  <c:v>479</c:v>
                </c:pt>
                <c:pt idx="9207">
                  <c:v>397</c:v>
                </c:pt>
                <c:pt idx="9208">
                  <c:v>437</c:v>
                </c:pt>
                <c:pt idx="9209">
                  <c:v>458</c:v>
                </c:pt>
                <c:pt idx="9210">
                  <c:v>398</c:v>
                </c:pt>
                <c:pt idx="9211">
                  <c:v>432</c:v>
                </c:pt>
                <c:pt idx="9212">
                  <c:v>451</c:v>
                </c:pt>
                <c:pt idx="9213">
                  <c:v>438</c:v>
                </c:pt>
                <c:pt idx="9214">
                  <c:v>471</c:v>
                </c:pt>
                <c:pt idx="9215">
                  <c:v>445</c:v>
                </c:pt>
                <c:pt idx="9216">
                  <c:v>431</c:v>
                </c:pt>
                <c:pt idx="9217">
                  <c:v>522</c:v>
                </c:pt>
                <c:pt idx="9218">
                  <c:v>560</c:v>
                </c:pt>
                <c:pt idx="9219">
                  <c:v>550</c:v>
                </c:pt>
                <c:pt idx="9220">
                  <c:v>608</c:v>
                </c:pt>
                <c:pt idx="9221">
                  <c:v>576</c:v>
                </c:pt>
                <c:pt idx="9222">
                  <c:v>680</c:v>
                </c:pt>
                <c:pt idx="9223">
                  <c:v>659</c:v>
                </c:pt>
                <c:pt idx="9224">
                  <c:v>731</c:v>
                </c:pt>
                <c:pt idx="9225">
                  <c:v>747</c:v>
                </c:pt>
                <c:pt idx="9226">
                  <c:v>841</c:v>
                </c:pt>
                <c:pt idx="9227">
                  <c:v>836</c:v>
                </c:pt>
                <c:pt idx="9228">
                  <c:v>793</c:v>
                </c:pt>
                <c:pt idx="9229">
                  <c:v>789</c:v>
                </c:pt>
                <c:pt idx="9230">
                  <c:v>791</c:v>
                </c:pt>
                <c:pt idx="9231">
                  <c:v>829</c:v>
                </c:pt>
                <c:pt idx="9232">
                  <c:v>826</c:v>
                </c:pt>
                <c:pt idx="9233">
                  <c:v>833</c:v>
                </c:pt>
                <c:pt idx="9234">
                  <c:v>903</c:v>
                </c:pt>
                <c:pt idx="9235">
                  <c:v>854</c:v>
                </c:pt>
                <c:pt idx="9236">
                  <c:v>873</c:v>
                </c:pt>
                <c:pt idx="9237">
                  <c:v>823</c:v>
                </c:pt>
                <c:pt idx="9238">
                  <c:v>848</c:v>
                </c:pt>
                <c:pt idx="9239">
                  <c:v>852</c:v>
                </c:pt>
                <c:pt idx="9240">
                  <c:v>844</c:v>
                </c:pt>
                <c:pt idx="9241">
                  <c:v>869</c:v>
                </c:pt>
                <c:pt idx="9242">
                  <c:v>788</c:v>
                </c:pt>
                <c:pt idx="9243">
                  <c:v>893</c:v>
                </c:pt>
                <c:pt idx="9244">
                  <c:v>917</c:v>
                </c:pt>
                <c:pt idx="9245">
                  <c:v>928</c:v>
                </c:pt>
                <c:pt idx="9246">
                  <c:v>920</c:v>
                </c:pt>
                <c:pt idx="9247">
                  <c:v>933</c:v>
                </c:pt>
                <c:pt idx="9248">
                  <c:v>910</c:v>
                </c:pt>
                <c:pt idx="9249">
                  <c:v>930</c:v>
                </c:pt>
                <c:pt idx="9250">
                  <c:v>932</c:v>
                </c:pt>
                <c:pt idx="9251">
                  <c:v>921</c:v>
                </c:pt>
                <c:pt idx="9252">
                  <c:v>929</c:v>
                </c:pt>
                <c:pt idx="9253">
                  <c:v>932</c:v>
                </c:pt>
                <c:pt idx="9254">
                  <c:v>940</c:v>
                </c:pt>
                <c:pt idx="9255">
                  <c:v>934</c:v>
                </c:pt>
                <c:pt idx="9256">
                  <c:v>961</c:v>
                </c:pt>
                <c:pt idx="9257">
                  <c:v>957</c:v>
                </c:pt>
                <c:pt idx="9258">
                  <c:v>905</c:v>
                </c:pt>
                <c:pt idx="9259">
                  <c:v>877</c:v>
                </c:pt>
                <c:pt idx="9260">
                  <c:v>755</c:v>
                </c:pt>
                <c:pt idx="9261">
                  <c:v>898</c:v>
                </c:pt>
                <c:pt idx="9262">
                  <c:v>926</c:v>
                </c:pt>
                <c:pt idx="9263">
                  <c:v>930</c:v>
                </c:pt>
                <c:pt idx="9264">
                  <c:v>937</c:v>
                </c:pt>
                <c:pt idx="9265">
                  <c:v>921</c:v>
                </c:pt>
                <c:pt idx="9266">
                  <c:v>916</c:v>
                </c:pt>
                <c:pt idx="9267">
                  <c:v>882</c:v>
                </c:pt>
                <c:pt idx="9268">
                  <c:v>935</c:v>
                </c:pt>
                <c:pt idx="9269">
                  <c:v>849</c:v>
                </c:pt>
                <c:pt idx="9270">
                  <c:v>837</c:v>
                </c:pt>
                <c:pt idx="9271">
                  <c:v>810</c:v>
                </c:pt>
                <c:pt idx="9272">
                  <c:v>741</c:v>
                </c:pt>
                <c:pt idx="9273">
                  <c:v>687</c:v>
                </c:pt>
                <c:pt idx="9274">
                  <c:v>672</c:v>
                </c:pt>
                <c:pt idx="9275">
                  <c:v>653</c:v>
                </c:pt>
                <c:pt idx="9276">
                  <c:v>563</c:v>
                </c:pt>
                <c:pt idx="9277">
                  <c:v>537</c:v>
                </c:pt>
                <c:pt idx="9278">
                  <c:v>540</c:v>
                </c:pt>
                <c:pt idx="9279">
                  <c:v>515</c:v>
                </c:pt>
                <c:pt idx="9280">
                  <c:v>543</c:v>
                </c:pt>
                <c:pt idx="9281">
                  <c:v>545</c:v>
                </c:pt>
                <c:pt idx="9282">
                  <c:v>490</c:v>
                </c:pt>
                <c:pt idx="9283">
                  <c:v>477</c:v>
                </c:pt>
                <c:pt idx="9284">
                  <c:v>463</c:v>
                </c:pt>
                <c:pt idx="9285">
                  <c:v>462</c:v>
                </c:pt>
                <c:pt idx="9286">
                  <c:v>460</c:v>
                </c:pt>
                <c:pt idx="9287">
                  <c:v>465</c:v>
                </c:pt>
                <c:pt idx="9288">
                  <c:v>509</c:v>
                </c:pt>
                <c:pt idx="9289">
                  <c:v>506</c:v>
                </c:pt>
                <c:pt idx="9290">
                  <c:v>559</c:v>
                </c:pt>
                <c:pt idx="9291">
                  <c:v>493</c:v>
                </c:pt>
                <c:pt idx="9292">
                  <c:v>499</c:v>
                </c:pt>
                <c:pt idx="9293">
                  <c:v>497</c:v>
                </c:pt>
                <c:pt idx="9294">
                  <c:v>485</c:v>
                </c:pt>
                <c:pt idx="9295">
                  <c:v>471</c:v>
                </c:pt>
                <c:pt idx="9296">
                  <c:v>493</c:v>
                </c:pt>
                <c:pt idx="9297">
                  <c:v>526</c:v>
                </c:pt>
                <c:pt idx="9298">
                  <c:v>598</c:v>
                </c:pt>
                <c:pt idx="9299">
                  <c:v>628</c:v>
                </c:pt>
                <c:pt idx="9300">
                  <c:v>608</c:v>
                </c:pt>
                <c:pt idx="9301">
                  <c:v>608</c:v>
                </c:pt>
                <c:pt idx="9302">
                  <c:v>729</c:v>
                </c:pt>
                <c:pt idx="9303">
                  <c:v>661</c:v>
                </c:pt>
                <c:pt idx="9304">
                  <c:v>620</c:v>
                </c:pt>
                <c:pt idx="9305">
                  <c:v>645</c:v>
                </c:pt>
                <c:pt idx="9306">
                  <c:v>635</c:v>
                </c:pt>
                <c:pt idx="9307">
                  <c:v>630</c:v>
                </c:pt>
                <c:pt idx="9308">
                  <c:v>644</c:v>
                </c:pt>
                <c:pt idx="9309">
                  <c:v>634</c:v>
                </c:pt>
                <c:pt idx="9310">
                  <c:v>685</c:v>
                </c:pt>
                <c:pt idx="9311">
                  <c:v>689</c:v>
                </c:pt>
                <c:pt idx="9312">
                  <c:v>672</c:v>
                </c:pt>
                <c:pt idx="9313">
                  <c:v>797</c:v>
                </c:pt>
                <c:pt idx="9314">
                  <c:v>711</c:v>
                </c:pt>
                <c:pt idx="9315">
                  <c:v>699</c:v>
                </c:pt>
                <c:pt idx="9316">
                  <c:v>806</c:v>
                </c:pt>
                <c:pt idx="9317">
                  <c:v>866</c:v>
                </c:pt>
                <c:pt idx="9318">
                  <c:v>767</c:v>
                </c:pt>
                <c:pt idx="9319">
                  <c:v>795</c:v>
                </c:pt>
                <c:pt idx="9320">
                  <c:v>817</c:v>
                </c:pt>
                <c:pt idx="9321">
                  <c:v>853</c:v>
                </c:pt>
                <c:pt idx="9322">
                  <c:v>918</c:v>
                </c:pt>
                <c:pt idx="9323">
                  <c:v>919</c:v>
                </c:pt>
                <c:pt idx="9324">
                  <c:v>912</c:v>
                </c:pt>
                <c:pt idx="9325">
                  <c:v>898</c:v>
                </c:pt>
                <c:pt idx="9326">
                  <c:v>907</c:v>
                </c:pt>
                <c:pt idx="9327">
                  <c:v>831</c:v>
                </c:pt>
                <c:pt idx="9328">
                  <c:v>827</c:v>
                </c:pt>
                <c:pt idx="9329">
                  <c:v>902</c:v>
                </c:pt>
                <c:pt idx="9330">
                  <c:v>851</c:v>
                </c:pt>
                <c:pt idx="9331">
                  <c:v>801</c:v>
                </c:pt>
                <c:pt idx="9332">
                  <c:v>855</c:v>
                </c:pt>
                <c:pt idx="9333">
                  <c:v>811</c:v>
                </c:pt>
                <c:pt idx="9334">
                  <c:v>807</c:v>
                </c:pt>
                <c:pt idx="9335">
                  <c:v>824</c:v>
                </c:pt>
                <c:pt idx="9336">
                  <c:v>887</c:v>
                </c:pt>
                <c:pt idx="9337">
                  <c:v>911</c:v>
                </c:pt>
                <c:pt idx="9338">
                  <c:v>834</c:v>
                </c:pt>
                <c:pt idx="9339">
                  <c:v>833</c:v>
                </c:pt>
                <c:pt idx="9340">
                  <c:v>865</c:v>
                </c:pt>
                <c:pt idx="9341">
                  <c:v>978</c:v>
                </c:pt>
                <c:pt idx="9342">
                  <c:v>807</c:v>
                </c:pt>
                <c:pt idx="9343">
                  <c:v>795</c:v>
                </c:pt>
                <c:pt idx="9344">
                  <c:v>802</c:v>
                </c:pt>
                <c:pt idx="9345">
                  <c:v>840</c:v>
                </c:pt>
                <c:pt idx="9346">
                  <c:v>877</c:v>
                </c:pt>
                <c:pt idx="9347">
                  <c:v>824</c:v>
                </c:pt>
                <c:pt idx="9348">
                  <c:v>805</c:v>
                </c:pt>
                <c:pt idx="9349">
                  <c:v>1274</c:v>
                </c:pt>
                <c:pt idx="9350">
                  <c:v>1053</c:v>
                </c:pt>
                <c:pt idx="9351">
                  <c:v>1030</c:v>
                </c:pt>
                <c:pt idx="9352">
                  <c:v>1055</c:v>
                </c:pt>
                <c:pt idx="9353">
                  <c:v>1070</c:v>
                </c:pt>
                <c:pt idx="9354">
                  <c:v>1025</c:v>
                </c:pt>
                <c:pt idx="9355">
                  <c:v>960</c:v>
                </c:pt>
                <c:pt idx="9356">
                  <c:v>987</c:v>
                </c:pt>
                <c:pt idx="9357">
                  <c:v>986</c:v>
                </c:pt>
                <c:pt idx="9358">
                  <c:v>972</c:v>
                </c:pt>
                <c:pt idx="9359">
                  <c:v>988</c:v>
                </c:pt>
                <c:pt idx="9360">
                  <c:v>986</c:v>
                </c:pt>
                <c:pt idx="9361">
                  <c:v>965</c:v>
                </c:pt>
                <c:pt idx="9362">
                  <c:v>955</c:v>
                </c:pt>
                <c:pt idx="9363">
                  <c:v>840</c:v>
                </c:pt>
                <c:pt idx="9364">
                  <c:v>788</c:v>
                </c:pt>
                <c:pt idx="9365">
                  <c:v>743</c:v>
                </c:pt>
                <c:pt idx="9366">
                  <c:v>713</c:v>
                </c:pt>
                <c:pt idx="9367">
                  <c:v>699</c:v>
                </c:pt>
                <c:pt idx="9368">
                  <c:v>567</c:v>
                </c:pt>
                <c:pt idx="9369">
                  <c:v>549</c:v>
                </c:pt>
                <c:pt idx="9370">
                  <c:v>561</c:v>
                </c:pt>
                <c:pt idx="9371">
                  <c:v>560</c:v>
                </c:pt>
                <c:pt idx="9372">
                  <c:v>458</c:v>
                </c:pt>
                <c:pt idx="9373">
                  <c:v>426</c:v>
                </c:pt>
                <c:pt idx="9374">
                  <c:v>473</c:v>
                </c:pt>
                <c:pt idx="9375">
                  <c:v>457</c:v>
                </c:pt>
                <c:pt idx="9376">
                  <c:v>468</c:v>
                </c:pt>
                <c:pt idx="9377">
                  <c:v>462</c:v>
                </c:pt>
                <c:pt idx="9378">
                  <c:v>461</c:v>
                </c:pt>
                <c:pt idx="9379">
                  <c:v>466</c:v>
                </c:pt>
                <c:pt idx="9380">
                  <c:v>462</c:v>
                </c:pt>
                <c:pt idx="9381">
                  <c:v>469</c:v>
                </c:pt>
                <c:pt idx="9382">
                  <c:v>471</c:v>
                </c:pt>
                <c:pt idx="9383">
                  <c:v>467</c:v>
                </c:pt>
                <c:pt idx="9384">
                  <c:v>460</c:v>
                </c:pt>
                <c:pt idx="9385">
                  <c:v>473</c:v>
                </c:pt>
                <c:pt idx="9386">
                  <c:v>464</c:v>
                </c:pt>
                <c:pt idx="9387">
                  <c:v>472</c:v>
                </c:pt>
                <c:pt idx="9388">
                  <c:v>472</c:v>
                </c:pt>
                <c:pt idx="9389">
                  <c:v>461</c:v>
                </c:pt>
                <c:pt idx="9390">
                  <c:v>462</c:v>
                </c:pt>
                <c:pt idx="9391">
                  <c:v>455</c:v>
                </c:pt>
                <c:pt idx="9392">
                  <c:v>457</c:v>
                </c:pt>
                <c:pt idx="9393">
                  <c:v>462</c:v>
                </c:pt>
                <c:pt idx="9394">
                  <c:v>541</c:v>
                </c:pt>
                <c:pt idx="9395">
                  <c:v>556</c:v>
                </c:pt>
                <c:pt idx="9396">
                  <c:v>492</c:v>
                </c:pt>
                <c:pt idx="9397">
                  <c:v>509</c:v>
                </c:pt>
                <c:pt idx="9398">
                  <c:v>507</c:v>
                </c:pt>
                <c:pt idx="9399">
                  <c:v>512</c:v>
                </c:pt>
                <c:pt idx="9400">
                  <c:v>508</c:v>
                </c:pt>
                <c:pt idx="9401">
                  <c:v>503</c:v>
                </c:pt>
                <c:pt idx="9402">
                  <c:v>501</c:v>
                </c:pt>
                <c:pt idx="9403">
                  <c:v>492</c:v>
                </c:pt>
                <c:pt idx="9404">
                  <c:v>504</c:v>
                </c:pt>
                <c:pt idx="9405">
                  <c:v>514</c:v>
                </c:pt>
                <c:pt idx="9406">
                  <c:v>573</c:v>
                </c:pt>
                <c:pt idx="9407">
                  <c:v>592</c:v>
                </c:pt>
                <c:pt idx="9408">
                  <c:v>695</c:v>
                </c:pt>
                <c:pt idx="9409">
                  <c:v>756</c:v>
                </c:pt>
                <c:pt idx="9410">
                  <c:v>796</c:v>
                </c:pt>
                <c:pt idx="9411">
                  <c:v>764</c:v>
                </c:pt>
                <c:pt idx="9412">
                  <c:v>789</c:v>
                </c:pt>
                <c:pt idx="9413">
                  <c:v>808</c:v>
                </c:pt>
                <c:pt idx="9414">
                  <c:v>770</c:v>
                </c:pt>
                <c:pt idx="9415">
                  <c:v>785</c:v>
                </c:pt>
                <c:pt idx="9416">
                  <c:v>782</c:v>
                </c:pt>
                <c:pt idx="9417">
                  <c:v>829</c:v>
                </c:pt>
                <c:pt idx="9418">
                  <c:v>856</c:v>
                </c:pt>
                <c:pt idx="9419">
                  <c:v>873</c:v>
                </c:pt>
                <c:pt idx="9420">
                  <c:v>832</c:v>
                </c:pt>
                <c:pt idx="9421">
                  <c:v>872</c:v>
                </c:pt>
                <c:pt idx="9422">
                  <c:v>889</c:v>
                </c:pt>
                <c:pt idx="9423">
                  <c:v>1052</c:v>
                </c:pt>
                <c:pt idx="9424">
                  <c:v>917</c:v>
                </c:pt>
                <c:pt idx="9425">
                  <c:v>614</c:v>
                </c:pt>
                <c:pt idx="9426">
                  <c:v>1283</c:v>
                </c:pt>
                <c:pt idx="9427">
                  <c:v>1156</c:v>
                </c:pt>
                <c:pt idx="9428">
                  <c:v>978</c:v>
                </c:pt>
                <c:pt idx="9429">
                  <c:v>956</c:v>
                </c:pt>
                <c:pt idx="9430">
                  <c:v>980</c:v>
                </c:pt>
                <c:pt idx="9431">
                  <c:v>998</c:v>
                </c:pt>
                <c:pt idx="9432">
                  <c:v>967</c:v>
                </c:pt>
                <c:pt idx="9433">
                  <c:v>979</c:v>
                </c:pt>
                <c:pt idx="9434">
                  <c:v>969</c:v>
                </c:pt>
                <c:pt idx="9435">
                  <c:v>992</c:v>
                </c:pt>
                <c:pt idx="9436">
                  <c:v>997</c:v>
                </c:pt>
                <c:pt idx="9437">
                  <c:v>1014</c:v>
                </c:pt>
                <c:pt idx="9438">
                  <c:v>967</c:v>
                </c:pt>
                <c:pt idx="9439">
                  <c:v>1004</c:v>
                </c:pt>
                <c:pt idx="9440">
                  <c:v>976</c:v>
                </c:pt>
                <c:pt idx="9441">
                  <c:v>984</c:v>
                </c:pt>
                <c:pt idx="9442">
                  <c:v>973</c:v>
                </c:pt>
                <c:pt idx="9443">
                  <c:v>982</c:v>
                </c:pt>
                <c:pt idx="9444">
                  <c:v>1011</c:v>
                </c:pt>
                <c:pt idx="9445">
                  <c:v>1056</c:v>
                </c:pt>
                <c:pt idx="9446">
                  <c:v>1075</c:v>
                </c:pt>
                <c:pt idx="9447">
                  <c:v>1023</c:v>
                </c:pt>
                <c:pt idx="9448">
                  <c:v>963</c:v>
                </c:pt>
                <c:pt idx="9449">
                  <c:v>1058</c:v>
                </c:pt>
                <c:pt idx="9450">
                  <c:v>1016</c:v>
                </c:pt>
                <c:pt idx="9451">
                  <c:v>1062</c:v>
                </c:pt>
                <c:pt idx="9452">
                  <c:v>975</c:v>
                </c:pt>
                <c:pt idx="9453">
                  <c:v>977</c:v>
                </c:pt>
                <c:pt idx="9454">
                  <c:v>993</c:v>
                </c:pt>
                <c:pt idx="9455">
                  <c:v>979</c:v>
                </c:pt>
                <c:pt idx="9456">
                  <c:v>947</c:v>
                </c:pt>
                <c:pt idx="9457">
                  <c:v>974</c:v>
                </c:pt>
                <c:pt idx="9458">
                  <c:v>990</c:v>
                </c:pt>
                <c:pt idx="9459">
                  <c:v>710</c:v>
                </c:pt>
                <c:pt idx="9460">
                  <c:v>642</c:v>
                </c:pt>
                <c:pt idx="9461">
                  <c:v>588</c:v>
                </c:pt>
                <c:pt idx="9462">
                  <c:v>609</c:v>
                </c:pt>
                <c:pt idx="9463">
                  <c:v>612</c:v>
                </c:pt>
                <c:pt idx="9464">
                  <c:v>595</c:v>
                </c:pt>
                <c:pt idx="9465">
                  <c:v>537</c:v>
                </c:pt>
                <c:pt idx="9466">
                  <c:v>595</c:v>
                </c:pt>
                <c:pt idx="9467">
                  <c:v>557</c:v>
                </c:pt>
                <c:pt idx="9468">
                  <c:v>564</c:v>
                </c:pt>
                <c:pt idx="9469">
                  <c:v>570</c:v>
                </c:pt>
                <c:pt idx="9470">
                  <c:v>557</c:v>
                </c:pt>
                <c:pt idx="9471">
                  <c:v>565</c:v>
                </c:pt>
                <c:pt idx="9472">
                  <c:v>565</c:v>
                </c:pt>
                <c:pt idx="9473">
                  <c:v>566</c:v>
                </c:pt>
                <c:pt idx="9474">
                  <c:v>534</c:v>
                </c:pt>
                <c:pt idx="9475">
                  <c:v>562</c:v>
                </c:pt>
                <c:pt idx="9476">
                  <c:v>460</c:v>
                </c:pt>
                <c:pt idx="9477">
                  <c:v>475</c:v>
                </c:pt>
                <c:pt idx="9478">
                  <c:v>466</c:v>
                </c:pt>
                <c:pt idx="9479">
                  <c:v>489</c:v>
                </c:pt>
                <c:pt idx="9480">
                  <c:v>483</c:v>
                </c:pt>
                <c:pt idx="9481">
                  <c:v>490</c:v>
                </c:pt>
                <c:pt idx="9482">
                  <c:v>483</c:v>
                </c:pt>
                <c:pt idx="9483">
                  <c:v>479</c:v>
                </c:pt>
                <c:pt idx="9484">
                  <c:v>478</c:v>
                </c:pt>
                <c:pt idx="9485">
                  <c:v>466</c:v>
                </c:pt>
                <c:pt idx="9486">
                  <c:v>480</c:v>
                </c:pt>
                <c:pt idx="9487">
                  <c:v>445</c:v>
                </c:pt>
                <c:pt idx="9488">
                  <c:v>467</c:v>
                </c:pt>
                <c:pt idx="9489">
                  <c:v>453</c:v>
                </c:pt>
                <c:pt idx="9490">
                  <c:v>456</c:v>
                </c:pt>
                <c:pt idx="9491">
                  <c:v>441</c:v>
                </c:pt>
                <c:pt idx="9492">
                  <c:v>449</c:v>
                </c:pt>
                <c:pt idx="9493">
                  <c:v>432</c:v>
                </c:pt>
                <c:pt idx="9494">
                  <c:v>452</c:v>
                </c:pt>
                <c:pt idx="9495">
                  <c:v>427</c:v>
                </c:pt>
                <c:pt idx="9496">
                  <c:v>393</c:v>
                </c:pt>
                <c:pt idx="9497">
                  <c:v>427</c:v>
                </c:pt>
                <c:pt idx="9498">
                  <c:v>427</c:v>
                </c:pt>
                <c:pt idx="9499">
                  <c:v>435</c:v>
                </c:pt>
                <c:pt idx="9500">
                  <c:v>418</c:v>
                </c:pt>
                <c:pt idx="9501">
                  <c:v>435</c:v>
                </c:pt>
                <c:pt idx="9502">
                  <c:v>429</c:v>
                </c:pt>
                <c:pt idx="9503">
                  <c:v>379</c:v>
                </c:pt>
                <c:pt idx="9504">
                  <c:v>405</c:v>
                </c:pt>
                <c:pt idx="9505">
                  <c:v>441</c:v>
                </c:pt>
                <c:pt idx="9506">
                  <c:v>430</c:v>
                </c:pt>
                <c:pt idx="9507">
                  <c:v>433</c:v>
                </c:pt>
                <c:pt idx="9508">
                  <c:v>426</c:v>
                </c:pt>
                <c:pt idx="9509">
                  <c:v>439</c:v>
                </c:pt>
                <c:pt idx="9510">
                  <c:v>501</c:v>
                </c:pt>
                <c:pt idx="9511">
                  <c:v>481</c:v>
                </c:pt>
                <c:pt idx="9512">
                  <c:v>483</c:v>
                </c:pt>
                <c:pt idx="9513">
                  <c:v>449</c:v>
                </c:pt>
                <c:pt idx="9514">
                  <c:v>425</c:v>
                </c:pt>
                <c:pt idx="9515">
                  <c:v>528</c:v>
                </c:pt>
                <c:pt idx="9516">
                  <c:v>496</c:v>
                </c:pt>
                <c:pt idx="9517">
                  <c:v>415</c:v>
                </c:pt>
                <c:pt idx="9518">
                  <c:v>448</c:v>
                </c:pt>
                <c:pt idx="9519">
                  <c:v>504</c:v>
                </c:pt>
                <c:pt idx="9520">
                  <c:v>685</c:v>
                </c:pt>
                <c:pt idx="9521">
                  <c:v>592</c:v>
                </c:pt>
                <c:pt idx="9522">
                  <c:v>576</c:v>
                </c:pt>
                <c:pt idx="9523">
                  <c:v>608</c:v>
                </c:pt>
                <c:pt idx="9524">
                  <c:v>644</c:v>
                </c:pt>
                <c:pt idx="9525">
                  <c:v>579</c:v>
                </c:pt>
                <c:pt idx="9526">
                  <c:v>574</c:v>
                </c:pt>
                <c:pt idx="9527">
                  <c:v>634</c:v>
                </c:pt>
                <c:pt idx="9528">
                  <c:v>693</c:v>
                </c:pt>
                <c:pt idx="9529">
                  <c:v>776</c:v>
                </c:pt>
                <c:pt idx="9530">
                  <c:v>766</c:v>
                </c:pt>
                <c:pt idx="9531">
                  <c:v>679</c:v>
                </c:pt>
                <c:pt idx="9532">
                  <c:v>669</c:v>
                </c:pt>
                <c:pt idx="9533">
                  <c:v>676</c:v>
                </c:pt>
                <c:pt idx="9534">
                  <c:v>665</c:v>
                </c:pt>
                <c:pt idx="9535">
                  <c:v>650</c:v>
                </c:pt>
                <c:pt idx="9536">
                  <c:v>600</c:v>
                </c:pt>
                <c:pt idx="9537">
                  <c:v>871</c:v>
                </c:pt>
                <c:pt idx="9538">
                  <c:v>883</c:v>
                </c:pt>
                <c:pt idx="9539">
                  <c:v>831</c:v>
                </c:pt>
                <c:pt idx="9540">
                  <c:v>830</c:v>
                </c:pt>
                <c:pt idx="9541">
                  <c:v>836</c:v>
                </c:pt>
                <c:pt idx="9542">
                  <c:v>839</c:v>
                </c:pt>
                <c:pt idx="9543">
                  <c:v>833</c:v>
                </c:pt>
                <c:pt idx="9544">
                  <c:v>837</c:v>
                </c:pt>
                <c:pt idx="9545">
                  <c:v>1094</c:v>
                </c:pt>
                <c:pt idx="9546">
                  <c:v>924</c:v>
                </c:pt>
                <c:pt idx="9547">
                  <c:v>765</c:v>
                </c:pt>
                <c:pt idx="9548">
                  <c:v>800</c:v>
                </c:pt>
                <c:pt idx="9549">
                  <c:v>796</c:v>
                </c:pt>
                <c:pt idx="9550">
                  <c:v>767</c:v>
                </c:pt>
                <c:pt idx="9551">
                  <c:v>819</c:v>
                </c:pt>
                <c:pt idx="9552">
                  <c:v>821</c:v>
                </c:pt>
                <c:pt idx="9553">
                  <c:v>686</c:v>
                </c:pt>
                <c:pt idx="9554">
                  <c:v>690</c:v>
                </c:pt>
                <c:pt idx="9555">
                  <c:v>748</c:v>
                </c:pt>
                <c:pt idx="9556">
                  <c:v>609</c:v>
                </c:pt>
                <c:pt idx="9557">
                  <c:v>558</c:v>
                </c:pt>
                <c:pt idx="9558">
                  <c:v>660</c:v>
                </c:pt>
                <c:pt idx="9559">
                  <c:v>573</c:v>
                </c:pt>
                <c:pt idx="9560">
                  <c:v>568</c:v>
                </c:pt>
                <c:pt idx="9561">
                  <c:v>631</c:v>
                </c:pt>
                <c:pt idx="9562">
                  <c:v>588</c:v>
                </c:pt>
                <c:pt idx="9563">
                  <c:v>551</c:v>
                </c:pt>
                <c:pt idx="9564">
                  <c:v>581</c:v>
                </c:pt>
                <c:pt idx="9565">
                  <c:v>556</c:v>
                </c:pt>
                <c:pt idx="9566">
                  <c:v>563</c:v>
                </c:pt>
                <c:pt idx="9567">
                  <c:v>556</c:v>
                </c:pt>
                <c:pt idx="9568">
                  <c:v>514</c:v>
                </c:pt>
                <c:pt idx="9569">
                  <c:v>568</c:v>
                </c:pt>
                <c:pt idx="9570">
                  <c:v>542</c:v>
                </c:pt>
                <c:pt idx="9571">
                  <c:v>552</c:v>
                </c:pt>
                <c:pt idx="9572">
                  <c:v>420</c:v>
                </c:pt>
                <c:pt idx="9573">
                  <c:v>461</c:v>
                </c:pt>
                <c:pt idx="9574">
                  <c:v>519</c:v>
                </c:pt>
                <c:pt idx="9575">
                  <c:v>471</c:v>
                </c:pt>
                <c:pt idx="9576">
                  <c:v>528</c:v>
                </c:pt>
                <c:pt idx="9577">
                  <c:v>448</c:v>
                </c:pt>
                <c:pt idx="9578">
                  <c:v>461</c:v>
                </c:pt>
                <c:pt idx="9579">
                  <c:v>530</c:v>
                </c:pt>
                <c:pt idx="9580">
                  <c:v>492</c:v>
                </c:pt>
                <c:pt idx="9581">
                  <c:v>481</c:v>
                </c:pt>
                <c:pt idx="9582">
                  <c:v>454</c:v>
                </c:pt>
                <c:pt idx="9583">
                  <c:v>457</c:v>
                </c:pt>
                <c:pt idx="9584">
                  <c:v>473</c:v>
                </c:pt>
                <c:pt idx="9585">
                  <c:v>408</c:v>
                </c:pt>
                <c:pt idx="9586">
                  <c:v>446</c:v>
                </c:pt>
                <c:pt idx="9587">
                  <c:v>400</c:v>
                </c:pt>
                <c:pt idx="9588">
                  <c:v>460</c:v>
                </c:pt>
                <c:pt idx="9589">
                  <c:v>448</c:v>
                </c:pt>
                <c:pt idx="9590">
                  <c:v>397</c:v>
                </c:pt>
                <c:pt idx="9591">
                  <c:v>473</c:v>
                </c:pt>
                <c:pt idx="9592">
                  <c:v>451</c:v>
                </c:pt>
                <c:pt idx="9593">
                  <c:v>389</c:v>
                </c:pt>
                <c:pt idx="9594">
                  <c:v>425</c:v>
                </c:pt>
                <c:pt idx="9595">
                  <c:v>392</c:v>
                </c:pt>
                <c:pt idx="9596">
                  <c:v>468</c:v>
                </c:pt>
                <c:pt idx="9597">
                  <c:v>395</c:v>
                </c:pt>
                <c:pt idx="9598">
                  <c:v>401</c:v>
                </c:pt>
                <c:pt idx="9599">
                  <c:v>460</c:v>
                </c:pt>
                <c:pt idx="9600">
                  <c:v>416</c:v>
                </c:pt>
                <c:pt idx="9601">
                  <c:v>435</c:v>
                </c:pt>
                <c:pt idx="9602">
                  <c:v>394</c:v>
                </c:pt>
                <c:pt idx="9603">
                  <c:v>393</c:v>
                </c:pt>
                <c:pt idx="9604">
                  <c:v>492</c:v>
                </c:pt>
                <c:pt idx="9605">
                  <c:v>452</c:v>
                </c:pt>
                <c:pt idx="9606">
                  <c:v>468</c:v>
                </c:pt>
                <c:pt idx="9607">
                  <c:v>445</c:v>
                </c:pt>
                <c:pt idx="9608">
                  <c:v>439</c:v>
                </c:pt>
                <c:pt idx="9609">
                  <c:v>492</c:v>
                </c:pt>
                <c:pt idx="9610">
                  <c:v>486</c:v>
                </c:pt>
                <c:pt idx="9611">
                  <c:v>550</c:v>
                </c:pt>
                <c:pt idx="9612">
                  <c:v>439</c:v>
                </c:pt>
                <c:pt idx="9613">
                  <c:v>412</c:v>
                </c:pt>
                <c:pt idx="9614">
                  <c:v>463</c:v>
                </c:pt>
                <c:pt idx="9615">
                  <c:v>468</c:v>
                </c:pt>
                <c:pt idx="9616">
                  <c:v>555</c:v>
                </c:pt>
                <c:pt idx="9617">
                  <c:v>437</c:v>
                </c:pt>
                <c:pt idx="9618">
                  <c:v>419</c:v>
                </c:pt>
                <c:pt idx="9619">
                  <c:v>591</c:v>
                </c:pt>
                <c:pt idx="9620">
                  <c:v>628</c:v>
                </c:pt>
                <c:pt idx="9621">
                  <c:v>619</c:v>
                </c:pt>
                <c:pt idx="9622">
                  <c:v>605</c:v>
                </c:pt>
                <c:pt idx="9623">
                  <c:v>658</c:v>
                </c:pt>
                <c:pt idx="9624">
                  <c:v>750</c:v>
                </c:pt>
                <c:pt idx="9625">
                  <c:v>656</c:v>
                </c:pt>
                <c:pt idx="9626">
                  <c:v>601</c:v>
                </c:pt>
                <c:pt idx="9627">
                  <c:v>624</c:v>
                </c:pt>
                <c:pt idx="9628">
                  <c:v>624</c:v>
                </c:pt>
                <c:pt idx="9629">
                  <c:v>531</c:v>
                </c:pt>
                <c:pt idx="9630">
                  <c:v>637</c:v>
                </c:pt>
                <c:pt idx="9631">
                  <c:v>658</c:v>
                </c:pt>
                <c:pt idx="9632">
                  <c:v>708</c:v>
                </c:pt>
                <c:pt idx="9633">
                  <c:v>721</c:v>
                </c:pt>
                <c:pt idx="9634">
                  <c:v>678</c:v>
                </c:pt>
                <c:pt idx="9635">
                  <c:v>663</c:v>
                </c:pt>
                <c:pt idx="9636">
                  <c:v>651</c:v>
                </c:pt>
                <c:pt idx="9637">
                  <c:v>645</c:v>
                </c:pt>
                <c:pt idx="9638">
                  <c:v>670</c:v>
                </c:pt>
                <c:pt idx="9639">
                  <c:v>660</c:v>
                </c:pt>
                <c:pt idx="9640">
                  <c:v>752</c:v>
                </c:pt>
                <c:pt idx="9641">
                  <c:v>722</c:v>
                </c:pt>
                <c:pt idx="9642">
                  <c:v>754</c:v>
                </c:pt>
                <c:pt idx="9643">
                  <c:v>627</c:v>
                </c:pt>
                <c:pt idx="9644">
                  <c:v>628</c:v>
                </c:pt>
                <c:pt idx="9645">
                  <c:v>637</c:v>
                </c:pt>
                <c:pt idx="9646">
                  <c:v>665</c:v>
                </c:pt>
                <c:pt idx="9647">
                  <c:v>644</c:v>
                </c:pt>
                <c:pt idx="9648">
                  <c:v>693</c:v>
                </c:pt>
                <c:pt idx="9649">
                  <c:v>564</c:v>
                </c:pt>
                <c:pt idx="9650">
                  <c:v>569</c:v>
                </c:pt>
                <c:pt idx="9651">
                  <c:v>558</c:v>
                </c:pt>
                <c:pt idx="9652">
                  <c:v>598</c:v>
                </c:pt>
                <c:pt idx="9653">
                  <c:v>559</c:v>
                </c:pt>
                <c:pt idx="9654">
                  <c:v>577</c:v>
                </c:pt>
                <c:pt idx="9655">
                  <c:v>551</c:v>
                </c:pt>
                <c:pt idx="9656">
                  <c:v>593</c:v>
                </c:pt>
                <c:pt idx="9657">
                  <c:v>514</c:v>
                </c:pt>
                <c:pt idx="9658">
                  <c:v>546</c:v>
                </c:pt>
                <c:pt idx="9659">
                  <c:v>514</c:v>
                </c:pt>
                <c:pt idx="9660">
                  <c:v>439</c:v>
                </c:pt>
                <c:pt idx="9661">
                  <c:v>416</c:v>
                </c:pt>
                <c:pt idx="9662">
                  <c:v>466</c:v>
                </c:pt>
                <c:pt idx="9663">
                  <c:v>419</c:v>
                </c:pt>
                <c:pt idx="9664">
                  <c:v>430</c:v>
                </c:pt>
                <c:pt idx="9665">
                  <c:v>397</c:v>
                </c:pt>
                <c:pt idx="9666">
                  <c:v>448</c:v>
                </c:pt>
                <c:pt idx="9667">
                  <c:v>421</c:v>
                </c:pt>
                <c:pt idx="9668">
                  <c:v>430</c:v>
                </c:pt>
                <c:pt idx="9669">
                  <c:v>370</c:v>
                </c:pt>
                <c:pt idx="9670">
                  <c:v>415</c:v>
                </c:pt>
                <c:pt idx="9671">
                  <c:v>396</c:v>
                </c:pt>
                <c:pt idx="9672">
                  <c:v>392</c:v>
                </c:pt>
                <c:pt idx="9673">
                  <c:v>387</c:v>
                </c:pt>
                <c:pt idx="9674">
                  <c:v>378</c:v>
                </c:pt>
                <c:pt idx="9675">
                  <c:v>372</c:v>
                </c:pt>
                <c:pt idx="9676">
                  <c:v>391</c:v>
                </c:pt>
                <c:pt idx="9677">
                  <c:v>403</c:v>
                </c:pt>
                <c:pt idx="9678">
                  <c:v>394</c:v>
                </c:pt>
                <c:pt idx="9679">
                  <c:v>422</c:v>
                </c:pt>
                <c:pt idx="9680">
                  <c:v>353</c:v>
                </c:pt>
                <c:pt idx="9681">
                  <c:v>405</c:v>
                </c:pt>
                <c:pt idx="9682">
                  <c:v>498</c:v>
                </c:pt>
                <c:pt idx="9683">
                  <c:v>539</c:v>
                </c:pt>
                <c:pt idx="9684">
                  <c:v>401</c:v>
                </c:pt>
                <c:pt idx="9685">
                  <c:v>430</c:v>
                </c:pt>
                <c:pt idx="9686">
                  <c:v>450</c:v>
                </c:pt>
                <c:pt idx="9687">
                  <c:v>485</c:v>
                </c:pt>
                <c:pt idx="9688">
                  <c:v>446</c:v>
                </c:pt>
                <c:pt idx="9689">
                  <c:v>437</c:v>
                </c:pt>
                <c:pt idx="9690">
                  <c:v>427</c:v>
                </c:pt>
                <c:pt idx="9691">
                  <c:v>447</c:v>
                </c:pt>
                <c:pt idx="9692">
                  <c:v>446</c:v>
                </c:pt>
                <c:pt idx="9693">
                  <c:v>422</c:v>
                </c:pt>
                <c:pt idx="9694">
                  <c:v>485</c:v>
                </c:pt>
                <c:pt idx="9695">
                  <c:v>562</c:v>
                </c:pt>
                <c:pt idx="9696">
                  <c:v>588</c:v>
                </c:pt>
                <c:pt idx="9697">
                  <c:v>620</c:v>
                </c:pt>
                <c:pt idx="9698">
                  <c:v>559</c:v>
                </c:pt>
                <c:pt idx="9699">
                  <c:v>553</c:v>
                </c:pt>
                <c:pt idx="9700">
                  <c:v>480</c:v>
                </c:pt>
                <c:pt idx="9701">
                  <c:v>789</c:v>
                </c:pt>
                <c:pt idx="9702">
                  <c:v>777</c:v>
                </c:pt>
                <c:pt idx="9703">
                  <c:v>798</c:v>
                </c:pt>
                <c:pt idx="9704">
                  <c:v>851</c:v>
                </c:pt>
                <c:pt idx="9705">
                  <c:v>821</c:v>
                </c:pt>
                <c:pt idx="9706">
                  <c:v>723</c:v>
                </c:pt>
                <c:pt idx="9707">
                  <c:v>717</c:v>
                </c:pt>
                <c:pt idx="9708">
                  <c:v>754</c:v>
                </c:pt>
                <c:pt idx="9709">
                  <c:v>757</c:v>
                </c:pt>
                <c:pt idx="9710">
                  <c:v>769</c:v>
                </c:pt>
                <c:pt idx="9711">
                  <c:v>733</c:v>
                </c:pt>
                <c:pt idx="9712">
                  <c:v>760</c:v>
                </c:pt>
                <c:pt idx="9713">
                  <c:v>817</c:v>
                </c:pt>
                <c:pt idx="9714">
                  <c:v>877</c:v>
                </c:pt>
                <c:pt idx="9715">
                  <c:v>889</c:v>
                </c:pt>
                <c:pt idx="9716">
                  <c:v>886</c:v>
                </c:pt>
                <c:pt idx="9717">
                  <c:v>891</c:v>
                </c:pt>
                <c:pt idx="9718">
                  <c:v>896</c:v>
                </c:pt>
                <c:pt idx="9719">
                  <c:v>803</c:v>
                </c:pt>
                <c:pt idx="9720">
                  <c:v>793</c:v>
                </c:pt>
                <c:pt idx="9721">
                  <c:v>888</c:v>
                </c:pt>
                <c:pt idx="9722">
                  <c:v>831</c:v>
                </c:pt>
                <c:pt idx="9723">
                  <c:v>1231</c:v>
                </c:pt>
                <c:pt idx="9724">
                  <c:v>1215</c:v>
                </c:pt>
                <c:pt idx="9725">
                  <c:v>1082</c:v>
                </c:pt>
                <c:pt idx="9726">
                  <c:v>1005</c:v>
                </c:pt>
                <c:pt idx="9727">
                  <c:v>1002</c:v>
                </c:pt>
                <c:pt idx="9728">
                  <c:v>1031</c:v>
                </c:pt>
                <c:pt idx="9729">
                  <c:v>1010</c:v>
                </c:pt>
                <c:pt idx="9730">
                  <c:v>1047</c:v>
                </c:pt>
                <c:pt idx="9731">
                  <c:v>971</c:v>
                </c:pt>
                <c:pt idx="9732">
                  <c:v>929</c:v>
                </c:pt>
                <c:pt idx="9733">
                  <c:v>889</c:v>
                </c:pt>
                <c:pt idx="9734">
                  <c:v>920</c:v>
                </c:pt>
                <c:pt idx="9735">
                  <c:v>852</c:v>
                </c:pt>
                <c:pt idx="9736">
                  <c:v>854</c:v>
                </c:pt>
                <c:pt idx="9737">
                  <c:v>867</c:v>
                </c:pt>
                <c:pt idx="9738">
                  <c:v>894</c:v>
                </c:pt>
                <c:pt idx="9739">
                  <c:v>846</c:v>
                </c:pt>
                <c:pt idx="9740">
                  <c:v>839</c:v>
                </c:pt>
                <c:pt idx="9741">
                  <c:v>898</c:v>
                </c:pt>
                <c:pt idx="9742">
                  <c:v>908</c:v>
                </c:pt>
                <c:pt idx="9743">
                  <c:v>884</c:v>
                </c:pt>
                <c:pt idx="9744">
                  <c:v>818</c:v>
                </c:pt>
                <c:pt idx="9745">
                  <c:v>815</c:v>
                </c:pt>
                <c:pt idx="9746">
                  <c:v>822</c:v>
                </c:pt>
                <c:pt idx="9747">
                  <c:v>571</c:v>
                </c:pt>
                <c:pt idx="9748">
                  <c:v>611</c:v>
                </c:pt>
                <c:pt idx="9749">
                  <c:v>620</c:v>
                </c:pt>
                <c:pt idx="9750">
                  <c:v>623</c:v>
                </c:pt>
                <c:pt idx="9751">
                  <c:v>623</c:v>
                </c:pt>
                <c:pt idx="9752">
                  <c:v>663</c:v>
                </c:pt>
                <c:pt idx="9753">
                  <c:v>623</c:v>
                </c:pt>
                <c:pt idx="9754">
                  <c:v>636</c:v>
                </c:pt>
                <c:pt idx="9755">
                  <c:v>630</c:v>
                </c:pt>
                <c:pt idx="9756">
                  <c:v>510</c:v>
                </c:pt>
                <c:pt idx="9757">
                  <c:v>502</c:v>
                </c:pt>
                <c:pt idx="9758">
                  <c:v>506</c:v>
                </c:pt>
                <c:pt idx="9759">
                  <c:v>461</c:v>
                </c:pt>
                <c:pt idx="9760">
                  <c:v>490</c:v>
                </c:pt>
                <c:pt idx="9761">
                  <c:v>461</c:v>
                </c:pt>
                <c:pt idx="9762">
                  <c:v>511</c:v>
                </c:pt>
                <c:pt idx="9763">
                  <c:v>487</c:v>
                </c:pt>
                <c:pt idx="9764">
                  <c:v>478</c:v>
                </c:pt>
                <c:pt idx="9765">
                  <c:v>476</c:v>
                </c:pt>
                <c:pt idx="9766">
                  <c:v>450</c:v>
                </c:pt>
                <c:pt idx="9767">
                  <c:v>453</c:v>
                </c:pt>
                <c:pt idx="9768">
                  <c:v>442</c:v>
                </c:pt>
                <c:pt idx="9769">
                  <c:v>450</c:v>
                </c:pt>
                <c:pt idx="9770">
                  <c:v>447</c:v>
                </c:pt>
                <c:pt idx="9771">
                  <c:v>465</c:v>
                </c:pt>
                <c:pt idx="9772">
                  <c:v>457</c:v>
                </c:pt>
                <c:pt idx="9773">
                  <c:v>439</c:v>
                </c:pt>
                <c:pt idx="9774">
                  <c:v>453</c:v>
                </c:pt>
                <c:pt idx="9775">
                  <c:v>454</c:v>
                </c:pt>
                <c:pt idx="9776">
                  <c:v>404</c:v>
                </c:pt>
                <c:pt idx="9777">
                  <c:v>441</c:v>
                </c:pt>
                <c:pt idx="9778">
                  <c:v>507</c:v>
                </c:pt>
                <c:pt idx="9779">
                  <c:v>491</c:v>
                </c:pt>
                <c:pt idx="9780">
                  <c:v>538</c:v>
                </c:pt>
                <c:pt idx="9781">
                  <c:v>570</c:v>
                </c:pt>
                <c:pt idx="9782">
                  <c:v>549</c:v>
                </c:pt>
                <c:pt idx="9783">
                  <c:v>554</c:v>
                </c:pt>
                <c:pt idx="9784">
                  <c:v>528</c:v>
                </c:pt>
                <c:pt idx="9785">
                  <c:v>569</c:v>
                </c:pt>
                <c:pt idx="9786">
                  <c:v>525</c:v>
                </c:pt>
                <c:pt idx="9787">
                  <c:v>470</c:v>
                </c:pt>
                <c:pt idx="9788">
                  <c:v>466</c:v>
                </c:pt>
                <c:pt idx="9789">
                  <c:v>501</c:v>
                </c:pt>
                <c:pt idx="9790">
                  <c:v>484</c:v>
                </c:pt>
                <c:pt idx="9791">
                  <c:v>472</c:v>
                </c:pt>
                <c:pt idx="9792">
                  <c:v>462</c:v>
                </c:pt>
                <c:pt idx="9793">
                  <c:v>606</c:v>
                </c:pt>
                <c:pt idx="9794">
                  <c:v>590</c:v>
                </c:pt>
                <c:pt idx="9795">
                  <c:v>611</c:v>
                </c:pt>
                <c:pt idx="9796">
                  <c:v>639</c:v>
                </c:pt>
                <c:pt idx="9797">
                  <c:v>698</c:v>
                </c:pt>
                <c:pt idx="9798">
                  <c:v>687</c:v>
                </c:pt>
                <c:pt idx="9799">
                  <c:v>672</c:v>
                </c:pt>
                <c:pt idx="9800">
                  <c:v>677</c:v>
                </c:pt>
                <c:pt idx="9801">
                  <c:v>723</c:v>
                </c:pt>
                <c:pt idx="9802">
                  <c:v>737</c:v>
                </c:pt>
                <c:pt idx="9803">
                  <c:v>875</c:v>
                </c:pt>
                <c:pt idx="9804">
                  <c:v>876</c:v>
                </c:pt>
                <c:pt idx="9805">
                  <c:v>871</c:v>
                </c:pt>
                <c:pt idx="9806">
                  <c:v>835</c:v>
                </c:pt>
                <c:pt idx="9807">
                  <c:v>840</c:v>
                </c:pt>
                <c:pt idx="9808">
                  <c:v>842</c:v>
                </c:pt>
                <c:pt idx="9809">
                  <c:v>814</c:v>
                </c:pt>
                <c:pt idx="9810">
                  <c:v>818</c:v>
                </c:pt>
                <c:pt idx="9811">
                  <c:v>761</c:v>
                </c:pt>
                <c:pt idx="9812">
                  <c:v>749</c:v>
                </c:pt>
                <c:pt idx="9813">
                  <c:v>795</c:v>
                </c:pt>
                <c:pt idx="9814">
                  <c:v>755</c:v>
                </c:pt>
                <c:pt idx="9815">
                  <c:v>833</c:v>
                </c:pt>
                <c:pt idx="9816">
                  <c:v>772</c:v>
                </c:pt>
                <c:pt idx="9817">
                  <c:v>1055</c:v>
                </c:pt>
                <c:pt idx="9818">
                  <c:v>1177</c:v>
                </c:pt>
                <c:pt idx="9819">
                  <c:v>970</c:v>
                </c:pt>
                <c:pt idx="9820">
                  <c:v>841</c:v>
                </c:pt>
                <c:pt idx="9821">
                  <c:v>829</c:v>
                </c:pt>
                <c:pt idx="9822">
                  <c:v>821</c:v>
                </c:pt>
                <c:pt idx="9823">
                  <c:v>823</c:v>
                </c:pt>
                <c:pt idx="9824">
                  <c:v>825</c:v>
                </c:pt>
                <c:pt idx="9825">
                  <c:v>839</c:v>
                </c:pt>
                <c:pt idx="9826">
                  <c:v>826</c:v>
                </c:pt>
                <c:pt idx="9827">
                  <c:v>866</c:v>
                </c:pt>
                <c:pt idx="9828">
                  <c:v>868</c:v>
                </c:pt>
                <c:pt idx="9829">
                  <c:v>876</c:v>
                </c:pt>
                <c:pt idx="9830">
                  <c:v>846</c:v>
                </c:pt>
                <c:pt idx="9831">
                  <c:v>776</c:v>
                </c:pt>
                <c:pt idx="9832">
                  <c:v>796</c:v>
                </c:pt>
                <c:pt idx="9833">
                  <c:v>763</c:v>
                </c:pt>
                <c:pt idx="9834">
                  <c:v>772</c:v>
                </c:pt>
                <c:pt idx="9835">
                  <c:v>758</c:v>
                </c:pt>
                <c:pt idx="9836">
                  <c:v>753</c:v>
                </c:pt>
                <c:pt idx="9837">
                  <c:v>836</c:v>
                </c:pt>
                <c:pt idx="9838">
                  <c:v>869</c:v>
                </c:pt>
                <c:pt idx="9839">
                  <c:v>857</c:v>
                </c:pt>
                <c:pt idx="9840">
                  <c:v>774</c:v>
                </c:pt>
                <c:pt idx="9841">
                  <c:v>709</c:v>
                </c:pt>
                <c:pt idx="9842">
                  <c:v>525</c:v>
                </c:pt>
                <c:pt idx="9843">
                  <c:v>490</c:v>
                </c:pt>
                <c:pt idx="9844">
                  <c:v>517</c:v>
                </c:pt>
                <c:pt idx="9845">
                  <c:v>503</c:v>
                </c:pt>
                <c:pt idx="9846">
                  <c:v>483</c:v>
                </c:pt>
                <c:pt idx="9847">
                  <c:v>465</c:v>
                </c:pt>
                <c:pt idx="9848">
                  <c:v>496</c:v>
                </c:pt>
                <c:pt idx="9849">
                  <c:v>449</c:v>
                </c:pt>
                <c:pt idx="9850">
                  <c:v>406</c:v>
                </c:pt>
                <c:pt idx="9851">
                  <c:v>397</c:v>
                </c:pt>
                <c:pt idx="9852">
                  <c:v>380</c:v>
                </c:pt>
                <c:pt idx="9853">
                  <c:v>411</c:v>
                </c:pt>
                <c:pt idx="9854">
                  <c:v>376</c:v>
                </c:pt>
                <c:pt idx="9855">
                  <c:v>423</c:v>
                </c:pt>
                <c:pt idx="9856">
                  <c:v>387</c:v>
                </c:pt>
                <c:pt idx="9857">
                  <c:v>392</c:v>
                </c:pt>
                <c:pt idx="9858">
                  <c:v>390</c:v>
                </c:pt>
                <c:pt idx="9859">
                  <c:v>369</c:v>
                </c:pt>
                <c:pt idx="9860">
                  <c:v>377</c:v>
                </c:pt>
                <c:pt idx="9861">
                  <c:v>377</c:v>
                </c:pt>
                <c:pt idx="9862">
                  <c:v>409</c:v>
                </c:pt>
                <c:pt idx="9863">
                  <c:v>396</c:v>
                </c:pt>
                <c:pt idx="9864">
                  <c:v>424</c:v>
                </c:pt>
                <c:pt idx="9865">
                  <c:v>394</c:v>
                </c:pt>
                <c:pt idx="9866">
                  <c:v>395</c:v>
                </c:pt>
                <c:pt idx="9867">
                  <c:v>388</c:v>
                </c:pt>
                <c:pt idx="9868">
                  <c:v>366</c:v>
                </c:pt>
                <c:pt idx="9869">
                  <c:v>349</c:v>
                </c:pt>
                <c:pt idx="9870">
                  <c:v>342</c:v>
                </c:pt>
                <c:pt idx="9871">
                  <c:v>383</c:v>
                </c:pt>
                <c:pt idx="9872">
                  <c:v>394</c:v>
                </c:pt>
                <c:pt idx="9873">
                  <c:v>494</c:v>
                </c:pt>
                <c:pt idx="9874">
                  <c:v>414</c:v>
                </c:pt>
                <c:pt idx="9875">
                  <c:v>397</c:v>
                </c:pt>
                <c:pt idx="9876">
                  <c:v>414</c:v>
                </c:pt>
                <c:pt idx="9877">
                  <c:v>383</c:v>
                </c:pt>
                <c:pt idx="9878">
                  <c:v>387</c:v>
                </c:pt>
                <c:pt idx="9879">
                  <c:v>394</c:v>
                </c:pt>
                <c:pt idx="9880">
                  <c:v>420</c:v>
                </c:pt>
                <c:pt idx="9881">
                  <c:v>410</c:v>
                </c:pt>
                <c:pt idx="9882">
                  <c:v>407</c:v>
                </c:pt>
                <c:pt idx="9883">
                  <c:v>381</c:v>
                </c:pt>
                <c:pt idx="9884">
                  <c:v>386</c:v>
                </c:pt>
                <c:pt idx="9885">
                  <c:v>389</c:v>
                </c:pt>
                <c:pt idx="9886">
                  <c:v>395</c:v>
                </c:pt>
                <c:pt idx="9887">
                  <c:v>616</c:v>
                </c:pt>
                <c:pt idx="9888">
                  <c:v>441</c:v>
                </c:pt>
                <c:pt idx="9889">
                  <c:v>472</c:v>
                </c:pt>
                <c:pt idx="9890">
                  <c:v>502</c:v>
                </c:pt>
                <c:pt idx="9891">
                  <c:v>494</c:v>
                </c:pt>
                <c:pt idx="9892">
                  <c:v>482</c:v>
                </c:pt>
                <c:pt idx="9893">
                  <c:v>558</c:v>
                </c:pt>
                <c:pt idx="9894">
                  <c:v>553</c:v>
                </c:pt>
                <c:pt idx="9895">
                  <c:v>558</c:v>
                </c:pt>
                <c:pt idx="9896">
                  <c:v>568</c:v>
                </c:pt>
                <c:pt idx="9897">
                  <c:v>547</c:v>
                </c:pt>
                <c:pt idx="9898">
                  <c:v>643</c:v>
                </c:pt>
                <c:pt idx="9899">
                  <c:v>655</c:v>
                </c:pt>
                <c:pt idx="9900">
                  <c:v>661</c:v>
                </c:pt>
                <c:pt idx="9901">
                  <c:v>643</c:v>
                </c:pt>
                <c:pt idx="9902">
                  <c:v>683</c:v>
                </c:pt>
                <c:pt idx="9903">
                  <c:v>686</c:v>
                </c:pt>
                <c:pt idx="9904">
                  <c:v>718</c:v>
                </c:pt>
                <c:pt idx="9905">
                  <c:v>708</c:v>
                </c:pt>
                <c:pt idx="9906">
                  <c:v>687</c:v>
                </c:pt>
                <c:pt idx="9907">
                  <c:v>729</c:v>
                </c:pt>
                <c:pt idx="9908">
                  <c:v>720</c:v>
                </c:pt>
                <c:pt idx="9909">
                  <c:v>802</c:v>
                </c:pt>
                <c:pt idx="9910">
                  <c:v>802</c:v>
                </c:pt>
                <c:pt idx="9911">
                  <c:v>708</c:v>
                </c:pt>
                <c:pt idx="9912">
                  <c:v>666</c:v>
                </c:pt>
                <c:pt idx="9913">
                  <c:v>780</c:v>
                </c:pt>
                <c:pt idx="9914">
                  <c:v>867</c:v>
                </c:pt>
                <c:pt idx="9915">
                  <c:v>734</c:v>
                </c:pt>
                <c:pt idx="9916">
                  <c:v>757</c:v>
                </c:pt>
                <c:pt idx="9917">
                  <c:v>757</c:v>
                </c:pt>
                <c:pt idx="9918">
                  <c:v>850</c:v>
                </c:pt>
                <c:pt idx="9919">
                  <c:v>1138</c:v>
                </c:pt>
                <c:pt idx="9920">
                  <c:v>829</c:v>
                </c:pt>
                <c:pt idx="9921">
                  <c:v>842</c:v>
                </c:pt>
                <c:pt idx="9922">
                  <c:v>837</c:v>
                </c:pt>
                <c:pt idx="9923">
                  <c:v>839</c:v>
                </c:pt>
                <c:pt idx="9924">
                  <c:v>809</c:v>
                </c:pt>
                <c:pt idx="9925">
                  <c:v>848</c:v>
                </c:pt>
                <c:pt idx="9926">
                  <c:v>864</c:v>
                </c:pt>
                <c:pt idx="9927">
                  <c:v>872</c:v>
                </c:pt>
                <c:pt idx="9928">
                  <c:v>862</c:v>
                </c:pt>
                <c:pt idx="9929">
                  <c:v>879</c:v>
                </c:pt>
                <c:pt idx="9930">
                  <c:v>885</c:v>
                </c:pt>
                <c:pt idx="9931">
                  <c:v>872</c:v>
                </c:pt>
                <c:pt idx="9932">
                  <c:v>882</c:v>
                </c:pt>
                <c:pt idx="9933">
                  <c:v>766</c:v>
                </c:pt>
                <c:pt idx="9934">
                  <c:v>764</c:v>
                </c:pt>
                <c:pt idx="9935">
                  <c:v>764</c:v>
                </c:pt>
                <c:pt idx="9936">
                  <c:v>766</c:v>
                </c:pt>
                <c:pt idx="9937">
                  <c:v>524</c:v>
                </c:pt>
                <c:pt idx="9938">
                  <c:v>534</c:v>
                </c:pt>
                <c:pt idx="9939">
                  <c:v>515</c:v>
                </c:pt>
                <c:pt idx="9940">
                  <c:v>529</c:v>
                </c:pt>
                <c:pt idx="9941">
                  <c:v>494</c:v>
                </c:pt>
                <c:pt idx="9942">
                  <c:v>502</c:v>
                </c:pt>
                <c:pt idx="9943">
                  <c:v>518</c:v>
                </c:pt>
                <c:pt idx="9944">
                  <c:v>485</c:v>
                </c:pt>
                <c:pt idx="9945">
                  <c:v>481</c:v>
                </c:pt>
                <c:pt idx="9946">
                  <c:v>366</c:v>
                </c:pt>
                <c:pt idx="9947">
                  <c:v>368</c:v>
                </c:pt>
                <c:pt idx="9948">
                  <c:v>348</c:v>
                </c:pt>
                <c:pt idx="9949">
                  <c:v>366</c:v>
                </c:pt>
                <c:pt idx="9950">
                  <c:v>370</c:v>
                </c:pt>
                <c:pt idx="9951">
                  <c:v>362</c:v>
                </c:pt>
                <c:pt idx="9952">
                  <c:v>408</c:v>
                </c:pt>
                <c:pt idx="9953">
                  <c:v>387</c:v>
                </c:pt>
                <c:pt idx="9954">
                  <c:v>424</c:v>
                </c:pt>
                <c:pt idx="9955">
                  <c:v>368</c:v>
                </c:pt>
                <c:pt idx="9956">
                  <c:v>415</c:v>
                </c:pt>
                <c:pt idx="9957">
                  <c:v>389</c:v>
                </c:pt>
                <c:pt idx="9958">
                  <c:v>381</c:v>
                </c:pt>
                <c:pt idx="9959">
                  <c:v>392</c:v>
                </c:pt>
                <c:pt idx="9960">
                  <c:v>395</c:v>
                </c:pt>
                <c:pt idx="9961">
                  <c:v>373</c:v>
                </c:pt>
                <c:pt idx="9962">
                  <c:v>371</c:v>
                </c:pt>
                <c:pt idx="9963">
                  <c:v>391</c:v>
                </c:pt>
                <c:pt idx="9964">
                  <c:v>388</c:v>
                </c:pt>
                <c:pt idx="9965">
                  <c:v>380</c:v>
                </c:pt>
                <c:pt idx="9966">
                  <c:v>359</c:v>
                </c:pt>
                <c:pt idx="9967">
                  <c:v>438</c:v>
                </c:pt>
                <c:pt idx="9968">
                  <c:v>503</c:v>
                </c:pt>
                <c:pt idx="9969">
                  <c:v>490</c:v>
                </c:pt>
                <c:pt idx="9970">
                  <c:v>483</c:v>
                </c:pt>
                <c:pt idx="9971">
                  <c:v>478</c:v>
                </c:pt>
                <c:pt idx="9972">
                  <c:v>485</c:v>
                </c:pt>
                <c:pt idx="9973">
                  <c:v>504</c:v>
                </c:pt>
                <c:pt idx="9974">
                  <c:v>490</c:v>
                </c:pt>
                <c:pt idx="9975">
                  <c:v>559</c:v>
                </c:pt>
                <c:pt idx="9976">
                  <c:v>473</c:v>
                </c:pt>
                <c:pt idx="9977">
                  <c:v>492</c:v>
                </c:pt>
                <c:pt idx="9978">
                  <c:v>470</c:v>
                </c:pt>
                <c:pt idx="9979">
                  <c:v>525</c:v>
                </c:pt>
                <c:pt idx="9980">
                  <c:v>440</c:v>
                </c:pt>
                <c:pt idx="9981">
                  <c:v>482</c:v>
                </c:pt>
                <c:pt idx="9982">
                  <c:v>441</c:v>
                </c:pt>
                <c:pt idx="9983">
                  <c:v>612</c:v>
                </c:pt>
                <c:pt idx="9984">
                  <c:v>484</c:v>
                </c:pt>
                <c:pt idx="9985">
                  <c:v>448</c:v>
                </c:pt>
                <c:pt idx="9986">
                  <c:v>501</c:v>
                </c:pt>
                <c:pt idx="9987">
                  <c:v>538</c:v>
                </c:pt>
                <c:pt idx="9988">
                  <c:v>564</c:v>
                </c:pt>
                <c:pt idx="9989">
                  <c:v>592</c:v>
                </c:pt>
                <c:pt idx="9990">
                  <c:v>590</c:v>
                </c:pt>
                <c:pt idx="9991">
                  <c:v>490</c:v>
                </c:pt>
                <c:pt idx="9992">
                  <c:v>564</c:v>
                </c:pt>
                <c:pt idx="9993">
                  <c:v>621</c:v>
                </c:pt>
                <c:pt idx="9994">
                  <c:v>618</c:v>
                </c:pt>
                <c:pt idx="9995">
                  <c:v>619</c:v>
                </c:pt>
                <c:pt idx="9996">
                  <c:v>645</c:v>
                </c:pt>
                <c:pt idx="9997">
                  <c:v>706</c:v>
                </c:pt>
                <c:pt idx="9998">
                  <c:v>682</c:v>
                </c:pt>
                <c:pt idx="9999">
                  <c:v>710</c:v>
                </c:pt>
                <c:pt idx="10000">
                  <c:v>730</c:v>
                </c:pt>
                <c:pt idx="10001">
                  <c:v>741</c:v>
                </c:pt>
                <c:pt idx="10002">
                  <c:v>735</c:v>
                </c:pt>
                <c:pt idx="10003">
                  <c:v>817</c:v>
                </c:pt>
                <c:pt idx="10004">
                  <c:v>815</c:v>
                </c:pt>
                <c:pt idx="10005">
                  <c:v>836</c:v>
                </c:pt>
                <c:pt idx="10006">
                  <c:v>843</c:v>
                </c:pt>
                <c:pt idx="10007">
                  <c:v>781</c:v>
                </c:pt>
                <c:pt idx="10008">
                  <c:v>884</c:v>
                </c:pt>
                <c:pt idx="10009">
                  <c:v>826</c:v>
                </c:pt>
                <c:pt idx="10010">
                  <c:v>860</c:v>
                </c:pt>
                <c:pt idx="10011">
                  <c:v>520</c:v>
                </c:pt>
                <c:pt idx="10012">
                  <c:v>1228</c:v>
                </c:pt>
                <c:pt idx="10013">
                  <c:v>1141</c:v>
                </c:pt>
                <c:pt idx="10014">
                  <c:v>1015</c:v>
                </c:pt>
                <c:pt idx="10015">
                  <c:v>944</c:v>
                </c:pt>
                <c:pt idx="10016">
                  <c:v>917</c:v>
                </c:pt>
                <c:pt idx="10017">
                  <c:v>935</c:v>
                </c:pt>
                <c:pt idx="10018">
                  <c:v>909</c:v>
                </c:pt>
                <c:pt idx="10019">
                  <c:v>917</c:v>
                </c:pt>
                <c:pt idx="10020">
                  <c:v>917</c:v>
                </c:pt>
                <c:pt idx="10021">
                  <c:v>913</c:v>
                </c:pt>
                <c:pt idx="10022">
                  <c:v>922</c:v>
                </c:pt>
                <c:pt idx="10023">
                  <c:v>931</c:v>
                </c:pt>
                <c:pt idx="10024">
                  <c:v>918</c:v>
                </c:pt>
                <c:pt idx="10025">
                  <c:v>912</c:v>
                </c:pt>
                <c:pt idx="10026">
                  <c:v>868</c:v>
                </c:pt>
                <c:pt idx="10027">
                  <c:v>829</c:v>
                </c:pt>
                <c:pt idx="10028">
                  <c:v>796</c:v>
                </c:pt>
                <c:pt idx="10029">
                  <c:v>795</c:v>
                </c:pt>
                <c:pt idx="10030">
                  <c:v>799</c:v>
                </c:pt>
                <c:pt idx="10031">
                  <c:v>810</c:v>
                </c:pt>
                <c:pt idx="10032">
                  <c:v>816</c:v>
                </c:pt>
                <c:pt idx="10033">
                  <c:v>613</c:v>
                </c:pt>
                <c:pt idx="10034">
                  <c:v>563</c:v>
                </c:pt>
                <c:pt idx="10035">
                  <c:v>560</c:v>
                </c:pt>
                <c:pt idx="10036">
                  <c:v>575</c:v>
                </c:pt>
                <c:pt idx="10037">
                  <c:v>550</c:v>
                </c:pt>
                <c:pt idx="10038">
                  <c:v>620</c:v>
                </c:pt>
                <c:pt idx="10039">
                  <c:v>576</c:v>
                </c:pt>
                <c:pt idx="10040">
                  <c:v>574</c:v>
                </c:pt>
                <c:pt idx="10041">
                  <c:v>525</c:v>
                </c:pt>
                <c:pt idx="10042">
                  <c:v>394</c:v>
                </c:pt>
                <c:pt idx="10043">
                  <c:v>443</c:v>
                </c:pt>
                <c:pt idx="10044">
                  <c:v>382</c:v>
                </c:pt>
                <c:pt idx="10045">
                  <c:v>414</c:v>
                </c:pt>
                <c:pt idx="10046">
                  <c:v>386</c:v>
                </c:pt>
                <c:pt idx="10047">
                  <c:v>393</c:v>
                </c:pt>
                <c:pt idx="10048">
                  <c:v>393</c:v>
                </c:pt>
                <c:pt idx="10049">
                  <c:v>388</c:v>
                </c:pt>
                <c:pt idx="10050">
                  <c:v>325</c:v>
                </c:pt>
                <c:pt idx="10051">
                  <c:v>371</c:v>
                </c:pt>
                <c:pt idx="10052">
                  <c:v>382</c:v>
                </c:pt>
                <c:pt idx="10053">
                  <c:v>357</c:v>
                </c:pt>
                <c:pt idx="10054">
                  <c:v>374</c:v>
                </c:pt>
                <c:pt idx="10055">
                  <c:v>374</c:v>
                </c:pt>
                <c:pt idx="10056">
                  <c:v>424</c:v>
                </c:pt>
                <c:pt idx="10057">
                  <c:v>383</c:v>
                </c:pt>
                <c:pt idx="10058">
                  <c:v>400</c:v>
                </c:pt>
                <c:pt idx="10059">
                  <c:v>379</c:v>
                </c:pt>
                <c:pt idx="10060">
                  <c:v>383</c:v>
                </c:pt>
                <c:pt idx="10061">
                  <c:v>327</c:v>
                </c:pt>
                <c:pt idx="10062">
                  <c:v>330</c:v>
                </c:pt>
                <c:pt idx="10063">
                  <c:v>334</c:v>
                </c:pt>
                <c:pt idx="10064">
                  <c:v>425</c:v>
                </c:pt>
                <c:pt idx="10065">
                  <c:v>479</c:v>
                </c:pt>
                <c:pt idx="10066">
                  <c:v>401</c:v>
                </c:pt>
                <c:pt idx="10067">
                  <c:v>421</c:v>
                </c:pt>
                <c:pt idx="10068">
                  <c:v>439</c:v>
                </c:pt>
                <c:pt idx="10069">
                  <c:v>531</c:v>
                </c:pt>
                <c:pt idx="10070">
                  <c:v>503</c:v>
                </c:pt>
                <c:pt idx="10071">
                  <c:v>553</c:v>
                </c:pt>
                <c:pt idx="10072">
                  <c:v>490</c:v>
                </c:pt>
                <c:pt idx="10073">
                  <c:v>506</c:v>
                </c:pt>
                <c:pt idx="10074">
                  <c:v>439</c:v>
                </c:pt>
                <c:pt idx="10075">
                  <c:v>433</c:v>
                </c:pt>
                <c:pt idx="10076">
                  <c:v>434</c:v>
                </c:pt>
                <c:pt idx="10077">
                  <c:v>455</c:v>
                </c:pt>
                <c:pt idx="10078">
                  <c:v>463</c:v>
                </c:pt>
                <c:pt idx="10079">
                  <c:v>677</c:v>
                </c:pt>
                <c:pt idx="10080">
                  <c:v>491</c:v>
                </c:pt>
                <c:pt idx="10081">
                  <c:v>487</c:v>
                </c:pt>
                <c:pt idx="10082">
                  <c:v>609</c:v>
                </c:pt>
                <c:pt idx="10083">
                  <c:v>620</c:v>
                </c:pt>
                <c:pt idx="10084">
                  <c:v>589</c:v>
                </c:pt>
                <c:pt idx="10085">
                  <c:v>617</c:v>
                </c:pt>
                <c:pt idx="10086">
                  <c:v>687</c:v>
                </c:pt>
                <c:pt idx="10087">
                  <c:v>654</c:v>
                </c:pt>
                <c:pt idx="10088">
                  <c:v>718</c:v>
                </c:pt>
                <c:pt idx="10089">
                  <c:v>697</c:v>
                </c:pt>
                <c:pt idx="10090">
                  <c:v>708</c:v>
                </c:pt>
                <c:pt idx="10091">
                  <c:v>678</c:v>
                </c:pt>
                <c:pt idx="10092">
                  <c:v>709</c:v>
                </c:pt>
                <c:pt idx="10093">
                  <c:v>729</c:v>
                </c:pt>
                <c:pt idx="10094">
                  <c:v>754</c:v>
                </c:pt>
                <c:pt idx="10095">
                  <c:v>780</c:v>
                </c:pt>
                <c:pt idx="10096">
                  <c:v>760</c:v>
                </c:pt>
                <c:pt idx="10097">
                  <c:v>752</c:v>
                </c:pt>
                <c:pt idx="10098">
                  <c:v>762</c:v>
                </c:pt>
                <c:pt idx="10099">
                  <c:v>770</c:v>
                </c:pt>
                <c:pt idx="10100">
                  <c:v>793</c:v>
                </c:pt>
                <c:pt idx="10101">
                  <c:v>772</c:v>
                </c:pt>
                <c:pt idx="10102">
                  <c:v>853</c:v>
                </c:pt>
                <c:pt idx="10103">
                  <c:v>822</c:v>
                </c:pt>
                <c:pt idx="10104">
                  <c:v>896</c:v>
                </c:pt>
                <c:pt idx="10105">
                  <c:v>818</c:v>
                </c:pt>
                <c:pt idx="10106">
                  <c:v>845</c:v>
                </c:pt>
                <c:pt idx="10107">
                  <c:v>851</c:v>
                </c:pt>
                <c:pt idx="10108">
                  <c:v>835</c:v>
                </c:pt>
                <c:pt idx="10109">
                  <c:v>877</c:v>
                </c:pt>
                <c:pt idx="10110">
                  <c:v>834</c:v>
                </c:pt>
                <c:pt idx="10111">
                  <c:v>842</c:v>
                </c:pt>
                <c:pt idx="10112">
                  <c:v>870</c:v>
                </c:pt>
                <c:pt idx="10113">
                  <c:v>797</c:v>
                </c:pt>
                <c:pt idx="10114">
                  <c:v>866</c:v>
                </c:pt>
                <c:pt idx="10115">
                  <c:v>897</c:v>
                </c:pt>
                <c:pt idx="10116">
                  <c:v>917</c:v>
                </c:pt>
                <c:pt idx="10117">
                  <c:v>1175</c:v>
                </c:pt>
                <c:pt idx="10118">
                  <c:v>926</c:v>
                </c:pt>
                <c:pt idx="10119">
                  <c:v>834</c:v>
                </c:pt>
                <c:pt idx="10120">
                  <c:v>812</c:v>
                </c:pt>
                <c:pt idx="10121">
                  <c:v>833</c:v>
                </c:pt>
                <c:pt idx="10122">
                  <c:v>797</c:v>
                </c:pt>
                <c:pt idx="10123">
                  <c:v>839</c:v>
                </c:pt>
                <c:pt idx="10124">
                  <c:v>878</c:v>
                </c:pt>
                <c:pt idx="10125">
                  <c:v>903</c:v>
                </c:pt>
                <c:pt idx="10126">
                  <c:v>911</c:v>
                </c:pt>
                <c:pt idx="10127">
                  <c:v>920</c:v>
                </c:pt>
                <c:pt idx="10128">
                  <c:v>899</c:v>
                </c:pt>
                <c:pt idx="10129">
                  <c:v>669</c:v>
                </c:pt>
                <c:pt idx="10130">
                  <c:v>553</c:v>
                </c:pt>
                <c:pt idx="10131">
                  <c:v>556</c:v>
                </c:pt>
                <c:pt idx="10132">
                  <c:v>564</c:v>
                </c:pt>
                <c:pt idx="10133">
                  <c:v>563</c:v>
                </c:pt>
                <c:pt idx="10134">
                  <c:v>612</c:v>
                </c:pt>
                <c:pt idx="10135">
                  <c:v>575</c:v>
                </c:pt>
                <c:pt idx="10136">
                  <c:v>538</c:v>
                </c:pt>
                <c:pt idx="10137">
                  <c:v>561</c:v>
                </c:pt>
                <c:pt idx="10138">
                  <c:v>571</c:v>
                </c:pt>
                <c:pt idx="10139">
                  <c:v>575</c:v>
                </c:pt>
                <c:pt idx="10140">
                  <c:v>505</c:v>
                </c:pt>
                <c:pt idx="10141">
                  <c:v>550</c:v>
                </c:pt>
                <c:pt idx="10142">
                  <c:v>535</c:v>
                </c:pt>
                <c:pt idx="10143">
                  <c:v>515</c:v>
                </c:pt>
                <c:pt idx="10144">
                  <c:v>502</c:v>
                </c:pt>
                <c:pt idx="10145">
                  <c:v>511</c:v>
                </c:pt>
                <c:pt idx="10146">
                  <c:v>434</c:v>
                </c:pt>
                <c:pt idx="10147">
                  <c:v>417</c:v>
                </c:pt>
                <c:pt idx="10148">
                  <c:v>477</c:v>
                </c:pt>
                <c:pt idx="10149">
                  <c:v>489</c:v>
                </c:pt>
                <c:pt idx="10150">
                  <c:v>404</c:v>
                </c:pt>
                <c:pt idx="10151">
                  <c:v>431</c:v>
                </c:pt>
                <c:pt idx="10152">
                  <c:v>438</c:v>
                </c:pt>
                <c:pt idx="10153">
                  <c:v>406</c:v>
                </c:pt>
                <c:pt idx="10154">
                  <c:v>419</c:v>
                </c:pt>
                <c:pt idx="10155">
                  <c:v>445</c:v>
                </c:pt>
                <c:pt idx="10156">
                  <c:v>391</c:v>
                </c:pt>
                <c:pt idx="10157">
                  <c:v>405</c:v>
                </c:pt>
                <c:pt idx="10158">
                  <c:v>372</c:v>
                </c:pt>
                <c:pt idx="10159">
                  <c:v>363</c:v>
                </c:pt>
                <c:pt idx="10160">
                  <c:v>419</c:v>
                </c:pt>
                <c:pt idx="10161">
                  <c:v>474</c:v>
                </c:pt>
                <c:pt idx="10162">
                  <c:v>504</c:v>
                </c:pt>
                <c:pt idx="10163">
                  <c:v>403</c:v>
                </c:pt>
                <c:pt idx="10164">
                  <c:v>409</c:v>
                </c:pt>
                <c:pt idx="10165">
                  <c:v>386</c:v>
                </c:pt>
                <c:pt idx="10166">
                  <c:v>418</c:v>
                </c:pt>
                <c:pt idx="10167">
                  <c:v>395</c:v>
                </c:pt>
                <c:pt idx="10168">
                  <c:v>335</c:v>
                </c:pt>
                <c:pt idx="10169">
                  <c:v>383</c:v>
                </c:pt>
                <c:pt idx="10170">
                  <c:v>389</c:v>
                </c:pt>
                <c:pt idx="10171">
                  <c:v>359</c:v>
                </c:pt>
                <c:pt idx="10172">
                  <c:v>393</c:v>
                </c:pt>
                <c:pt idx="10173">
                  <c:v>372</c:v>
                </c:pt>
                <c:pt idx="10174">
                  <c:v>372</c:v>
                </c:pt>
                <c:pt idx="10175">
                  <c:v>462</c:v>
                </c:pt>
                <c:pt idx="10176">
                  <c:v>445</c:v>
                </c:pt>
                <c:pt idx="10177">
                  <c:v>458</c:v>
                </c:pt>
                <c:pt idx="10178">
                  <c:v>481</c:v>
                </c:pt>
                <c:pt idx="10179">
                  <c:v>471</c:v>
                </c:pt>
                <c:pt idx="10180">
                  <c:v>699</c:v>
                </c:pt>
                <c:pt idx="10181">
                  <c:v>719</c:v>
                </c:pt>
                <c:pt idx="10182">
                  <c:v>719</c:v>
                </c:pt>
                <c:pt idx="10183">
                  <c:v>690</c:v>
                </c:pt>
                <c:pt idx="10184">
                  <c:v>796</c:v>
                </c:pt>
                <c:pt idx="10185">
                  <c:v>831</c:v>
                </c:pt>
                <c:pt idx="10186">
                  <c:v>803</c:v>
                </c:pt>
                <c:pt idx="10187">
                  <c:v>709</c:v>
                </c:pt>
                <c:pt idx="10188">
                  <c:v>704</c:v>
                </c:pt>
                <c:pt idx="10189">
                  <c:v>747</c:v>
                </c:pt>
                <c:pt idx="10190">
                  <c:v>724</c:v>
                </c:pt>
                <c:pt idx="10191">
                  <c:v>706</c:v>
                </c:pt>
                <c:pt idx="10192">
                  <c:v>749</c:v>
                </c:pt>
                <c:pt idx="10193">
                  <c:v>762</c:v>
                </c:pt>
                <c:pt idx="10194">
                  <c:v>699</c:v>
                </c:pt>
                <c:pt idx="10195">
                  <c:v>600</c:v>
                </c:pt>
                <c:pt idx="10196">
                  <c:v>609</c:v>
                </c:pt>
                <c:pt idx="10197">
                  <c:v>605</c:v>
                </c:pt>
                <c:pt idx="10198">
                  <c:v>603</c:v>
                </c:pt>
                <c:pt idx="10199">
                  <c:v>672</c:v>
                </c:pt>
                <c:pt idx="10200">
                  <c:v>634</c:v>
                </c:pt>
                <c:pt idx="10201">
                  <c:v>636</c:v>
                </c:pt>
                <c:pt idx="10202">
                  <c:v>624</c:v>
                </c:pt>
                <c:pt idx="10203">
                  <c:v>621</c:v>
                </c:pt>
                <c:pt idx="10204">
                  <c:v>586</c:v>
                </c:pt>
                <c:pt idx="10205">
                  <c:v>598</c:v>
                </c:pt>
                <c:pt idx="10206">
                  <c:v>499</c:v>
                </c:pt>
                <c:pt idx="10207">
                  <c:v>559</c:v>
                </c:pt>
                <c:pt idx="10208">
                  <c:v>521</c:v>
                </c:pt>
                <c:pt idx="10209">
                  <c:v>541</c:v>
                </c:pt>
                <c:pt idx="10210">
                  <c:v>476</c:v>
                </c:pt>
                <c:pt idx="10211">
                  <c:v>505</c:v>
                </c:pt>
                <c:pt idx="10212">
                  <c:v>481</c:v>
                </c:pt>
                <c:pt idx="10213">
                  <c:v>511</c:v>
                </c:pt>
                <c:pt idx="10214">
                  <c:v>475</c:v>
                </c:pt>
                <c:pt idx="10215">
                  <c:v>498</c:v>
                </c:pt>
                <c:pt idx="10216">
                  <c:v>451</c:v>
                </c:pt>
                <c:pt idx="10217">
                  <c:v>485</c:v>
                </c:pt>
                <c:pt idx="10218">
                  <c:v>454</c:v>
                </c:pt>
                <c:pt idx="10219">
                  <c:v>471</c:v>
                </c:pt>
                <c:pt idx="10220">
                  <c:v>449</c:v>
                </c:pt>
                <c:pt idx="10221">
                  <c:v>411</c:v>
                </c:pt>
                <c:pt idx="10222">
                  <c:v>362</c:v>
                </c:pt>
                <c:pt idx="10223">
                  <c:v>392</c:v>
                </c:pt>
                <c:pt idx="10224">
                  <c:v>368</c:v>
                </c:pt>
                <c:pt idx="10225">
                  <c:v>380</c:v>
                </c:pt>
                <c:pt idx="10226">
                  <c:v>374</c:v>
                </c:pt>
                <c:pt idx="10227">
                  <c:v>361</c:v>
                </c:pt>
                <c:pt idx="10228">
                  <c:v>378</c:v>
                </c:pt>
                <c:pt idx="10229">
                  <c:v>378</c:v>
                </c:pt>
                <c:pt idx="10230">
                  <c:v>372</c:v>
                </c:pt>
                <c:pt idx="10231">
                  <c:v>376</c:v>
                </c:pt>
                <c:pt idx="10232">
                  <c:v>370</c:v>
                </c:pt>
                <c:pt idx="10233">
                  <c:v>375</c:v>
                </c:pt>
                <c:pt idx="10234">
                  <c:v>390</c:v>
                </c:pt>
                <c:pt idx="10235">
                  <c:v>344</c:v>
                </c:pt>
                <c:pt idx="10236">
                  <c:v>413</c:v>
                </c:pt>
                <c:pt idx="10237">
                  <c:v>495</c:v>
                </c:pt>
                <c:pt idx="10238">
                  <c:v>464</c:v>
                </c:pt>
                <c:pt idx="10239">
                  <c:v>401</c:v>
                </c:pt>
                <c:pt idx="10240">
                  <c:v>399</c:v>
                </c:pt>
                <c:pt idx="10241">
                  <c:v>394</c:v>
                </c:pt>
                <c:pt idx="10242">
                  <c:v>393</c:v>
                </c:pt>
                <c:pt idx="10243">
                  <c:v>410</c:v>
                </c:pt>
                <c:pt idx="10244">
                  <c:v>392</c:v>
                </c:pt>
                <c:pt idx="10245">
                  <c:v>413</c:v>
                </c:pt>
                <c:pt idx="10246">
                  <c:v>383</c:v>
                </c:pt>
                <c:pt idx="10247">
                  <c:v>391</c:v>
                </c:pt>
                <c:pt idx="10248">
                  <c:v>365</c:v>
                </c:pt>
                <c:pt idx="10249">
                  <c:v>413</c:v>
                </c:pt>
                <c:pt idx="10250">
                  <c:v>393</c:v>
                </c:pt>
                <c:pt idx="10251">
                  <c:v>382</c:v>
                </c:pt>
                <c:pt idx="10252">
                  <c:v>399</c:v>
                </c:pt>
                <c:pt idx="10253">
                  <c:v>411</c:v>
                </c:pt>
                <c:pt idx="10254">
                  <c:v>407</c:v>
                </c:pt>
                <c:pt idx="10255">
                  <c:v>433</c:v>
                </c:pt>
                <c:pt idx="10256">
                  <c:v>467</c:v>
                </c:pt>
                <c:pt idx="10257">
                  <c:v>380</c:v>
                </c:pt>
                <c:pt idx="10258">
                  <c:v>440</c:v>
                </c:pt>
                <c:pt idx="10259">
                  <c:v>441</c:v>
                </c:pt>
                <c:pt idx="10260">
                  <c:v>429</c:v>
                </c:pt>
                <c:pt idx="10261">
                  <c:v>432</c:v>
                </c:pt>
                <c:pt idx="10262">
                  <c:v>429</c:v>
                </c:pt>
                <c:pt idx="10263">
                  <c:v>446</c:v>
                </c:pt>
                <c:pt idx="10264">
                  <c:v>447</c:v>
                </c:pt>
                <c:pt idx="10265">
                  <c:v>499</c:v>
                </c:pt>
                <c:pt idx="10266">
                  <c:v>619</c:v>
                </c:pt>
                <c:pt idx="10267">
                  <c:v>597</c:v>
                </c:pt>
                <c:pt idx="10268">
                  <c:v>622</c:v>
                </c:pt>
                <c:pt idx="10269">
                  <c:v>608</c:v>
                </c:pt>
                <c:pt idx="10270">
                  <c:v>651</c:v>
                </c:pt>
                <c:pt idx="10271">
                  <c:v>593</c:v>
                </c:pt>
                <c:pt idx="10272">
                  <c:v>613</c:v>
                </c:pt>
                <c:pt idx="10273">
                  <c:v>637</c:v>
                </c:pt>
                <c:pt idx="10274">
                  <c:v>650</c:v>
                </c:pt>
                <c:pt idx="10275">
                  <c:v>690</c:v>
                </c:pt>
                <c:pt idx="10276">
                  <c:v>574</c:v>
                </c:pt>
                <c:pt idx="10277">
                  <c:v>640</c:v>
                </c:pt>
                <c:pt idx="10278">
                  <c:v>692</c:v>
                </c:pt>
                <c:pt idx="10279">
                  <c:v>757</c:v>
                </c:pt>
                <c:pt idx="10280">
                  <c:v>710</c:v>
                </c:pt>
                <c:pt idx="10281">
                  <c:v>631</c:v>
                </c:pt>
                <c:pt idx="10282">
                  <c:v>631</c:v>
                </c:pt>
                <c:pt idx="10283">
                  <c:v>648</c:v>
                </c:pt>
                <c:pt idx="10284">
                  <c:v>679</c:v>
                </c:pt>
                <c:pt idx="10285">
                  <c:v>620</c:v>
                </c:pt>
                <c:pt idx="10286">
                  <c:v>611</c:v>
                </c:pt>
                <c:pt idx="10287">
                  <c:v>654</c:v>
                </c:pt>
                <c:pt idx="10288">
                  <c:v>643</c:v>
                </c:pt>
                <c:pt idx="10289">
                  <c:v>677</c:v>
                </c:pt>
                <c:pt idx="10290">
                  <c:v>687</c:v>
                </c:pt>
                <c:pt idx="10291">
                  <c:v>700</c:v>
                </c:pt>
                <c:pt idx="10292">
                  <c:v>701</c:v>
                </c:pt>
                <c:pt idx="10293">
                  <c:v>710</c:v>
                </c:pt>
                <c:pt idx="10294">
                  <c:v>574</c:v>
                </c:pt>
                <c:pt idx="10295">
                  <c:v>569</c:v>
                </c:pt>
                <c:pt idx="10296">
                  <c:v>585</c:v>
                </c:pt>
                <c:pt idx="10297">
                  <c:v>526</c:v>
                </c:pt>
                <c:pt idx="10298">
                  <c:v>546</c:v>
                </c:pt>
                <c:pt idx="10299">
                  <c:v>551</c:v>
                </c:pt>
                <c:pt idx="10300">
                  <c:v>551</c:v>
                </c:pt>
                <c:pt idx="10301">
                  <c:v>533</c:v>
                </c:pt>
                <c:pt idx="10302">
                  <c:v>568</c:v>
                </c:pt>
                <c:pt idx="10303">
                  <c:v>527</c:v>
                </c:pt>
                <c:pt idx="10304">
                  <c:v>571</c:v>
                </c:pt>
                <c:pt idx="10305">
                  <c:v>451</c:v>
                </c:pt>
                <c:pt idx="10306">
                  <c:v>475</c:v>
                </c:pt>
                <c:pt idx="10307">
                  <c:v>410</c:v>
                </c:pt>
                <c:pt idx="10308">
                  <c:v>463</c:v>
                </c:pt>
                <c:pt idx="10309">
                  <c:v>410</c:v>
                </c:pt>
                <c:pt idx="10310">
                  <c:v>467</c:v>
                </c:pt>
                <c:pt idx="10311">
                  <c:v>411</c:v>
                </c:pt>
                <c:pt idx="10312">
                  <c:v>462</c:v>
                </c:pt>
                <c:pt idx="10313">
                  <c:v>415</c:v>
                </c:pt>
                <c:pt idx="10314">
                  <c:v>419</c:v>
                </c:pt>
                <c:pt idx="10315">
                  <c:v>429</c:v>
                </c:pt>
                <c:pt idx="10316">
                  <c:v>428</c:v>
                </c:pt>
                <c:pt idx="10317">
                  <c:v>416</c:v>
                </c:pt>
                <c:pt idx="10318">
                  <c:v>429</c:v>
                </c:pt>
                <c:pt idx="10319">
                  <c:v>415</c:v>
                </c:pt>
                <c:pt idx="10320">
                  <c:v>377</c:v>
                </c:pt>
                <c:pt idx="10321">
                  <c:v>439</c:v>
                </c:pt>
                <c:pt idx="10322">
                  <c:v>403</c:v>
                </c:pt>
                <c:pt idx="10323">
                  <c:v>451</c:v>
                </c:pt>
                <c:pt idx="10324">
                  <c:v>372</c:v>
                </c:pt>
                <c:pt idx="10325">
                  <c:v>408</c:v>
                </c:pt>
                <c:pt idx="10326">
                  <c:v>403</c:v>
                </c:pt>
                <c:pt idx="10327">
                  <c:v>575</c:v>
                </c:pt>
                <c:pt idx="10328">
                  <c:v>604</c:v>
                </c:pt>
                <c:pt idx="10329">
                  <c:v>631</c:v>
                </c:pt>
                <c:pt idx="10330">
                  <c:v>570</c:v>
                </c:pt>
                <c:pt idx="10331">
                  <c:v>588</c:v>
                </c:pt>
                <c:pt idx="10332">
                  <c:v>548</c:v>
                </c:pt>
                <c:pt idx="10333">
                  <c:v>596</c:v>
                </c:pt>
                <c:pt idx="10334">
                  <c:v>548</c:v>
                </c:pt>
                <c:pt idx="10335">
                  <c:v>631</c:v>
                </c:pt>
                <c:pt idx="10336">
                  <c:v>486</c:v>
                </c:pt>
                <c:pt idx="10337">
                  <c:v>568</c:v>
                </c:pt>
                <c:pt idx="10338">
                  <c:v>520</c:v>
                </c:pt>
                <c:pt idx="10339">
                  <c:v>542</c:v>
                </c:pt>
                <c:pt idx="10340">
                  <c:v>552</c:v>
                </c:pt>
                <c:pt idx="10341">
                  <c:v>551</c:v>
                </c:pt>
                <c:pt idx="10342">
                  <c:v>600</c:v>
                </c:pt>
                <c:pt idx="10343">
                  <c:v>597</c:v>
                </c:pt>
                <c:pt idx="10344">
                  <c:v>590</c:v>
                </c:pt>
                <c:pt idx="10345">
                  <c:v>721</c:v>
                </c:pt>
                <c:pt idx="10346">
                  <c:v>793</c:v>
                </c:pt>
                <c:pt idx="10347">
                  <c:v>782</c:v>
                </c:pt>
                <c:pt idx="10348">
                  <c:v>772</c:v>
                </c:pt>
                <c:pt idx="10349">
                  <c:v>825</c:v>
                </c:pt>
                <c:pt idx="10350">
                  <c:v>798</c:v>
                </c:pt>
                <c:pt idx="10351">
                  <c:v>817</c:v>
                </c:pt>
                <c:pt idx="10352">
                  <c:v>790</c:v>
                </c:pt>
                <c:pt idx="10353">
                  <c:v>843</c:v>
                </c:pt>
                <c:pt idx="10354">
                  <c:v>837</c:v>
                </c:pt>
                <c:pt idx="10355">
                  <c:v>860</c:v>
                </c:pt>
                <c:pt idx="10356">
                  <c:v>845</c:v>
                </c:pt>
                <c:pt idx="10357">
                  <c:v>861</c:v>
                </c:pt>
                <c:pt idx="10358">
                  <c:v>880</c:v>
                </c:pt>
                <c:pt idx="10359">
                  <c:v>785</c:v>
                </c:pt>
                <c:pt idx="10360">
                  <c:v>773</c:v>
                </c:pt>
                <c:pt idx="10361">
                  <c:v>747</c:v>
                </c:pt>
                <c:pt idx="10362">
                  <c:v>843</c:v>
                </c:pt>
                <c:pt idx="10363">
                  <c:v>799</c:v>
                </c:pt>
                <c:pt idx="10364">
                  <c:v>849</c:v>
                </c:pt>
                <c:pt idx="10365">
                  <c:v>710</c:v>
                </c:pt>
                <c:pt idx="10366">
                  <c:v>1229</c:v>
                </c:pt>
                <c:pt idx="10367">
                  <c:v>1166</c:v>
                </c:pt>
                <c:pt idx="10368">
                  <c:v>1118</c:v>
                </c:pt>
                <c:pt idx="10369">
                  <c:v>1062</c:v>
                </c:pt>
                <c:pt idx="10370">
                  <c:v>1005</c:v>
                </c:pt>
                <c:pt idx="10371">
                  <c:v>995</c:v>
                </c:pt>
                <c:pt idx="10372">
                  <c:v>991</c:v>
                </c:pt>
                <c:pt idx="10373">
                  <c:v>969</c:v>
                </c:pt>
                <c:pt idx="10374">
                  <c:v>983</c:v>
                </c:pt>
                <c:pt idx="10375">
                  <c:v>998</c:v>
                </c:pt>
                <c:pt idx="10376">
                  <c:v>1023</c:v>
                </c:pt>
                <c:pt idx="10377">
                  <c:v>1041</c:v>
                </c:pt>
                <c:pt idx="10378">
                  <c:v>1044</c:v>
                </c:pt>
                <c:pt idx="10379">
                  <c:v>1009</c:v>
                </c:pt>
                <c:pt idx="10380">
                  <c:v>971</c:v>
                </c:pt>
                <c:pt idx="10381">
                  <c:v>999</c:v>
                </c:pt>
                <c:pt idx="10382">
                  <c:v>982</c:v>
                </c:pt>
                <c:pt idx="10383">
                  <c:v>966</c:v>
                </c:pt>
                <c:pt idx="10384">
                  <c:v>991</c:v>
                </c:pt>
                <c:pt idx="10385">
                  <c:v>967</c:v>
                </c:pt>
                <c:pt idx="10386">
                  <c:v>986</c:v>
                </c:pt>
                <c:pt idx="10387">
                  <c:v>988</c:v>
                </c:pt>
                <c:pt idx="10388">
                  <c:v>958</c:v>
                </c:pt>
                <c:pt idx="10389">
                  <c:v>972</c:v>
                </c:pt>
                <c:pt idx="10390">
                  <c:v>972</c:v>
                </c:pt>
                <c:pt idx="10391">
                  <c:v>951</c:v>
                </c:pt>
                <c:pt idx="10392">
                  <c:v>724</c:v>
                </c:pt>
                <c:pt idx="10393">
                  <c:v>652</c:v>
                </c:pt>
                <c:pt idx="10394">
                  <c:v>653</c:v>
                </c:pt>
                <c:pt idx="10395">
                  <c:v>657</c:v>
                </c:pt>
                <c:pt idx="10396">
                  <c:v>717</c:v>
                </c:pt>
                <c:pt idx="10397">
                  <c:v>724</c:v>
                </c:pt>
                <c:pt idx="10398">
                  <c:v>624</c:v>
                </c:pt>
                <c:pt idx="10399">
                  <c:v>627</c:v>
                </c:pt>
                <c:pt idx="10400">
                  <c:v>623</c:v>
                </c:pt>
                <c:pt idx="10401">
                  <c:v>495</c:v>
                </c:pt>
                <c:pt idx="10402">
                  <c:v>498</c:v>
                </c:pt>
                <c:pt idx="10403">
                  <c:v>497</c:v>
                </c:pt>
                <c:pt idx="10404">
                  <c:v>503</c:v>
                </c:pt>
                <c:pt idx="10405">
                  <c:v>492</c:v>
                </c:pt>
                <c:pt idx="10406">
                  <c:v>508</c:v>
                </c:pt>
                <c:pt idx="10407">
                  <c:v>502</c:v>
                </c:pt>
                <c:pt idx="10408">
                  <c:v>510</c:v>
                </c:pt>
                <c:pt idx="10409">
                  <c:v>490</c:v>
                </c:pt>
                <c:pt idx="10410">
                  <c:v>580</c:v>
                </c:pt>
                <c:pt idx="10411">
                  <c:v>517</c:v>
                </c:pt>
                <c:pt idx="10412">
                  <c:v>525</c:v>
                </c:pt>
                <c:pt idx="10413">
                  <c:v>499</c:v>
                </c:pt>
                <c:pt idx="10414">
                  <c:v>492</c:v>
                </c:pt>
                <c:pt idx="10415">
                  <c:v>456</c:v>
                </c:pt>
                <c:pt idx="10416">
                  <c:v>448</c:v>
                </c:pt>
                <c:pt idx="10417">
                  <c:v>436</c:v>
                </c:pt>
                <c:pt idx="10418">
                  <c:v>449</c:v>
                </c:pt>
                <c:pt idx="10419">
                  <c:v>487</c:v>
                </c:pt>
                <c:pt idx="10420">
                  <c:v>425</c:v>
                </c:pt>
                <c:pt idx="10421">
                  <c:v>454</c:v>
                </c:pt>
                <c:pt idx="10422">
                  <c:v>490</c:v>
                </c:pt>
                <c:pt idx="10423">
                  <c:v>672</c:v>
                </c:pt>
                <c:pt idx="10424">
                  <c:v>643</c:v>
                </c:pt>
                <c:pt idx="10425">
                  <c:v>656</c:v>
                </c:pt>
                <c:pt idx="10426">
                  <c:v>574</c:v>
                </c:pt>
                <c:pt idx="10427">
                  <c:v>672</c:v>
                </c:pt>
                <c:pt idx="10428">
                  <c:v>597</c:v>
                </c:pt>
                <c:pt idx="10429">
                  <c:v>641</c:v>
                </c:pt>
                <c:pt idx="10430">
                  <c:v>585</c:v>
                </c:pt>
                <c:pt idx="10431">
                  <c:v>616</c:v>
                </c:pt>
                <c:pt idx="10432">
                  <c:v>606</c:v>
                </c:pt>
                <c:pt idx="10433">
                  <c:v>587</c:v>
                </c:pt>
                <c:pt idx="10434">
                  <c:v>582</c:v>
                </c:pt>
                <c:pt idx="10435">
                  <c:v>614</c:v>
                </c:pt>
                <c:pt idx="10436">
                  <c:v>525</c:v>
                </c:pt>
                <c:pt idx="10437">
                  <c:v>551</c:v>
                </c:pt>
                <c:pt idx="10438">
                  <c:v>682</c:v>
                </c:pt>
                <c:pt idx="10439">
                  <c:v>687</c:v>
                </c:pt>
                <c:pt idx="10440">
                  <c:v>670</c:v>
                </c:pt>
                <c:pt idx="10441">
                  <c:v>708</c:v>
                </c:pt>
                <c:pt idx="10442">
                  <c:v>867</c:v>
                </c:pt>
                <c:pt idx="10443">
                  <c:v>777</c:v>
                </c:pt>
                <c:pt idx="10444">
                  <c:v>830</c:v>
                </c:pt>
                <c:pt idx="10445">
                  <c:v>809</c:v>
                </c:pt>
                <c:pt idx="10446">
                  <c:v>908</c:v>
                </c:pt>
                <c:pt idx="10447">
                  <c:v>935</c:v>
                </c:pt>
                <c:pt idx="10448">
                  <c:v>878</c:v>
                </c:pt>
                <c:pt idx="10449">
                  <c:v>804</c:v>
                </c:pt>
                <c:pt idx="10450">
                  <c:v>847</c:v>
                </c:pt>
                <c:pt idx="10451">
                  <c:v>812</c:v>
                </c:pt>
                <c:pt idx="10452">
                  <c:v>817</c:v>
                </c:pt>
                <c:pt idx="10453">
                  <c:v>930</c:v>
                </c:pt>
                <c:pt idx="10454">
                  <c:v>1217</c:v>
                </c:pt>
                <c:pt idx="10455">
                  <c:v>1037</c:v>
                </c:pt>
                <c:pt idx="10456">
                  <c:v>1040</c:v>
                </c:pt>
                <c:pt idx="10457">
                  <c:v>916</c:v>
                </c:pt>
                <c:pt idx="10458">
                  <c:v>953</c:v>
                </c:pt>
                <c:pt idx="10459">
                  <c:v>981</c:v>
                </c:pt>
                <c:pt idx="10460">
                  <c:v>981</c:v>
                </c:pt>
                <c:pt idx="10461">
                  <c:v>983</c:v>
                </c:pt>
                <c:pt idx="10462">
                  <c:v>1067</c:v>
                </c:pt>
                <c:pt idx="10463">
                  <c:v>999</c:v>
                </c:pt>
                <c:pt idx="10464">
                  <c:v>984</c:v>
                </c:pt>
                <c:pt idx="10465">
                  <c:v>961</c:v>
                </c:pt>
                <c:pt idx="10466">
                  <c:v>971</c:v>
                </c:pt>
                <c:pt idx="10467">
                  <c:v>986</c:v>
                </c:pt>
                <c:pt idx="10468">
                  <c:v>975</c:v>
                </c:pt>
                <c:pt idx="10469">
                  <c:v>979</c:v>
                </c:pt>
                <c:pt idx="10470">
                  <c:v>981</c:v>
                </c:pt>
                <c:pt idx="10471">
                  <c:v>990</c:v>
                </c:pt>
                <c:pt idx="10472">
                  <c:v>1009</c:v>
                </c:pt>
                <c:pt idx="10473">
                  <c:v>982</c:v>
                </c:pt>
                <c:pt idx="10474">
                  <c:v>1013</c:v>
                </c:pt>
                <c:pt idx="10475">
                  <c:v>1027</c:v>
                </c:pt>
                <c:pt idx="10476">
                  <c:v>1011</c:v>
                </c:pt>
                <c:pt idx="10477">
                  <c:v>1025</c:v>
                </c:pt>
                <c:pt idx="10478">
                  <c:v>1018</c:v>
                </c:pt>
                <c:pt idx="10479">
                  <c:v>900</c:v>
                </c:pt>
                <c:pt idx="10480">
                  <c:v>1002</c:v>
                </c:pt>
                <c:pt idx="10481">
                  <c:v>1000</c:v>
                </c:pt>
                <c:pt idx="10482">
                  <c:v>1000</c:v>
                </c:pt>
                <c:pt idx="10483">
                  <c:v>1003</c:v>
                </c:pt>
                <c:pt idx="10484">
                  <c:v>994</c:v>
                </c:pt>
                <c:pt idx="10485">
                  <c:v>990</c:v>
                </c:pt>
                <c:pt idx="10486">
                  <c:v>920</c:v>
                </c:pt>
                <c:pt idx="10487">
                  <c:v>887</c:v>
                </c:pt>
                <c:pt idx="10488">
                  <c:v>682</c:v>
                </c:pt>
                <c:pt idx="10489">
                  <c:v>619</c:v>
                </c:pt>
                <c:pt idx="10490">
                  <c:v>645</c:v>
                </c:pt>
                <c:pt idx="10491">
                  <c:v>595</c:v>
                </c:pt>
                <c:pt idx="10492">
                  <c:v>615</c:v>
                </c:pt>
                <c:pt idx="10493">
                  <c:v>671</c:v>
                </c:pt>
                <c:pt idx="10494">
                  <c:v>612</c:v>
                </c:pt>
                <c:pt idx="10495">
                  <c:v>633</c:v>
                </c:pt>
                <c:pt idx="10496">
                  <c:v>630</c:v>
                </c:pt>
                <c:pt idx="10497">
                  <c:v>474</c:v>
                </c:pt>
                <c:pt idx="10498">
                  <c:v>521</c:v>
                </c:pt>
                <c:pt idx="10499">
                  <c:v>479</c:v>
                </c:pt>
                <c:pt idx="10500">
                  <c:v>500</c:v>
                </c:pt>
                <c:pt idx="10501">
                  <c:v>487</c:v>
                </c:pt>
                <c:pt idx="10502">
                  <c:v>492</c:v>
                </c:pt>
                <c:pt idx="10503">
                  <c:v>488</c:v>
                </c:pt>
                <c:pt idx="10504">
                  <c:v>490</c:v>
                </c:pt>
                <c:pt idx="10505">
                  <c:v>447</c:v>
                </c:pt>
                <c:pt idx="10506">
                  <c:v>501</c:v>
                </c:pt>
                <c:pt idx="10507">
                  <c:v>451</c:v>
                </c:pt>
                <c:pt idx="10508">
                  <c:v>547</c:v>
                </c:pt>
                <c:pt idx="10509">
                  <c:v>446</c:v>
                </c:pt>
                <c:pt idx="10510">
                  <c:v>487</c:v>
                </c:pt>
                <c:pt idx="10511">
                  <c:v>426</c:v>
                </c:pt>
                <c:pt idx="10512">
                  <c:v>504</c:v>
                </c:pt>
                <c:pt idx="10513">
                  <c:v>440</c:v>
                </c:pt>
                <c:pt idx="10514">
                  <c:v>502</c:v>
                </c:pt>
                <c:pt idx="10515">
                  <c:v>392</c:v>
                </c:pt>
                <c:pt idx="10516">
                  <c:v>363</c:v>
                </c:pt>
                <c:pt idx="10517">
                  <c:v>381</c:v>
                </c:pt>
                <c:pt idx="10518">
                  <c:v>427</c:v>
                </c:pt>
                <c:pt idx="10519">
                  <c:v>639</c:v>
                </c:pt>
                <c:pt idx="10520">
                  <c:v>635</c:v>
                </c:pt>
                <c:pt idx="10521">
                  <c:v>570</c:v>
                </c:pt>
                <c:pt idx="10522">
                  <c:v>526</c:v>
                </c:pt>
                <c:pt idx="10523">
                  <c:v>602</c:v>
                </c:pt>
                <c:pt idx="10524">
                  <c:v>609</c:v>
                </c:pt>
                <c:pt idx="10525">
                  <c:v>557</c:v>
                </c:pt>
                <c:pt idx="10526">
                  <c:v>585</c:v>
                </c:pt>
                <c:pt idx="10527">
                  <c:v>568</c:v>
                </c:pt>
                <c:pt idx="10528">
                  <c:v>571</c:v>
                </c:pt>
                <c:pt idx="10529">
                  <c:v>574</c:v>
                </c:pt>
                <c:pt idx="10530">
                  <c:v>587</c:v>
                </c:pt>
                <c:pt idx="10531">
                  <c:v>538</c:v>
                </c:pt>
                <c:pt idx="10532">
                  <c:v>596</c:v>
                </c:pt>
                <c:pt idx="10533">
                  <c:v>558</c:v>
                </c:pt>
                <c:pt idx="10534">
                  <c:v>761</c:v>
                </c:pt>
                <c:pt idx="10535">
                  <c:v>713</c:v>
                </c:pt>
                <c:pt idx="10536">
                  <c:v>685</c:v>
                </c:pt>
                <c:pt idx="10537">
                  <c:v>719</c:v>
                </c:pt>
                <c:pt idx="10538">
                  <c:v>592</c:v>
                </c:pt>
                <c:pt idx="10539">
                  <c:v>802</c:v>
                </c:pt>
                <c:pt idx="10540">
                  <c:v>788</c:v>
                </c:pt>
                <c:pt idx="10541">
                  <c:v>856</c:v>
                </c:pt>
                <c:pt idx="10542">
                  <c:v>802</c:v>
                </c:pt>
                <c:pt idx="10543">
                  <c:v>890</c:v>
                </c:pt>
                <c:pt idx="10544">
                  <c:v>866</c:v>
                </c:pt>
                <c:pt idx="10545">
                  <c:v>875</c:v>
                </c:pt>
                <c:pt idx="10546">
                  <c:v>854</c:v>
                </c:pt>
                <c:pt idx="10547">
                  <c:v>916</c:v>
                </c:pt>
                <c:pt idx="10548">
                  <c:v>851</c:v>
                </c:pt>
                <c:pt idx="10549">
                  <c:v>876</c:v>
                </c:pt>
                <c:pt idx="10550">
                  <c:v>577</c:v>
                </c:pt>
                <c:pt idx="10551">
                  <c:v>1259</c:v>
                </c:pt>
                <c:pt idx="10552">
                  <c:v>1106</c:v>
                </c:pt>
                <c:pt idx="10553">
                  <c:v>1016</c:v>
                </c:pt>
                <c:pt idx="10554">
                  <c:v>1008</c:v>
                </c:pt>
                <c:pt idx="10555">
                  <c:v>1038</c:v>
                </c:pt>
                <c:pt idx="10556">
                  <c:v>947</c:v>
                </c:pt>
                <c:pt idx="10557">
                  <c:v>948</c:v>
                </c:pt>
                <c:pt idx="10558">
                  <c:v>1005</c:v>
                </c:pt>
                <c:pt idx="10559">
                  <c:v>960</c:v>
                </c:pt>
                <c:pt idx="10560">
                  <c:v>997</c:v>
                </c:pt>
                <c:pt idx="10561">
                  <c:v>978</c:v>
                </c:pt>
                <c:pt idx="10562">
                  <c:v>1001</c:v>
                </c:pt>
                <c:pt idx="10563">
                  <c:v>932</c:v>
                </c:pt>
                <c:pt idx="10564">
                  <c:v>960</c:v>
                </c:pt>
                <c:pt idx="10565">
                  <c:v>951</c:v>
                </c:pt>
                <c:pt idx="10566">
                  <c:v>944</c:v>
                </c:pt>
                <c:pt idx="10567">
                  <c:v>941</c:v>
                </c:pt>
                <c:pt idx="10568">
                  <c:v>920</c:v>
                </c:pt>
                <c:pt idx="10569">
                  <c:v>938</c:v>
                </c:pt>
                <c:pt idx="10570">
                  <c:v>956</c:v>
                </c:pt>
                <c:pt idx="10571">
                  <c:v>913</c:v>
                </c:pt>
                <c:pt idx="10572">
                  <c:v>910</c:v>
                </c:pt>
                <c:pt idx="10573">
                  <c:v>882</c:v>
                </c:pt>
                <c:pt idx="10574">
                  <c:v>833</c:v>
                </c:pt>
                <c:pt idx="10575">
                  <c:v>894</c:v>
                </c:pt>
                <c:pt idx="10576">
                  <c:v>847</c:v>
                </c:pt>
                <c:pt idx="10577">
                  <c:v>914</c:v>
                </c:pt>
                <c:pt idx="10578">
                  <c:v>913</c:v>
                </c:pt>
                <c:pt idx="10579">
                  <c:v>908</c:v>
                </c:pt>
                <c:pt idx="10580">
                  <c:v>876</c:v>
                </c:pt>
                <c:pt idx="10581">
                  <c:v>895</c:v>
                </c:pt>
                <c:pt idx="10582">
                  <c:v>894</c:v>
                </c:pt>
                <c:pt idx="10583">
                  <c:v>904</c:v>
                </c:pt>
                <c:pt idx="10584">
                  <c:v>665</c:v>
                </c:pt>
                <c:pt idx="10585">
                  <c:v>625</c:v>
                </c:pt>
                <c:pt idx="10586">
                  <c:v>591</c:v>
                </c:pt>
                <c:pt idx="10587">
                  <c:v>591</c:v>
                </c:pt>
                <c:pt idx="10588">
                  <c:v>621</c:v>
                </c:pt>
                <c:pt idx="10589">
                  <c:v>665</c:v>
                </c:pt>
                <c:pt idx="10590">
                  <c:v>641</c:v>
                </c:pt>
                <c:pt idx="10591">
                  <c:v>661</c:v>
                </c:pt>
                <c:pt idx="10592">
                  <c:v>653</c:v>
                </c:pt>
                <c:pt idx="10593">
                  <c:v>509</c:v>
                </c:pt>
                <c:pt idx="10594">
                  <c:v>504</c:v>
                </c:pt>
                <c:pt idx="10595">
                  <c:v>478</c:v>
                </c:pt>
                <c:pt idx="10596">
                  <c:v>483</c:v>
                </c:pt>
                <c:pt idx="10597">
                  <c:v>444</c:v>
                </c:pt>
                <c:pt idx="10598">
                  <c:v>490</c:v>
                </c:pt>
                <c:pt idx="10599">
                  <c:v>485</c:v>
                </c:pt>
                <c:pt idx="10600">
                  <c:v>448</c:v>
                </c:pt>
                <c:pt idx="10601">
                  <c:v>442</c:v>
                </c:pt>
                <c:pt idx="10602">
                  <c:v>476</c:v>
                </c:pt>
                <c:pt idx="10603">
                  <c:v>466</c:v>
                </c:pt>
                <c:pt idx="10604">
                  <c:v>504</c:v>
                </c:pt>
                <c:pt idx="10605">
                  <c:v>490</c:v>
                </c:pt>
                <c:pt idx="10606">
                  <c:v>514</c:v>
                </c:pt>
                <c:pt idx="10607">
                  <c:v>476</c:v>
                </c:pt>
                <c:pt idx="10608">
                  <c:v>512</c:v>
                </c:pt>
                <c:pt idx="10609">
                  <c:v>460</c:v>
                </c:pt>
                <c:pt idx="10610">
                  <c:v>465</c:v>
                </c:pt>
                <c:pt idx="10611">
                  <c:v>378</c:v>
                </c:pt>
                <c:pt idx="10612">
                  <c:v>414</c:v>
                </c:pt>
                <c:pt idx="10613">
                  <c:v>420</c:v>
                </c:pt>
                <c:pt idx="10614">
                  <c:v>422</c:v>
                </c:pt>
                <c:pt idx="10615">
                  <c:v>628</c:v>
                </c:pt>
                <c:pt idx="10616">
                  <c:v>593</c:v>
                </c:pt>
                <c:pt idx="10617">
                  <c:v>593</c:v>
                </c:pt>
                <c:pt idx="10618">
                  <c:v>531</c:v>
                </c:pt>
                <c:pt idx="10619">
                  <c:v>574</c:v>
                </c:pt>
                <c:pt idx="10620">
                  <c:v>617</c:v>
                </c:pt>
                <c:pt idx="10621">
                  <c:v>604</c:v>
                </c:pt>
                <c:pt idx="10622">
                  <c:v>616</c:v>
                </c:pt>
                <c:pt idx="10623">
                  <c:v>583</c:v>
                </c:pt>
                <c:pt idx="10624">
                  <c:v>573</c:v>
                </c:pt>
                <c:pt idx="10625">
                  <c:v>563</c:v>
                </c:pt>
                <c:pt idx="10626">
                  <c:v>548</c:v>
                </c:pt>
                <c:pt idx="10627">
                  <c:v>573</c:v>
                </c:pt>
                <c:pt idx="10628">
                  <c:v>582</c:v>
                </c:pt>
                <c:pt idx="10629">
                  <c:v>597</c:v>
                </c:pt>
                <c:pt idx="10630">
                  <c:v>693</c:v>
                </c:pt>
                <c:pt idx="10631">
                  <c:v>642</c:v>
                </c:pt>
                <c:pt idx="10632">
                  <c:v>631</c:v>
                </c:pt>
                <c:pt idx="10633">
                  <c:v>715</c:v>
                </c:pt>
                <c:pt idx="10634">
                  <c:v>716</c:v>
                </c:pt>
                <c:pt idx="10635">
                  <c:v>773</c:v>
                </c:pt>
                <c:pt idx="10636">
                  <c:v>785</c:v>
                </c:pt>
                <c:pt idx="10637">
                  <c:v>757</c:v>
                </c:pt>
                <c:pt idx="10638">
                  <c:v>851</c:v>
                </c:pt>
                <c:pt idx="10639">
                  <c:v>840</c:v>
                </c:pt>
                <c:pt idx="10640">
                  <c:v>851</c:v>
                </c:pt>
                <c:pt idx="10641">
                  <c:v>833</c:v>
                </c:pt>
                <c:pt idx="10642">
                  <c:v>817</c:v>
                </c:pt>
                <c:pt idx="10643">
                  <c:v>849</c:v>
                </c:pt>
                <c:pt idx="10644">
                  <c:v>864</c:v>
                </c:pt>
                <c:pt idx="10645">
                  <c:v>831</c:v>
                </c:pt>
                <c:pt idx="10646">
                  <c:v>836</c:v>
                </c:pt>
                <c:pt idx="10647">
                  <c:v>834</c:v>
                </c:pt>
                <c:pt idx="10648">
                  <c:v>854</c:v>
                </c:pt>
                <c:pt idx="10649">
                  <c:v>937</c:v>
                </c:pt>
                <c:pt idx="10650">
                  <c:v>1254</c:v>
                </c:pt>
                <c:pt idx="10651">
                  <c:v>1090</c:v>
                </c:pt>
                <c:pt idx="10652">
                  <c:v>1017</c:v>
                </c:pt>
                <c:pt idx="10653">
                  <c:v>996</c:v>
                </c:pt>
                <c:pt idx="10654">
                  <c:v>1063</c:v>
                </c:pt>
                <c:pt idx="10655">
                  <c:v>981</c:v>
                </c:pt>
                <c:pt idx="10656">
                  <c:v>991</c:v>
                </c:pt>
                <c:pt idx="10657">
                  <c:v>1001</c:v>
                </c:pt>
                <c:pt idx="10658">
                  <c:v>990</c:v>
                </c:pt>
                <c:pt idx="10659">
                  <c:v>978</c:v>
                </c:pt>
                <c:pt idx="10660">
                  <c:v>1002</c:v>
                </c:pt>
                <c:pt idx="10661">
                  <c:v>992</c:v>
                </c:pt>
                <c:pt idx="10662">
                  <c:v>996</c:v>
                </c:pt>
                <c:pt idx="10663">
                  <c:v>979</c:v>
                </c:pt>
                <c:pt idx="10664">
                  <c:v>1013</c:v>
                </c:pt>
                <c:pt idx="10665">
                  <c:v>1036</c:v>
                </c:pt>
                <c:pt idx="10666">
                  <c:v>1051</c:v>
                </c:pt>
                <c:pt idx="10667">
                  <c:v>1055</c:v>
                </c:pt>
                <c:pt idx="10668">
                  <c:v>945</c:v>
                </c:pt>
                <c:pt idx="10669">
                  <c:v>907</c:v>
                </c:pt>
                <c:pt idx="10670">
                  <c:v>892</c:v>
                </c:pt>
                <c:pt idx="10671">
                  <c:v>897</c:v>
                </c:pt>
                <c:pt idx="10672">
                  <c:v>884</c:v>
                </c:pt>
                <c:pt idx="10673">
                  <c:v>883</c:v>
                </c:pt>
                <c:pt idx="10674">
                  <c:v>864</c:v>
                </c:pt>
                <c:pt idx="10675">
                  <c:v>861</c:v>
                </c:pt>
                <c:pt idx="10676">
                  <c:v>863</c:v>
                </c:pt>
                <c:pt idx="10677">
                  <c:v>869</c:v>
                </c:pt>
                <c:pt idx="10678">
                  <c:v>857</c:v>
                </c:pt>
                <c:pt idx="10679">
                  <c:v>836</c:v>
                </c:pt>
                <c:pt idx="10680">
                  <c:v>679</c:v>
                </c:pt>
                <c:pt idx="10681">
                  <c:v>593</c:v>
                </c:pt>
                <c:pt idx="10682">
                  <c:v>602</c:v>
                </c:pt>
                <c:pt idx="10683">
                  <c:v>590</c:v>
                </c:pt>
                <c:pt idx="10684">
                  <c:v>602</c:v>
                </c:pt>
                <c:pt idx="10685">
                  <c:v>580</c:v>
                </c:pt>
                <c:pt idx="10686">
                  <c:v>614</c:v>
                </c:pt>
                <c:pt idx="10687">
                  <c:v>578</c:v>
                </c:pt>
                <c:pt idx="10688">
                  <c:v>611</c:v>
                </c:pt>
                <c:pt idx="10689">
                  <c:v>481</c:v>
                </c:pt>
                <c:pt idx="10690">
                  <c:v>540</c:v>
                </c:pt>
                <c:pt idx="10691">
                  <c:v>458</c:v>
                </c:pt>
                <c:pt idx="10692">
                  <c:v>505</c:v>
                </c:pt>
                <c:pt idx="10693">
                  <c:v>506</c:v>
                </c:pt>
                <c:pt idx="10694">
                  <c:v>505</c:v>
                </c:pt>
                <c:pt idx="10695">
                  <c:v>509</c:v>
                </c:pt>
                <c:pt idx="10696">
                  <c:v>507</c:v>
                </c:pt>
                <c:pt idx="10697">
                  <c:v>435</c:v>
                </c:pt>
                <c:pt idx="10698">
                  <c:v>468</c:v>
                </c:pt>
                <c:pt idx="10699">
                  <c:v>424</c:v>
                </c:pt>
                <c:pt idx="10700">
                  <c:v>517</c:v>
                </c:pt>
                <c:pt idx="10701">
                  <c:v>443</c:v>
                </c:pt>
                <c:pt idx="10702">
                  <c:v>471</c:v>
                </c:pt>
                <c:pt idx="10703">
                  <c:v>430</c:v>
                </c:pt>
                <c:pt idx="10704">
                  <c:v>439</c:v>
                </c:pt>
                <c:pt idx="10705">
                  <c:v>479</c:v>
                </c:pt>
                <c:pt idx="10706">
                  <c:v>580</c:v>
                </c:pt>
                <c:pt idx="10707">
                  <c:v>449</c:v>
                </c:pt>
                <c:pt idx="10708">
                  <c:v>424</c:v>
                </c:pt>
                <c:pt idx="10709">
                  <c:v>396</c:v>
                </c:pt>
                <c:pt idx="10710">
                  <c:v>544</c:v>
                </c:pt>
                <c:pt idx="10711">
                  <c:v>632</c:v>
                </c:pt>
                <c:pt idx="10712">
                  <c:v>581</c:v>
                </c:pt>
                <c:pt idx="10713">
                  <c:v>512</c:v>
                </c:pt>
                <c:pt idx="10714">
                  <c:v>616</c:v>
                </c:pt>
                <c:pt idx="10715">
                  <c:v>630</c:v>
                </c:pt>
                <c:pt idx="10716">
                  <c:v>634</c:v>
                </c:pt>
                <c:pt idx="10717">
                  <c:v>518</c:v>
                </c:pt>
                <c:pt idx="10718">
                  <c:v>528</c:v>
                </c:pt>
                <c:pt idx="10719">
                  <c:v>566</c:v>
                </c:pt>
                <c:pt idx="10720">
                  <c:v>607</c:v>
                </c:pt>
                <c:pt idx="10721">
                  <c:v>581</c:v>
                </c:pt>
                <c:pt idx="10722">
                  <c:v>546</c:v>
                </c:pt>
                <c:pt idx="10723">
                  <c:v>531</c:v>
                </c:pt>
                <c:pt idx="10724">
                  <c:v>572</c:v>
                </c:pt>
                <c:pt idx="10725">
                  <c:v>639</c:v>
                </c:pt>
                <c:pt idx="10726">
                  <c:v>555</c:v>
                </c:pt>
                <c:pt idx="10727">
                  <c:v>579</c:v>
                </c:pt>
                <c:pt idx="10728">
                  <c:v>675</c:v>
                </c:pt>
                <c:pt idx="10729">
                  <c:v>584</c:v>
                </c:pt>
                <c:pt idx="10730">
                  <c:v>786</c:v>
                </c:pt>
                <c:pt idx="10731">
                  <c:v>783</c:v>
                </c:pt>
                <c:pt idx="10732">
                  <c:v>792</c:v>
                </c:pt>
                <c:pt idx="10733">
                  <c:v>765</c:v>
                </c:pt>
                <c:pt idx="10734">
                  <c:v>825</c:v>
                </c:pt>
                <c:pt idx="10735">
                  <c:v>872</c:v>
                </c:pt>
                <c:pt idx="10736">
                  <c:v>824</c:v>
                </c:pt>
                <c:pt idx="10737">
                  <c:v>802</c:v>
                </c:pt>
                <c:pt idx="10738">
                  <c:v>776</c:v>
                </c:pt>
                <c:pt idx="10739">
                  <c:v>795</c:v>
                </c:pt>
                <c:pt idx="10740">
                  <c:v>752</c:v>
                </c:pt>
                <c:pt idx="10741">
                  <c:v>793</c:v>
                </c:pt>
                <c:pt idx="10742">
                  <c:v>788</c:v>
                </c:pt>
                <c:pt idx="10743">
                  <c:v>762</c:v>
                </c:pt>
                <c:pt idx="10744">
                  <c:v>770</c:v>
                </c:pt>
                <c:pt idx="10745">
                  <c:v>784</c:v>
                </c:pt>
                <c:pt idx="10746">
                  <c:v>1143</c:v>
                </c:pt>
                <c:pt idx="10747">
                  <c:v>1085</c:v>
                </c:pt>
                <c:pt idx="10748">
                  <c:v>941</c:v>
                </c:pt>
                <c:pt idx="10749">
                  <c:v>1030</c:v>
                </c:pt>
                <c:pt idx="10750">
                  <c:v>931</c:v>
                </c:pt>
                <c:pt idx="10751">
                  <c:v>950</c:v>
                </c:pt>
                <c:pt idx="10752">
                  <c:v>955</c:v>
                </c:pt>
                <c:pt idx="10753">
                  <c:v>944</c:v>
                </c:pt>
                <c:pt idx="10754">
                  <c:v>962</c:v>
                </c:pt>
                <c:pt idx="10755">
                  <c:v>940</c:v>
                </c:pt>
                <c:pt idx="10756">
                  <c:v>972</c:v>
                </c:pt>
                <c:pt idx="10757">
                  <c:v>977</c:v>
                </c:pt>
                <c:pt idx="10758">
                  <c:v>922</c:v>
                </c:pt>
                <c:pt idx="10759">
                  <c:v>918</c:v>
                </c:pt>
                <c:pt idx="10760">
                  <c:v>923</c:v>
                </c:pt>
                <c:pt idx="10761">
                  <c:v>957</c:v>
                </c:pt>
                <c:pt idx="10762">
                  <c:v>940</c:v>
                </c:pt>
                <c:pt idx="10763">
                  <c:v>924</c:v>
                </c:pt>
                <c:pt idx="10764">
                  <c:v>960</c:v>
                </c:pt>
                <c:pt idx="10765">
                  <c:v>959</c:v>
                </c:pt>
                <c:pt idx="10766">
                  <c:v>902</c:v>
                </c:pt>
                <c:pt idx="10767">
                  <c:v>902</c:v>
                </c:pt>
                <c:pt idx="10768">
                  <c:v>979</c:v>
                </c:pt>
                <c:pt idx="10769">
                  <c:v>991</c:v>
                </c:pt>
                <c:pt idx="10770">
                  <c:v>986</c:v>
                </c:pt>
                <c:pt idx="10771">
                  <c:v>923</c:v>
                </c:pt>
                <c:pt idx="10772">
                  <c:v>942</c:v>
                </c:pt>
                <c:pt idx="10773">
                  <c:v>933</c:v>
                </c:pt>
                <c:pt idx="10774">
                  <c:v>939</c:v>
                </c:pt>
                <c:pt idx="10775">
                  <c:v>693</c:v>
                </c:pt>
                <c:pt idx="10776">
                  <c:v>553</c:v>
                </c:pt>
                <c:pt idx="10777">
                  <c:v>496</c:v>
                </c:pt>
                <c:pt idx="10778">
                  <c:v>527</c:v>
                </c:pt>
                <c:pt idx="10779">
                  <c:v>519</c:v>
                </c:pt>
                <c:pt idx="10780">
                  <c:v>588</c:v>
                </c:pt>
                <c:pt idx="10781">
                  <c:v>625</c:v>
                </c:pt>
                <c:pt idx="10782">
                  <c:v>593</c:v>
                </c:pt>
                <c:pt idx="10783">
                  <c:v>633</c:v>
                </c:pt>
                <c:pt idx="10784">
                  <c:v>563</c:v>
                </c:pt>
                <c:pt idx="10785">
                  <c:v>553</c:v>
                </c:pt>
                <c:pt idx="10786">
                  <c:v>533</c:v>
                </c:pt>
                <c:pt idx="10787">
                  <c:v>535</c:v>
                </c:pt>
                <c:pt idx="10788">
                  <c:v>528</c:v>
                </c:pt>
                <c:pt idx="10789">
                  <c:v>532</c:v>
                </c:pt>
                <c:pt idx="10790">
                  <c:v>524</c:v>
                </c:pt>
                <c:pt idx="10791">
                  <c:v>534</c:v>
                </c:pt>
                <c:pt idx="10792">
                  <c:v>489</c:v>
                </c:pt>
                <c:pt idx="10793">
                  <c:v>462</c:v>
                </c:pt>
                <c:pt idx="10794">
                  <c:v>515</c:v>
                </c:pt>
                <c:pt idx="10795">
                  <c:v>469</c:v>
                </c:pt>
                <c:pt idx="10796">
                  <c:v>551</c:v>
                </c:pt>
                <c:pt idx="10797">
                  <c:v>434</c:v>
                </c:pt>
                <c:pt idx="10798">
                  <c:v>519</c:v>
                </c:pt>
                <c:pt idx="10799">
                  <c:v>465</c:v>
                </c:pt>
                <c:pt idx="10800">
                  <c:v>490</c:v>
                </c:pt>
                <c:pt idx="10801">
                  <c:v>470</c:v>
                </c:pt>
                <c:pt idx="10802">
                  <c:v>474</c:v>
                </c:pt>
                <c:pt idx="10803">
                  <c:v>430</c:v>
                </c:pt>
                <c:pt idx="10804">
                  <c:v>450</c:v>
                </c:pt>
                <c:pt idx="10805">
                  <c:v>421</c:v>
                </c:pt>
                <c:pt idx="10806">
                  <c:v>545</c:v>
                </c:pt>
                <c:pt idx="10807">
                  <c:v>590</c:v>
                </c:pt>
                <c:pt idx="10808">
                  <c:v>465</c:v>
                </c:pt>
                <c:pt idx="10809">
                  <c:v>471</c:v>
                </c:pt>
                <c:pt idx="10810">
                  <c:v>489</c:v>
                </c:pt>
                <c:pt idx="10811">
                  <c:v>483</c:v>
                </c:pt>
                <c:pt idx="10812">
                  <c:v>476</c:v>
                </c:pt>
                <c:pt idx="10813">
                  <c:v>468</c:v>
                </c:pt>
                <c:pt idx="10814">
                  <c:v>473</c:v>
                </c:pt>
                <c:pt idx="10815">
                  <c:v>457</c:v>
                </c:pt>
                <c:pt idx="10816">
                  <c:v>489</c:v>
                </c:pt>
                <c:pt idx="10817">
                  <c:v>473</c:v>
                </c:pt>
                <c:pt idx="10818">
                  <c:v>451</c:v>
                </c:pt>
                <c:pt idx="10819">
                  <c:v>598</c:v>
                </c:pt>
                <c:pt idx="10820">
                  <c:v>539</c:v>
                </c:pt>
                <c:pt idx="10821">
                  <c:v>463</c:v>
                </c:pt>
                <c:pt idx="10822">
                  <c:v>470</c:v>
                </c:pt>
                <c:pt idx="10823">
                  <c:v>476</c:v>
                </c:pt>
                <c:pt idx="10824">
                  <c:v>477</c:v>
                </c:pt>
                <c:pt idx="10825">
                  <c:v>626</c:v>
                </c:pt>
                <c:pt idx="10826">
                  <c:v>599</c:v>
                </c:pt>
                <c:pt idx="10827">
                  <c:v>590</c:v>
                </c:pt>
                <c:pt idx="10828">
                  <c:v>516</c:v>
                </c:pt>
                <c:pt idx="10829">
                  <c:v>559</c:v>
                </c:pt>
                <c:pt idx="10830">
                  <c:v>519</c:v>
                </c:pt>
                <c:pt idx="10831">
                  <c:v>549</c:v>
                </c:pt>
                <c:pt idx="10832">
                  <c:v>444</c:v>
                </c:pt>
                <c:pt idx="10833">
                  <c:v>557</c:v>
                </c:pt>
                <c:pt idx="10834">
                  <c:v>447</c:v>
                </c:pt>
                <c:pt idx="10835">
                  <c:v>528</c:v>
                </c:pt>
                <c:pt idx="10836">
                  <c:v>622</c:v>
                </c:pt>
                <c:pt idx="10837">
                  <c:v>742</c:v>
                </c:pt>
                <c:pt idx="10838">
                  <c:v>586</c:v>
                </c:pt>
                <c:pt idx="10839">
                  <c:v>693</c:v>
                </c:pt>
                <c:pt idx="10840">
                  <c:v>645</c:v>
                </c:pt>
                <c:pt idx="10841">
                  <c:v>733</c:v>
                </c:pt>
                <c:pt idx="10842">
                  <c:v>674</c:v>
                </c:pt>
                <c:pt idx="10843">
                  <c:v>658</c:v>
                </c:pt>
                <c:pt idx="10844">
                  <c:v>765</c:v>
                </c:pt>
                <c:pt idx="10845">
                  <c:v>792</c:v>
                </c:pt>
                <c:pt idx="10846">
                  <c:v>715</c:v>
                </c:pt>
                <c:pt idx="10847">
                  <c:v>729</c:v>
                </c:pt>
                <c:pt idx="10848">
                  <c:v>719</c:v>
                </c:pt>
                <c:pt idx="10849">
                  <c:v>729</c:v>
                </c:pt>
                <c:pt idx="10850">
                  <c:v>719</c:v>
                </c:pt>
                <c:pt idx="10851">
                  <c:v>720</c:v>
                </c:pt>
                <c:pt idx="10852">
                  <c:v>757</c:v>
                </c:pt>
                <c:pt idx="10853">
                  <c:v>757</c:v>
                </c:pt>
                <c:pt idx="10854">
                  <c:v>767</c:v>
                </c:pt>
                <c:pt idx="10855">
                  <c:v>774</c:v>
                </c:pt>
                <c:pt idx="10856">
                  <c:v>752</c:v>
                </c:pt>
                <c:pt idx="10857">
                  <c:v>810</c:v>
                </c:pt>
                <c:pt idx="10858">
                  <c:v>817</c:v>
                </c:pt>
                <c:pt idx="10859">
                  <c:v>841</c:v>
                </c:pt>
                <c:pt idx="10860">
                  <c:v>783</c:v>
                </c:pt>
                <c:pt idx="10861">
                  <c:v>705</c:v>
                </c:pt>
                <c:pt idx="10862">
                  <c:v>702</c:v>
                </c:pt>
                <c:pt idx="10863">
                  <c:v>700</c:v>
                </c:pt>
                <c:pt idx="10864">
                  <c:v>766</c:v>
                </c:pt>
                <c:pt idx="10865">
                  <c:v>770</c:v>
                </c:pt>
                <c:pt idx="10866">
                  <c:v>661</c:v>
                </c:pt>
                <c:pt idx="10867">
                  <c:v>698</c:v>
                </c:pt>
                <c:pt idx="10868">
                  <c:v>726</c:v>
                </c:pt>
                <c:pt idx="10869">
                  <c:v>630</c:v>
                </c:pt>
                <c:pt idx="10870">
                  <c:v>640</c:v>
                </c:pt>
                <c:pt idx="10871">
                  <c:v>635</c:v>
                </c:pt>
                <c:pt idx="10872">
                  <c:v>570</c:v>
                </c:pt>
                <c:pt idx="10873">
                  <c:v>571</c:v>
                </c:pt>
                <c:pt idx="10874">
                  <c:v>543</c:v>
                </c:pt>
                <c:pt idx="10875">
                  <c:v>578</c:v>
                </c:pt>
                <c:pt idx="10876">
                  <c:v>522</c:v>
                </c:pt>
                <c:pt idx="10877">
                  <c:v>524</c:v>
                </c:pt>
                <c:pt idx="10878">
                  <c:v>529</c:v>
                </c:pt>
                <c:pt idx="10879">
                  <c:v>517</c:v>
                </c:pt>
                <c:pt idx="10880">
                  <c:v>526</c:v>
                </c:pt>
                <c:pt idx="10881">
                  <c:v>521</c:v>
                </c:pt>
                <c:pt idx="10882">
                  <c:v>476</c:v>
                </c:pt>
                <c:pt idx="10883">
                  <c:v>518</c:v>
                </c:pt>
                <c:pt idx="10884">
                  <c:v>508</c:v>
                </c:pt>
                <c:pt idx="10885">
                  <c:v>509</c:v>
                </c:pt>
                <c:pt idx="10886">
                  <c:v>529</c:v>
                </c:pt>
                <c:pt idx="10887">
                  <c:v>482</c:v>
                </c:pt>
                <c:pt idx="10888">
                  <c:v>502</c:v>
                </c:pt>
                <c:pt idx="10889">
                  <c:v>487</c:v>
                </c:pt>
                <c:pt idx="10890">
                  <c:v>478</c:v>
                </c:pt>
                <c:pt idx="10891">
                  <c:v>477</c:v>
                </c:pt>
                <c:pt idx="10892">
                  <c:v>492</c:v>
                </c:pt>
                <c:pt idx="10893">
                  <c:v>480</c:v>
                </c:pt>
                <c:pt idx="10894">
                  <c:v>516</c:v>
                </c:pt>
                <c:pt idx="10895">
                  <c:v>468</c:v>
                </c:pt>
                <c:pt idx="10896">
                  <c:v>531</c:v>
                </c:pt>
                <c:pt idx="10897">
                  <c:v>419</c:v>
                </c:pt>
                <c:pt idx="10898">
                  <c:v>443</c:v>
                </c:pt>
                <c:pt idx="10899">
                  <c:v>410</c:v>
                </c:pt>
                <c:pt idx="10900">
                  <c:v>426</c:v>
                </c:pt>
                <c:pt idx="10901">
                  <c:v>527</c:v>
                </c:pt>
                <c:pt idx="10902">
                  <c:v>553</c:v>
                </c:pt>
                <c:pt idx="10903">
                  <c:v>604</c:v>
                </c:pt>
                <c:pt idx="10904">
                  <c:v>523</c:v>
                </c:pt>
                <c:pt idx="10905">
                  <c:v>619</c:v>
                </c:pt>
                <c:pt idx="10906">
                  <c:v>496</c:v>
                </c:pt>
                <c:pt idx="10907">
                  <c:v>485</c:v>
                </c:pt>
                <c:pt idx="10908">
                  <c:v>491</c:v>
                </c:pt>
                <c:pt idx="10909">
                  <c:v>528</c:v>
                </c:pt>
                <c:pt idx="10910">
                  <c:v>502</c:v>
                </c:pt>
                <c:pt idx="10911">
                  <c:v>494</c:v>
                </c:pt>
                <c:pt idx="10912">
                  <c:v>440</c:v>
                </c:pt>
                <c:pt idx="10913">
                  <c:v>461</c:v>
                </c:pt>
                <c:pt idx="10914">
                  <c:v>463</c:v>
                </c:pt>
                <c:pt idx="10915">
                  <c:v>428</c:v>
                </c:pt>
                <c:pt idx="10916">
                  <c:v>459</c:v>
                </c:pt>
                <c:pt idx="10917">
                  <c:v>472</c:v>
                </c:pt>
                <c:pt idx="10918">
                  <c:v>487</c:v>
                </c:pt>
                <c:pt idx="10919">
                  <c:v>500</c:v>
                </c:pt>
                <c:pt idx="10920">
                  <c:v>552</c:v>
                </c:pt>
                <c:pt idx="10921">
                  <c:v>532</c:v>
                </c:pt>
                <c:pt idx="10922">
                  <c:v>647</c:v>
                </c:pt>
                <c:pt idx="10923">
                  <c:v>537</c:v>
                </c:pt>
                <c:pt idx="10924">
                  <c:v>643</c:v>
                </c:pt>
                <c:pt idx="10925">
                  <c:v>557</c:v>
                </c:pt>
                <c:pt idx="10926">
                  <c:v>648</c:v>
                </c:pt>
                <c:pt idx="10927">
                  <c:v>550</c:v>
                </c:pt>
                <c:pt idx="10928">
                  <c:v>606</c:v>
                </c:pt>
                <c:pt idx="10929">
                  <c:v>633</c:v>
                </c:pt>
                <c:pt idx="10930">
                  <c:v>606</c:v>
                </c:pt>
                <c:pt idx="10931">
                  <c:v>524</c:v>
                </c:pt>
                <c:pt idx="10932">
                  <c:v>561</c:v>
                </c:pt>
                <c:pt idx="10933">
                  <c:v>563</c:v>
                </c:pt>
                <c:pt idx="10934">
                  <c:v>593</c:v>
                </c:pt>
                <c:pt idx="10935">
                  <c:v>676</c:v>
                </c:pt>
                <c:pt idx="10936">
                  <c:v>650</c:v>
                </c:pt>
                <c:pt idx="10937">
                  <c:v>800</c:v>
                </c:pt>
                <c:pt idx="10938">
                  <c:v>681</c:v>
                </c:pt>
                <c:pt idx="10939">
                  <c:v>711</c:v>
                </c:pt>
                <c:pt idx="10940">
                  <c:v>696</c:v>
                </c:pt>
                <c:pt idx="10941">
                  <c:v>864</c:v>
                </c:pt>
                <c:pt idx="10942">
                  <c:v>774</c:v>
                </c:pt>
                <c:pt idx="10943">
                  <c:v>829</c:v>
                </c:pt>
                <c:pt idx="10944">
                  <c:v>833</c:v>
                </c:pt>
                <c:pt idx="10945">
                  <c:v>820</c:v>
                </c:pt>
                <c:pt idx="10946">
                  <c:v>873</c:v>
                </c:pt>
                <c:pt idx="10947">
                  <c:v>885</c:v>
                </c:pt>
                <c:pt idx="10948">
                  <c:v>955</c:v>
                </c:pt>
                <c:pt idx="10949">
                  <c:v>848</c:v>
                </c:pt>
                <c:pt idx="10950">
                  <c:v>845</c:v>
                </c:pt>
                <c:pt idx="10951">
                  <c:v>861</c:v>
                </c:pt>
                <c:pt idx="10952">
                  <c:v>800</c:v>
                </c:pt>
                <c:pt idx="10953">
                  <c:v>845</c:v>
                </c:pt>
                <c:pt idx="10954">
                  <c:v>728</c:v>
                </c:pt>
                <c:pt idx="10955">
                  <c:v>802</c:v>
                </c:pt>
                <c:pt idx="10956">
                  <c:v>809</c:v>
                </c:pt>
                <c:pt idx="10957">
                  <c:v>804</c:v>
                </c:pt>
                <c:pt idx="10958">
                  <c:v>890</c:v>
                </c:pt>
                <c:pt idx="10959">
                  <c:v>830</c:v>
                </c:pt>
                <c:pt idx="10960">
                  <c:v>876</c:v>
                </c:pt>
                <c:pt idx="10961">
                  <c:v>837</c:v>
                </c:pt>
                <c:pt idx="10962">
                  <c:v>764</c:v>
                </c:pt>
                <c:pt idx="10963">
                  <c:v>857</c:v>
                </c:pt>
                <c:pt idx="10964">
                  <c:v>845</c:v>
                </c:pt>
                <c:pt idx="10965">
                  <c:v>770</c:v>
                </c:pt>
                <c:pt idx="10966">
                  <c:v>863</c:v>
                </c:pt>
                <c:pt idx="10967">
                  <c:v>720</c:v>
                </c:pt>
                <c:pt idx="10968">
                  <c:v>696</c:v>
                </c:pt>
                <c:pt idx="10969">
                  <c:v>644</c:v>
                </c:pt>
                <c:pt idx="10970">
                  <c:v>611</c:v>
                </c:pt>
                <c:pt idx="10971">
                  <c:v>622</c:v>
                </c:pt>
                <c:pt idx="10972">
                  <c:v>634</c:v>
                </c:pt>
                <c:pt idx="10973">
                  <c:v>682</c:v>
                </c:pt>
                <c:pt idx="10974">
                  <c:v>662</c:v>
                </c:pt>
                <c:pt idx="10975">
                  <c:v>722</c:v>
                </c:pt>
                <c:pt idx="10976">
                  <c:v>473</c:v>
                </c:pt>
                <c:pt idx="10977">
                  <c:v>466</c:v>
                </c:pt>
                <c:pt idx="10978">
                  <c:v>478</c:v>
                </c:pt>
                <c:pt idx="10979">
                  <c:v>448</c:v>
                </c:pt>
                <c:pt idx="10980">
                  <c:v>524</c:v>
                </c:pt>
                <c:pt idx="10981">
                  <c:v>428</c:v>
                </c:pt>
                <c:pt idx="10982">
                  <c:v>538</c:v>
                </c:pt>
                <c:pt idx="10983">
                  <c:v>552</c:v>
                </c:pt>
                <c:pt idx="10984">
                  <c:v>473</c:v>
                </c:pt>
                <c:pt idx="10985">
                  <c:v>443</c:v>
                </c:pt>
                <c:pt idx="10986">
                  <c:v>477</c:v>
                </c:pt>
                <c:pt idx="10987">
                  <c:v>437</c:v>
                </c:pt>
                <c:pt idx="10988">
                  <c:v>462</c:v>
                </c:pt>
                <c:pt idx="10989">
                  <c:v>438</c:v>
                </c:pt>
                <c:pt idx="10990">
                  <c:v>468</c:v>
                </c:pt>
                <c:pt idx="10991">
                  <c:v>411</c:v>
                </c:pt>
                <c:pt idx="10992">
                  <c:v>524</c:v>
                </c:pt>
                <c:pt idx="10993">
                  <c:v>444</c:v>
                </c:pt>
                <c:pt idx="10994">
                  <c:v>487</c:v>
                </c:pt>
                <c:pt idx="10995">
                  <c:v>410</c:v>
                </c:pt>
                <c:pt idx="10996">
                  <c:v>439</c:v>
                </c:pt>
                <c:pt idx="10997">
                  <c:v>547</c:v>
                </c:pt>
                <c:pt idx="10998">
                  <c:v>756</c:v>
                </c:pt>
                <c:pt idx="10999">
                  <c:v>610</c:v>
                </c:pt>
                <c:pt idx="11000">
                  <c:v>646</c:v>
                </c:pt>
                <c:pt idx="11001">
                  <c:v>650</c:v>
                </c:pt>
                <c:pt idx="11002">
                  <c:v>614</c:v>
                </c:pt>
                <c:pt idx="11003">
                  <c:v>593</c:v>
                </c:pt>
                <c:pt idx="11004">
                  <c:v>602</c:v>
                </c:pt>
                <c:pt idx="11005">
                  <c:v>627</c:v>
                </c:pt>
                <c:pt idx="11006">
                  <c:v>608</c:v>
                </c:pt>
                <c:pt idx="11007">
                  <c:v>575</c:v>
                </c:pt>
                <c:pt idx="11008">
                  <c:v>607</c:v>
                </c:pt>
                <c:pt idx="11009">
                  <c:v>585</c:v>
                </c:pt>
                <c:pt idx="11010">
                  <c:v>611</c:v>
                </c:pt>
                <c:pt idx="11011">
                  <c:v>542</c:v>
                </c:pt>
                <c:pt idx="11012">
                  <c:v>575</c:v>
                </c:pt>
                <c:pt idx="11013">
                  <c:v>691</c:v>
                </c:pt>
                <c:pt idx="11014">
                  <c:v>708</c:v>
                </c:pt>
                <c:pt idx="11015">
                  <c:v>612</c:v>
                </c:pt>
                <c:pt idx="11016">
                  <c:v>622</c:v>
                </c:pt>
                <c:pt idx="11017">
                  <c:v>869</c:v>
                </c:pt>
                <c:pt idx="11018">
                  <c:v>853</c:v>
                </c:pt>
                <c:pt idx="11019">
                  <c:v>879</c:v>
                </c:pt>
                <c:pt idx="11020">
                  <c:v>917</c:v>
                </c:pt>
                <c:pt idx="11021">
                  <c:v>884</c:v>
                </c:pt>
                <c:pt idx="11022">
                  <c:v>843</c:v>
                </c:pt>
                <c:pt idx="11023">
                  <c:v>900</c:v>
                </c:pt>
                <c:pt idx="11024">
                  <c:v>902</c:v>
                </c:pt>
                <c:pt idx="11025">
                  <c:v>801</c:v>
                </c:pt>
                <c:pt idx="11026">
                  <c:v>1325</c:v>
                </c:pt>
                <c:pt idx="11027">
                  <c:v>1128</c:v>
                </c:pt>
                <c:pt idx="11028">
                  <c:v>972</c:v>
                </c:pt>
                <c:pt idx="11029">
                  <c:v>961</c:v>
                </c:pt>
                <c:pt idx="11030">
                  <c:v>965</c:v>
                </c:pt>
                <c:pt idx="11031">
                  <c:v>1005</c:v>
                </c:pt>
                <c:pt idx="11032">
                  <c:v>967</c:v>
                </c:pt>
                <c:pt idx="11033">
                  <c:v>981</c:v>
                </c:pt>
                <c:pt idx="11034">
                  <c:v>966</c:v>
                </c:pt>
                <c:pt idx="11035">
                  <c:v>986</c:v>
                </c:pt>
                <c:pt idx="11036">
                  <c:v>972</c:v>
                </c:pt>
                <c:pt idx="11037">
                  <c:v>1072</c:v>
                </c:pt>
                <c:pt idx="11038">
                  <c:v>1021</c:v>
                </c:pt>
                <c:pt idx="11039">
                  <c:v>1007</c:v>
                </c:pt>
                <c:pt idx="11040">
                  <c:v>1003</c:v>
                </c:pt>
                <c:pt idx="11041">
                  <c:v>1013</c:v>
                </c:pt>
                <c:pt idx="11042">
                  <c:v>992</c:v>
                </c:pt>
                <c:pt idx="11043">
                  <c:v>1012</c:v>
                </c:pt>
                <c:pt idx="11044">
                  <c:v>981</c:v>
                </c:pt>
                <c:pt idx="11045">
                  <c:v>999</c:v>
                </c:pt>
                <c:pt idx="11046">
                  <c:v>980</c:v>
                </c:pt>
                <c:pt idx="11047">
                  <c:v>1016</c:v>
                </c:pt>
                <c:pt idx="11048">
                  <c:v>1011</c:v>
                </c:pt>
                <c:pt idx="11049">
                  <c:v>1014</c:v>
                </c:pt>
                <c:pt idx="11050">
                  <c:v>1015</c:v>
                </c:pt>
                <c:pt idx="11051">
                  <c:v>995</c:v>
                </c:pt>
                <c:pt idx="11052">
                  <c:v>994</c:v>
                </c:pt>
                <c:pt idx="11053">
                  <c:v>997</c:v>
                </c:pt>
                <c:pt idx="11054">
                  <c:v>1011</c:v>
                </c:pt>
                <c:pt idx="11055">
                  <c:v>1026</c:v>
                </c:pt>
                <c:pt idx="11056">
                  <c:v>1041</c:v>
                </c:pt>
                <c:pt idx="11057">
                  <c:v>1036</c:v>
                </c:pt>
                <c:pt idx="11058">
                  <c:v>1062</c:v>
                </c:pt>
                <c:pt idx="11059">
                  <c:v>1004</c:v>
                </c:pt>
                <c:pt idx="11060">
                  <c:v>987</c:v>
                </c:pt>
                <c:pt idx="11061">
                  <c:v>1010</c:v>
                </c:pt>
                <c:pt idx="11062">
                  <c:v>930</c:v>
                </c:pt>
                <c:pt idx="11063">
                  <c:v>715</c:v>
                </c:pt>
                <c:pt idx="11064">
                  <c:v>635</c:v>
                </c:pt>
                <c:pt idx="11065">
                  <c:v>645</c:v>
                </c:pt>
                <c:pt idx="11066">
                  <c:v>641</c:v>
                </c:pt>
                <c:pt idx="11067">
                  <c:v>642</c:v>
                </c:pt>
                <c:pt idx="11068">
                  <c:v>618</c:v>
                </c:pt>
                <c:pt idx="11069">
                  <c:v>636</c:v>
                </c:pt>
                <c:pt idx="11070">
                  <c:v>676</c:v>
                </c:pt>
                <c:pt idx="11071">
                  <c:v>612</c:v>
                </c:pt>
                <c:pt idx="11072">
                  <c:v>516</c:v>
                </c:pt>
                <c:pt idx="11073">
                  <c:v>467</c:v>
                </c:pt>
                <c:pt idx="11074">
                  <c:v>491</c:v>
                </c:pt>
                <c:pt idx="11075">
                  <c:v>450</c:v>
                </c:pt>
                <c:pt idx="11076">
                  <c:v>485</c:v>
                </c:pt>
                <c:pt idx="11077">
                  <c:v>440</c:v>
                </c:pt>
                <c:pt idx="11078">
                  <c:v>467</c:v>
                </c:pt>
                <c:pt idx="11079">
                  <c:v>456</c:v>
                </c:pt>
                <c:pt idx="11080">
                  <c:v>494</c:v>
                </c:pt>
                <c:pt idx="11081">
                  <c:v>454</c:v>
                </c:pt>
                <c:pt idx="11082">
                  <c:v>495</c:v>
                </c:pt>
                <c:pt idx="11083">
                  <c:v>450</c:v>
                </c:pt>
                <c:pt idx="11084">
                  <c:v>527</c:v>
                </c:pt>
                <c:pt idx="11085">
                  <c:v>425</c:v>
                </c:pt>
                <c:pt idx="11086">
                  <c:v>441</c:v>
                </c:pt>
                <c:pt idx="11087">
                  <c:v>421</c:v>
                </c:pt>
                <c:pt idx="11088">
                  <c:v>516</c:v>
                </c:pt>
                <c:pt idx="11089">
                  <c:v>432</c:v>
                </c:pt>
                <c:pt idx="11090">
                  <c:v>484</c:v>
                </c:pt>
                <c:pt idx="11091">
                  <c:v>397</c:v>
                </c:pt>
                <c:pt idx="11092">
                  <c:v>461</c:v>
                </c:pt>
                <c:pt idx="11093">
                  <c:v>467</c:v>
                </c:pt>
                <c:pt idx="11094">
                  <c:v>780</c:v>
                </c:pt>
                <c:pt idx="11095">
                  <c:v>580</c:v>
                </c:pt>
                <c:pt idx="11096">
                  <c:v>648</c:v>
                </c:pt>
                <c:pt idx="11097">
                  <c:v>523</c:v>
                </c:pt>
                <c:pt idx="11098">
                  <c:v>674</c:v>
                </c:pt>
                <c:pt idx="11099">
                  <c:v>598</c:v>
                </c:pt>
                <c:pt idx="11100">
                  <c:v>648</c:v>
                </c:pt>
                <c:pt idx="11101">
                  <c:v>574</c:v>
                </c:pt>
                <c:pt idx="11102">
                  <c:v>614</c:v>
                </c:pt>
                <c:pt idx="11103">
                  <c:v>562</c:v>
                </c:pt>
                <c:pt idx="11104">
                  <c:v>576</c:v>
                </c:pt>
                <c:pt idx="11105">
                  <c:v>558</c:v>
                </c:pt>
                <c:pt idx="11106">
                  <c:v>588</c:v>
                </c:pt>
                <c:pt idx="11107">
                  <c:v>521</c:v>
                </c:pt>
                <c:pt idx="11108">
                  <c:v>647</c:v>
                </c:pt>
                <c:pt idx="11109">
                  <c:v>657</c:v>
                </c:pt>
                <c:pt idx="11110">
                  <c:v>592</c:v>
                </c:pt>
                <c:pt idx="11111">
                  <c:v>596</c:v>
                </c:pt>
                <c:pt idx="11112">
                  <c:v>622</c:v>
                </c:pt>
                <c:pt idx="11113">
                  <c:v>813</c:v>
                </c:pt>
                <c:pt idx="11114">
                  <c:v>783</c:v>
                </c:pt>
                <c:pt idx="11115">
                  <c:v>820</c:v>
                </c:pt>
                <c:pt idx="11116">
                  <c:v>780</c:v>
                </c:pt>
                <c:pt idx="11117">
                  <c:v>842</c:v>
                </c:pt>
                <c:pt idx="11118">
                  <c:v>868</c:v>
                </c:pt>
                <c:pt idx="11119">
                  <c:v>875</c:v>
                </c:pt>
                <c:pt idx="11120">
                  <c:v>890</c:v>
                </c:pt>
                <c:pt idx="11121">
                  <c:v>920</c:v>
                </c:pt>
                <c:pt idx="11122">
                  <c:v>868</c:v>
                </c:pt>
                <c:pt idx="11123">
                  <c:v>888</c:v>
                </c:pt>
                <c:pt idx="11124">
                  <c:v>780</c:v>
                </c:pt>
                <c:pt idx="11125">
                  <c:v>785</c:v>
                </c:pt>
                <c:pt idx="11126">
                  <c:v>735</c:v>
                </c:pt>
                <c:pt idx="11127">
                  <c:v>1255</c:v>
                </c:pt>
                <c:pt idx="11128">
                  <c:v>1095</c:v>
                </c:pt>
                <c:pt idx="11129">
                  <c:v>1026</c:v>
                </c:pt>
                <c:pt idx="11130">
                  <c:v>872</c:v>
                </c:pt>
                <c:pt idx="11131">
                  <c:v>942</c:v>
                </c:pt>
                <c:pt idx="11132">
                  <c:v>971</c:v>
                </c:pt>
                <c:pt idx="11133">
                  <c:v>948</c:v>
                </c:pt>
                <c:pt idx="11134">
                  <c:v>937</c:v>
                </c:pt>
                <c:pt idx="11135">
                  <c:v>950</c:v>
                </c:pt>
                <c:pt idx="11136">
                  <c:v>931</c:v>
                </c:pt>
                <c:pt idx="11137">
                  <c:v>963</c:v>
                </c:pt>
                <c:pt idx="11138">
                  <c:v>914</c:v>
                </c:pt>
                <c:pt idx="11139">
                  <c:v>942</c:v>
                </c:pt>
                <c:pt idx="11140">
                  <c:v>952</c:v>
                </c:pt>
                <c:pt idx="11141">
                  <c:v>948</c:v>
                </c:pt>
                <c:pt idx="11142">
                  <c:v>942</c:v>
                </c:pt>
                <c:pt idx="11143">
                  <c:v>939</c:v>
                </c:pt>
                <c:pt idx="11144">
                  <c:v>951</c:v>
                </c:pt>
                <c:pt idx="11145">
                  <c:v>946</c:v>
                </c:pt>
                <c:pt idx="11146">
                  <c:v>950</c:v>
                </c:pt>
                <c:pt idx="11147">
                  <c:v>936</c:v>
                </c:pt>
                <c:pt idx="11148">
                  <c:v>953</c:v>
                </c:pt>
                <c:pt idx="11149">
                  <c:v>924</c:v>
                </c:pt>
                <c:pt idx="11150">
                  <c:v>932</c:v>
                </c:pt>
                <c:pt idx="11151">
                  <c:v>924</c:v>
                </c:pt>
                <c:pt idx="11152">
                  <c:v>908</c:v>
                </c:pt>
                <c:pt idx="11153">
                  <c:v>930</c:v>
                </c:pt>
                <c:pt idx="11154">
                  <c:v>947</c:v>
                </c:pt>
                <c:pt idx="11155">
                  <c:v>948</c:v>
                </c:pt>
                <c:pt idx="11156">
                  <c:v>924</c:v>
                </c:pt>
                <c:pt idx="11157">
                  <c:v>916</c:v>
                </c:pt>
                <c:pt idx="11158">
                  <c:v>916</c:v>
                </c:pt>
                <c:pt idx="11159">
                  <c:v>630</c:v>
                </c:pt>
                <c:pt idx="11160">
                  <c:v>612</c:v>
                </c:pt>
                <c:pt idx="11161">
                  <c:v>632</c:v>
                </c:pt>
                <c:pt idx="11162">
                  <c:v>625</c:v>
                </c:pt>
                <c:pt idx="11163">
                  <c:v>640</c:v>
                </c:pt>
                <c:pt idx="11164">
                  <c:v>656</c:v>
                </c:pt>
                <c:pt idx="11165">
                  <c:v>645</c:v>
                </c:pt>
                <c:pt idx="11166">
                  <c:v>634</c:v>
                </c:pt>
                <c:pt idx="11167">
                  <c:v>642</c:v>
                </c:pt>
                <c:pt idx="11168">
                  <c:v>491</c:v>
                </c:pt>
                <c:pt idx="11169">
                  <c:v>495</c:v>
                </c:pt>
                <c:pt idx="11170">
                  <c:v>471</c:v>
                </c:pt>
                <c:pt idx="11171">
                  <c:v>470</c:v>
                </c:pt>
                <c:pt idx="11172">
                  <c:v>480</c:v>
                </c:pt>
                <c:pt idx="11173">
                  <c:v>452</c:v>
                </c:pt>
                <c:pt idx="11174">
                  <c:v>474</c:v>
                </c:pt>
                <c:pt idx="11175">
                  <c:v>532</c:v>
                </c:pt>
                <c:pt idx="11176">
                  <c:v>428</c:v>
                </c:pt>
                <c:pt idx="11177">
                  <c:v>464</c:v>
                </c:pt>
                <c:pt idx="11178">
                  <c:v>419</c:v>
                </c:pt>
                <c:pt idx="11179">
                  <c:v>498</c:v>
                </c:pt>
                <c:pt idx="11180">
                  <c:v>395</c:v>
                </c:pt>
                <c:pt idx="11181">
                  <c:v>395</c:v>
                </c:pt>
                <c:pt idx="11182">
                  <c:v>385</c:v>
                </c:pt>
                <c:pt idx="11183">
                  <c:v>390</c:v>
                </c:pt>
                <c:pt idx="11184">
                  <c:v>394</c:v>
                </c:pt>
                <c:pt idx="11185">
                  <c:v>388</c:v>
                </c:pt>
                <c:pt idx="11186">
                  <c:v>399</c:v>
                </c:pt>
                <c:pt idx="11187">
                  <c:v>398</c:v>
                </c:pt>
                <c:pt idx="11188">
                  <c:v>395</c:v>
                </c:pt>
                <c:pt idx="11189">
                  <c:v>432</c:v>
                </c:pt>
                <c:pt idx="11190">
                  <c:v>746</c:v>
                </c:pt>
                <c:pt idx="11191">
                  <c:v>550</c:v>
                </c:pt>
                <c:pt idx="11192">
                  <c:v>583</c:v>
                </c:pt>
                <c:pt idx="11193">
                  <c:v>494</c:v>
                </c:pt>
                <c:pt idx="11194">
                  <c:v>630</c:v>
                </c:pt>
                <c:pt idx="11195">
                  <c:v>619</c:v>
                </c:pt>
                <c:pt idx="11196">
                  <c:v>570</c:v>
                </c:pt>
                <c:pt idx="11197">
                  <c:v>606</c:v>
                </c:pt>
                <c:pt idx="11198">
                  <c:v>563</c:v>
                </c:pt>
                <c:pt idx="11199">
                  <c:v>589</c:v>
                </c:pt>
                <c:pt idx="11200">
                  <c:v>601</c:v>
                </c:pt>
                <c:pt idx="11201">
                  <c:v>619</c:v>
                </c:pt>
                <c:pt idx="11202">
                  <c:v>534</c:v>
                </c:pt>
                <c:pt idx="11203">
                  <c:v>554</c:v>
                </c:pt>
                <c:pt idx="11204">
                  <c:v>506</c:v>
                </c:pt>
                <c:pt idx="11205">
                  <c:v>669</c:v>
                </c:pt>
                <c:pt idx="11206">
                  <c:v>705</c:v>
                </c:pt>
                <c:pt idx="11207">
                  <c:v>604</c:v>
                </c:pt>
                <c:pt idx="11208">
                  <c:v>617</c:v>
                </c:pt>
                <c:pt idx="11209">
                  <c:v>749</c:v>
                </c:pt>
                <c:pt idx="11210">
                  <c:v>763</c:v>
                </c:pt>
                <c:pt idx="11211">
                  <c:v>738</c:v>
                </c:pt>
                <c:pt idx="11212">
                  <c:v>775</c:v>
                </c:pt>
                <c:pt idx="11213">
                  <c:v>927</c:v>
                </c:pt>
                <c:pt idx="11214">
                  <c:v>823</c:v>
                </c:pt>
                <c:pt idx="11215">
                  <c:v>859</c:v>
                </c:pt>
                <c:pt idx="11216">
                  <c:v>892</c:v>
                </c:pt>
                <c:pt idx="11217">
                  <c:v>853</c:v>
                </c:pt>
                <c:pt idx="11218">
                  <c:v>832</c:v>
                </c:pt>
                <c:pt idx="11219">
                  <c:v>914</c:v>
                </c:pt>
                <c:pt idx="11220">
                  <c:v>901</c:v>
                </c:pt>
                <c:pt idx="11221">
                  <c:v>943</c:v>
                </c:pt>
                <c:pt idx="11222">
                  <c:v>822</c:v>
                </c:pt>
                <c:pt idx="11223">
                  <c:v>825</c:v>
                </c:pt>
                <c:pt idx="11224">
                  <c:v>1096</c:v>
                </c:pt>
                <c:pt idx="11225">
                  <c:v>1133</c:v>
                </c:pt>
                <c:pt idx="11226">
                  <c:v>979</c:v>
                </c:pt>
                <c:pt idx="11227">
                  <c:v>887</c:v>
                </c:pt>
                <c:pt idx="11228">
                  <c:v>914</c:v>
                </c:pt>
                <c:pt idx="11229">
                  <c:v>924</c:v>
                </c:pt>
                <c:pt idx="11230">
                  <c:v>884</c:v>
                </c:pt>
                <c:pt idx="11231">
                  <c:v>864</c:v>
                </c:pt>
                <c:pt idx="11232">
                  <c:v>890</c:v>
                </c:pt>
                <c:pt idx="11233">
                  <c:v>879</c:v>
                </c:pt>
                <c:pt idx="11234">
                  <c:v>925</c:v>
                </c:pt>
                <c:pt idx="11235">
                  <c:v>942</c:v>
                </c:pt>
                <c:pt idx="11236">
                  <c:v>949</c:v>
                </c:pt>
                <c:pt idx="11237">
                  <c:v>875</c:v>
                </c:pt>
                <c:pt idx="11238">
                  <c:v>888</c:v>
                </c:pt>
                <c:pt idx="11239">
                  <c:v>905</c:v>
                </c:pt>
                <c:pt idx="11240">
                  <c:v>900</c:v>
                </c:pt>
                <c:pt idx="11241">
                  <c:v>895</c:v>
                </c:pt>
                <c:pt idx="11242">
                  <c:v>908</c:v>
                </c:pt>
                <c:pt idx="11243">
                  <c:v>919</c:v>
                </c:pt>
                <c:pt idx="11244">
                  <c:v>950</c:v>
                </c:pt>
                <c:pt idx="11245">
                  <c:v>956</c:v>
                </c:pt>
                <c:pt idx="11246">
                  <c:v>946</c:v>
                </c:pt>
                <c:pt idx="11247">
                  <c:v>866</c:v>
                </c:pt>
                <c:pt idx="11248">
                  <c:v>874</c:v>
                </c:pt>
                <c:pt idx="11249">
                  <c:v>850</c:v>
                </c:pt>
                <c:pt idx="11250">
                  <c:v>928</c:v>
                </c:pt>
                <c:pt idx="11251">
                  <c:v>909</c:v>
                </c:pt>
                <c:pt idx="11252">
                  <c:v>785</c:v>
                </c:pt>
                <c:pt idx="11253">
                  <c:v>791</c:v>
                </c:pt>
                <c:pt idx="11254">
                  <c:v>738</c:v>
                </c:pt>
                <c:pt idx="11255">
                  <c:v>629</c:v>
                </c:pt>
                <c:pt idx="11256">
                  <c:v>572</c:v>
                </c:pt>
                <c:pt idx="11257">
                  <c:v>628</c:v>
                </c:pt>
                <c:pt idx="11258">
                  <c:v>561</c:v>
                </c:pt>
                <c:pt idx="11259">
                  <c:v>580</c:v>
                </c:pt>
                <c:pt idx="11260">
                  <c:v>565</c:v>
                </c:pt>
                <c:pt idx="11261">
                  <c:v>587</c:v>
                </c:pt>
                <c:pt idx="11262">
                  <c:v>578</c:v>
                </c:pt>
                <c:pt idx="11263">
                  <c:v>596</c:v>
                </c:pt>
                <c:pt idx="11264">
                  <c:v>477</c:v>
                </c:pt>
                <c:pt idx="11265">
                  <c:v>511</c:v>
                </c:pt>
                <c:pt idx="11266">
                  <c:v>490</c:v>
                </c:pt>
                <c:pt idx="11267">
                  <c:v>482</c:v>
                </c:pt>
                <c:pt idx="11268">
                  <c:v>487</c:v>
                </c:pt>
                <c:pt idx="11269">
                  <c:v>464</c:v>
                </c:pt>
                <c:pt idx="11270">
                  <c:v>480</c:v>
                </c:pt>
                <c:pt idx="11271">
                  <c:v>483</c:v>
                </c:pt>
                <c:pt idx="11272">
                  <c:v>427</c:v>
                </c:pt>
                <c:pt idx="11273">
                  <c:v>458</c:v>
                </c:pt>
                <c:pt idx="11274">
                  <c:v>444</c:v>
                </c:pt>
                <c:pt idx="11275">
                  <c:v>423</c:v>
                </c:pt>
                <c:pt idx="11276">
                  <c:v>417</c:v>
                </c:pt>
                <c:pt idx="11277">
                  <c:v>415</c:v>
                </c:pt>
                <c:pt idx="11278">
                  <c:v>384</c:v>
                </c:pt>
                <c:pt idx="11279">
                  <c:v>412</c:v>
                </c:pt>
                <c:pt idx="11280">
                  <c:v>445</c:v>
                </c:pt>
                <c:pt idx="11281">
                  <c:v>386</c:v>
                </c:pt>
                <c:pt idx="11282">
                  <c:v>414</c:v>
                </c:pt>
                <c:pt idx="11283">
                  <c:v>368</c:v>
                </c:pt>
                <c:pt idx="11284">
                  <c:v>338</c:v>
                </c:pt>
                <c:pt idx="11285">
                  <c:v>394</c:v>
                </c:pt>
                <c:pt idx="11286">
                  <c:v>522</c:v>
                </c:pt>
                <c:pt idx="11287">
                  <c:v>645</c:v>
                </c:pt>
                <c:pt idx="11288">
                  <c:v>487</c:v>
                </c:pt>
                <c:pt idx="11289">
                  <c:v>502</c:v>
                </c:pt>
                <c:pt idx="11290">
                  <c:v>606</c:v>
                </c:pt>
                <c:pt idx="11291">
                  <c:v>524</c:v>
                </c:pt>
                <c:pt idx="11292">
                  <c:v>561</c:v>
                </c:pt>
                <c:pt idx="11293">
                  <c:v>529</c:v>
                </c:pt>
                <c:pt idx="11294">
                  <c:v>504</c:v>
                </c:pt>
                <c:pt idx="11295">
                  <c:v>518</c:v>
                </c:pt>
                <c:pt idx="11296">
                  <c:v>578</c:v>
                </c:pt>
                <c:pt idx="11297">
                  <c:v>525</c:v>
                </c:pt>
                <c:pt idx="11298">
                  <c:v>498</c:v>
                </c:pt>
                <c:pt idx="11299">
                  <c:v>547</c:v>
                </c:pt>
                <c:pt idx="11300">
                  <c:v>524</c:v>
                </c:pt>
                <c:pt idx="11301">
                  <c:v>826</c:v>
                </c:pt>
                <c:pt idx="11302">
                  <c:v>677</c:v>
                </c:pt>
                <c:pt idx="11303">
                  <c:v>623</c:v>
                </c:pt>
                <c:pt idx="11304">
                  <c:v>521</c:v>
                </c:pt>
                <c:pt idx="11305">
                  <c:v>756</c:v>
                </c:pt>
                <c:pt idx="11306">
                  <c:v>777</c:v>
                </c:pt>
                <c:pt idx="11307">
                  <c:v>727</c:v>
                </c:pt>
                <c:pt idx="11308">
                  <c:v>697</c:v>
                </c:pt>
                <c:pt idx="11309">
                  <c:v>755</c:v>
                </c:pt>
                <c:pt idx="11310">
                  <c:v>775</c:v>
                </c:pt>
                <c:pt idx="11311">
                  <c:v>838</c:v>
                </c:pt>
                <c:pt idx="11312">
                  <c:v>839</c:v>
                </c:pt>
                <c:pt idx="11313">
                  <c:v>840</c:v>
                </c:pt>
                <c:pt idx="11314">
                  <c:v>864</c:v>
                </c:pt>
                <c:pt idx="11315">
                  <c:v>861</c:v>
                </c:pt>
                <c:pt idx="11316">
                  <c:v>821</c:v>
                </c:pt>
                <c:pt idx="11317">
                  <c:v>786</c:v>
                </c:pt>
                <c:pt idx="11318">
                  <c:v>806</c:v>
                </c:pt>
                <c:pt idx="11319">
                  <c:v>796</c:v>
                </c:pt>
                <c:pt idx="11320">
                  <c:v>759</c:v>
                </c:pt>
                <c:pt idx="11321">
                  <c:v>779</c:v>
                </c:pt>
                <c:pt idx="11322">
                  <c:v>841</c:v>
                </c:pt>
                <c:pt idx="11323">
                  <c:v>760</c:v>
                </c:pt>
                <c:pt idx="11324">
                  <c:v>769</c:v>
                </c:pt>
                <c:pt idx="11325">
                  <c:v>851</c:v>
                </c:pt>
                <c:pt idx="11326">
                  <c:v>775</c:v>
                </c:pt>
                <c:pt idx="11327">
                  <c:v>1229</c:v>
                </c:pt>
                <c:pt idx="11328">
                  <c:v>1135</c:v>
                </c:pt>
                <c:pt idx="11329">
                  <c:v>938</c:v>
                </c:pt>
                <c:pt idx="11330">
                  <c:v>888</c:v>
                </c:pt>
                <c:pt idx="11331">
                  <c:v>808</c:v>
                </c:pt>
                <c:pt idx="11332">
                  <c:v>806</c:v>
                </c:pt>
                <c:pt idx="11333">
                  <c:v>779</c:v>
                </c:pt>
                <c:pt idx="11334">
                  <c:v>771</c:v>
                </c:pt>
                <c:pt idx="11335">
                  <c:v>834</c:v>
                </c:pt>
                <c:pt idx="11336">
                  <c:v>842</c:v>
                </c:pt>
                <c:pt idx="11337">
                  <c:v>833</c:v>
                </c:pt>
                <c:pt idx="11338">
                  <c:v>825</c:v>
                </c:pt>
                <c:pt idx="11339">
                  <c:v>828</c:v>
                </c:pt>
                <c:pt idx="11340">
                  <c:v>835</c:v>
                </c:pt>
                <c:pt idx="11341">
                  <c:v>848</c:v>
                </c:pt>
                <c:pt idx="11342">
                  <c:v>835</c:v>
                </c:pt>
                <c:pt idx="11343">
                  <c:v>878</c:v>
                </c:pt>
                <c:pt idx="11344">
                  <c:v>870</c:v>
                </c:pt>
                <c:pt idx="11345">
                  <c:v>889</c:v>
                </c:pt>
                <c:pt idx="11346">
                  <c:v>797</c:v>
                </c:pt>
                <c:pt idx="11347">
                  <c:v>820</c:v>
                </c:pt>
                <c:pt idx="11348">
                  <c:v>795</c:v>
                </c:pt>
                <c:pt idx="11349">
                  <c:v>805</c:v>
                </c:pt>
                <c:pt idx="11350">
                  <c:v>817</c:v>
                </c:pt>
                <c:pt idx="11351">
                  <c:v>677</c:v>
                </c:pt>
                <c:pt idx="11352">
                  <c:v>626</c:v>
                </c:pt>
                <c:pt idx="11353">
                  <c:v>612</c:v>
                </c:pt>
                <c:pt idx="11354">
                  <c:v>568</c:v>
                </c:pt>
                <c:pt idx="11355">
                  <c:v>569</c:v>
                </c:pt>
                <c:pt idx="11356">
                  <c:v>583</c:v>
                </c:pt>
                <c:pt idx="11357">
                  <c:v>585</c:v>
                </c:pt>
                <c:pt idx="11358">
                  <c:v>556</c:v>
                </c:pt>
                <c:pt idx="11359">
                  <c:v>581</c:v>
                </c:pt>
                <c:pt idx="11360">
                  <c:v>474</c:v>
                </c:pt>
                <c:pt idx="11361">
                  <c:v>486</c:v>
                </c:pt>
                <c:pt idx="11362">
                  <c:v>483</c:v>
                </c:pt>
                <c:pt idx="11363">
                  <c:v>447</c:v>
                </c:pt>
                <c:pt idx="11364">
                  <c:v>474</c:v>
                </c:pt>
                <c:pt idx="11365">
                  <c:v>465</c:v>
                </c:pt>
                <c:pt idx="11366">
                  <c:v>472</c:v>
                </c:pt>
                <c:pt idx="11367">
                  <c:v>449</c:v>
                </c:pt>
                <c:pt idx="11368">
                  <c:v>446</c:v>
                </c:pt>
                <c:pt idx="11369">
                  <c:v>423</c:v>
                </c:pt>
                <c:pt idx="11370">
                  <c:v>440</c:v>
                </c:pt>
                <c:pt idx="11371">
                  <c:v>451</c:v>
                </c:pt>
                <c:pt idx="11372">
                  <c:v>397</c:v>
                </c:pt>
                <c:pt idx="11373">
                  <c:v>419</c:v>
                </c:pt>
                <c:pt idx="11374">
                  <c:v>416</c:v>
                </c:pt>
                <c:pt idx="11375">
                  <c:v>390</c:v>
                </c:pt>
                <c:pt idx="11376">
                  <c:v>386</c:v>
                </c:pt>
                <c:pt idx="11377">
                  <c:v>396</c:v>
                </c:pt>
                <c:pt idx="11378">
                  <c:v>395</c:v>
                </c:pt>
                <c:pt idx="11379">
                  <c:v>400</c:v>
                </c:pt>
                <c:pt idx="11380">
                  <c:v>365</c:v>
                </c:pt>
                <c:pt idx="11381">
                  <c:v>360</c:v>
                </c:pt>
                <c:pt idx="11382">
                  <c:v>474</c:v>
                </c:pt>
                <c:pt idx="11383">
                  <c:v>527</c:v>
                </c:pt>
                <c:pt idx="11384">
                  <c:v>494</c:v>
                </c:pt>
                <c:pt idx="11385">
                  <c:v>447</c:v>
                </c:pt>
                <c:pt idx="11386">
                  <c:v>537</c:v>
                </c:pt>
                <c:pt idx="11387">
                  <c:v>548</c:v>
                </c:pt>
                <c:pt idx="11388">
                  <c:v>580</c:v>
                </c:pt>
                <c:pt idx="11389">
                  <c:v>614</c:v>
                </c:pt>
                <c:pt idx="11390">
                  <c:v>554</c:v>
                </c:pt>
                <c:pt idx="11391">
                  <c:v>516</c:v>
                </c:pt>
                <c:pt idx="11392">
                  <c:v>537</c:v>
                </c:pt>
                <c:pt idx="11393">
                  <c:v>521</c:v>
                </c:pt>
                <c:pt idx="11394">
                  <c:v>596</c:v>
                </c:pt>
                <c:pt idx="11395">
                  <c:v>499</c:v>
                </c:pt>
                <c:pt idx="11396">
                  <c:v>471</c:v>
                </c:pt>
                <c:pt idx="11397">
                  <c:v>624</c:v>
                </c:pt>
                <c:pt idx="11398">
                  <c:v>646</c:v>
                </c:pt>
                <c:pt idx="11399">
                  <c:v>652</c:v>
                </c:pt>
                <c:pt idx="11400">
                  <c:v>655</c:v>
                </c:pt>
                <c:pt idx="11401">
                  <c:v>604</c:v>
                </c:pt>
                <c:pt idx="11402">
                  <c:v>709</c:v>
                </c:pt>
                <c:pt idx="11403">
                  <c:v>700</c:v>
                </c:pt>
                <c:pt idx="11404">
                  <c:v>691</c:v>
                </c:pt>
                <c:pt idx="11405">
                  <c:v>744</c:v>
                </c:pt>
                <c:pt idx="11406">
                  <c:v>657</c:v>
                </c:pt>
                <c:pt idx="11407">
                  <c:v>813</c:v>
                </c:pt>
                <c:pt idx="11408">
                  <c:v>821</c:v>
                </c:pt>
                <c:pt idx="11409">
                  <c:v>822</c:v>
                </c:pt>
                <c:pt idx="11410">
                  <c:v>842</c:v>
                </c:pt>
                <c:pt idx="11411">
                  <c:v>840</c:v>
                </c:pt>
                <c:pt idx="11412">
                  <c:v>862</c:v>
                </c:pt>
                <c:pt idx="11413">
                  <c:v>882</c:v>
                </c:pt>
                <c:pt idx="11414">
                  <c:v>835</c:v>
                </c:pt>
                <c:pt idx="11415">
                  <c:v>828</c:v>
                </c:pt>
                <c:pt idx="11416">
                  <c:v>857</c:v>
                </c:pt>
                <c:pt idx="11417">
                  <c:v>833</c:v>
                </c:pt>
                <c:pt idx="11418">
                  <c:v>732</c:v>
                </c:pt>
                <c:pt idx="11419">
                  <c:v>784</c:v>
                </c:pt>
                <c:pt idx="11420">
                  <c:v>735</c:v>
                </c:pt>
                <c:pt idx="11421">
                  <c:v>765</c:v>
                </c:pt>
                <c:pt idx="11422">
                  <c:v>1182</c:v>
                </c:pt>
                <c:pt idx="11423">
                  <c:v>1137</c:v>
                </c:pt>
                <c:pt idx="11424">
                  <c:v>445</c:v>
                </c:pt>
                <c:pt idx="11425">
                  <c:v>890</c:v>
                </c:pt>
                <c:pt idx="11426">
                  <c:v>1091</c:v>
                </c:pt>
                <c:pt idx="11427">
                  <c:v>911</c:v>
                </c:pt>
                <c:pt idx="11428">
                  <c:v>923</c:v>
                </c:pt>
                <c:pt idx="11429">
                  <c:v>906</c:v>
                </c:pt>
                <c:pt idx="11430">
                  <c:v>934</c:v>
                </c:pt>
                <c:pt idx="11431">
                  <c:v>754</c:v>
                </c:pt>
                <c:pt idx="11432">
                  <c:v>760</c:v>
                </c:pt>
                <c:pt idx="11433">
                  <c:v>1055</c:v>
                </c:pt>
                <c:pt idx="11434">
                  <c:v>917</c:v>
                </c:pt>
                <c:pt idx="11435">
                  <c:v>934</c:v>
                </c:pt>
                <c:pt idx="11436">
                  <c:v>859</c:v>
                </c:pt>
                <c:pt idx="11437">
                  <c:v>837</c:v>
                </c:pt>
                <c:pt idx="11438">
                  <c:v>858</c:v>
                </c:pt>
                <c:pt idx="11439">
                  <c:v>822</c:v>
                </c:pt>
                <c:pt idx="11440">
                  <c:v>851</c:v>
                </c:pt>
                <c:pt idx="11441">
                  <c:v>687</c:v>
                </c:pt>
                <c:pt idx="11442">
                  <c:v>535</c:v>
                </c:pt>
                <c:pt idx="11443">
                  <c:v>535</c:v>
                </c:pt>
                <c:pt idx="11444">
                  <c:v>500</c:v>
                </c:pt>
                <c:pt idx="11445">
                  <c:v>502</c:v>
                </c:pt>
                <c:pt idx="11446">
                  <c:v>557</c:v>
                </c:pt>
                <c:pt idx="11447">
                  <c:v>557</c:v>
                </c:pt>
                <c:pt idx="11448">
                  <c:v>550</c:v>
                </c:pt>
                <c:pt idx="11449">
                  <c:v>609</c:v>
                </c:pt>
                <c:pt idx="11450">
                  <c:v>568</c:v>
                </c:pt>
                <c:pt idx="11451">
                  <c:v>566</c:v>
                </c:pt>
                <c:pt idx="11452">
                  <c:v>550</c:v>
                </c:pt>
                <c:pt idx="11453">
                  <c:v>546</c:v>
                </c:pt>
                <c:pt idx="11454">
                  <c:v>567</c:v>
                </c:pt>
                <c:pt idx="11455">
                  <c:v>546</c:v>
                </c:pt>
                <c:pt idx="11456">
                  <c:v>537</c:v>
                </c:pt>
                <c:pt idx="11457">
                  <c:v>503</c:v>
                </c:pt>
                <c:pt idx="11458">
                  <c:v>474</c:v>
                </c:pt>
                <c:pt idx="11459">
                  <c:v>472</c:v>
                </c:pt>
                <c:pt idx="11460">
                  <c:v>468</c:v>
                </c:pt>
                <c:pt idx="11461">
                  <c:v>433</c:v>
                </c:pt>
                <c:pt idx="11462">
                  <c:v>445</c:v>
                </c:pt>
                <c:pt idx="11463">
                  <c:v>466</c:v>
                </c:pt>
                <c:pt idx="11464">
                  <c:v>406</c:v>
                </c:pt>
                <c:pt idx="11465">
                  <c:v>458</c:v>
                </c:pt>
                <c:pt idx="11466">
                  <c:v>430</c:v>
                </c:pt>
                <c:pt idx="11467">
                  <c:v>412</c:v>
                </c:pt>
                <c:pt idx="11468">
                  <c:v>423</c:v>
                </c:pt>
                <c:pt idx="11469">
                  <c:v>419</c:v>
                </c:pt>
                <c:pt idx="11470">
                  <c:v>403</c:v>
                </c:pt>
                <c:pt idx="11471">
                  <c:v>417</c:v>
                </c:pt>
                <c:pt idx="11472">
                  <c:v>491</c:v>
                </c:pt>
                <c:pt idx="11473">
                  <c:v>467</c:v>
                </c:pt>
                <c:pt idx="11474">
                  <c:v>564</c:v>
                </c:pt>
                <c:pt idx="11475">
                  <c:v>473</c:v>
                </c:pt>
                <c:pt idx="11476">
                  <c:v>486</c:v>
                </c:pt>
                <c:pt idx="11477">
                  <c:v>473</c:v>
                </c:pt>
                <c:pt idx="11478">
                  <c:v>499</c:v>
                </c:pt>
                <c:pt idx="11479">
                  <c:v>434</c:v>
                </c:pt>
                <c:pt idx="11480">
                  <c:v>477</c:v>
                </c:pt>
                <c:pt idx="11481">
                  <c:v>449</c:v>
                </c:pt>
                <c:pt idx="11482">
                  <c:v>491</c:v>
                </c:pt>
                <c:pt idx="11483">
                  <c:v>425</c:v>
                </c:pt>
                <c:pt idx="11484">
                  <c:v>460</c:v>
                </c:pt>
                <c:pt idx="11485">
                  <c:v>437</c:v>
                </c:pt>
                <c:pt idx="11486">
                  <c:v>478</c:v>
                </c:pt>
                <c:pt idx="11487">
                  <c:v>436</c:v>
                </c:pt>
                <c:pt idx="11488">
                  <c:v>421</c:v>
                </c:pt>
                <c:pt idx="11489">
                  <c:v>430</c:v>
                </c:pt>
                <c:pt idx="11490">
                  <c:v>543</c:v>
                </c:pt>
                <c:pt idx="11491">
                  <c:v>513</c:v>
                </c:pt>
                <c:pt idx="11492">
                  <c:v>513</c:v>
                </c:pt>
                <c:pt idx="11493">
                  <c:v>523</c:v>
                </c:pt>
                <c:pt idx="11494">
                  <c:v>519</c:v>
                </c:pt>
                <c:pt idx="11495">
                  <c:v>490</c:v>
                </c:pt>
                <c:pt idx="11496">
                  <c:v>483</c:v>
                </c:pt>
                <c:pt idx="11497">
                  <c:v>478</c:v>
                </c:pt>
                <c:pt idx="11498">
                  <c:v>528</c:v>
                </c:pt>
                <c:pt idx="11499">
                  <c:v>576</c:v>
                </c:pt>
                <c:pt idx="11500">
                  <c:v>672</c:v>
                </c:pt>
                <c:pt idx="11501">
                  <c:v>743</c:v>
                </c:pt>
                <c:pt idx="11502">
                  <c:v>650</c:v>
                </c:pt>
                <c:pt idx="11503">
                  <c:v>798</c:v>
                </c:pt>
                <c:pt idx="11504">
                  <c:v>747</c:v>
                </c:pt>
                <c:pt idx="11505">
                  <c:v>745</c:v>
                </c:pt>
                <c:pt idx="11506">
                  <c:v>733</c:v>
                </c:pt>
                <c:pt idx="11507">
                  <c:v>751</c:v>
                </c:pt>
                <c:pt idx="11508">
                  <c:v>784</c:v>
                </c:pt>
                <c:pt idx="11509">
                  <c:v>766</c:v>
                </c:pt>
                <c:pt idx="11510">
                  <c:v>801</c:v>
                </c:pt>
                <c:pt idx="11511">
                  <c:v>816</c:v>
                </c:pt>
                <c:pt idx="11512">
                  <c:v>813</c:v>
                </c:pt>
                <c:pt idx="11513">
                  <c:v>792</c:v>
                </c:pt>
                <c:pt idx="11514">
                  <c:v>818</c:v>
                </c:pt>
                <c:pt idx="11515">
                  <c:v>764</c:v>
                </c:pt>
                <c:pt idx="11516">
                  <c:v>756</c:v>
                </c:pt>
                <c:pt idx="11517">
                  <c:v>783</c:v>
                </c:pt>
                <c:pt idx="11518">
                  <c:v>763</c:v>
                </c:pt>
                <c:pt idx="11519">
                  <c:v>834</c:v>
                </c:pt>
                <c:pt idx="11520">
                  <c:v>717</c:v>
                </c:pt>
                <c:pt idx="11521">
                  <c:v>746</c:v>
                </c:pt>
                <c:pt idx="11522">
                  <c:v>770</c:v>
                </c:pt>
                <c:pt idx="11523">
                  <c:v>781</c:v>
                </c:pt>
                <c:pt idx="11524">
                  <c:v>609</c:v>
                </c:pt>
                <c:pt idx="11525">
                  <c:v>632</c:v>
                </c:pt>
                <c:pt idx="11526">
                  <c:v>727</c:v>
                </c:pt>
                <c:pt idx="11527">
                  <c:v>726</c:v>
                </c:pt>
                <c:pt idx="11528">
                  <c:v>676</c:v>
                </c:pt>
                <c:pt idx="11529">
                  <c:v>731</c:v>
                </c:pt>
                <c:pt idx="11530">
                  <c:v>769</c:v>
                </c:pt>
                <c:pt idx="11531">
                  <c:v>724</c:v>
                </c:pt>
                <c:pt idx="11532">
                  <c:v>698</c:v>
                </c:pt>
                <c:pt idx="11533">
                  <c:v>676</c:v>
                </c:pt>
                <c:pt idx="11534">
                  <c:v>641</c:v>
                </c:pt>
                <c:pt idx="11535">
                  <c:v>614</c:v>
                </c:pt>
                <c:pt idx="11536">
                  <c:v>548</c:v>
                </c:pt>
                <c:pt idx="11537">
                  <c:v>541</c:v>
                </c:pt>
                <c:pt idx="11538">
                  <c:v>547</c:v>
                </c:pt>
                <c:pt idx="11539">
                  <c:v>539</c:v>
                </c:pt>
                <c:pt idx="11540">
                  <c:v>542</c:v>
                </c:pt>
                <c:pt idx="11541">
                  <c:v>576</c:v>
                </c:pt>
                <c:pt idx="11542">
                  <c:v>523</c:v>
                </c:pt>
                <c:pt idx="11543">
                  <c:v>578</c:v>
                </c:pt>
                <c:pt idx="11544">
                  <c:v>538</c:v>
                </c:pt>
                <c:pt idx="11545">
                  <c:v>557</c:v>
                </c:pt>
                <c:pt idx="11546">
                  <c:v>513</c:v>
                </c:pt>
                <c:pt idx="11547">
                  <c:v>482</c:v>
                </c:pt>
                <c:pt idx="11548">
                  <c:v>481</c:v>
                </c:pt>
                <c:pt idx="11549">
                  <c:v>479</c:v>
                </c:pt>
                <c:pt idx="11550">
                  <c:v>452</c:v>
                </c:pt>
                <c:pt idx="11551">
                  <c:v>514</c:v>
                </c:pt>
                <c:pt idx="11552">
                  <c:v>451</c:v>
                </c:pt>
                <c:pt idx="11553">
                  <c:v>445</c:v>
                </c:pt>
                <c:pt idx="11554">
                  <c:v>446</c:v>
                </c:pt>
                <c:pt idx="11555">
                  <c:v>421</c:v>
                </c:pt>
                <c:pt idx="11556">
                  <c:v>435</c:v>
                </c:pt>
                <c:pt idx="11557">
                  <c:v>434</c:v>
                </c:pt>
                <c:pt idx="11558">
                  <c:v>434</c:v>
                </c:pt>
                <c:pt idx="11559">
                  <c:v>439</c:v>
                </c:pt>
                <c:pt idx="11560">
                  <c:v>398</c:v>
                </c:pt>
                <c:pt idx="11561">
                  <c:v>406</c:v>
                </c:pt>
                <c:pt idx="11562">
                  <c:v>436</c:v>
                </c:pt>
                <c:pt idx="11563">
                  <c:v>382</c:v>
                </c:pt>
                <c:pt idx="11564">
                  <c:v>378</c:v>
                </c:pt>
                <c:pt idx="11565">
                  <c:v>313</c:v>
                </c:pt>
                <c:pt idx="11566">
                  <c:v>344</c:v>
                </c:pt>
                <c:pt idx="11567">
                  <c:v>293</c:v>
                </c:pt>
                <c:pt idx="11568">
                  <c:v>265</c:v>
                </c:pt>
                <c:pt idx="11569">
                  <c:v>255</c:v>
                </c:pt>
                <c:pt idx="11570">
                  <c:v>284</c:v>
                </c:pt>
                <c:pt idx="11571">
                  <c:v>255</c:v>
                </c:pt>
                <c:pt idx="11572">
                  <c:v>306</c:v>
                </c:pt>
                <c:pt idx="11573">
                  <c:v>253</c:v>
                </c:pt>
                <c:pt idx="11574">
                  <c:v>275</c:v>
                </c:pt>
                <c:pt idx="11575">
                  <c:v>250</c:v>
                </c:pt>
                <c:pt idx="11576">
                  <c:v>286</c:v>
                </c:pt>
                <c:pt idx="11577">
                  <c:v>231</c:v>
                </c:pt>
                <c:pt idx="11578">
                  <c:v>263</c:v>
                </c:pt>
                <c:pt idx="11579">
                  <c:v>250</c:v>
                </c:pt>
                <c:pt idx="11580">
                  <c:v>283</c:v>
                </c:pt>
                <c:pt idx="11581">
                  <c:v>276</c:v>
                </c:pt>
                <c:pt idx="11582">
                  <c:v>310</c:v>
                </c:pt>
                <c:pt idx="11583">
                  <c:v>281</c:v>
                </c:pt>
                <c:pt idx="11584">
                  <c:v>331</c:v>
                </c:pt>
                <c:pt idx="11585">
                  <c:v>340</c:v>
                </c:pt>
                <c:pt idx="11586">
                  <c:v>365</c:v>
                </c:pt>
                <c:pt idx="11587">
                  <c:v>279</c:v>
                </c:pt>
                <c:pt idx="11588">
                  <c:v>304</c:v>
                </c:pt>
                <c:pt idx="11589">
                  <c:v>325</c:v>
                </c:pt>
                <c:pt idx="11590">
                  <c:v>327</c:v>
                </c:pt>
                <c:pt idx="11591">
                  <c:v>330</c:v>
                </c:pt>
                <c:pt idx="11592">
                  <c:v>348</c:v>
                </c:pt>
                <c:pt idx="11593">
                  <c:v>330</c:v>
                </c:pt>
                <c:pt idx="11594">
                  <c:v>333</c:v>
                </c:pt>
                <c:pt idx="11595">
                  <c:v>322</c:v>
                </c:pt>
                <c:pt idx="11596">
                  <c:v>387</c:v>
                </c:pt>
                <c:pt idx="11597">
                  <c:v>326</c:v>
                </c:pt>
                <c:pt idx="11598">
                  <c:v>350</c:v>
                </c:pt>
                <c:pt idx="11599">
                  <c:v>313</c:v>
                </c:pt>
                <c:pt idx="11600">
                  <c:v>552</c:v>
                </c:pt>
                <c:pt idx="11601">
                  <c:v>423</c:v>
                </c:pt>
                <c:pt idx="11602">
                  <c:v>425</c:v>
                </c:pt>
                <c:pt idx="11603">
                  <c:v>453</c:v>
                </c:pt>
                <c:pt idx="11604">
                  <c:v>457</c:v>
                </c:pt>
                <c:pt idx="11605">
                  <c:v>554</c:v>
                </c:pt>
                <c:pt idx="11606">
                  <c:v>658</c:v>
                </c:pt>
                <c:pt idx="11607">
                  <c:v>507</c:v>
                </c:pt>
                <c:pt idx="11608">
                  <c:v>650</c:v>
                </c:pt>
                <c:pt idx="11609">
                  <c:v>739</c:v>
                </c:pt>
                <c:pt idx="11610">
                  <c:v>723</c:v>
                </c:pt>
                <c:pt idx="11611">
                  <c:v>689</c:v>
                </c:pt>
                <c:pt idx="11612">
                  <c:v>633</c:v>
                </c:pt>
                <c:pt idx="11613">
                  <c:v>637</c:v>
                </c:pt>
                <c:pt idx="11614">
                  <c:v>642</c:v>
                </c:pt>
                <c:pt idx="11615">
                  <c:v>692</c:v>
                </c:pt>
                <c:pt idx="11616">
                  <c:v>662</c:v>
                </c:pt>
                <c:pt idx="11617">
                  <c:v>618</c:v>
                </c:pt>
                <c:pt idx="11618">
                  <c:v>614</c:v>
                </c:pt>
                <c:pt idx="11619">
                  <c:v>593</c:v>
                </c:pt>
                <c:pt idx="11620">
                  <c:v>608</c:v>
                </c:pt>
                <c:pt idx="11621">
                  <c:v>666</c:v>
                </c:pt>
                <c:pt idx="11622">
                  <c:v>685</c:v>
                </c:pt>
                <c:pt idx="11623">
                  <c:v>628</c:v>
                </c:pt>
                <c:pt idx="11624">
                  <c:v>473</c:v>
                </c:pt>
                <c:pt idx="11625">
                  <c:v>480</c:v>
                </c:pt>
                <c:pt idx="11626">
                  <c:v>563</c:v>
                </c:pt>
                <c:pt idx="11627">
                  <c:v>559</c:v>
                </c:pt>
                <c:pt idx="11628">
                  <c:v>654</c:v>
                </c:pt>
                <c:pt idx="11629">
                  <c:v>457</c:v>
                </c:pt>
                <c:pt idx="11630">
                  <c:v>507</c:v>
                </c:pt>
                <c:pt idx="11631">
                  <c:v>481</c:v>
                </c:pt>
                <c:pt idx="11632">
                  <c:v>491</c:v>
                </c:pt>
                <c:pt idx="11633">
                  <c:v>485</c:v>
                </c:pt>
                <c:pt idx="11634">
                  <c:v>477</c:v>
                </c:pt>
                <c:pt idx="11635">
                  <c:v>483</c:v>
                </c:pt>
                <c:pt idx="11636">
                  <c:v>468</c:v>
                </c:pt>
                <c:pt idx="11637">
                  <c:v>422</c:v>
                </c:pt>
                <c:pt idx="11638">
                  <c:v>471</c:v>
                </c:pt>
                <c:pt idx="11639">
                  <c:v>411</c:v>
                </c:pt>
                <c:pt idx="11640">
                  <c:v>336</c:v>
                </c:pt>
                <c:pt idx="11641">
                  <c:v>292</c:v>
                </c:pt>
                <c:pt idx="11642">
                  <c:v>264</c:v>
                </c:pt>
                <c:pt idx="11643">
                  <c:v>227</c:v>
                </c:pt>
                <c:pt idx="11644">
                  <c:v>248</c:v>
                </c:pt>
                <c:pt idx="11645">
                  <c:v>260</c:v>
                </c:pt>
                <c:pt idx="11646">
                  <c:v>257</c:v>
                </c:pt>
                <c:pt idx="11647">
                  <c:v>259</c:v>
                </c:pt>
                <c:pt idx="11648">
                  <c:v>158</c:v>
                </c:pt>
                <c:pt idx="11649">
                  <c:v>225</c:v>
                </c:pt>
                <c:pt idx="11650">
                  <c:v>232</c:v>
                </c:pt>
                <c:pt idx="11651">
                  <c:v>262</c:v>
                </c:pt>
                <c:pt idx="11652">
                  <c:v>171</c:v>
                </c:pt>
                <c:pt idx="11653">
                  <c:v>257</c:v>
                </c:pt>
                <c:pt idx="11654">
                  <c:v>204</c:v>
                </c:pt>
                <c:pt idx="11655">
                  <c:v>231</c:v>
                </c:pt>
                <c:pt idx="11656">
                  <c:v>231</c:v>
                </c:pt>
                <c:pt idx="11657">
                  <c:v>195</c:v>
                </c:pt>
                <c:pt idx="11658">
                  <c:v>179</c:v>
                </c:pt>
                <c:pt idx="11659">
                  <c:v>192</c:v>
                </c:pt>
                <c:pt idx="11660">
                  <c:v>179</c:v>
                </c:pt>
                <c:pt idx="11661">
                  <c:v>219</c:v>
                </c:pt>
                <c:pt idx="11662">
                  <c:v>318</c:v>
                </c:pt>
                <c:pt idx="11663">
                  <c:v>320</c:v>
                </c:pt>
                <c:pt idx="11664">
                  <c:v>378</c:v>
                </c:pt>
                <c:pt idx="11665">
                  <c:v>374</c:v>
                </c:pt>
                <c:pt idx="11666">
                  <c:v>386</c:v>
                </c:pt>
                <c:pt idx="11667">
                  <c:v>323</c:v>
                </c:pt>
                <c:pt idx="11668">
                  <c:v>356</c:v>
                </c:pt>
                <c:pt idx="11669">
                  <c:v>347</c:v>
                </c:pt>
                <c:pt idx="11670">
                  <c:v>339</c:v>
                </c:pt>
                <c:pt idx="11671">
                  <c:v>329</c:v>
                </c:pt>
                <c:pt idx="11672">
                  <c:v>335</c:v>
                </c:pt>
                <c:pt idx="11673">
                  <c:v>438</c:v>
                </c:pt>
                <c:pt idx="11674">
                  <c:v>376</c:v>
                </c:pt>
                <c:pt idx="11675">
                  <c:v>447</c:v>
                </c:pt>
                <c:pt idx="11676">
                  <c:v>393</c:v>
                </c:pt>
                <c:pt idx="11677">
                  <c:v>602</c:v>
                </c:pt>
                <c:pt idx="11678">
                  <c:v>465</c:v>
                </c:pt>
                <c:pt idx="11679">
                  <c:v>416</c:v>
                </c:pt>
                <c:pt idx="11680">
                  <c:v>555</c:v>
                </c:pt>
                <c:pt idx="11681">
                  <c:v>651</c:v>
                </c:pt>
                <c:pt idx="11682">
                  <c:v>576</c:v>
                </c:pt>
                <c:pt idx="11683">
                  <c:v>580</c:v>
                </c:pt>
                <c:pt idx="11684">
                  <c:v>623</c:v>
                </c:pt>
                <c:pt idx="11685">
                  <c:v>628</c:v>
                </c:pt>
                <c:pt idx="11686">
                  <c:v>617</c:v>
                </c:pt>
                <c:pt idx="11687">
                  <c:v>720</c:v>
                </c:pt>
                <c:pt idx="11688">
                  <c:v>754</c:v>
                </c:pt>
                <c:pt idx="11689">
                  <c:v>764</c:v>
                </c:pt>
                <c:pt idx="11690">
                  <c:v>757</c:v>
                </c:pt>
                <c:pt idx="11691">
                  <c:v>720</c:v>
                </c:pt>
                <c:pt idx="11692">
                  <c:v>693</c:v>
                </c:pt>
                <c:pt idx="11693">
                  <c:v>726</c:v>
                </c:pt>
                <c:pt idx="11694">
                  <c:v>713</c:v>
                </c:pt>
                <c:pt idx="11695">
                  <c:v>739</c:v>
                </c:pt>
                <c:pt idx="11696">
                  <c:v>740</c:v>
                </c:pt>
                <c:pt idx="11697">
                  <c:v>854</c:v>
                </c:pt>
                <c:pt idx="11698">
                  <c:v>818</c:v>
                </c:pt>
                <c:pt idx="11699">
                  <c:v>734</c:v>
                </c:pt>
                <c:pt idx="11700">
                  <c:v>788</c:v>
                </c:pt>
                <c:pt idx="11701">
                  <c:v>840</c:v>
                </c:pt>
                <c:pt idx="11702">
                  <c:v>836</c:v>
                </c:pt>
                <c:pt idx="11703">
                  <c:v>844</c:v>
                </c:pt>
                <c:pt idx="11704">
                  <c:v>852</c:v>
                </c:pt>
                <c:pt idx="11705">
                  <c:v>9</c:v>
                </c:pt>
                <c:pt idx="11706">
                  <c:v>910</c:v>
                </c:pt>
                <c:pt idx="11707">
                  <c:v>554</c:v>
                </c:pt>
                <c:pt idx="11708">
                  <c:v>649</c:v>
                </c:pt>
                <c:pt idx="11709">
                  <c:v>1368</c:v>
                </c:pt>
                <c:pt idx="11710">
                  <c:v>1295</c:v>
                </c:pt>
                <c:pt idx="11711">
                  <c:v>1252</c:v>
                </c:pt>
                <c:pt idx="11712">
                  <c:v>1206</c:v>
                </c:pt>
                <c:pt idx="11713">
                  <c:v>1189</c:v>
                </c:pt>
                <c:pt idx="11714">
                  <c:v>1009</c:v>
                </c:pt>
                <c:pt idx="11715">
                  <c:v>1012</c:v>
                </c:pt>
                <c:pt idx="11716">
                  <c:v>968</c:v>
                </c:pt>
                <c:pt idx="11717">
                  <c:v>995</c:v>
                </c:pt>
                <c:pt idx="11718">
                  <c:v>991</c:v>
                </c:pt>
                <c:pt idx="11719">
                  <c:v>864</c:v>
                </c:pt>
                <c:pt idx="11720">
                  <c:v>884</c:v>
                </c:pt>
                <c:pt idx="11721">
                  <c:v>876</c:v>
                </c:pt>
                <c:pt idx="11722">
                  <c:v>859</c:v>
                </c:pt>
                <c:pt idx="11723">
                  <c:v>789</c:v>
                </c:pt>
                <c:pt idx="11724">
                  <c:v>836</c:v>
                </c:pt>
                <c:pt idx="11725">
                  <c:v>750</c:v>
                </c:pt>
                <c:pt idx="11726">
                  <c:v>551</c:v>
                </c:pt>
                <c:pt idx="11727">
                  <c:v>515</c:v>
                </c:pt>
                <c:pt idx="11728">
                  <c:v>477</c:v>
                </c:pt>
                <c:pt idx="11729">
                  <c:v>480</c:v>
                </c:pt>
                <c:pt idx="11730">
                  <c:v>510</c:v>
                </c:pt>
                <c:pt idx="11731">
                  <c:v>622</c:v>
                </c:pt>
                <c:pt idx="11732">
                  <c:v>528</c:v>
                </c:pt>
                <c:pt idx="11733">
                  <c:v>527</c:v>
                </c:pt>
                <c:pt idx="11734">
                  <c:v>484</c:v>
                </c:pt>
                <c:pt idx="11735">
                  <c:v>480</c:v>
                </c:pt>
                <c:pt idx="11736">
                  <c:v>461</c:v>
                </c:pt>
                <c:pt idx="11737">
                  <c:v>446</c:v>
                </c:pt>
                <c:pt idx="11738">
                  <c:v>505</c:v>
                </c:pt>
                <c:pt idx="11739">
                  <c:v>436</c:v>
                </c:pt>
                <c:pt idx="11740">
                  <c:v>472</c:v>
                </c:pt>
                <c:pt idx="11741">
                  <c:v>428</c:v>
                </c:pt>
                <c:pt idx="11742">
                  <c:v>458</c:v>
                </c:pt>
                <c:pt idx="11743">
                  <c:v>383</c:v>
                </c:pt>
                <c:pt idx="11744">
                  <c:v>415</c:v>
                </c:pt>
                <c:pt idx="11745">
                  <c:v>379</c:v>
                </c:pt>
                <c:pt idx="11746">
                  <c:v>407</c:v>
                </c:pt>
                <c:pt idx="11747">
                  <c:v>371</c:v>
                </c:pt>
                <c:pt idx="11748">
                  <c:v>386</c:v>
                </c:pt>
                <c:pt idx="11749">
                  <c:v>355</c:v>
                </c:pt>
                <c:pt idx="11750">
                  <c:v>355</c:v>
                </c:pt>
                <c:pt idx="11751">
                  <c:v>339</c:v>
                </c:pt>
                <c:pt idx="11752">
                  <c:v>380</c:v>
                </c:pt>
                <c:pt idx="11753">
                  <c:v>323</c:v>
                </c:pt>
                <c:pt idx="11754">
                  <c:v>364</c:v>
                </c:pt>
                <c:pt idx="11755">
                  <c:v>313</c:v>
                </c:pt>
                <c:pt idx="11756">
                  <c:v>338</c:v>
                </c:pt>
                <c:pt idx="11757">
                  <c:v>292</c:v>
                </c:pt>
                <c:pt idx="11758">
                  <c:v>468</c:v>
                </c:pt>
                <c:pt idx="11759">
                  <c:v>335</c:v>
                </c:pt>
                <c:pt idx="11760">
                  <c:v>342</c:v>
                </c:pt>
                <c:pt idx="11761">
                  <c:v>373</c:v>
                </c:pt>
                <c:pt idx="11762">
                  <c:v>483</c:v>
                </c:pt>
                <c:pt idx="11763">
                  <c:v>386</c:v>
                </c:pt>
                <c:pt idx="11764">
                  <c:v>407</c:v>
                </c:pt>
                <c:pt idx="11765">
                  <c:v>358</c:v>
                </c:pt>
                <c:pt idx="11766">
                  <c:v>373</c:v>
                </c:pt>
                <c:pt idx="11767">
                  <c:v>408</c:v>
                </c:pt>
                <c:pt idx="11768">
                  <c:v>358</c:v>
                </c:pt>
                <c:pt idx="11769">
                  <c:v>373</c:v>
                </c:pt>
                <c:pt idx="11770">
                  <c:v>356</c:v>
                </c:pt>
                <c:pt idx="11771">
                  <c:v>364</c:v>
                </c:pt>
                <c:pt idx="11772">
                  <c:v>471</c:v>
                </c:pt>
                <c:pt idx="11773">
                  <c:v>613</c:v>
                </c:pt>
                <c:pt idx="11774">
                  <c:v>541</c:v>
                </c:pt>
                <c:pt idx="11775">
                  <c:v>633</c:v>
                </c:pt>
                <c:pt idx="11776">
                  <c:v>601</c:v>
                </c:pt>
                <c:pt idx="11777">
                  <c:v>646</c:v>
                </c:pt>
                <c:pt idx="11778">
                  <c:v>653</c:v>
                </c:pt>
                <c:pt idx="11779">
                  <c:v>658</c:v>
                </c:pt>
                <c:pt idx="11780">
                  <c:v>632</c:v>
                </c:pt>
                <c:pt idx="11781">
                  <c:v>668</c:v>
                </c:pt>
                <c:pt idx="11782">
                  <c:v>768</c:v>
                </c:pt>
                <c:pt idx="11783">
                  <c:v>844</c:v>
                </c:pt>
                <c:pt idx="11784">
                  <c:v>880</c:v>
                </c:pt>
                <c:pt idx="11785">
                  <c:v>860</c:v>
                </c:pt>
                <c:pt idx="11786">
                  <c:v>858</c:v>
                </c:pt>
                <c:pt idx="11787">
                  <c:v>892</c:v>
                </c:pt>
                <c:pt idx="11788">
                  <c:v>894</c:v>
                </c:pt>
                <c:pt idx="11789">
                  <c:v>889</c:v>
                </c:pt>
                <c:pt idx="11790">
                  <c:v>812</c:v>
                </c:pt>
                <c:pt idx="11791">
                  <c:v>833</c:v>
                </c:pt>
                <c:pt idx="11792">
                  <c:v>807</c:v>
                </c:pt>
                <c:pt idx="11793">
                  <c:v>788</c:v>
                </c:pt>
                <c:pt idx="11794">
                  <c:v>837</c:v>
                </c:pt>
                <c:pt idx="11795">
                  <c:v>868</c:v>
                </c:pt>
                <c:pt idx="11796">
                  <c:v>1206</c:v>
                </c:pt>
                <c:pt idx="11797">
                  <c:v>1204</c:v>
                </c:pt>
                <c:pt idx="11798">
                  <c:v>1304</c:v>
                </c:pt>
                <c:pt idx="11799">
                  <c:v>1056</c:v>
                </c:pt>
                <c:pt idx="11800">
                  <c:v>1022</c:v>
                </c:pt>
                <c:pt idx="11801">
                  <c:v>1047</c:v>
                </c:pt>
                <c:pt idx="11802">
                  <c:v>934</c:v>
                </c:pt>
                <c:pt idx="11803">
                  <c:v>918</c:v>
                </c:pt>
                <c:pt idx="11804">
                  <c:v>885</c:v>
                </c:pt>
                <c:pt idx="11805">
                  <c:v>938</c:v>
                </c:pt>
                <c:pt idx="11806">
                  <c:v>871</c:v>
                </c:pt>
                <c:pt idx="11807">
                  <c:v>968</c:v>
                </c:pt>
                <c:pt idx="11808">
                  <c:v>960</c:v>
                </c:pt>
                <c:pt idx="11809">
                  <c:v>924</c:v>
                </c:pt>
                <c:pt idx="11810">
                  <c:v>875</c:v>
                </c:pt>
                <c:pt idx="11811">
                  <c:v>880</c:v>
                </c:pt>
                <c:pt idx="11812">
                  <c:v>779</c:v>
                </c:pt>
                <c:pt idx="11813">
                  <c:v>718</c:v>
                </c:pt>
                <c:pt idx="11814">
                  <c:v>682</c:v>
                </c:pt>
                <c:pt idx="11815">
                  <c:v>872</c:v>
                </c:pt>
                <c:pt idx="11816">
                  <c:v>867</c:v>
                </c:pt>
                <c:pt idx="11817">
                  <c:v>886</c:v>
                </c:pt>
                <c:pt idx="11818">
                  <c:v>908</c:v>
                </c:pt>
                <c:pt idx="11819">
                  <c:v>849</c:v>
                </c:pt>
                <c:pt idx="11820">
                  <c:v>787</c:v>
                </c:pt>
                <c:pt idx="11821">
                  <c:v>766</c:v>
                </c:pt>
                <c:pt idx="11822">
                  <c:v>650</c:v>
                </c:pt>
                <c:pt idx="11823">
                  <c:v>561</c:v>
                </c:pt>
                <c:pt idx="11824">
                  <c:v>521</c:v>
                </c:pt>
                <c:pt idx="11825">
                  <c:v>469</c:v>
                </c:pt>
                <c:pt idx="11826">
                  <c:v>484</c:v>
                </c:pt>
                <c:pt idx="11827">
                  <c:v>483</c:v>
                </c:pt>
                <c:pt idx="11828">
                  <c:v>470</c:v>
                </c:pt>
                <c:pt idx="11829">
                  <c:v>453</c:v>
                </c:pt>
                <c:pt idx="11830">
                  <c:v>448</c:v>
                </c:pt>
                <c:pt idx="11831">
                  <c:v>397</c:v>
                </c:pt>
                <c:pt idx="11832">
                  <c:v>371</c:v>
                </c:pt>
                <c:pt idx="11833">
                  <c:v>316</c:v>
                </c:pt>
                <c:pt idx="11834">
                  <c:v>354</c:v>
                </c:pt>
                <c:pt idx="11835">
                  <c:v>338</c:v>
                </c:pt>
                <c:pt idx="11836">
                  <c:v>310</c:v>
                </c:pt>
                <c:pt idx="11837">
                  <c:v>329</c:v>
                </c:pt>
                <c:pt idx="11838">
                  <c:v>325</c:v>
                </c:pt>
                <c:pt idx="11839">
                  <c:v>239</c:v>
                </c:pt>
                <c:pt idx="11840">
                  <c:v>311</c:v>
                </c:pt>
                <c:pt idx="11841">
                  <c:v>299</c:v>
                </c:pt>
                <c:pt idx="11842">
                  <c:v>252</c:v>
                </c:pt>
                <c:pt idx="11843">
                  <c:v>296</c:v>
                </c:pt>
                <c:pt idx="11844">
                  <c:v>237</c:v>
                </c:pt>
                <c:pt idx="11845">
                  <c:v>246</c:v>
                </c:pt>
                <c:pt idx="11846">
                  <c:v>226</c:v>
                </c:pt>
                <c:pt idx="11847">
                  <c:v>232</c:v>
                </c:pt>
                <c:pt idx="11848">
                  <c:v>245</c:v>
                </c:pt>
                <c:pt idx="11849">
                  <c:v>247</c:v>
                </c:pt>
                <c:pt idx="11850">
                  <c:v>239</c:v>
                </c:pt>
                <c:pt idx="11851">
                  <c:v>218</c:v>
                </c:pt>
                <c:pt idx="11852">
                  <c:v>239</c:v>
                </c:pt>
                <c:pt idx="11853">
                  <c:v>261</c:v>
                </c:pt>
                <c:pt idx="11854">
                  <c:v>334</c:v>
                </c:pt>
                <c:pt idx="11855">
                  <c:v>268</c:v>
                </c:pt>
                <c:pt idx="11856">
                  <c:v>291</c:v>
                </c:pt>
                <c:pt idx="11857">
                  <c:v>313</c:v>
                </c:pt>
                <c:pt idx="11858">
                  <c:v>390</c:v>
                </c:pt>
                <c:pt idx="11859">
                  <c:v>327</c:v>
                </c:pt>
                <c:pt idx="11860">
                  <c:v>358</c:v>
                </c:pt>
                <c:pt idx="11861">
                  <c:v>329</c:v>
                </c:pt>
                <c:pt idx="11862">
                  <c:v>326</c:v>
                </c:pt>
                <c:pt idx="11863">
                  <c:v>293</c:v>
                </c:pt>
                <c:pt idx="11864">
                  <c:v>338</c:v>
                </c:pt>
                <c:pt idx="11865">
                  <c:v>332</c:v>
                </c:pt>
                <c:pt idx="11866">
                  <c:v>306</c:v>
                </c:pt>
                <c:pt idx="11867">
                  <c:v>297</c:v>
                </c:pt>
                <c:pt idx="11868">
                  <c:v>417</c:v>
                </c:pt>
                <c:pt idx="11869">
                  <c:v>391</c:v>
                </c:pt>
                <c:pt idx="11870">
                  <c:v>477</c:v>
                </c:pt>
                <c:pt idx="11871">
                  <c:v>537</c:v>
                </c:pt>
                <c:pt idx="11872">
                  <c:v>546</c:v>
                </c:pt>
                <c:pt idx="11873">
                  <c:v>565</c:v>
                </c:pt>
                <c:pt idx="11874">
                  <c:v>517</c:v>
                </c:pt>
                <c:pt idx="11875">
                  <c:v>508</c:v>
                </c:pt>
                <c:pt idx="11876">
                  <c:v>534</c:v>
                </c:pt>
                <c:pt idx="11877">
                  <c:v>548</c:v>
                </c:pt>
                <c:pt idx="11878">
                  <c:v>674</c:v>
                </c:pt>
                <c:pt idx="11879">
                  <c:v>712</c:v>
                </c:pt>
                <c:pt idx="11880">
                  <c:v>669</c:v>
                </c:pt>
                <c:pt idx="11881">
                  <c:v>644</c:v>
                </c:pt>
                <c:pt idx="11882">
                  <c:v>679</c:v>
                </c:pt>
                <c:pt idx="11883">
                  <c:v>697</c:v>
                </c:pt>
                <c:pt idx="11884">
                  <c:v>706</c:v>
                </c:pt>
                <c:pt idx="11885">
                  <c:v>671</c:v>
                </c:pt>
                <c:pt idx="11886">
                  <c:v>654</c:v>
                </c:pt>
                <c:pt idx="11887">
                  <c:v>669</c:v>
                </c:pt>
                <c:pt idx="11888">
                  <c:v>786</c:v>
                </c:pt>
                <c:pt idx="11889">
                  <c:v>766</c:v>
                </c:pt>
                <c:pt idx="11890">
                  <c:v>783</c:v>
                </c:pt>
                <c:pt idx="11891">
                  <c:v>759</c:v>
                </c:pt>
                <c:pt idx="11892">
                  <c:v>756</c:v>
                </c:pt>
                <c:pt idx="11893">
                  <c:v>781</c:v>
                </c:pt>
                <c:pt idx="11894">
                  <c:v>841</c:v>
                </c:pt>
                <c:pt idx="11895">
                  <c:v>1168</c:v>
                </c:pt>
                <c:pt idx="11896">
                  <c:v>1168</c:v>
                </c:pt>
                <c:pt idx="11897">
                  <c:v>952</c:v>
                </c:pt>
                <c:pt idx="11898">
                  <c:v>974</c:v>
                </c:pt>
                <c:pt idx="11899">
                  <c:v>971</c:v>
                </c:pt>
                <c:pt idx="11900">
                  <c:v>1006</c:v>
                </c:pt>
                <c:pt idx="11901">
                  <c:v>916</c:v>
                </c:pt>
                <c:pt idx="11902">
                  <c:v>867</c:v>
                </c:pt>
                <c:pt idx="11903">
                  <c:v>847</c:v>
                </c:pt>
                <c:pt idx="11904">
                  <c:v>925</c:v>
                </c:pt>
                <c:pt idx="11905">
                  <c:v>942</c:v>
                </c:pt>
                <c:pt idx="11906">
                  <c:v>891</c:v>
                </c:pt>
                <c:pt idx="11907">
                  <c:v>844</c:v>
                </c:pt>
                <c:pt idx="11908">
                  <c:v>878</c:v>
                </c:pt>
                <c:pt idx="11909">
                  <c:v>880</c:v>
                </c:pt>
                <c:pt idx="11910">
                  <c:v>862</c:v>
                </c:pt>
                <c:pt idx="11911">
                  <c:v>915</c:v>
                </c:pt>
                <c:pt idx="11912">
                  <c:v>926</c:v>
                </c:pt>
                <c:pt idx="11913">
                  <c:v>918</c:v>
                </c:pt>
                <c:pt idx="11914">
                  <c:v>930</c:v>
                </c:pt>
                <c:pt idx="11915">
                  <c:v>927</c:v>
                </c:pt>
                <c:pt idx="11916">
                  <c:v>876</c:v>
                </c:pt>
                <c:pt idx="11917">
                  <c:v>865</c:v>
                </c:pt>
                <c:pt idx="11918">
                  <c:v>666</c:v>
                </c:pt>
                <c:pt idx="11919">
                  <c:v>663</c:v>
                </c:pt>
                <c:pt idx="11920">
                  <c:v>583</c:v>
                </c:pt>
                <c:pt idx="11921">
                  <c:v>532</c:v>
                </c:pt>
                <c:pt idx="11922">
                  <c:v>520</c:v>
                </c:pt>
                <c:pt idx="11923">
                  <c:v>543</c:v>
                </c:pt>
                <c:pt idx="11924">
                  <c:v>592</c:v>
                </c:pt>
                <c:pt idx="11925">
                  <c:v>560</c:v>
                </c:pt>
                <c:pt idx="11926">
                  <c:v>587</c:v>
                </c:pt>
                <c:pt idx="11927">
                  <c:v>475</c:v>
                </c:pt>
                <c:pt idx="11928">
                  <c:v>407</c:v>
                </c:pt>
                <c:pt idx="11929">
                  <c:v>383</c:v>
                </c:pt>
                <c:pt idx="11930">
                  <c:v>393</c:v>
                </c:pt>
                <c:pt idx="11931">
                  <c:v>388</c:v>
                </c:pt>
                <c:pt idx="11932">
                  <c:v>388</c:v>
                </c:pt>
                <c:pt idx="11933">
                  <c:v>383</c:v>
                </c:pt>
                <c:pt idx="11934">
                  <c:v>392</c:v>
                </c:pt>
                <c:pt idx="11935">
                  <c:v>358</c:v>
                </c:pt>
                <c:pt idx="11936">
                  <c:v>337</c:v>
                </c:pt>
                <c:pt idx="11937">
                  <c:v>340</c:v>
                </c:pt>
                <c:pt idx="11938">
                  <c:v>333</c:v>
                </c:pt>
                <c:pt idx="11939">
                  <c:v>361</c:v>
                </c:pt>
                <c:pt idx="11940">
                  <c:v>363</c:v>
                </c:pt>
                <c:pt idx="11941">
                  <c:v>343</c:v>
                </c:pt>
                <c:pt idx="11942">
                  <c:v>348</c:v>
                </c:pt>
                <c:pt idx="11943">
                  <c:v>346</c:v>
                </c:pt>
                <c:pt idx="11944">
                  <c:v>345</c:v>
                </c:pt>
                <c:pt idx="11945">
                  <c:v>334</c:v>
                </c:pt>
                <c:pt idx="11946">
                  <c:v>329</c:v>
                </c:pt>
                <c:pt idx="11947">
                  <c:v>272</c:v>
                </c:pt>
                <c:pt idx="11948">
                  <c:v>274</c:v>
                </c:pt>
                <c:pt idx="11949">
                  <c:v>315</c:v>
                </c:pt>
                <c:pt idx="11950">
                  <c:v>381</c:v>
                </c:pt>
                <c:pt idx="11951">
                  <c:v>342</c:v>
                </c:pt>
                <c:pt idx="11952">
                  <c:v>345</c:v>
                </c:pt>
                <c:pt idx="11953">
                  <c:v>378</c:v>
                </c:pt>
                <c:pt idx="11954">
                  <c:v>465</c:v>
                </c:pt>
                <c:pt idx="11955">
                  <c:v>422</c:v>
                </c:pt>
                <c:pt idx="11956">
                  <c:v>431</c:v>
                </c:pt>
                <c:pt idx="11957">
                  <c:v>390</c:v>
                </c:pt>
                <c:pt idx="11958">
                  <c:v>421</c:v>
                </c:pt>
                <c:pt idx="11959">
                  <c:v>389</c:v>
                </c:pt>
                <c:pt idx="11960">
                  <c:v>392</c:v>
                </c:pt>
                <c:pt idx="11961">
                  <c:v>381</c:v>
                </c:pt>
                <c:pt idx="11962">
                  <c:v>381</c:v>
                </c:pt>
                <c:pt idx="11963">
                  <c:v>388</c:v>
                </c:pt>
                <c:pt idx="11964">
                  <c:v>507</c:v>
                </c:pt>
                <c:pt idx="11965">
                  <c:v>535</c:v>
                </c:pt>
                <c:pt idx="11966">
                  <c:v>533</c:v>
                </c:pt>
                <c:pt idx="11967">
                  <c:v>577</c:v>
                </c:pt>
                <c:pt idx="11968">
                  <c:v>666</c:v>
                </c:pt>
                <c:pt idx="11969">
                  <c:v>703</c:v>
                </c:pt>
                <c:pt idx="11970">
                  <c:v>712</c:v>
                </c:pt>
                <c:pt idx="11971">
                  <c:v>698</c:v>
                </c:pt>
                <c:pt idx="11972">
                  <c:v>696</c:v>
                </c:pt>
                <c:pt idx="11973">
                  <c:v>784</c:v>
                </c:pt>
                <c:pt idx="11974">
                  <c:v>794</c:v>
                </c:pt>
                <c:pt idx="11975">
                  <c:v>765</c:v>
                </c:pt>
                <c:pt idx="11976">
                  <c:v>828</c:v>
                </c:pt>
                <c:pt idx="11977">
                  <c:v>734</c:v>
                </c:pt>
                <c:pt idx="11978">
                  <c:v>747</c:v>
                </c:pt>
                <c:pt idx="11979">
                  <c:v>771</c:v>
                </c:pt>
                <c:pt idx="11980">
                  <c:v>894</c:v>
                </c:pt>
                <c:pt idx="11981">
                  <c:v>818</c:v>
                </c:pt>
                <c:pt idx="11982">
                  <c:v>809</c:v>
                </c:pt>
                <c:pt idx="11983">
                  <c:v>840</c:v>
                </c:pt>
                <c:pt idx="11984">
                  <c:v>859</c:v>
                </c:pt>
                <c:pt idx="11985">
                  <c:v>698</c:v>
                </c:pt>
                <c:pt idx="11986">
                  <c:v>1309</c:v>
                </c:pt>
                <c:pt idx="11987">
                  <c:v>1245</c:v>
                </c:pt>
                <c:pt idx="11988">
                  <c:v>1152</c:v>
                </c:pt>
                <c:pt idx="11989">
                  <c:v>1044</c:v>
                </c:pt>
                <c:pt idx="11990">
                  <c:v>1060</c:v>
                </c:pt>
                <c:pt idx="11991">
                  <c:v>1052</c:v>
                </c:pt>
                <c:pt idx="11992">
                  <c:v>1037</c:v>
                </c:pt>
                <c:pt idx="11993">
                  <c:v>1022</c:v>
                </c:pt>
                <c:pt idx="11994">
                  <c:v>1012</c:v>
                </c:pt>
                <c:pt idx="11995">
                  <c:v>1062</c:v>
                </c:pt>
                <c:pt idx="11996">
                  <c:v>1054</c:v>
                </c:pt>
                <c:pt idx="11997">
                  <c:v>1080</c:v>
                </c:pt>
                <c:pt idx="11998">
                  <c:v>1053</c:v>
                </c:pt>
                <c:pt idx="11999">
                  <c:v>1059</c:v>
                </c:pt>
                <c:pt idx="12000">
                  <c:v>1070</c:v>
                </c:pt>
                <c:pt idx="12001">
                  <c:v>1057</c:v>
                </c:pt>
                <c:pt idx="12002">
                  <c:v>1043</c:v>
                </c:pt>
                <c:pt idx="12003">
                  <c:v>1045</c:v>
                </c:pt>
                <c:pt idx="12004">
                  <c:v>1026</c:v>
                </c:pt>
                <c:pt idx="12005">
                  <c:v>1011</c:v>
                </c:pt>
                <c:pt idx="12006">
                  <c:v>998</c:v>
                </c:pt>
                <c:pt idx="12007">
                  <c:v>938</c:v>
                </c:pt>
                <c:pt idx="12008">
                  <c:v>916</c:v>
                </c:pt>
                <c:pt idx="12009">
                  <c:v>921</c:v>
                </c:pt>
                <c:pt idx="12010">
                  <c:v>657</c:v>
                </c:pt>
                <c:pt idx="12011">
                  <c:v>613</c:v>
                </c:pt>
                <c:pt idx="12012">
                  <c:v>644</c:v>
                </c:pt>
                <c:pt idx="12013">
                  <c:v>610</c:v>
                </c:pt>
                <c:pt idx="12014">
                  <c:v>601</c:v>
                </c:pt>
                <c:pt idx="12015">
                  <c:v>550</c:v>
                </c:pt>
                <c:pt idx="12016">
                  <c:v>545</c:v>
                </c:pt>
                <c:pt idx="12017">
                  <c:v>552</c:v>
                </c:pt>
                <c:pt idx="12018">
                  <c:v>574</c:v>
                </c:pt>
                <c:pt idx="12019">
                  <c:v>449</c:v>
                </c:pt>
                <c:pt idx="12020">
                  <c:v>436</c:v>
                </c:pt>
                <c:pt idx="12021">
                  <c:v>413</c:v>
                </c:pt>
                <c:pt idx="12022">
                  <c:v>427</c:v>
                </c:pt>
                <c:pt idx="12023">
                  <c:v>403</c:v>
                </c:pt>
                <c:pt idx="12024">
                  <c:v>415</c:v>
                </c:pt>
                <c:pt idx="12025">
                  <c:v>416</c:v>
                </c:pt>
                <c:pt idx="12026">
                  <c:v>418</c:v>
                </c:pt>
                <c:pt idx="12027">
                  <c:v>348</c:v>
                </c:pt>
                <c:pt idx="12028">
                  <c:v>394</c:v>
                </c:pt>
                <c:pt idx="12029">
                  <c:v>386</c:v>
                </c:pt>
                <c:pt idx="12030">
                  <c:v>371</c:v>
                </c:pt>
                <c:pt idx="12031">
                  <c:v>396</c:v>
                </c:pt>
                <c:pt idx="12032">
                  <c:v>372</c:v>
                </c:pt>
                <c:pt idx="12033">
                  <c:v>396</c:v>
                </c:pt>
                <c:pt idx="12034">
                  <c:v>373</c:v>
                </c:pt>
                <c:pt idx="12035">
                  <c:v>394</c:v>
                </c:pt>
                <c:pt idx="12036">
                  <c:v>375</c:v>
                </c:pt>
                <c:pt idx="12037">
                  <c:v>344</c:v>
                </c:pt>
                <c:pt idx="12038">
                  <c:v>360</c:v>
                </c:pt>
                <c:pt idx="12039">
                  <c:v>355</c:v>
                </c:pt>
                <c:pt idx="12040">
                  <c:v>344</c:v>
                </c:pt>
                <c:pt idx="12041">
                  <c:v>427</c:v>
                </c:pt>
                <c:pt idx="12042">
                  <c:v>392</c:v>
                </c:pt>
                <c:pt idx="12043">
                  <c:v>432</c:v>
                </c:pt>
                <c:pt idx="12044">
                  <c:v>390</c:v>
                </c:pt>
                <c:pt idx="12045">
                  <c:v>490</c:v>
                </c:pt>
                <c:pt idx="12046">
                  <c:v>492</c:v>
                </c:pt>
                <c:pt idx="12047">
                  <c:v>475</c:v>
                </c:pt>
                <c:pt idx="12048">
                  <c:v>475</c:v>
                </c:pt>
                <c:pt idx="12049">
                  <c:v>464</c:v>
                </c:pt>
                <c:pt idx="12050">
                  <c:v>453</c:v>
                </c:pt>
                <c:pt idx="12051">
                  <c:v>454</c:v>
                </c:pt>
                <c:pt idx="12052">
                  <c:v>451</c:v>
                </c:pt>
                <c:pt idx="12053">
                  <c:v>478</c:v>
                </c:pt>
                <c:pt idx="12054">
                  <c:v>442</c:v>
                </c:pt>
                <c:pt idx="12055">
                  <c:v>557</c:v>
                </c:pt>
                <c:pt idx="12056">
                  <c:v>597</c:v>
                </c:pt>
                <c:pt idx="12057">
                  <c:v>600</c:v>
                </c:pt>
                <c:pt idx="12058">
                  <c:v>592</c:v>
                </c:pt>
                <c:pt idx="12059">
                  <c:v>631</c:v>
                </c:pt>
                <c:pt idx="12060">
                  <c:v>678</c:v>
                </c:pt>
                <c:pt idx="12061">
                  <c:v>834</c:v>
                </c:pt>
                <c:pt idx="12062">
                  <c:v>800</c:v>
                </c:pt>
                <c:pt idx="12063">
                  <c:v>741</c:v>
                </c:pt>
                <c:pt idx="12064">
                  <c:v>736</c:v>
                </c:pt>
                <c:pt idx="12065">
                  <c:v>737</c:v>
                </c:pt>
                <c:pt idx="12066">
                  <c:v>764</c:v>
                </c:pt>
                <c:pt idx="12067">
                  <c:v>814</c:v>
                </c:pt>
                <c:pt idx="12068">
                  <c:v>807</c:v>
                </c:pt>
                <c:pt idx="12069">
                  <c:v>841</c:v>
                </c:pt>
                <c:pt idx="12070">
                  <c:v>823</c:v>
                </c:pt>
                <c:pt idx="12071">
                  <c:v>856</c:v>
                </c:pt>
                <c:pt idx="12072">
                  <c:v>820</c:v>
                </c:pt>
                <c:pt idx="12073">
                  <c:v>794</c:v>
                </c:pt>
                <c:pt idx="12074">
                  <c:v>796</c:v>
                </c:pt>
                <c:pt idx="12075">
                  <c:v>821</c:v>
                </c:pt>
                <c:pt idx="12076">
                  <c:v>823</c:v>
                </c:pt>
                <c:pt idx="12077">
                  <c:v>847</c:v>
                </c:pt>
                <c:pt idx="12078">
                  <c:v>797</c:v>
                </c:pt>
                <c:pt idx="12079">
                  <c:v>839</c:v>
                </c:pt>
                <c:pt idx="12080">
                  <c:v>870</c:v>
                </c:pt>
                <c:pt idx="12081">
                  <c:v>852</c:v>
                </c:pt>
                <c:pt idx="12082">
                  <c:v>1277</c:v>
                </c:pt>
                <c:pt idx="12083">
                  <c:v>1220</c:v>
                </c:pt>
                <c:pt idx="12084">
                  <c:v>1129</c:v>
                </c:pt>
                <c:pt idx="12085">
                  <c:v>1113</c:v>
                </c:pt>
                <c:pt idx="12086">
                  <c:v>1016</c:v>
                </c:pt>
                <c:pt idx="12087">
                  <c:v>990</c:v>
                </c:pt>
                <c:pt idx="12088">
                  <c:v>1020</c:v>
                </c:pt>
                <c:pt idx="12089">
                  <c:v>1024</c:v>
                </c:pt>
                <c:pt idx="12090">
                  <c:v>1022</c:v>
                </c:pt>
                <c:pt idx="12091">
                  <c:v>1021</c:v>
                </c:pt>
                <c:pt idx="12092">
                  <c:v>1021</c:v>
                </c:pt>
                <c:pt idx="12093">
                  <c:v>1011</c:v>
                </c:pt>
                <c:pt idx="12094">
                  <c:v>982</c:v>
                </c:pt>
                <c:pt idx="12095">
                  <c:v>996</c:v>
                </c:pt>
                <c:pt idx="12096">
                  <c:v>989</c:v>
                </c:pt>
                <c:pt idx="12097">
                  <c:v>982</c:v>
                </c:pt>
                <c:pt idx="12098">
                  <c:v>965</c:v>
                </c:pt>
                <c:pt idx="12099">
                  <c:v>990</c:v>
                </c:pt>
                <c:pt idx="12100">
                  <c:v>948</c:v>
                </c:pt>
                <c:pt idx="12101">
                  <c:v>964</c:v>
                </c:pt>
                <c:pt idx="12102">
                  <c:v>926</c:v>
                </c:pt>
                <c:pt idx="12103">
                  <c:v>825</c:v>
                </c:pt>
                <c:pt idx="12104">
                  <c:v>806</c:v>
                </c:pt>
                <c:pt idx="12105">
                  <c:v>799</c:v>
                </c:pt>
                <c:pt idx="12106">
                  <c:v>668</c:v>
                </c:pt>
                <c:pt idx="12107">
                  <c:v>544</c:v>
                </c:pt>
                <c:pt idx="12108">
                  <c:v>484</c:v>
                </c:pt>
                <c:pt idx="12109">
                  <c:v>470</c:v>
                </c:pt>
                <c:pt idx="12110">
                  <c:v>479</c:v>
                </c:pt>
                <c:pt idx="12111">
                  <c:v>537</c:v>
                </c:pt>
                <c:pt idx="12112">
                  <c:v>488</c:v>
                </c:pt>
                <c:pt idx="12113">
                  <c:v>524</c:v>
                </c:pt>
                <c:pt idx="12114">
                  <c:v>479</c:v>
                </c:pt>
                <c:pt idx="12115">
                  <c:v>495</c:v>
                </c:pt>
                <c:pt idx="12116">
                  <c:v>459</c:v>
                </c:pt>
                <c:pt idx="12117">
                  <c:v>440</c:v>
                </c:pt>
                <c:pt idx="12118">
                  <c:v>465</c:v>
                </c:pt>
                <c:pt idx="12119">
                  <c:v>465</c:v>
                </c:pt>
                <c:pt idx="12120">
                  <c:v>425</c:v>
                </c:pt>
                <c:pt idx="12121">
                  <c:v>451</c:v>
                </c:pt>
                <c:pt idx="12122">
                  <c:v>444</c:v>
                </c:pt>
                <c:pt idx="12123">
                  <c:v>429</c:v>
                </c:pt>
                <c:pt idx="12124">
                  <c:v>463</c:v>
                </c:pt>
                <c:pt idx="12125">
                  <c:v>457</c:v>
                </c:pt>
                <c:pt idx="12126">
                  <c:v>478</c:v>
                </c:pt>
                <c:pt idx="12127">
                  <c:v>457</c:v>
                </c:pt>
                <c:pt idx="12128">
                  <c:v>468</c:v>
                </c:pt>
                <c:pt idx="12129">
                  <c:v>422</c:v>
                </c:pt>
                <c:pt idx="12130">
                  <c:v>450</c:v>
                </c:pt>
                <c:pt idx="12131">
                  <c:v>422</c:v>
                </c:pt>
                <c:pt idx="12132">
                  <c:v>439</c:v>
                </c:pt>
                <c:pt idx="12133">
                  <c:v>426</c:v>
                </c:pt>
                <c:pt idx="12134">
                  <c:v>392</c:v>
                </c:pt>
                <c:pt idx="12135">
                  <c:v>402</c:v>
                </c:pt>
                <c:pt idx="12136">
                  <c:v>409</c:v>
                </c:pt>
                <c:pt idx="12137">
                  <c:v>395</c:v>
                </c:pt>
                <c:pt idx="12138">
                  <c:v>406</c:v>
                </c:pt>
                <c:pt idx="12139">
                  <c:v>399</c:v>
                </c:pt>
                <c:pt idx="12140">
                  <c:v>382</c:v>
                </c:pt>
                <c:pt idx="12141">
                  <c:v>413</c:v>
                </c:pt>
                <c:pt idx="12142">
                  <c:v>444</c:v>
                </c:pt>
                <c:pt idx="12143">
                  <c:v>385</c:v>
                </c:pt>
                <c:pt idx="12144">
                  <c:v>363</c:v>
                </c:pt>
                <c:pt idx="12145">
                  <c:v>388</c:v>
                </c:pt>
                <c:pt idx="12146">
                  <c:v>368</c:v>
                </c:pt>
                <c:pt idx="12147">
                  <c:v>385</c:v>
                </c:pt>
                <c:pt idx="12148">
                  <c:v>348</c:v>
                </c:pt>
                <c:pt idx="12149">
                  <c:v>363</c:v>
                </c:pt>
                <c:pt idx="12150">
                  <c:v>367</c:v>
                </c:pt>
                <c:pt idx="12151">
                  <c:v>378</c:v>
                </c:pt>
                <c:pt idx="12152">
                  <c:v>362</c:v>
                </c:pt>
                <c:pt idx="12153">
                  <c:v>406</c:v>
                </c:pt>
                <c:pt idx="12154">
                  <c:v>338</c:v>
                </c:pt>
                <c:pt idx="12155">
                  <c:v>580</c:v>
                </c:pt>
                <c:pt idx="12156">
                  <c:v>522</c:v>
                </c:pt>
                <c:pt idx="12157">
                  <c:v>544</c:v>
                </c:pt>
                <c:pt idx="12158">
                  <c:v>516</c:v>
                </c:pt>
                <c:pt idx="12159">
                  <c:v>608</c:v>
                </c:pt>
                <c:pt idx="12160">
                  <c:v>533</c:v>
                </c:pt>
                <c:pt idx="12161">
                  <c:v>528</c:v>
                </c:pt>
                <c:pt idx="12162">
                  <c:v>476</c:v>
                </c:pt>
                <c:pt idx="12163">
                  <c:v>526</c:v>
                </c:pt>
                <c:pt idx="12164">
                  <c:v>489</c:v>
                </c:pt>
                <c:pt idx="12165">
                  <c:v>514</c:v>
                </c:pt>
                <c:pt idx="12166">
                  <c:v>492</c:v>
                </c:pt>
                <c:pt idx="12167">
                  <c:v>492</c:v>
                </c:pt>
                <c:pt idx="12168">
                  <c:v>586</c:v>
                </c:pt>
                <c:pt idx="12169">
                  <c:v>550</c:v>
                </c:pt>
                <c:pt idx="12170">
                  <c:v>582</c:v>
                </c:pt>
                <c:pt idx="12171">
                  <c:v>530</c:v>
                </c:pt>
                <c:pt idx="12172">
                  <c:v>582</c:v>
                </c:pt>
                <c:pt idx="12173">
                  <c:v>572</c:v>
                </c:pt>
                <c:pt idx="12174">
                  <c:v>634</c:v>
                </c:pt>
                <c:pt idx="12175">
                  <c:v>664</c:v>
                </c:pt>
                <c:pt idx="12176">
                  <c:v>658</c:v>
                </c:pt>
                <c:pt idx="12177">
                  <c:v>731</c:v>
                </c:pt>
                <c:pt idx="12178">
                  <c:v>685</c:v>
                </c:pt>
                <c:pt idx="12179">
                  <c:v>634</c:v>
                </c:pt>
                <c:pt idx="12180">
                  <c:v>606</c:v>
                </c:pt>
                <c:pt idx="12181">
                  <c:v>633</c:v>
                </c:pt>
                <c:pt idx="12182">
                  <c:v>725</c:v>
                </c:pt>
                <c:pt idx="12183">
                  <c:v>740</c:v>
                </c:pt>
                <c:pt idx="12184">
                  <c:v>746</c:v>
                </c:pt>
                <c:pt idx="12185">
                  <c:v>712</c:v>
                </c:pt>
                <c:pt idx="12186">
                  <c:v>710</c:v>
                </c:pt>
                <c:pt idx="12187">
                  <c:v>642</c:v>
                </c:pt>
                <c:pt idx="12188">
                  <c:v>733</c:v>
                </c:pt>
                <c:pt idx="12189">
                  <c:v>782</c:v>
                </c:pt>
                <c:pt idx="12190">
                  <c:v>767</c:v>
                </c:pt>
                <c:pt idx="12191">
                  <c:v>781</c:v>
                </c:pt>
                <c:pt idx="12192">
                  <c:v>700</c:v>
                </c:pt>
                <c:pt idx="12193">
                  <c:v>709</c:v>
                </c:pt>
                <c:pt idx="12194">
                  <c:v>653</c:v>
                </c:pt>
                <c:pt idx="12195">
                  <c:v>752</c:v>
                </c:pt>
                <c:pt idx="12196">
                  <c:v>725</c:v>
                </c:pt>
                <c:pt idx="12197">
                  <c:v>746</c:v>
                </c:pt>
                <c:pt idx="12198">
                  <c:v>770</c:v>
                </c:pt>
                <c:pt idx="12199">
                  <c:v>689</c:v>
                </c:pt>
                <c:pt idx="12200">
                  <c:v>663</c:v>
                </c:pt>
                <c:pt idx="12201">
                  <c:v>635</c:v>
                </c:pt>
                <c:pt idx="12202">
                  <c:v>627</c:v>
                </c:pt>
                <c:pt idx="12203">
                  <c:v>556</c:v>
                </c:pt>
                <c:pt idx="12204">
                  <c:v>506</c:v>
                </c:pt>
                <c:pt idx="12205">
                  <c:v>557</c:v>
                </c:pt>
                <c:pt idx="12206">
                  <c:v>529</c:v>
                </c:pt>
                <c:pt idx="12207">
                  <c:v>538</c:v>
                </c:pt>
                <c:pt idx="12208">
                  <c:v>513</c:v>
                </c:pt>
                <c:pt idx="12209">
                  <c:v>542</c:v>
                </c:pt>
                <c:pt idx="12210">
                  <c:v>485</c:v>
                </c:pt>
                <c:pt idx="12211">
                  <c:v>549</c:v>
                </c:pt>
                <c:pt idx="12212">
                  <c:v>486</c:v>
                </c:pt>
                <c:pt idx="12213">
                  <c:v>556</c:v>
                </c:pt>
                <c:pt idx="12214">
                  <c:v>494</c:v>
                </c:pt>
                <c:pt idx="12215">
                  <c:v>549</c:v>
                </c:pt>
                <c:pt idx="12216">
                  <c:v>513</c:v>
                </c:pt>
                <c:pt idx="12217">
                  <c:v>496</c:v>
                </c:pt>
                <c:pt idx="12218">
                  <c:v>462</c:v>
                </c:pt>
                <c:pt idx="12219">
                  <c:v>455</c:v>
                </c:pt>
                <c:pt idx="12220">
                  <c:v>452</c:v>
                </c:pt>
                <c:pt idx="12221">
                  <c:v>436</c:v>
                </c:pt>
                <c:pt idx="12222">
                  <c:v>421</c:v>
                </c:pt>
                <c:pt idx="12223">
                  <c:v>395</c:v>
                </c:pt>
                <c:pt idx="12224">
                  <c:v>439</c:v>
                </c:pt>
                <c:pt idx="12225">
                  <c:v>434</c:v>
                </c:pt>
                <c:pt idx="12226">
                  <c:v>426</c:v>
                </c:pt>
                <c:pt idx="12227">
                  <c:v>430</c:v>
                </c:pt>
                <c:pt idx="12228">
                  <c:v>430</c:v>
                </c:pt>
                <c:pt idx="12229">
                  <c:v>396</c:v>
                </c:pt>
                <c:pt idx="12230">
                  <c:v>433</c:v>
                </c:pt>
                <c:pt idx="12231">
                  <c:v>385</c:v>
                </c:pt>
                <c:pt idx="12232">
                  <c:v>406</c:v>
                </c:pt>
                <c:pt idx="12233">
                  <c:v>382</c:v>
                </c:pt>
                <c:pt idx="12234">
                  <c:v>430</c:v>
                </c:pt>
                <c:pt idx="12235">
                  <c:v>390</c:v>
                </c:pt>
                <c:pt idx="12236">
                  <c:v>406</c:v>
                </c:pt>
                <c:pt idx="12237">
                  <c:v>381</c:v>
                </c:pt>
                <c:pt idx="12238">
                  <c:v>420</c:v>
                </c:pt>
                <c:pt idx="12239">
                  <c:v>366</c:v>
                </c:pt>
                <c:pt idx="12240">
                  <c:v>472</c:v>
                </c:pt>
                <c:pt idx="12241">
                  <c:v>401</c:v>
                </c:pt>
                <c:pt idx="12242">
                  <c:v>407</c:v>
                </c:pt>
                <c:pt idx="12243">
                  <c:v>375</c:v>
                </c:pt>
                <c:pt idx="12244">
                  <c:v>405</c:v>
                </c:pt>
                <c:pt idx="12245">
                  <c:v>373</c:v>
                </c:pt>
                <c:pt idx="12246">
                  <c:v>397</c:v>
                </c:pt>
                <c:pt idx="12247">
                  <c:v>360</c:v>
                </c:pt>
                <c:pt idx="12248">
                  <c:v>399</c:v>
                </c:pt>
                <c:pt idx="12249">
                  <c:v>369</c:v>
                </c:pt>
                <c:pt idx="12250">
                  <c:v>401</c:v>
                </c:pt>
                <c:pt idx="12251">
                  <c:v>373</c:v>
                </c:pt>
                <c:pt idx="12252">
                  <c:v>433</c:v>
                </c:pt>
                <c:pt idx="12253">
                  <c:v>451</c:v>
                </c:pt>
                <c:pt idx="12254">
                  <c:v>454</c:v>
                </c:pt>
                <c:pt idx="12255">
                  <c:v>424</c:v>
                </c:pt>
                <c:pt idx="12256">
                  <c:v>460</c:v>
                </c:pt>
                <c:pt idx="12257">
                  <c:v>431</c:v>
                </c:pt>
                <c:pt idx="12258">
                  <c:v>458</c:v>
                </c:pt>
                <c:pt idx="12259">
                  <c:v>393</c:v>
                </c:pt>
                <c:pt idx="12260">
                  <c:v>418</c:v>
                </c:pt>
                <c:pt idx="12261">
                  <c:v>412</c:v>
                </c:pt>
                <c:pt idx="12262">
                  <c:v>412</c:v>
                </c:pt>
                <c:pt idx="12263">
                  <c:v>433</c:v>
                </c:pt>
                <c:pt idx="12264">
                  <c:v>404</c:v>
                </c:pt>
                <c:pt idx="12265">
                  <c:v>439</c:v>
                </c:pt>
                <c:pt idx="12266">
                  <c:v>447</c:v>
                </c:pt>
                <c:pt idx="12267">
                  <c:v>687</c:v>
                </c:pt>
                <c:pt idx="12268">
                  <c:v>566</c:v>
                </c:pt>
                <c:pt idx="12269">
                  <c:v>560</c:v>
                </c:pt>
                <c:pt idx="12270">
                  <c:v>625</c:v>
                </c:pt>
                <c:pt idx="12271">
                  <c:v>577</c:v>
                </c:pt>
                <c:pt idx="12272">
                  <c:v>676</c:v>
                </c:pt>
                <c:pt idx="12273">
                  <c:v>693</c:v>
                </c:pt>
                <c:pt idx="12274">
                  <c:v>673</c:v>
                </c:pt>
                <c:pt idx="12275">
                  <c:v>655</c:v>
                </c:pt>
                <c:pt idx="12276">
                  <c:v>665</c:v>
                </c:pt>
                <c:pt idx="12277">
                  <c:v>724</c:v>
                </c:pt>
                <c:pt idx="12278">
                  <c:v>753</c:v>
                </c:pt>
                <c:pt idx="12279">
                  <c:v>685</c:v>
                </c:pt>
                <c:pt idx="12280">
                  <c:v>697</c:v>
                </c:pt>
                <c:pt idx="12281">
                  <c:v>683</c:v>
                </c:pt>
                <c:pt idx="12282">
                  <c:v>725</c:v>
                </c:pt>
                <c:pt idx="12283">
                  <c:v>775</c:v>
                </c:pt>
                <c:pt idx="12284">
                  <c:v>749</c:v>
                </c:pt>
                <c:pt idx="12285">
                  <c:v>775</c:v>
                </c:pt>
                <c:pt idx="12286">
                  <c:v>720</c:v>
                </c:pt>
                <c:pt idx="12287">
                  <c:v>749</c:v>
                </c:pt>
                <c:pt idx="12288">
                  <c:v>690</c:v>
                </c:pt>
                <c:pt idx="12289">
                  <c:v>756</c:v>
                </c:pt>
                <c:pt idx="12290">
                  <c:v>843</c:v>
                </c:pt>
                <c:pt idx="12291">
                  <c:v>812</c:v>
                </c:pt>
                <c:pt idx="12292">
                  <c:v>753</c:v>
                </c:pt>
                <c:pt idx="12293">
                  <c:v>783</c:v>
                </c:pt>
                <c:pt idx="12294">
                  <c:v>713</c:v>
                </c:pt>
                <c:pt idx="12295">
                  <c:v>719</c:v>
                </c:pt>
                <c:pt idx="12296">
                  <c:v>668</c:v>
                </c:pt>
                <c:pt idx="12297">
                  <c:v>668</c:v>
                </c:pt>
                <c:pt idx="12298">
                  <c:v>668</c:v>
                </c:pt>
                <c:pt idx="12299">
                  <c:v>668</c:v>
                </c:pt>
                <c:pt idx="12300">
                  <c:v>668</c:v>
                </c:pt>
                <c:pt idx="12301">
                  <c:v>668</c:v>
                </c:pt>
                <c:pt idx="12302">
                  <c:v>668</c:v>
                </c:pt>
                <c:pt idx="12303">
                  <c:v>668</c:v>
                </c:pt>
                <c:pt idx="12304">
                  <c:v>668</c:v>
                </c:pt>
                <c:pt idx="12305">
                  <c:v>668</c:v>
                </c:pt>
                <c:pt idx="12306">
                  <c:v>668</c:v>
                </c:pt>
                <c:pt idx="12307">
                  <c:v>668</c:v>
                </c:pt>
                <c:pt idx="12308">
                  <c:v>668</c:v>
                </c:pt>
                <c:pt idx="12309">
                  <c:v>539</c:v>
                </c:pt>
                <c:pt idx="12310">
                  <c:v>578</c:v>
                </c:pt>
                <c:pt idx="12311">
                  <c:v>509</c:v>
                </c:pt>
                <c:pt idx="12312">
                  <c:v>575</c:v>
                </c:pt>
                <c:pt idx="12313">
                  <c:v>530</c:v>
                </c:pt>
                <c:pt idx="12314">
                  <c:v>562</c:v>
                </c:pt>
                <c:pt idx="12315">
                  <c:v>464</c:v>
                </c:pt>
                <c:pt idx="12316">
                  <c:v>519</c:v>
                </c:pt>
                <c:pt idx="12317">
                  <c:v>444</c:v>
                </c:pt>
                <c:pt idx="12318">
                  <c:v>479</c:v>
                </c:pt>
                <c:pt idx="12319">
                  <c:v>451</c:v>
                </c:pt>
                <c:pt idx="12320">
                  <c:v>450</c:v>
                </c:pt>
                <c:pt idx="12321">
                  <c:v>461</c:v>
                </c:pt>
                <c:pt idx="12322">
                  <c:v>461</c:v>
                </c:pt>
                <c:pt idx="12323">
                  <c:v>478</c:v>
                </c:pt>
                <c:pt idx="12324">
                  <c:v>460</c:v>
                </c:pt>
                <c:pt idx="12325">
                  <c:v>468</c:v>
                </c:pt>
                <c:pt idx="12326">
                  <c:v>442</c:v>
                </c:pt>
                <c:pt idx="12327">
                  <c:v>459</c:v>
                </c:pt>
                <c:pt idx="12328">
                  <c:v>412</c:v>
                </c:pt>
                <c:pt idx="12329">
                  <c:v>623</c:v>
                </c:pt>
                <c:pt idx="12330">
                  <c:v>748</c:v>
                </c:pt>
                <c:pt idx="12331">
                  <c:v>588</c:v>
                </c:pt>
                <c:pt idx="12332">
                  <c:v>597</c:v>
                </c:pt>
                <c:pt idx="12333">
                  <c:v>642</c:v>
                </c:pt>
                <c:pt idx="12334">
                  <c:v>602</c:v>
                </c:pt>
                <c:pt idx="12335">
                  <c:v>623</c:v>
                </c:pt>
                <c:pt idx="12336">
                  <c:v>516</c:v>
                </c:pt>
                <c:pt idx="12337">
                  <c:v>557</c:v>
                </c:pt>
                <c:pt idx="12338">
                  <c:v>533</c:v>
                </c:pt>
                <c:pt idx="12339">
                  <c:v>549</c:v>
                </c:pt>
                <c:pt idx="12340">
                  <c:v>586</c:v>
                </c:pt>
                <c:pt idx="12341">
                  <c:v>593</c:v>
                </c:pt>
                <c:pt idx="12342">
                  <c:v>682</c:v>
                </c:pt>
                <c:pt idx="12343">
                  <c:v>630</c:v>
                </c:pt>
                <c:pt idx="12344">
                  <c:v>734</c:v>
                </c:pt>
                <c:pt idx="12345">
                  <c:v>717</c:v>
                </c:pt>
                <c:pt idx="12346">
                  <c:v>751</c:v>
                </c:pt>
                <c:pt idx="12347">
                  <c:v>652</c:v>
                </c:pt>
                <c:pt idx="12348">
                  <c:v>855</c:v>
                </c:pt>
                <c:pt idx="12349">
                  <c:v>860</c:v>
                </c:pt>
                <c:pt idx="12350">
                  <c:v>829</c:v>
                </c:pt>
                <c:pt idx="12351">
                  <c:v>901</c:v>
                </c:pt>
                <c:pt idx="12352">
                  <c:v>784</c:v>
                </c:pt>
                <c:pt idx="12353">
                  <c:v>855</c:v>
                </c:pt>
                <c:pt idx="12354">
                  <c:v>1177</c:v>
                </c:pt>
                <c:pt idx="12355">
                  <c:v>1102</c:v>
                </c:pt>
                <c:pt idx="12356">
                  <c:v>881</c:v>
                </c:pt>
                <c:pt idx="12357">
                  <c:v>878</c:v>
                </c:pt>
                <c:pt idx="12358">
                  <c:v>841</c:v>
                </c:pt>
                <c:pt idx="12359">
                  <c:v>855</c:v>
                </c:pt>
                <c:pt idx="12360">
                  <c:v>871</c:v>
                </c:pt>
                <c:pt idx="12361">
                  <c:v>856</c:v>
                </c:pt>
                <c:pt idx="12362">
                  <c:v>895</c:v>
                </c:pt>
                <c:pt idx="12363">
                  <c:v>876</c:v>
                </c:pt>
                <c:pt idx="12364">
                  <c:v>890</c:v>
                </c:pt>
                <c:pt idx="12365">
                  <c:v>876</c:v>
                </c:pt>
                <c:pt idx="12366">
                  <c:v>904</c:v>
                </c:pt>
                <c:pt idx="12367">
                  <c:v>940</c:v>
                </c:pt>
                <c:pt idx="12368">
                  <c:v>997</c:v>
                </c:pt>
                <c:pt idx="12369">
                  <c:v>1058</c:v>
                </c:pt>
                <c:pt idx="12370">
                  <c:v>1011</c:v>
                </c:pt>
                <c:pt idx="12371">
                  <c:v>1021</c:v>
                </c:pt>
                <c:pt idx="12372">
                  <c:v>1022</c:v>
                </c:pt>
                <c:pt idx="12373">
                  <c:v>1022</c:v>
                </c:pt>
                <c:pt idx="12374">
                  <c:v>1035</c:v>
                </c:pt>
                <c:pt idx="12375">
                  <c:v>1054</c:v>
                </c:pt>
                <c:pt idx="12376">
                  <c:v>1035</c:v>
                </c:pt>
                <c:pt idx="12377">
                  <c:v>1059</c:v>
                </c:pt>
                <c:pt idx="12378">
                  <c:v>1057</c:v>
                </c:pt>
                <c:pt idx="12379">
                  <c:v>1075</c:v>
                </c:pt>
                <c:pt idx="12380">
                  <c:v>986</c:v>
                </c:pt>
                <c:pt idx="12381">
                  <c:v>1012</c:v>
                </c:pt>
                <c:pt idx="12382">
                  <c:v>948</c:v>
                </c:pt>
                <c:pt idx="12383">
                  <c:v>921</c:v>
                </c:pt>
                <c:pt idx="12384">
                  <c:v>909</c:v>
                </c:pt>
                <c:pt idx="12385">
                  <c:v>900</c:v>
                </c:pt>
                <c:pt idx="12386">
                  <c:v>907</c:v>
                </c:pt>
                <c:pt idx="12387">
                  <c:v>872</c:v>
                </c:pt>
                <c:pt idx="12388">
                  <c:v>897</c:v>
                </c:pt>
                <c:pt idx="12389">
                  <c:v>890</c:v>
                </c:pt>
                <c:pt idx="12390">
                  <c:v>825</c:v>
                </c:pt>
                <c:pt idx="12391">
                  <c:v>815</c:v>
                </c:pt>
                <c:pt idx="12392">
                  <c:v>820</c:v>
                </c:pt>
                <c:pt idx="12393">
                  <c:v>779</c:v>
                </c:pt>
                <c:pt idx="12394">
                  <c:v>620</c:v>
                </c:pt>
                <c:pt idx="12395">
                  <c:v>606</c:v>
                </c:pt>
                <c:pt idx="12396">
                  <c:v>555</c:v>
                </c:pt>
                <c:pt idx="12397">
                  <c:v>544</c:v>
                </c:pt>
                <c:pt idx="12398">
                  <c:v>550</c:v>
                </c:pt>
                <c:pt idx="12399">
                  <c:v>579</c:v>
                </c:pt>
                <c:pt idx="12400">
                  <c:v>507</c:v>
                </c:pt>
                <c:pt idx="12401">
                  <c:v>593</c:v>
                </c:pt>
                <c:pt idx="12402">
                  <c:v>550</c:v>
                </c:pt>
                <c:pt idx="12403">
                  <c:v>463</c:v>
                </c:pt>
                <c:pt idx="12404">
                  <c:v>436</c:v>
                </c:pt>
                <c:pt idx="12405">
                  <c:v>430</c:v>
                </c:pt>
                <c:pt idx="12406">
                  <c:v>449</c:v>
                </c:pt>
                <c:pt idx="12407">
                  <c:v>447</c:v>
                </c:pt>
                <c:pt idx="12408">
                  <c:v>429</c:v>
                </c:pt>
                <c:pt idx="12409">
                  <c:v>444</c:v>
                </c:pt>
                <c:pt idx="12410">
                  <c:v>448</c:v>
                </c:pt>
                <c:pt idx="12411">
                  <c:v>422</c:v>
                </c:pt>
                <c:pt idx="12412">
                  <c:v>436</c:v>
                </c:pt>
                <c:pt idx="12413">
                  <c:v>451</c:v>
                </c:pt>
                <c:pt idx="12414">
                  <c:v>469</c:v>
                </c:pt>
                <c:pt idx="12415">
                  <c:v>465</c:v>
                </c:pt>
                <c:pt idx="12416">
                  <c:v>428</c:v>
                </c:pt>
                <c:pt idx="12417">
                  <c:v>471</c:v>
                </c:pt>
                <c:pt idx="12418">
                  <c:v>422</c:v>
                </c:pt>
                <c:pt idx="12419">
                  <c:v>484</c:v>
                </c:pt>
                <c:pt idx="12420">
                  <c:v>417</c:v>
                </c:pt>
                <c:pt idx="12421">
                  <c:v>453</c:v>
                </c:pt>
                <c:pt idx="12422">
                  <c:v>371</c:v>
                </c:pt>
                <c:pt idx="12423">
                  <c:v>414</c:v>
                </c:pt>
                <c:pt idx="12424">
                  <c:v>426</c:v>
                </c:pt>
                <c:pt idx="12425">
                  <c:v>509</c:v>
                </c:pt>
                <c:pt idx="12426">
                  <c:v>442</c:v>
                </c:pt>
                <c:pt idx="12427">
                  <c:v>433</c:v>
                </c:pt>
                <c:pt idx="12428">
                  <c:v>517</c:v>
                </c:pt>
                <c:pt idx="12429">
                  <c:v>596</c:v>
                </c:pt>
                <c:pt idx="12430">
                  <c:v>549</c:v>
                </c:pt>
                <c:pt idx="12431">
                  <c:v>568</c:v>
                </c:pt>
                <c:pt idx="12432">
                  <c:v>501</c:v>
                </c:pt>
                <c:pt idx="12433">
                  <c:v>571</c:v>
                </c:pt>
                <c:pt idx="12434">
                  <c:v>532</c:v>
                </c:pt>
                <c:pt idx="12435">
                  <c:v>527</c:v>
                </c:pt>
                <c:pt idx="12436">
                  <c:v>528</c:v>
                </c:pt>
                <c:pt idx="12437">
                  <c:v>574</c:v>
                </c:pt>
                <c:pt idx="12438">
                  <c:v>508</c:v>
                </c:pt>
                <c:pt idx="12439">
                  <c:v>688</c:v>
                </c:pt>
                <c:pt idx="12440">
                  <c:v>618</c:v>
                </c:pt>
                <c:pt idx="12441">
                  <c:v>631</c:v>
                </c:pt>
                <c:pt idx="12442">
                  <c:v>620</c:v>
                </c:pt>
                <c:pt idx="12443">
                  <c:v>732</c:v>
                </c:pt>
                <c:pt idx="12444">
                  <c:v>817</c:v>
                </c:pt>
                <c:pt idx="12445">
                  <c:v>817</c:v>
                </c:pt>
                <c:pt idx="12446">
                  <c:v>741</c:v>
                </c:pt>
                <c:pt idx="12447">
                  <c:v>740</c:v>
                </c:pt>
                <c:pt idx="12448">
                  <c:v>727</c:v>
                </c:pt>
                <c:pt idx="12449">
                  <c:v>812</c:v>
                </c:pt>
                <c:pt idx="12450">
                  <c:v>853</c:v>
                </c:pt>
                <c:pt idx="12451">
                  <c:v>859</c:v>
                </c:pt>
                <c:pt idx="12452">
                  <c:v>822</c:v>
                </c:pt>
                <c:pt idx="12453">
                  <c:v>839</c:v>
                </c:pt>
                <c:pt idx="12454">
                  <c:v>832</c:v>
                </c:pt>
                <c:pt idx="12455">
                  <c:v>746</c:v>
                </c:pt>
                <c:pt idx="12456">
                  <c:v>781</c:v>
                </c:pt>
                <c:pt idx="12457">
                  <c:v>871</c:v>
                </c:pt>
                <c:pt idx="12458">
                  <c:v>899</c:v>
                </c:pt>
                <c:pt idx="12459">
                  <c:v>870</c:v>
                </c:pt>
                <c:pt idx="12460">
                  <c:v>887</c:v>
                </c:pt>
                <c:pt idx="12461">
                  <c:v>1182</c:v>
                </c:pt>
                <c:pt idx="12462">
                  <c:v>1028</c:v>
                </c:pt>
                <c:pt idx="12463">
                  <c:v>976</c:v>
                </c:pt>
                <c:pt idx="12464">
                  <c:v>961</c:v>
                </c:pt>
                <c:pt idx="12465">
                  <c:v>945</c:v>
                </c:pt>
                <c:pt idx="12466">
                  <c:v>910</c:v>
                </c:pt>
                <c:pt idx="12467">
                  <c:v>935</c:v>
                </c:pt>
                <c:pt idx="12468">
                  <c:v>927</c:v>
                </c:pt>
                <c:pt idx="12469">
                  <c:v>928</c:v>
                </c:pt>
                <c:pt idx="12470">
                  <c:v>901</c:v>
                </c:pt>
                <c:pt idx="12471">
                  <c:v>894</c:v>
                </c:pt>
                <c:pt idx="12472">
                  <c:v>904</c:v>
                </c:pt>
                <c:pt idx="12473">
                  <c:v>912</c:v>
                </c:pt>
                <c:pt idx="12474">
                  <c:v>908</c:v>
                </c:pt>
                <c:pt idx="12475">
                  <c:v>920</c:v>
                </c:pt>
                <c:pt idx="12476">
                  <c:v>943</c:v>
                </c:pt>
                <c:pt idx="12477">
                  <c:v>845</c:v>
                </c:pt>
                <c:pt idx="12478">
                  <c:v>847</c:v>
                </c:pt>
                <c:pt idx="12479">
                  <c:v>844</c:v>
                </c:pt>
                <c:pt idx="12480">
                  <c:v>864</c:v>
                </c:pt>
                <c:pt idx="12481">
                  <c:v>811</c:v>
                </c:pt>
                <c:pt idx="12482">
                  <c:v>826</c:v>
                </c:pt>
                <c:pt idx="12483">
                  <c:v>777</c:v>
                </c:pt>
                <c:pt idx="12484">
                  <c:v>779</c:v>
                </c:pt>
                <c:pt idx="12485">
                  <c:v>816</c:v>
                </c:pt>
                <c:pt idx="12486">
                  <c:v>844</c:v>
                </c:pt>
                <c:pt idx="12487">
                  <c:v>759</c:v>
                </c:pt>
                <c:pt idx="12488">
                  <c:v>762</c:v>
                </c:pt>
                <c:pt idx="12489">
                  <c:v>625</c:v>
                </c:pt>
                <c:pt idx="12490">
                  <c:v>591</c:v>
                </c:pt>
                <c:pt idx="12491">
                  <c:v>557</c:v>
                </c:pt>
                <c:pt idx="12492">
                  <c:v>667</c:v>
                </c:pt>
                <c:pt idx="12493">
                  <c:v>643</c:v>
                </c:pt>
                <c:pt idx="12494">
                  <c:v>665</c:v>
                </c:pt>
                <c:pt idx="12495">
                  <c:v>643</c:v>
                </c:pt>
                <c:pt idx="12496">
                  <c:v>595</c:v>
                </c:pt>
                <c:pt idx="12497">
                  <c:v>655</c:v>
                </c:pt>
                <c:pt idx="12498">
                  <c:v>552</c:v>
                </c:pt>
                <c:pt idx="12499">
                  <c:v>523</c:v>
                </c:pt>
                <c:pt idx="12500">
                  <c:v>510</c:v>
                </c:pt>
                <c:pt idx="12501">
                  <c:v>496</c:v>
                </c:pt>
                <c:pt idx="12502">
                  <c:v>494</c:v>
                </c:pt>
                <c:pt idx="12503">
                  <c:v>491</c:v>
                </c:pt>
                <c:pt idx="12504">
                  <c:v>482</c:v>
                </c:pt>
                <c:pt idx="12505">
                  <c:v>457</c:v>
                </c:pt>
                <c:pt idx="12506">
                  <c:v>527</c:v>
                </c:pt>
                <c:pt idx="12507">
                  <c:v>483</c:v>
                </c:pt>
                <c:pt idx="12508">
                  <c:v>504</c:v>
                </c:pt>
                <c:pt idx="12509">
                  <c:v>461</c:v>
                </c:pt>
                <c:pt idx="12510">
                  <c:v>492</c:v>
                </c:pt>
                <c:pt idx="12511">
                  <c:v>457</c:v>
                </c:pt>
                <c:pt idx="12512">
                  <c:v>445</c:v>
                </c:pt>
                <c:pt idx="12513">
                  <c:v>461</c:v>
                </c:pt>
                <c:pt idx="12514">
                  <c:v>456</c:v>
                </c:pt>
                <c:pt idx="12515">
                  <c:v>433</c:v>
                </c:pt>
                <c:pt idx="12516">
                  <c:v>453</c:v>
                </c:pt>
                <c:pt idx="12517">
                  <c:v>447</c:v>
                </c:pt>
                <c:pt idx="12518">
                  <c:v>400</c:v>
                </c:pt>
                <c:pt idx="12519">
                  <c:v>387</c:v>
                </c:pt>
                <c:pt idx="12520">
                  <c:v>467</c:v>
                </c:pt>
                <c:pt idx="12521">
                  <c:v>522</c:v>
                </c:pt>
                <c:pt idx="12522">
                  <c:v>457</c:v>
                </c:pt>
                <c:pt idx="12523">
                  <c:v>475</c:v>
                </c:pt>
                <c:pt idx="12524">
                  <c:v>553</c:v>
                </c:pt>
                <c:pt idx="12525">
                  <c:v>571</c:v>
                </c:pt>
                <c:pt idx="12526">
                  <c:v>584</c:v>
                </c:pt>
                <c:pt idx="12527">
                  <c:v>532</c:v>
                </c:pt>
                <c:pt idx="12528">
                  <c:v>539</c:v>
                </c:pt>
                <c:pt idx="12529">
                  <c:v>535</c:v>
                </c:pt>
                <c:pt idx="12530">
                  <c:v>522</c:v>
                </c:pt>
                <c:pt idx="12531">
                  <c:v>521</c:v>
                </c:pt>
                <c:pt idx="12532">
                  <c:v>521</c:v>
                </c:pt>
                <c:pt idx="12533">
                  <c:v>526</c:v>
                </c:pt>
                <c:pt idx="12534">
                  <c:v>518</c:v>
                </c:pt>
                <c:pt idx="12535">
                  <c:v>590</c:v>
                </c:pt>
                <c:pt idx="12536">
                  <c:v>544</c:v>
                </c:pt>
                <c:pt idx="12537">
                  <c:v>689</c:v>
                </c:pt>
                <c:pt idx="12538">
                  <c:v>595</c:v>
                </c:pt>
                <c:pt idx="12539">
                  <c:v>748</c:v>
                </c:pt>
                <c:pt idx="12540">
                  <c:v>782</c:v>
                </c:pt>
                <c:pt idx="12541">
                  <c:v>816</c:v>
                </c:pt>
                <c:pt idx="12542">
                  <c:v>828</c:v>
                </c:pt>
                <c:pt idx="12543">
                  <c:v>739</c:v>
                </c:pt>
                <c:pt idx="12544">
                  <c:v>719</c:v>
                </c:pt>
                <c:pt idx="12545">
                  <c:v>772</c:v>
                </c:pt>
                <c:pt idx="12546">
                  <c:v>797</c:v>
                </c:pt>
                <c:pt idx="12547">
                  <c:v>862</c:v>
                </c:pt>
                <c:pt idx="12548">
                  <c:v>835</c:v>
                </c:pt>
                <c:pt idx="12549">
                  <c:v>758</c:v>
                </c:pt>
                <c:pt idx="12550">
                  <c:v>752</c:v>
                </c:pt>
                <c:pt idx="12551">
                  <c:v>769</c:v>
                </c:pt>
                <c:pt idx="12552">
                  <c:v>754</c:v>
                </c:pt>
                <c:pt idx="12553">
                  <c:v>764</c:v>
                </c:pt>
                <c:pt idx="12554">
                  <c:v>760</c:v>
                </c:pt>
                <c:pt idx="12555">
                  <c:v>856</c:v>
                </c:pt>
                <c:pt idx="12556">
                  <c:v>815</c:v>
                </c:pt>
                <c:pt idx="12557">
                  <c:v>778</c:v>
                </c:pt>
                <c:pt idx="12558">
                  <c:v>819</c:v>
                </c:pt>
                <c:pt idx="12559">
                  <c:v>860</c:v>
                </c:pt>
                <c:pt idx="12560">
                  <c:v>812</c:v>
                </c:pt>
                <c:pt idx="12561">
                  <c:v>1193</c:v>
                </c:pt>
                <c:pt idx="12562">
                  <c:v>1068</c:v>
                </c:pt>
                <c:pt idx="12563">
                  <c:v>920</c:v>
                </c:pt>
                <c:pt idx="12564">
                  <c:v>942</c:v>
                </c:pt>
                <c:pt idx="12565">
                  <c:v>955</c:v>
                </c:pt>
                <c:pt idx="12566">
                  <c:v>972</c:v>
                </c:pt>
                <c:pt idx="12567">
                  <c:v>891</c:v>
                </c:pt>
                <c:pt idx="12568">
                  <c:v>855</c:v>
                </c:pt>
                <c:pt idx="12569">
                  <c:v>850</c:v>
                </c:pt>
                <c:pt idx="12570">
                  <c:v>822</c:v>
                </c:pt>
                <c:pt idx="12571">
                  <c:v>852</c:v>
                </c:pt>
                <c:pt idx="12572">
                  <c:v>891</c:v>
                </c:pt>
                <c:pt idx="12573">
                  <c:v>860</c:v>
                </c:pt>
                <c:pt idx="12574">
                  <c:v>834</c:v>
                </c:pt>
                <c:pt idx="12575">
                  <c:v>836</c:v>
                </c:pt>
                <c:pt idx="12576">
                  <c:v>846</c:v>
                </c:pt>
                <c:pt idx="12577">
                  <c:v>868</c:v>
                </c:pt>
                <c:pt idx="12578">
                  <c:v>896</c:v>
                </c:pt>
                <c:pt idx="12579">
                  <c:v>898</c:v>
                </c:pt>
                <c:pt idx="12580">
                  <c:v>837</c:v>
                </c:pt>
                <c:pt idx="12581">
                  <c:v>853</c:v>
                </c:pt>
                <c:pt idx="12582">
                  <c:v>830</c:v>
                </c:pt>
                <c:pt idx="12583">
                  <c:v>837</c:v>
                </c:pt>
                <c:pt idx="12584">
                  <c:v>836</c:v>
                </c:pt>
                <c:pt idx="12585">
                  <c:v>633</c:v>
                </c:pt>
                <c:pt idx="12586">
                  <c:v>634</c:v>
                </c:pt>
                <c:pt idx="12587">
                  <c:v>594</c:v>
                </c:pt>
                <c:pt idx="12588">
                  <c:v>607</c:v>
                </c:pt>
                <c:pt idx="12589">
                  <c:v>596</c:v>
                </c:pt>
                <c:pt idx="12590">
                  <c:v>563</c:v>
                </c:pt>
                <c:pt idx="12591">
                  <c:v>583</c:v>
                </c:pt>
                <c:pt idx="12592">
                  <c:v>581</c:v>
                </c:pt>
                <c:pt idx="12593">
                  <c:v>579</c:v>
                </c:pt>
                <c:pt idx="12594">
                  <c:v>502</c:v>
                </c:pt>
                <c:pt idx="12595">
                  <c:v>469</c:v>
                </c:pt>
                <c:pt idx="12596">
                  <c:v>454</c:v>
                </c:pt>
                <c:pt idx="12597">
                  <c:v>506</c:v>
                </c:pt>
                <c:pt idx="12598">
                  <c:v>469</c:v>
                </c:pt>
                <c:pt idx="12599">
                  <c:v>481</c:v>
                </c:pt>
                <c:pt idx="12600">
                  <c:v>477</c:v>
                </c:pt>
                <c:pt idx="12601">
                  <c:v>493</c:v>
                </c:pt>
                <c:pt idx="12602">
                  <c:v>435</c:v>
                </c:pt>
                <c:pt idx="12603">
                  <c:v>425</c:v>
                </c:pt>
                <c:pt idx="12604">
                  <c:v>441</c:v>
                </c:pt>
                <c:pt idx="12605">
                  <c:v>443</c:v>
                </c:pt>
                <c:pt idx="12606">
                  <c:v>407</c:v>
                </c:pt>
                <c:pt idx="12607">
                  <c:v>446</c:v>
                </c:pt>
                <c:pt idx="12608">
                  <c:v>426</c:v>
                </c:pt>
                <c:pt idx="12609">
                  <c:v>436</c:v>
                </c:pt>
                <c:pt idx="12610">
                  <c:v>384</c:v>
                </c:pt>
                <c:pt idx="12611">
                  <c:v>418</c:v>
                </c:pt>
                <c:pt idx="12612">
                  <c:v>413</c:v>
                </c:pt>
                <c:pt idx="12613">
                  <c:v>409</c:v>
                </c:pt>
                <c:pt idx="12614">
                  <c:v>397</c:v>
                </c:pt>
                <c:pt idx="12615">
                  <c:v>422</c:v>
                </c:pt>
                <c:pt idx="12616">
                  <c:v>428</c:v>
                </c:pt>
                <c:pt idx="12617">
                  <c:v>578</c:v>
                </c:pt>
                <c:pt idx="12618">
                  <c:v>450</c:v>
                </c:pt>
                <c:pt idx="12619">
                  <c:v>488</c:v>
                </c:pt>
                <c:pt idx="12620">
                  <c:v>529</c:v>
                </c:pt>
                <c:pt idx="12621">
                  <c:v>658</c:v>
                </c:pt>
                <c:pt idx="12622">
                  <c:v>512</c:v>
                </c:pt>
                <c:pt idx="12623">
                  <c:v>584</c:v>
                </c:pt>
                <c:pt idx="12624">
                  <c:v>503</c:v>
                </c:pt>
                <c:pt idx="12625">
                  <c:v>473</c:v>
                </c:pt>
                <c:pt idx="12626">
                  <c:v>499</c:v>
                </c:pt>
                <c:pt idx="12627">
                  <c:v>505</c:v>
                </c:pt>
                <c:pt idx="12628">
                  <c:v>488</c:v>
                </c:pt>
                <c:pt idx="12629">
                  <c:v>467</c:v>
                </c:pt>
                <c:pt idx="12630">
                  <c:v>544</c:v>
                </c:pt>
                <c:pt idx="12631">
                  <c:v>556</c:v>
                </c:pt>
                <c:pt idx="12632">
                  <c:v>637</c:v>
                </c:pt>
                <c:pt idx="12633">
                  <c:v>574</c:v>
                </c:pt>
                <c:pt idx="12634">
                  <c:v>753</c:v>
                </c:pt>
                <c:pt idx="12635">
                  <c:v>757</c:v>
                </c:pt>
                <c:pt idx="12636">
                  <c:v>798</c:v>
                </c:pt>
                <c:pt idx="12637">
                  <c:v>771</c:v>
                </c:pt>
                <c:pt idx="12638">
                  <c:v>785</c:v>
                </c:pt>
                <c:pt idx="12639">
                  <c:v>698</c:v>
                </c:pt>
                <c:pt idx="12640">
                  <c:v>750</c:v>
                </c:pt>
                <c:pt idx="12641">
                  <c:v>804</c:v>
                </c:pt>
                <c:pt idx="12642">
                  <c:v>803</c:v>
                </c:pt>
                <c:pt idx="12643">
                  <c:v>815</c:v>
                </c:pt>
                <c:pt idx="12644">
                  <c:v>829</c:v>
                </c:pt>
                <c:pt idx="12645">
                  <c:v>734</c:v>
                </c:pt>
                <c:pt idx="12646">
                  <c:v>770</c:v>
                </c:pt>
                <c:pt idx="12647">
                  <c:v>829</c:v>
                </c:pt>
                <c:pt idx="12648">
                  <c:v>841</c:v>
                </c:pt>
                <c:pt idx="12649">
                  <c:v>827</c:v>
                </c:pt>
                <c:pt idx="12650">
                  <c:v>842</c:v>
                </c:pt>
                <c:pt idx="12651">
                  <c:v>770</c:v>
                </c:pt>
                <c:pt idx="12652">
                  <c:v>804</c:v>
                </c:pt>
                <c:pt idx="12653">
                  <c:v>762</c:v>
                </c:pt>
                <c:pt idx="12654">
                  <c:v>802</c:v>
                </c:pt>
                <c:pt idx="12655">
                  <c:v>908</c:v>
                </c:pt>
                <c:pt idx="12656">
                  <c:v>713</c:v>
                </c:pt>
                <c:pt idx="12657">
                  <c:v>1228</c:v>
                </c:pt>
                <c:pt idx="12658">
                  <c:v>915</c:v>
                </c:pt>
                <c:pt idx="12659">
                  <c:v>952</c:v>
                </c:pt>
                <c:pt idx="12660">
                  <c:v>881</c:v>
                </c:pt>
                <c:pt idx="12661">
                  <c:v>879</c:v>
                </c:pt>
                <c:pt idx="12662">
                  <c:v>900</c:v>
                </c:pt>
                <c:pt idx="12663">
                  <c:v>857</c:v>
                </c:pt>
                <c:pt idx="12664">
                  <c:v>898</c:v>
                </c:pt>
                <c:pt idx="12665">
                  <c:v>857</c:v>
                </c:pt>
                <c:pt idx="12666">
                  <c:v>842</c:v>
                </c:pt>
                <c:pt idx="12667">
                  <c:v>850</c:v>
                </c:pt>
                <c:pt idx="12668">
                  <c:v>819</c:v>
                </c:pt>
                <c:pt idx="12669">
                  <c:v>842</c:v>
                </c:pt>
                <c:pt idx="12670">
                  <c:v>855</c:v>
                </c:pt>
                <c:pt idx="12671">
                  <c:v>848</c:v>
                </c:pt>
                <c:pt idx="12672">
                  <c:v>860</c:v>
                </c:pt>
                <c:pt idx="12673">
                  <c:v>849</c:v>
                </c:pt>
                <c:pt idx="12674">
                  <c:v>877</c:v>
                </c:pt>
                <c:pt idx="12675">
                  <c:v>834</c:v>
                </c:pt>
                <c:pt idx="12676">
                  <c:v>831</c:v>
                </c:pt>
                <c:pt idx="12677">
                  <c:v>835</c:v>
                </c:pt>
                <c:pt idx="12678">
                  <c:v>793</c:v>
                </c:pt>
                <c:pt idx="12679">
                  <c:v>774</c:v>
                </c:pt>
                <c:pt idx="12680">
                  <c:v>595</c:v>
                </c:pt>
                <c:pt idx="12681">
                  <c:v>614</c:v>
                </c:pt>
                <c:pt idx="12682">
                  <c:v>600</c:v>
                </c:pt>
                <c:pt idx="12683">
                  <c:v>539</c:v>
                </c:pt>
                <c:pt idx="12684">
                  <c:v>572</c:v>
                </c:pt>
                <c:pt idx="12685">
                  <c:v>576</c:v>
                </c:pt>
                <c:pt idx="12686">
                  <c:v>577</c:v>
                </c:pt>
                <c:pt idx="12687">
                  <c:v>573</c:v>
                </c:pt>
                <c:pt idx="12688">
                  <c:v>582</c:v>
                </c:pt>
                <c:pt idx="12689">
                  <c:v>495</c:v>
                </c:pt>
                <c:pt idx="12690">
                  <c:v>449</c:v>
                </c:pt>
                <c:pt idx="12691">
                  <c:v>449</c:v>
                </c:pt>
                <c:pt idx="12692">
                  <c:v>420</c:v>
                </c:pt>
                <c:pt idx="12693">
                  <c:v>510</c:v>
                </c:pt>
                <c:pt idx="12694">
                  <c:v>457</c:v>
                </c:pt>
                <c:pt idx="12695">
                  <c:v>473</c:v>
                </c:pt>
                <c:pt idx="12696">
                  <c:v>459</c:v>
                </c:pt>
                <c:pt idx="12697">
                  <c:v>472</c:v>
                </c:pt>
                <c:pt idx="12698">
                  <c:v>426</c:v>
                </c:pt>
                <c:pt idx="12699">
                  <c:v>399</c:v>
                </c:pt>
                <c:pt idx="12700">
                  <c:v>428</c:v>
                </c:pt>
                <c:pt idx="12701">
                  <c:v>419</c:v>
                </c:pt>
                <c:pt idx="12702">
                  <c:v>402</c:v>
                </c:pt>
                <c:pt idx="12703">
                  <c:v>427</c:v>
                </c:pt>
                <c:pt idx="12704">
                  <c:v>419</c:v>
                </c:pt>
                <c:pt idx="12705">
                  <c:v>437</c:v>
                </c:pt>
                <c:pt idx="12706">
                  <c:v>392</c:v>
                </c:pt>
                <c:pt idx="12707">
                  <c:v>445</c:v>
                </c:pt>
                <c:pt idx="12708">
                  <c:v>378</c:v>
                </c:pt>
                <c:pt idx="12709">
                  <c:v>403</c:v>
                </c:pt>
                <c:pt idx="12710">
                  <c:v>436</c:v>
                </c:pt>
                <c:pt idx="12711">
                  <c:v>551</c:v>
                </c:pt>
                <c:pt idx="12712">
                  <c:v>458</c:v>
                </c:pt>
                <c:pt idx="12713">
                  <c:v>468</c:v>
                </c:pt>
                <c:pt idx="12714">
                  <c:v>545</c:v>
                </c:pt>
                <c:pt idx="12715">
                  <c:v>561</c:v>
                </c:pt>
                <c:pt idx="12716">
                  <c:v>535</c:v>
                </c:pt>
                <c:pt idx="12717">
                  <c:v>545</c:v>
                </c:pt>
                <c:pt idx="12718">
                  <c:v>506</c:v>
                </c:pt>
                <c:pt idx="12719">
                  <c:v>533</c:v>
                </c:pt>
                <c:pt idx="12720">
                  <c:v>488</c:v>
                </c:pt>
                <c:pt idx="12721">
                  <c:v>525</c:v>
                </c:pt>
                <c:pt idx="12722">
                  <c:v>473</c:v>
                </c:pt>
                <c:pt idx="12723">
                  <c:v>509</c:v>
                </c:pt>
                <c:pt idx="12724">
                  <c:v>486</c:v>
                </c:pt>
                <c:pt idx="12725">
                  <c:v>600</c:v>
                </c:pt>
                <c:pt idx="12726">
                  <c:v>553</c:v>
                </c:pt>
                <c:pt idx="12727">
                  <c:v>630</c:v>
                </c:pt>
                <c:pt idx="12728">
                  <c:v>610</c:v>
                </c:pt>
                <c:pt idx="12729">
                  <c:v>707</c:v>
                </c:pt>
                <c:pt idx="12730">
                  <c:v>801</c:v>
                </c:pt>
                <c:pt idx="12731">
                  <c:v>821</c:v>
                </c:pt>
                <c:pt idx="12732">
                  <c:v>721</c:v>
                </c:pt>
                <c:pt idx="12733">
                  <c:v>704</c:v>
                </c:pt>
                <c:pt idx="12734">
                  <c:v>698</c:v>
                </c:pt>
                <c:pt idx="12735">
                  <c:v>723</c:v>
                </c:pt>
                <c:pt idx="12736">
                  <c:v>797</c:v>
                </c:pt>
                <c:pt idx="12737">
                  <c:v>852</c:v>
                </c:pt>
                <c:pt idx="12738">
                  <c:v>835</c:v>
                </c:pt>
                <c:pt idx="12739">
                  <c:v>862</c:v>
                </c:pt>
                <c:pt idx="12740">
                  <c:v>830</c:v>
                </c:pt>
                <c:pt idx="12741">
                  <c:v>816</c:v>
                </c:pt>
                <c:pt idx="12742">
                  <c:v>803</c:v>
                </c:pt>
                <c:pt idx="12743">
                  <c:v>757</c:v>
                </c:pt>
                <c:pt idx="12744">
                  <c:v>767</c:v>
                </c:pt>
                <c:pt idx="12745">
                  <c:v>606</c:v>
                </c:pt>
                <c:pt idx="12746">
                  <c:v>597</c:v>
                </c:pt>
                <c:pt idx="12747">
                  <c:v>539</c:v>
                </c:pt>
                <c:pt idx="12748">
                  <c:v>529</c:v>
                </c:pt>
                <c:pt idx="12749">
                  <c:v>548</c:v>
                </c:pt>
                <c:pt idx="12750">
                  <c:v>535</c:v>
                </c:pt>
                <c:pt idx="12751">
                  <c:v>510</c:v>
                </c:pt>
                <c:pt idx="12752">
                  <c:v>539</c:v>
                </c:pt>
                <c:pt idx="12753">
                  <c:v>511</c:v>
                </c:pt>
                <c:pt idx="12754">
                  <c:v>511</c:v>
                </c:pt>
                <c:pt idx="12755">
                  <c:v>514</c:v>
                </c:pt>
                <c:pt idx="12756">
                  <c:v>528</c:v>
                </c:pt>
                <c:pt idx="12757">
                  <c:v>511</c:v>
                </c:pt>
                <c:pt idx="12758">
                  <c:v>510</c:v>
                </c:pt>
                <c:pt idx="12759">
                  <c:v>511</c:v>
                </c:pt>
                <c:pt idx="12760">
                  <c:v>522</c:v>
                </c:pt>
                <c:pt idx="12761">
                  <c:v>490</c:v>
                </c:pt>
                <c:pt idx="12762">
                  <c:v>528</c:v>
                </c:pt>
                <c:pt idx="12763">
                  <c:v>459</c:v>
                </c:pt>
                <c:pt idx="12764">
                  <c:v>486</c:v>
                </c:pt>
                <c:pt idx="12765">
                  <c:v>442</c:v>
                </c:pt>
                <c:pt idx="12766">
                  <c:v>474</c:v>
                </c:pt>
                <c:pt idx="12767">
                  <c:v>456</c:v>
                </c:pt>
                <c:pt idx="12768">
                  <c:v>448</c:v>
                </c:pt>
                <c:pt idx="12769">
                  <c:v>481</c:v>
                </c:pt>
                <c:pt idx="12770">
                  <c:v>463</c:v>
                </c:pt>
                <c:pt idx="12771">
                  <c:v>471</c:v>
                </c:pt>
                <c:pt idx="12772">
                  <c:v>433</c:v>
                </c:pt>
                <c:pt idx="12773">
                  <c:v>449</c:v>
                </c:pt>
                <c:pt idx="12774">
                  <c:v>401</c:v>
                </c:pt>
                <c:pt idx="12775">
                  <c:v>412</c:v>
                </c:pt>
                <c:pt idx="12776">
                  <c:v>393</c:v>
                </c:pt>
                <c:pt idx="12777">
                  <c:v>375</c:v>
                </c:pt>
                <c:pt idx="12778">
                  <c:v>403</c:v>
                </c:pt>
                <c:pt idx="12779">
                  <c:v>388</c:v>
                </c:pt>
                <c:pt idx="12780">
                  <c:v>402</c:v>
                </c:pt>
                <c:pt idx="12781">
                  <c:v>383</c:v>
                </c:pt>
                <c:pt idx="12782">
                  <c:v>405</c:v>
                </c:pt>
                <c:pt idx="12783">
                  <c:v>404</c:v>
                </c:pt>
                <c:pt idx="12784">
                  <c:v>381</c:v>
                </c:pt>
                <c:pt idx="12785">
                  <c:v>492</c:v>
                </c:pt>
                <c:pt idx="12786">
                  <c:v>433</c:v>
                </c:pt>
                <c:pt idx="12787">
                  <c:v>408</c:v>
                </c:pt>
                <c:pt idx="12788">
                  <c:v>402</c:v>
                </c:pt>
                <c:pt idx="12789">
                  <c:v>404</c:v>
                </c:pt>
                <c:pt idx="12790">
                  <c:v>379</c:v>
                </c:pt>
                <c:pt idx="12791">
                  <c:v>387</c:v>
                </c:pt>
                <c:pt idx="12792">
                  <c:v>381</c:v>
                </c:pt>
                <c:pt idx="12793">
                  <c:v>406</c:v>
                </c:pt>
                <c:pt idx="12794">
                  <c:v>423</c:v>
                </c:pt>
                <c:pt idx="12795">
                  <c:v>438</c:v>
                </c:pt>
                <c:pt idx="12796">
                  <c:v>393</c:v>
                </c:pt>
                <c:pt idx="12797">
                  <c:v>396</c:v>
                </c:pt>
                <c:pt idx="12798">
                  <c:v>414</c:v>
                </c:pt>
                <c:pt idx="12799">
                  <c:v>410</c:v>
                </c:pt>
                <c:pt idx="12800">
                  <c:v>423</c:v>
                </c:pt>
                <c:pt idx="12801">
                  <c:v>391</c:v>
                </c:pt>
                <c:pt idx="12802">
                  <c:v>402</c:v>
                </c:pt>
                <c:pt idx="12803">
                  <c:v>425</c:v>
                </c:pt>
                <c:pt idx="12804">
                  <c:v>461</c:v>
                </c:pt>
                <c:pt idx="12805">
                  <c:v>432</c:v>
                </c:pt>
                <c:pt idx="12806">
                  <c:v>430</c:v>
                </c:pt>
                <c:pt idx="12807">
                  <c:v>450</c:v>
                </c:pt>
                <c:pt idx="12808">
                  <c:v>443</c:v>
                </c:pt>
                <c:pt idx="12809">
                  <c:v>449</c:v>
                </c:pt>
                <c:pt idx="12810">
                  <c:v>445</c:v>
                </c:pt>
                <c:pt idx="12811">
                  <c:v>478</c:v>
                </c:pt>
                <c:pt idx="12812">
                  <c:v>462</c:v>
                </c:pt>
                <c:pt idx="12813">
                  <c:v>471</c:v>
                </c:pt>
                <c:pt idx="12814">
                  <c:v>476</c:v>
                </c:pt>
                <c:pt idx="12815">
                  <c:v>547</c:v>
                </c:pt>
                <c:pt idx="12816">
                  <c:v>611</c:v>
                </c:pt>
                <c:pt idx="12817">
                  <c:v>646</c:v>
                </c:pt>
                <c:pt idx="12818">
                  <c:v>613</c:v>
                </c:pt>
                <c:pt idx="12819">
                  <c:v>550</c:v>
                </c:pt>
                <c:pt idx="12820">
                  <c:v>603</c:v>
                </c:pt>
                <c:pt idx="12821">
                  <c:v>586</c:v>
                </c:pt>
                <c:pt idx="12822">
                  <c:v>559</c:v>
                </c:pt>
                <c:pt idx="12823">
                  <c:v>596</c:v>
                </c:pt>
                <c:pt idx="12824">
                  <c:v>620</c:v>
                </c:pt>
                <c:pt idx="12825">
                  <c:v>620</c:v>
                </c:pt>
                <c:pt idx="12826">
                  <c:v>572</c:v>
                </c:pt>
                <c:pt idx="12827">
                  <c:v>583</c:v>
                </c:pt>
                <c:pt idx="12828">
                  <c:v>680</c:v>
                </c:pt>
                <c:pt idx="12829">
                  <c:v>650</c:v>
                </c:pt>
                <c:pt idx="12830">
                  <c:v>620</c:v>
                </c:pt>
                <c:pt idx="12831">
                  <c:v>645</c:v>
                </c:pt>
                <c:pt idx="12832">
                  <c:v>649</c:v>
                </c:pt>
                <c:pt idx="12833">
                  <c:v>613</c:v>
                </c:pt>
                <c:pt idx="12834">
                  <c:v>626</c:v>
                </c:pt>
                <c:pt idx="12835">
                  <c:v>494</c:v>
                </c:pt>
                <c:pt idx="12836">
                  <c:v>524</c:v>
                </c:pt>
                <c:pt idx="12837">
                  <c:v>545</c:v>
                </c:pt>
                <c:pt idx="12838">
                  <c:v>515</c:v>
                </c:pt>
                <c:pt idx="12839">
                  <c:v>587</c:v>
                </c:pt>
                <c:pt idx="12840">
                  <c:v>543</c:v>
                </c:pt>
                <c:pt idx="12841">
                  <c:v>554</c:v>
                </c:pt>
                <c:pt idx="12842">
                  <c:v>523</c:v>
                </c:pt>
                <c:pt idx="12843">
                  <c:v>491</c:v>
                </c:pt>
                <c:pt idx="12844">
                  <c:v>533</c:v>
                </c:pt>
                <c:pt idx="12845">
                  <c:v>518</c:v>
                </c:pt>
                <c:pt idx="12846">
                  <c:v>493</c:v>
                </c:pt>
                <c:pt idx="12847">
                  <c:v>496</c:v>
                </c:pt>
                <c:pt idx="12848">
                  <c:v>486</c:v>
                </c:pt>
                <c:pt idx="12849">
                  <c:v>487</c:v>
                </c:pt>
                <c:pt idx="12850">
                  <c:v>517</c:v>
                </c:pt>
                <c:pt idx="12851">
                  <c:v>470</c:v>
                </c:pt>
                <c:pt idx="12852">
                  <c:v>496</c:v>
                </c:pt>
                <c:pt idx="12853">
                  <c:v>507</c:v>
                </c:pt>
                <c:pt idx="12854">
                  <c:v>458</c:v>
                </c:pt>
                <c:pt idx="12855">
                  <c:v>483</c:v>
                </c:pt>
                <c:pt idx="12856">
                  <c:v>498</c:v>
                </c:pt>
                <c:pt idx="12857">
                  <c:v>447</c:v>
                </c:pt>
                <c:pt idx="12858">
                  <c:v>486</c:v>
                </c:pt>
                <c:pt idx="12859">
                  <c:v>465</c:v>
                </c:pt>
                <c:pt idx="12860">
                  <c:v>486</c:v>
                </c:pt>
                <c:pt idx="12861">
                  <c:v>415</c:v>
                </c:pt>
                <c:pt idx="12862">
                  <c:v>435</c:v>
                </c:pt>
                <c:pt idx="12863">
                  <c:v>429</c:v>
                </c:pt>
                <c:pt idx="12864">
                  <c:v>387</c:v>
                </c:pt>
                <c:pt idx="12865">
                  <c:v>406</c:v>
                </c:pt>
                <c:pt idx="12866">
                  <c:v>423</c:v>
                </c:pt>
                <c:pt idx="12867">
                  <c:v>430</c:v>
                </c:pt>
                <c:pt idx="12868">
                  <c:v>406</c:v>
                </c:pt>
                <c:pt idx="12869">
                  <c:v>406</c:v>
                </c:pt>
                <c:pt idx="12870">
                  <c:v>418</c:v>
                </c:pt>
                <c:pt idx="12871">
                  <c:v>427</c:v>
                </c:pt>
                <c:pt idx="12872">
                  <c:v>400</c:v>
                </c:pt>
                <c:pt idx="12873">
                  <c:v>417</c:v>
                </c:pt>
                <c:pt idx="12874">
                  <c:v>390</c:v>
                </c:pt>
                <c:pt idx="12875">
                  <c:v>408</c:v>
                </c:pt>
                <c:pt idx="12876">
                  <c:v>415</c:v>
                </c:pt>
                <c:pt idx="12877">
                  <c:v>374</c:v>
                </c:pt>
                <c:pt idx="12878">
                  <c:v>430</c:v>
                </c:pt>
                <c:pt idx="12879">
                  <c:v>395</c:v>
                </c:pt>
                <c:pt idx="12880">
                  <c:v>414</c:v>
                </c:pt>
                <c:pt idx="12881">
                  <c:v>404</c:v>
                </c:pt>
                <c:pt idx="12882">
                  <c:v>384</c:v>
                </c:pt>
                <c:pt idx="12883">
                  <c:v>386</c:v>
                </c:pt>
                <c:pt idx="12884">
                  <c:v>390</c:v>
                </c:pt>
                <c:pt idx="12885">
                  <c:v>359</c:v>
                </c:pt>
                <c:pt idx="12886">
                  <c:v>368</c:v>
                </c:pt>
                <c:pt idx="12887">
                  <c:v>382</c:v>
                </c:pt>
                <c:pt idx="12888">
                  <c:v>365</c:v>
                </c:pt>
                <c:pt idx="12889">
                  <c:v>400</c:v>
                </c:pt>
                <c:pt idx="12890">
                  <c:v>396</c:v>
                </c:pt>
                <c:pt idx="12891">
                  <c:v>413</c:v>
                </c:pt>
                <c:pt idx="12892">
                  <c:v>433</c:v>
                </c:pt>
                <c:pt idx="12893">
                  <c:v>468</c:v>
                </c:pt>
                <c:pt idx="12894">
                  <c:v>531</c:v>
                </c:pt>
                <c:pt idx="12895">
                  <c:v>485</c:v>
                </c:pt>
                <c:pt idx="12896">
                  <c:v>484</c:v>
                </c:pt>
                <c:pt idx="12897">
                  <c:v>486</c:v>
                </c:pt>
                <c:pt idx="12898">
                  <c:v>497</c:v>
                </c:pt>
                <c:pt idx="12899">
                  <c:v>502</c:v>
                </c:pt>
                <c:pt idx="12900">
                  <c:v>481</c:v>
                </c:pt>
                <c:pt idx="12901">
                  <c:v>569</c:v>
                </c:pt>
                <c:pt idx="12902">
                  <c:v>674</c:v>
                </c:pt>
                <c:pt idx="12903">
                  <c:v>568</c:v>
                </c:pt>
                <c:pt idx="12904">
                  <c:v>583</c:v>
                </c:pt>
                <c:pt idx="12905">
                  <c:v>549</c:v>
                </c:pt>
                <c:pt idx="12906">
                  <c:v>579</c:v>
                </c:pt>
                <c:pt idx="12907">
                  <c:v>586</c:v>
                </c:pt>
                <c:pt idx="12908">
                  <c:v>568</c:v>
                </c:pt>
                <c:pt idx="12909">
                  <c:v>589</c:v>
                </c:pt>
                <c:pt idx="12910">
                  <c:v>624</c:v>
                </c:pt>
                <c:pt idx="12911">
                  <c:v>695</c:v>
                </c:pt>
                <c:pt idx="12912">
                  <c:v>689</c:v>
                </c:pt>
                <c:pt idx="12913">
                  <c:v>622</c:v>
                </c:pt>
                <c:pt idx="12914">
                  <c:v>594</c:v>
                </c:pt>
                <c:pt idx="12915">
                  <c:v>618</c:v>
                </c:pt>
                <c:pt idx="12916">
                  <c:v>648</c:v>
                </c:pt>
                <c:pt idx="12917">
                  <c:v>817</c:v>
                </c:pt>
                <c:pt idx="12918">
                  <c:v>633</c:v>
                </c:pt>
                <c:pt idx="12919">
                  <c:v>621</c:v>
                </c:pt>
                <c:pt idx="12920">
                  <c:v>696</c:v>
                </c:pt>
                <c:pt idx="12921">
                  <c:v>782</c:v>
                </c:pt>
                <c:pt idx="12922">
                  <c:v>635</c:v>
                </c:pt>
                <c:pt idx="12923">
                  <c:v>662</c:v>
                </c:pt>
                <c:pt idx="12924">
                  <c:v>644</c:v>
                </c:pt>
                <c:pt idx="12925">
                  <c:v>764</c:v>
                </c:pt>
                <c:pt idx="12926">
                  <c:v>791</c:v>
                </c:pt>
                <c:pt idx="12927">
                  <c:v>625</c:v>
                </c:pt>
                <c:pt idx="12928">
                  <c:v>646</c:v>
                </c:pt>
                <c:pt idx="12929">
                  <c:v>730</c:v>
                </c:pt>
                <c:pt idx="12930">
                  <c:v>725</c:v>
                </c:pt>
                <c:pt idx="12931">
                  <c:v>704</c:v>
                </c:pt>
                <c:pt idx="12932">
                  <c:v>737</c:v>
                </c:pt>
                <c:pt idx="12933">
                  <c:v>867</c:v>
                </c:pt>
                <c:pt idx="12934">
                  <c:v>687</c:v>
                </c:pt>
                <c:pt idx="12935">
                  <c:v>701</c:v>
                </c:pt>
                <c:pt idx="12936">
                  <c:v>693</c:v>
                </c:pt>
                <c:pt idx="12937">
                  <c:v>699</c:v>
                </c:pt>
                <c:pt idx="12938">
                  <c:v>555</c:v>
                </c:pt>
                <c:pt idx="12939">
                  <c:v>611</c:v>
                </c:pt>
                <c:pt idx="12940">
                  <c:v>575</c:v>
                </c:pt>
                <c:pt idx="12941">
                  <c:v>605</c:v>
                </c:pt>
                <c:pt idx="12942">
                  <c:v>612</c:v>
                </c:pt>
                <c:pt idx="12943">
                  <c:v>605</c:v>
                </c:pt>
                <c:pt idx="12944">
                  <c:v>582</c:v>
                </c:pt>
                <c:pt idx="12945">
                  <c:v>598</c:v>
                </c:pt>
                <c:pt idx="12946">
                  <c:v>559</c:v>
                </c:pt>
                <c:pt idx="12947">
                  <c:v>569</c:v>
                </c:pt>
                <c:pt idx="12948">
                  <c:v>561</c:v>
                </c:pt>
                <c:pt idx="12949">
                  <c:v>546</c:v>
                </c:pt>
                <c:pt idx="12950">
                  <c:v>561</c:v>
                </c:pt>
                <c:pt idx="12951">
                  <c:v>561</c:v>
                </c:pt>
                <c:pt idx="12952">
                  <c:v>540</c:v>
                </c:pt>
                <c:pt idx="12953">
                  <c:v>556</c:v>
                </c:pt>
                <c:pt idx="12954">
                  <c:v>526</c:v>
                </c:pt>
                <c:pt idx="12955">
                  <c:v>494</c:v>
                </c:pt>
                <c:pt idx="12956">
                  <c:v>520</c:v>
                </c:pt>
                <c:pt idx="12957">
                  <c:v>567</c:v>
                </c:pt>
                <c:pt idx="12958">
                  <c:v>495</c:v>
                </c:pt>
                <c:pt idx="12959">
                  <c:v>508</c:v>
                </c:pt>
                <c:pt idx="12960">
                  <c:v>455</c:v>
                </c:pt>
                <c:pt idx="12961">
                  <c:v>481</c:v>
                </c:pt>
                <c:pt idx="12962">
                  <c:v>471</c:v>
                </c:pt>
                <c:pt idx="12963">
                  <c:v>456</c:v>
                </c:pt>
                <c:pt idx="12964">
                  <c:v>466</c:v>
                </c:pt>
                <c:pt idx="12965">
                  <c:v>458</c:v>
                </c:pt>
                <c:pt idx="12966">
                  <c:v>414</c:v>
                </c:pt>
                <c:pt idx="12967">
                  <c:v>416</c:v>
                </c:pt>
                <c:pt idx="12968">
                  <c:v>410</c:v>
                </c:pt>
                <c:pt idx="12969">
                  <c:v>408</c:v>
                </c:pt>
                <c:pt idx="12970">
                  <c:v>424</c:v>
                </c:pt>
                <c:pt idx="12971">
                  <c:v>385</c:v>
                </c:pt>
                <c:pt idx="12972">
                  <c:v>432</c:v>
                </c:pt>
                <c:pt idx="12973">
                  <c:v>450</c:v>
                </c:pt>
                <c:pt idx="12974">
                  <c:v>495</c:v>
                </c:pt>
                <c:pt idx="12975">
                  <c:v>462</c:v>
                </c:pt>
                <c:pt idx="12976">
                  <c:v>443</c:v>
                </c:pt>
                <c:pt idx="12977">
                  <c:v>460</c:v>
                </c:pt>
                <c:pt idx="12978">
                  <c:v>436</c:v>
                </c:pt>
                <c:pt idx="12979">
                  <c:v>464</c:v>
                </c:pt>
                <c:pt idx="12980">
                  <c:v>477</c:v>
                </c:pt>
                <c:pt idx="12981">
                  <c:v>576</c:v>
                </c:pt>
                <c:pt idx="12982">
                  <c:v>516</c:v>
                </c:pt>
                <c:pt idx="12983">
                  <c:v>614</c:v>
                </c:pt>
                <c:pt idx="12984">
                  <c:v>540</c:v>
                </c:pt>
                <c:pt idx="12985">
                  <c:v>466</c:v>
                </c:pt>
                <c:pt idx="12986">
                  <c:v>572</c:v>
                </c:pt>
                <c:pt idx="12987">
                  <c:v>685</c:v>
                </c:pt>
                <c:pt idx="12988">
                  <c:v>771</c:v>
                </c:pt>
                <c:pt idx="12989">
                  <c:v>766</c:v>
                </c:pt>
                <c:pt idx="12990">
                  <c:v>791</c:v>
                </c:pt>
                <c:pt idx="12991">
                  <c:v>721</c:v>
                </c:pt>
                <c:pt idx="12992">
                  <c:v>742</c:v>
                </c:pt>
                <c:pt idx="12993">
                  <c:v>586</c:v>
                </c:pt>
                <c:pt idx="12994">
                  <c:v>634</c:v>
                </c:pt>
                <c:pt idx="12995">
                  <c:v>717</c:v>
                </c:pt>
                <c:pt idx="12996">
                  <c:v>765</c:v>
                </c:pt>
                <c:pt idx="12997">
                  <c:v>700</c:v>
                </c:pt>
                <c:pt idx="12998">
                  <c:v>761</c:v>
                </c:pt>
                <c:pt idx="12999">
                  <c:v>745</c:v>
                </c:pt>
                <c:pt idx="13000">
                  <c:v>747</c:v>
                </c:pt>
                <c:pt idx="13001">
                  <c:v>791</c:v>
                </c:pt>
                <c:pt idx="13002">
                  <c:v>784</c:v>
                </c:pt>
                <c:pt idx="13003">
                  <c:v>899</c:v>
                </c:pt>
                <c:pt idx="13004">
                  <c:v>906</c:v>
                </c:pt>
                <c:pt idx="13005">
                  <c:v>863</c:v>
                </c:pt>
                <c:pt idx="13006">
                  <c:v>880</c:v>
                </c:pt>
                <c:pt idx="13007">
                  <c:v>898</c:v>
                </c:pt>
                <c:pt idx="13008">
                  <c:v>831</c:v>
                </c:pt>
                <c:pt idx="13009">
                  <c:v>909</c:v>
                </c:pt>
                <c:pt idx="13010">
                  <c:v>1244</c:v>
                </c:pt>
                <c:pt idx="13011">
                  <c:v>1129</c:v>
                </c:pt>
                <c:pt idx="13012">
                  <c:v>993</c:v>
                </c:pt>
                <c:pt idx="13013">
                  <c:v>926</c:v>
                </c:pt>
                <c:pt idx="13014">
                  <c:v>932</c:v>
                </c:pt>
                <c:pt idx="13015">
                  <c:v>908</c:v>
                </c:pt>
                <c:pt idx="13016">
                  <c:v>941</c:v>
                </c:pt>
                <c:pt idx="13017">
                  <c:v>930</c:v>
                </c:pt>
                <c:pt idx="13018">
                  <c:v>973</c:v>
                </c:pt>
                <c:pt idx="13019">
                  <c:v>974</c:v>
                </c:pt>
                <c:pt idx="13020">
                  <c:v>969</c:v>
                </c:pt>
                <c:pt idx="13021">
                  <c:v>876</c:v>
                </c:pt>
                <c:pt idx="13022">
                  <c:v>919</c:v>
                </c:pt>
                <c:pt idx="13023">
                  <c:v>895</c:v>
                </c:pt>
                <c:pt idx="13024">
                  <c:v>892</c:v>
                </c:pt>
                <c:pt idx="13025">
                  <c:v>877</c:v>
                </c:pt>
                <c:pt idx="13026">
                  <c:v>833</c:v>
                </c:pt>
                <c:pt idx="13027">
                  <c:v>864</c:v>
                </c:pt>
                <c:pt idx="13028">
                  <c:v>932</c:v>
                </c:pt>
                <c:pt idx="13029">
                  <c:v>947</c:v>
                </c:pt>
                <c:pt idx="13030">
                  <c:v>877</c:v>
                </c:pt>
                <c:pt idx="13031">
                  <c:v>873</c:v>
                </c:pt>
                <c:pt idx="13032">
                  <c:v>867</c:v>
                </c:pt>
                <c:pt idx="13033">
                  <c:v>575</c:v>
                </c:pt>
                <c:pt idx="13034">
                  <c:v>657</c:v>
                </c:pt>
                <c:pt idx="13035">
                  <c:v>658</c:v>
                </c:pt>
                <c:pt idx="13036">
                  <c:v>618</c:v>
                </c:pt>
                <c:pt idx="13037">
                  <c:v>617</c:v>
                </c:pt>
                <c:pt idx="13038">
                  <c:v>586</c:v>
                </c:pt>
                <c:pt idx="13039">
                  <c:v>601</c:v>
                </c:pt>
                <c:pt idx="13040">
                  <c:v>575</c:v>
                </c:pt>
                <c:pt idx="13041">
                  <c:v>589</c:v>
                </c:pt>
                <c:pt idx="13042">
                  <c:v>582</c:v>
                </c:pt>
                <c:pt idx="13043">
                  <c:v>560</c:v>
                </c:pt>
                <c:pt idx="13044">
                  <c:v>566</c:v>
                </c:pt>
                <c:pt idx="13045">
                  <c:v>564</c:v>
                </c:pt>
                <c:pt idx="13046">
                  <c:v>585</c:v>
                </c:pt>
                <c:pt idx="13047">
                  <c:v>559</c:v>
                </c:pt>
                <c:pt idx="13048">
                  <c:v>571</c:v>
                </c:pt>
                <c:pt idx="13049">
                  <c:v>557</c:v>
                </c:pt>
                <c:pt idx="13050">
                  <c:v>523</c:v>
                </c:pt>
                <c:pt idx="13051">
                  <c:v>534</c:v>
                </c:pt>
                <c:pt idx="13052">
                  <c:v>491</c:v>
                </c:pt>
                <c:pt idx="13053">
                  <c:v>520</c:v>
                </c:pt>
                <c:pt idx="13054">
                  <c:v>518</c:v>
                </c:pt>
                <c:pt idx="13055">
                  <c:v>496</c:v>
                </c:pt>
                <c:pt idx="13056">
                  <c:v>494</c:v>
                </c:pt>
                <c:pt idx="13057">
                  <c:v>512</c:v>
                </c:pt>
                <c:pt idx="13058">
                  <c:v>456</c:v>
                </c:pt>
                <c:pt idx="13059">
                  <c:v>455</c:v>
                </c:pt>
                <c:pt idx="13060">
                  <c:v>510</c:v>
                </c:pt>
                <c:pt idx="13061">
                  <c:v>459</c:v>
                </c:pt>
                <c:pt idx="13062">
                  <c:v>455</c:v>
                </c:pt>
                <c:pt idx="13063">
                  <c:v>445</c:v>
                </c:pt>
                <c:pt idx="13064">
                  <c:v>451</c:v>
                </c:pt>
                <c:pt idx="13065">
                  <c:v>499</c:v>
                </c:pt>
                <c:pt idx="13066">
                  <c:v>444</c:v>
                </c:pt>
                <c:pt idx="13067">
                  <c:v>440</c:v>
                </c:pt>
                <c:pt idx="13068">
                  <c:v>510</c:v>
                </c:pt>
                <c:pt idx="13069">
                  <c:v>584</c:v>
                </c:pt>
                <c:pt idx="13070">
                  <c:v>543</c:v>
                </c:pt>
                <c:pt idx="13071">
                  <c:v>513</c:v>
                </c:pt>
                <c:pt idx="13072">
                  <c:v>537</c:v>
                </c:pt>
                <c:pt idx="13073">
                  <c:v>492</c:v>
                </c:pt>
                <c:pt idx="13074">
                  <c:v>446</c:v>
                </c:pt>
                <c:pt idx="13075">
                  <c:v>508</c:v>
                </c:pt>
                <c:pt idx="13076">
                  <c:v>475</c:v>
                </c:pt>
                <c:pt idx="13077">
                  <c:v>481</c:v>
                </c:pt>
                <c:pt idx="13078">
                  <c:v>487</c:v>
                </c:pt>
                <c:pt idx="13079">
                  <c:v>570</c:v>
                </c:pt>
                <c:pt idx="13080">
                  <c:v>554</c:v>
                </c:pt>
                <c:pt idx="13081">
                  <c:v>572</c:v>
                </c:pt>
                <c:pt idx="13082">
                  <c:v>572</c:v>
                </c:pt>
                <c:pt idx="13083">
                  <c:v>619</c:v>
                </c:pt>
                <c:pt idx="13084">
                  <c:v>772</c:v>
                </c:pt>
                <c:pt idx="13085">
                  <c:v>726</c:v>
                </c:pt>
                <c:pt idx="13086">
                  <c:v>719</c:v>
                </c:pt>
                <c:pt idx="13087">
                  <c:v>593</c:v>
                </c:pt>
                <c:pt idx="13088">
                  <c:v>673</c:v>
                </c:pt>
                <c:pt idx="13089">
                  <c:v>677</c:v>
                </c:pt>
                <c:pt idx="13090">
                  <c:v>807</c:v>
                </c:pt>
                <c:pt idx="13091">
                  <c:v>744</c:v>
                </c:pt>
                <c:pt idx="13092">
                  <c:v>795</c:v>
                </c:pt>
                <c:pt idx="13093">
                  <c:v>868</c:v>
                </c:pt>
                <c:pt idx="13094">
                  <c:v>858</c:v>
                </c:pt>
                <c:pt idx="13095">
                  <c:v>841</c:v>
                </c:pt>
                <c:pt idx="13096">
                  <c:v>848</c:v>
                </c:pt>
                <c:pt idx="13097">
                  <c:v>823</c:v>
                </c:pt>
                <c:pt idx="13098">
                  <c:v>855</c:v>
                </c:pt>
                <c:pt idx="13099">
                  <c:v>877</c:v>
                </c:pt>
                <c:pt idx="13100">
                  <c:v>808</c:v>
                </c:pt>
                <c:pt idx="13101">
                  <c:v>776</c:v>
                </c:pt>
                <c:pt idx="13102">
                  <c:v>848</c:v>
                </c:pt>
                <c:pt idx="13103">
                  <c:v>1227</c:v>
                </c:pt>
                <c:pt idx="13104">
                  <c:v>1175</c:v>
                </c:pt>
                <c:pt idx="13105">
                  <c:v>1119</c:v>
                </c:pt>
                <c:pt idx="13106">
                  <c:v>945</c:v>
                </c:pt>
                <c:pt idx="13107">
                  <c:v>950</c:v>
                </c:pt>
                <c:pt idx="13108">
                  <c:v>927</c:v>
                </c:pt>
                <c:pt idx="13109">
                  <c:v>980</c:v>
                </c:pt>
                <c:pt idx="13110">
                  <c:v>999</c:v>
                </c:pt>
                <c:pt idx="13111">
                  <c:v>1000</c:v>
                </c:pt>
                <c:pt idx="13112">
                  <c:v>1039</c:v>
                </c:pt>
                <c:pt idx="13113">
                  <c:v>967</c:v>
                </c:pt>
                <c:pt idx="13114">
                  <c:v>974</c:v>
                </c:pt>
                <c:pt idx="13115">
                  <c:v>965</c:v>
                </c:pt>
                <c:pt idx="13116">
                  <c:v>957</c:v>
                </c:pt>
                <c:pt idx="13117">
                  <c:v>955</c:v>
                </c:pt>
                <c:pt idx="13118">
                  <c:v>952</c:v>
                </c:pt>
                <c:pt idx="13119">
                  <c:v>939</c:v>
                </c:pt>
                <c:pt idx="13120">
                  <c:v>913</c:v>
                </c:pt>
                <c:pt idx="13121">
                  <c:v>913</c:v>
                </c:pt>
                <c:pt idx="13122">
                  <c:v>919</c:v>
                </c:pt>
                <c:pt idx="13123">
                  <c:v>932</c:v>
                </c:pt>
                <c:pt idx="13124">
                  <c:v>948</c:v>
                </c:pt>
                <c:pt idx="13125">
                  <c:v>945</c:v>
                </c:pt>
                <c:pt idx="13126">
                  <c:v>918</c:v>
                </c:pt>
                <c:pt idx="13127">
                  <c:v>849</c:v>
                </c:pt>
                <c:pt idx="13128">
                  <c:v>856</c:v>
                </c:pt>
                <c:pt idx="13129">
                  <c:v>652</c:v>
                </c:pt>
                <c:pt idx="13130">
                  <c:v>699</c:v>
                </c:pt>
                <c:pt idx="13131">
                  <c:v>696</c:v>
                </c:pt>
                <c:pt idx="13132">
                  <c:v>638</c:v>
                </c:pt>
                <c:pt idx="13133">
                  <c:v>654</c:v>
                </c:pt>
                <c:pt idx="13134">
                  <c:v>659</c:v>
                </c:pt>
                <c:pt idx="13135">
                  <c:v>668</c:v>
                </c:pt>
                <c:pt idx="13136">
                  <c:v>720</c:v>
                </c:pt>
                <c:pt idx="13137">
                  <c:v>618</c:v>
                </c:pt>
                <c:pt idx="13138">
                  <c:v>530</c:v>
                </c:pt>
                <c:pt idx="13139">
                  <c:v>516</c:v>
                </c:pt>
                <c:pt idx="13140">
                  <c:v>530</c:v>
                </c:pt>
                <c:pt idx="13141">
                  <c:v>536</c:v>
                </c:pt>
                <c:pt idx="13142">
                  <c:v>526</c:v>
                </c:pt>
                <c:pt idx="13143">
                  <c:v>504</c:v>
                </c:pt>
                <c:pt idx="13144">
                  <c:v>524</c:v>
                </c:pt>
                <c:pt idx="13145">
                  <c:v>532</c:v>
                </c:pt>
                <c:pt idx="13146">
                  <c:v>526</c:v>
                </c:pt>
                <c:pt idx="13147">
                  <c:v>483</c:v>
                </c:pt>
                <c:pt idx="13148">
                  <c:v>503</c:v>
                </c:pt>
                <c:pt idx="13149">
                  <c:v>482</c:v>
                </c:pt>
                <c:pt idx="13150">
                  <c:v>444</c:v>
                </c:pt>
                <c:pt idx="13151">
                  <c:v>475</c:v>
                </c:pt>
                <c:pt idx="13152">
                  <c:v>434</c:v>
                </c:pt>
                <c:pt idx="13153">
                  <c:v>446</c:v>
                </c:pt>
                <c:pt idx="13154">
                  <c:v>410</c:v>
                </c:pt>
                <c:pt idx="13155">
                  <c:v>423</c:v>
                </c:pt>
                <c:pt idx="13156">
                  <c:v>407</c:v>
                </c:pt>
                <c:pt idx="13157">
                  <c:v>431</c:v>
                </c:pt>
                <c:pt idx="13158">
                  <c:v>406</c:v>
                </c:pt>
                <c:pt idx="13159">
                  <c:v>432</c:v>
                </c:pt>
                <c:pt idx="13160">
                  <c:v>463</c:v>
                </c:pt>
                <c:pt idx="13161">
                  <c:v>573</c:v>
                </c:pt>
                <c:pt idx="13162">
                  <c:v>445</c:v>
                </c:pt>
                <c:pt idx="13163">
                  <c:v>476</c:v>
                </c:pt>
                <c:pt idx="13164">
                  <c:v>521</c:v>
                </c:pt>
                <c:pt idx="13165">
                  <c:v>578</c:v>
                </c:pt>
                <c:pt idx="13166">
                  <c:v>556</c:v>
                </c:pt>
                <c:pt idx="13167">
                  <c:v>527</c:v>
                </c:pt>
                <c:pt idx="13168">
                  <c:v>550</c:v>
                </c:pt>
                <c:pt idx="13169">
                  <c:v>548</c:v>
                </c:pt>
                <c:pt idx="13170">
                  <c:v>494</c:v>
                </c:pt>
                <c:pt idx="13171">
                  <c:v>545</c:v>
                </c:pt>
                <c:pt idx="13172">
                  <c:v>504</c:v>
                </c:pt>
                <c:pt idx="13173">
                  <c:v>522</c:v>
                </c:pt>
                <c:pt idx="13174">
                  <c:v>516</c:v>
                </c:pt>
                <c:pt idx="13175">
                  <c:v>752</c:v>
                </c:pt>
                <c:pt idx="13176">
                  <c:v>571</c:v>
                </c:pt>
                <c:pt idx="13177">
                  <c:v>646</c:v>
                </c:pt>
                <c:pt idx="13178">
                  <c:v>616</c:v>
                </c:pt>
                <c:pt idx="13179">
                  <c:v>516</c:v>
                </c:pt>
                <c:pt idx="13180">
                  <c:v>801</c:v>
                </c:pt>
                <c:pt idx="13181">
                  <c:v>731</c:v>
                </c:pt>
                <c:pt idx="13182">
                  <c:v>755</c:v>
                </c:pt>
                <c:pt idx="13183">
                  <c:v>732</c:v>
                </c:pt>
                <c:pt idx="13184">
                  <c:v>748</c:v>
                </c:pt>
                <c:pt idx="13185">
                  <c:v>770</c:v>
                </c:pt>
                <c:pt idx="13186">
                  <c:v>841</c:v>
                </c:pt>
                <c:pt idx="13187">
                  <c:v>865</c:v>
                </c:pt>
                <c:pt idx="13188">
                  <c:v>840</c:v>
                </c:pt>
                <c:pt idx="13189">
                  <c:v>848</c:v>
                </c:pt>
                <c:pt idx="13190">
                  <c:v>866</c:v>
                </c:pt>
                <c:pt idx="13191">
                  <c:v>889</c:v>
                </c:pt>
                <c:pt idx="13192">
                  <c:v>798</c:v>
                </c:pt>
                <c:pt idx="13193">
                  <c:v>819</c:v>
                </c:pt>
                <c:pt idx="13194">
                  <c:v>843</c:v>
                </c:pt>
                <c:pt idx="13195">
                  <c:v>917</c:v>
                </c:pt>
                <c:pt idx="13196">
                  <c:v>832</c:v>
                </c:pt>
                <c:pt idx="13197">
                  <c:v>864</c:v>
                </c:pt>
                <c:pt idx="13198">
                  <c:v>1177</c:v>
                </c:pt>
                <c:pt idx="13199">
                  <c:v>1266</c:v>
                </c:pt>
                <c:pt idx="13200">
                  <c:v>1052</c:v>
                </c:pt>
                <c:pt idx="13201">
                  <c:v>1058</c:v>
                </c:pt>
                <c:pt idx="13202">
                  <c:v>1006</c:v>
                </c:pt>
                <c:pt idx="13203">
                  <c:v>982</c:v>
                </c:pt>
                <c:pt idx="13204">
                  <c:v>994</c:v>
                </c:pt>
                <c:pt idx="13205">
                  <c:v>1024</c:v>
                </c:pt>
                <c:pt idx="13206">
                  <c:v>1039</c:v>
                </c:pt>
                <c:pt idx="13207">
                  <c:v>1030</c:v>
                </c:pt>
                <c:pt idx="13208">
                  <c:v>1026</c:v>
                </c:pt>
                <c:pt idx="13209">
                  <c:v>968</c:v>
                </c:pt>
                <c:pt idx="13210">
                  <c:v>979</c:v>
                </c:pt>
                <c:pt idx="13211">
                  <c:v>975</c:v>
                </c:pt>
                <c:pt idx="13212">
                  <c:v>970</c:v>
                </c:pt>
                <c:pt idx="13213">
                  <c:v>966</c:v>
                </c:pt>
                <c:pt idx="13214">
                  <c:v>992</c:v>
                </c:pt>
                <c:pt idx="13215">
                  <c:v>992</c:v>
                </c:pt>
                <c:pt idx="13216">
                  <c:v>957</c:v>
                </c:pt>
                <c:pt idx="13217">
                  <c:v>933</c:v>
                </c:pt>
                <c:pt idx="13218">
                  <c:v>958</c:v>
                </c:pt>
                <c:pt idx="13219">
                  <c:v>955</c:v>
                </c:pt>
                <c:pt idx="13220">
                  <c:v>961</c:v>
                </c:pt>
                <c:pt idx="13221">
                  <c:v>964</c:v>
                </c:pt>
                <c:pt idx="13222">
                  <c:v>935</c:v>
                </c:pt>
                <c:pt idx="13223">
                  <c:v>944</c:v>
                </c:pt>
                <c:pt idx="13224">
                  <c:v>924</c:v>
                </c:pt>
                <c:pt idx="13225">
                  <c:v>754</c:v>
                </c:pt>
                <c:pt idx="13226">
                  <c:v>713</c:v>
                </c:pt>
                <c:pt idx="13227">
                  <c:v>633</c:v>
                </c:pt>
                <c:pt idx="13228">
                  <c:v>633</c:v>
                </c:pt>
                <c:pt idx="13229">
                  <c:v>642</c:v>
                </c:pt>
                <c:pt idx="13230">
                  <c:v>641</c:v>
                </c:pt>
                <c:pt idx="13231">
                  <c:v>645</c:v>
                </c:pt>
                <c:pt idx="13232">
                  <c:v>643</c:v>
                </c:pt>
                <c:pt idx="13233">
                  <c:v>696</c:v>
                </c:pt>
                <c:pt idx="13234">
                  <c:v>555</c:v>
                </c:pt>
                <c:pt idx="13235">
                  <c:v>590</c:v>
                </c:pt>
                <c:pt idx="13236">
                  <c:v>547</c:v>
                </c:pt>
                <c:pt idx="13237">
                  <c:v>574</c:v>
                </c:pt>
                <c:pt idx="13238">
                  <c:v>526</c:v>
                </c:pt>
                <c:pt idx="13239">
                  <c:v>594</c:v>
                </c:pt>
                <c:pt idx="13240">
                  <c:v>529</c:v>
                </c:pt>
                <c:pt idx="13241">
                  <c:v>581</c:v>
                </c:pt>
                <c:pt idx="13242">
                  <c:v>470</c:v>
                </c:pt>
                <c:pt idx="13243">
                  <c:v>498</c:v>
                </c:pt>
                <c:pt idx="13244">
                  <c:v>489</c:v>
                </c:pt>
                <c:pt idx="13245">
                  <c:v>502</c:v>
                </c:pt>
                <c:pt idx="13246">
                  <c:v>499</c:v>
                </c:pt>
                <c:pt idx="13247">
                  <c:v>488</c:v>
                </c:pt>
                <c:pt idx="13248">
                  <c:v>526</c:v>
                </c:pt>
                <c:pt idx="13249">
                  <c:v>499</c:v>
                </c:pt>
                <c:pt idx="13250">
                  <c:v>490</c:v>
                </c:pt>
                <c:pt idx="13251">
                  <c:v>451</c:v>
                </c:pt>
                <c:pt idx="13252">
                  <c:v>483</c:v>
                </c:pt>
                <c:pt idx="13253">
                  <c:v>492</c:v>
                </c:pt>
                <c:pt idx="13254">
                  <c:v>441</c:v>
                </c:pt>
                <c:pt idx="13255">
                  <c:v>435</c:v>
                </c:pt>
                <c:pt idx="13256">
                  <c:v>493</c:v>
                </c:pt>
                <c:pt idx="13257">
                  <c:v>548</c:v>
                </c:pt>
                <c:pt idx="13258">
                  <c:v>549</c:v>
                </c:pt>
                <c:pt idx="13259">
                  <c:v>480</c:v>
                </c:pt>
                <c:pt idx="13260">
                  <c:v>571</c:v>
                </c:pt>
                <c:pt idx="13261">
                  <c:v>594</c:v>
                </c:pt>
                <c:pt idx="13262">
                  <c:v>553</c:v>
                </c:pt>
                <c:pt idx="13263">
                  <c:v>595</c:v>
                </c:pt>
                <c:pt idx="13264">
                  <c:v>525</c:v>
                </c:pt>
                <c:pt idx="13265">
                  <c:v>505</c:v>
                </c:pt>
                <c:pt idx="13266">
                  <c:v>521</c:v>
                </c:pt>
                <c:pt idx="13267">
                  <c:v>520</c:v>
                </c:pt>
                <c:pt idx="13268">
                  <c:v>528</c:v>
                </c:pt>
                <c:pt idx="13269">
                  <c:v>508</c:v>
                </c:pt>
                <c:pt idx="13270">
                  <c:v>507</c:v>
                </c:pt>
                <c:pt idx="13271">
                  <c:v>712</c:v>
                </c:pt>
                <c:pt idx="13272">
                  <c:v>609</c:v>
                </c:pt>
                <c:pt idx="13273">
                  <c:v>678</c:v>
                </c:pt>
                <c:pt idx="13274">
                  <c:v>687</c:v>
                </c:pt>
                <c:pt idx="13275">
                  <c:v>786</c:v>
                </c:pt>
                <c:pt idx="13276">
                  <c:v>880</c:v>
                </c:pt>
                <c:pt idx="13277">
                  <c:v>813</c:v>
                </c:pt>
                <c:pt idx="13278">
                  <c:v>775</c:v>
                </c:pt>
                <c:pt idx="13279">
                  <c:v>751</c:v>
                </c:pt>
                <c:pt idx="13280">
                  <c:v>671</c:v>
                </c:pt>
                <c:pt idx="13281">
                  <c:v>720</c:v>
                </c:pt>
                <c:pt idx="13282">
                  <c:v>901</c:v>
                </c:pt>
                <c:pt idx="13283">
                  <c:v>816</c:v>
                </c:pt>
                <c:pt idx="13284">
                  <c:v>914</c:v>
                </c:pt>
                <c:pt idx="13285">
                  <c:v>853</c:v>
                </c:pt>
                <c:pt idx="13286">
                  <c:v>836</c:v>
                </c:pt>
                <c:pt idx="13287">
                  <c:v>860</c:v>
                </c:pt>
                <c:pt idx="13288">
                  <c:v>867</c:v>
                </c:pt>
                <c:pt idx="13289">
                  <c:v>872</c:v>
                </c:pt>
                <c:pt idx="13290">
                  <c:v>1165</c:v>
                </c:pt>
                <c:pt idx="13291">
                  <c:v>1121</c:v>
                </c:pt>
                <c:pt idx="13292">
                  <c:v>936</c:v>
                </c:pt>
                <c:pt idx="13293">
                  <c:v>877</c:v>
                </c:pt>
                <c:pt idx="13294">
                  <c:v>891</c:v>
                </c:pt>
                <c:pt idx="13295">
                  <c:v>987</c:v>
                </c:pt>
                <c:pt idx="13296">
                  <c:v>995</c:v>
                </c:pt>
                <c:pt idx="13297">
                  <c:v>964</c:v>
                </c:pt>
                <c:pt idx="13298">
                  <c:v>920</c:v>
                </c:pt>
                <c:pt idx="13299">
                  <c:v>928</c:v>
                </c:pt>
                <c:pt idx="13300">
                  <c:v>960</c:v>
                </c:pt>
                <c:pt idx="13301">
                  <c:v>976</c:v>
                </c:pt>
                <c:pt idx="13302">
                  <c:v>952</c:v>
                </c:pt>
                <c:pt idx="13303">
                  <c:v>1003</c:v>
                </c:pt>
                <c:pt idx="13304">
                  <c:v>928</c:v>
                </c:pt>
                <c:pt idx="13305">
                  <c:v>939</c:v>
                </c:pt>
                <c:pt idx="13306">
                  <c:v>937</c:v>
                </c:pt>
                <c:pt idx="13307">
                  <c:v>931</c:v>
                </c:pt>
                <c:pt idx="13308">
                  <c:v>954</c:v>
                </c:pt>
                <c:pt idx="13309">
                  <c:v>933</c:v>
                </c:pt>
                <c:pt idx="13310">
                  <c:v>969</c:v>
                </c:pt>
                <c:pt idx="13311">
                  <c:v>935</c:v>
                </c:pt>
                <c:pt idx="13312">
                  <c:v>997</c:v>
                </c:pt>
                <c:pt idx="13313">
                  <c:v>929</c:v>
                </c:pt>
                <c:pt idx="13314">
                  <c:v>933</c:v>
                </c:pt>
                <c:pt idx="13315">
                  <c:v>915</c:v>
                </c:pt>
                <c:pt idx="13316">
                  <c:v>900</c:v>
                </c:pt>
                <c:pt idx="13317">
                  <c:v>922</c:v>
                </c:pt>
                <c:pt idx="13318">
                  <c:v>915</c:v>
                </c:pt>
                <c:pt idx="13319">
                  <c:v>909</c:v>
                </c:pt>
                <c:pt idx="13320">
                  <c:v>925</c:v>
                </c:pt>
                <c:pt idx="13321">
                  <c:v>740</c:v>
                </c:pt>
                <c:pt idx="13322">
                  <c:v>643</c:v>
                </c:pt>
                <c:pt idx="13323">
                  <c:v>581</c:v>
                </c:pt>
                <c:pt idx="13324">
                  <c:v>589</c:v>
                </c:pt>
                <c:pt idx="13325">
                  <c:v>579</c:v>
                </c:pt>
                <c:pt idx="13326">
                  <c:v>601</c:v>
                </c:pt>
                <c:pt idx="13327">
                  <c:v>618</c:v>
                </c:pt>
                <c:pt idx="13328">
                  <c:v>662</c:v>
                </c:pt>
                <c:pt idx="13329">
                  <c:v>668</c:v>
                </c:pt>
                <c:pt idx="13330">
                  <c:v>463</c:v>
                </c:pt>
                <c:pt idx="13331">
                  <c:v>477</c:v>
                </c:pt>
                <c:pt idx="13332">
                  <c:v>494</c:v>
                </c:pt>
                <c:pt idx="13333">
                  <c:v>502</c:v>
                </c:pt>
                <c:pt idx="13334">
                  <c:v>458</c:v>
                </c:pt>
                <c:pt idx="13335">
                  <c:v>492</c:v>
                </c:pt>
                <c:pt idx="13336">
                  <c:v>466</c:v>
                </c:pt>
                <c:pt idx="13337">
                  <c:v>479</c:v>
                </c:pt>
                <c:pt idx="13338">
                  <c:v>468</c:v>
                </c:pt>
                <c:pt idx="13339">
                  <c:v>366</c:v>
                </c:pt>
                <c:pt idx="13340">
                  <c:v>343</c:v>
                </c:pt>
                <c:pt idx="13341">
                  <c:v>340</c:v>
                </c:pt>
                <c:pt idx="13342">
                  <c:v>313</c:v>
                </c:pt>
                <c:pt idx="13343">
                  <c:v>313</c:v>
                </c:pt>
                <c:pt idx="13344">
                  <c:v>325</c:v>
                </c:pt>
                <c:pt idx="13345">
                  <c:v>302</c:v>
                </c:pt>
                <c:pt idx="13346">
                  <c:v>323</c:v>
                </c:pt>
                <c:pt idx="13347">
                  <c:v>294</c:v>
                </c:pt>
                <c:pt idx="13348">
                  <c:v>301</c:v>
                </c:pt>
                <c:pt idx="13349">
                  <c:v>298</c:v>
                </c:pt>
                <c:pt idx="13350">
                  <c:v>333</c:v>
                </c:pt>
                <c:pt idx="13351">
                  <c:v>273</c:v>
                </c:pt>
                <c:pt idx="13352">
                  <c:v>416</c:v>
                </c:pt>
                <c:pt idx="13353">
                  <c:v>471</c:v>
                </c:pt>
                <c:pt idx="13354">
                  <c:v>407</c:v>
                </c:pt>
                <c:pt idx="13355">
                  <c:v>361</c:v>
                </c:pt>
                <c:pt idx="13356">
                  <c:v>442</c:v>
                </c:pt>
                <c:pt idx="13357">
                  <c:v>497</c:v>
                </c:pt>
                <c:pt idx="13358">
                  <c:v>429</c:v>
                </c:pt>
                <c:pt idx="13359">
                  <c:v>418</c:v>
                </c:pt>
                <c:pt idx="13360">
                  <c:v>381</c:v>
                </c:pt>
                <c:pt idx="13361">
                  <c:v>322</c:v>
                </c:pt>
                <c:pt idx="13362">
                  <c:v>1098</c:v>
                </c:pt>
                <c:pt idx="13363">
                  <c:v>1047</c:v>
                </c:pt>
                <c:pt idx="13364">
                  <c:v>1036</c:v>
                </c:pt>
                <c:pt idx="13365">
                  <c:v>965</c:v>
                </c:pt>
                <c:pt idx="13366">
                  <c:v>1170</c:v>
                </c:pt>
                <c:pt idx="13367">
                  <c:v>1384</c:v>
                </c:pt>
                <c:pt idx="13368">
                  <c:v>1382</c:v>
                </c:pt>
                <c:pt idx="13369">
                  <c:v>1247</c:v>
                </c:pt>
                <c:pt idx="13370">
                  <c:v>712</c:v>
                </c:pt>
                <c:pt idx="13371">
                  <c:v>884</c:v>
                </c:pt>
                <c:pt idx="13372">
                  <c:v>675</c:v>
                </c:pt>
                <c:pt idx="13373">
                  <c:v>1242</c:v>
                </c:pt>
                <c:pt idx="13374">
                  <c:v>1029</c:v>
                </c:pt>
                <c:pt idx="13375">
                  <c:v>1021</c:v>
                </c:pt>
                <c:pt idx="13376">
                  <c:v>961</c:v>
                </c:pt>
                <c:pt idx="13377">
                  <c:v>994</c:v>
                </c:pt>
                <c:pt idx="13378">
                  <c:v>980</c:v>
                </c:pt>
                <c:pt idx="13379">
                  <c:v>935</c:v>
                </c:pt>
                <c:pt idx="13380">
                  <c:v>901</c:v>
                </c:pt>
                <c:pt idx="13381">
                  <c:v>939</c:v>
                </c:pt>
                <c:pt idx="13382">
                  <c:v>935</c:v>
                </c:pt>
                <c:pt idx="13383">
                  <c:v>984</c:v>
                </c:pt>
                <c:pt idx="13384">
                  <c:v>975</c:v>
                </c:pt>
                <c:pt idx="13385">
                  <c:v>984</c:v>
                </c:pt>
                <c:pt idx="13386">
                  <c:v>944</c:v>
                </c:pt>
                <c:pt idx="13387">
                  <c:v>1009</c:v>
                </c:pt>
                <c:pt idx="13388">
                  <c:v>962</c:v>
                </c:pt>
                <c:pt idx="13389">
                  <c:v>968</c:v>
                </c:pt>
                <c:pt idx="13390">
                  <c:v>979</c:v>
                </c:pt>
                <c:pt idx="13391">
                  <c:v>895</c:v>
                </c:pt>
                <c:pt idx="13392">
                  <c:v>918</c:v>
                </c:pt>
                <c:pt idx="13393">
                  <c:v>946</c:v>
                </c:pt>
                <c:pt idx="13394">
                  <c:v>922</c:v>
                </c:pt>
                <c:pt idx="13395">
                  <c:v>895</c:v>
                </c:pt>
                <c:pt idx="13396">
                  <c:v>906</c:v>
                </c:pt>
                <c:pt idx="13397">
                  <c:v>932</c:v>
                </c:pt>
                <c:pt idx="13398">
                  <c:v>930</c:v>
                </c:pt>
                <c:pt idx="13399">
                  <c:v>926</c:v>
                </c:pt>
                <c:pt idx="13400">
                  <c:v>937</c:v>
                </c:pt>
                <c:pt idx="13401">
                  <c:v>864</c:v>
                </c:pt>
                <c:pt idx="13402">
                  <c:v>890</c:v>
                </c:pt>
                <c:pt idx="13403">
                  <c:v>912</c:v>
                </c:pt>
                <c:pt idx="13404">
                  <c:v>878</c:v>
                </c:pt>
                <c:pt idx="13405">
                  <c:v>856</c:v>
                </c:pt>
                <c:pt idx="13406">
                  <c:v>713</c:v>
                </c:pt>
                <c:pt idx="13407">
                  <c:v>780</c:v>
                </c:pt>
                <c:pt idx="13408">
                  <c:v>734</c:v>
                </c:pt>
                <c:pt idx="13409">
                  <c:v>692</c:v>
                </c:pt>
                <c:pt idx="13410">
                  <c:v>537</c:v>
                </c:pt>
                <c:pt idx="13411">
                  <c:v>549</c:v>
                </c:pt>
                <c:pt idx="13412">
                  <c:v>536</c:v>
                </c:pt>
                <c:pt idx="13413">
                  <c:v>421</c:v>
                </c:pt>
                <c:pt idx="13414">
                  <c:v>702</c:v>
                </c:pt>
                <c:pt idx="13415">
                  <c:v>682</c:v>
                </c:pt>
                <c:pt idx="13416">
                  <c:v>553</c:v>
                </c:pt>
                <c:pt idx="13417">
                  <c:v>535</c:v>
                </c:pt>
                <c:pt idx="13418">
                  <c:v>492</c:v>
                </c:pt>
                <c:pt idx="13419">
                  <c:v>572</c:v>
                </c:pt>
                <c:pt idx="13420">
                  <c:v>495</c:v>
                </c:pt>
                <c:pt idx="13421">
                  <c:v>582</c:v>
                </c:pt>
                <c:pt idx="13422">
                  <c:v>475</c:v>
                </c:pt>
                <c:pt idx="13423">
                  <c:v>480</c:v>
                </c:pt>
                <c:pt idx="13424">
                  <c:v>460</c:v>
                </c:pt>
                <c:pt idx="13425">
                  <c:v>479</c:v>
                </c:pt>
                <c:pt idx="13426">
                  <c:v>495</c:v>
                </c:pt>
                <c:pt idx="13427">
                  <c:v>482</c:v>
                </c:pt>
                <c:pt idx="13428">
                  <c:v>507</c:v>
                </c:pt>
                <c:pt idx="13429">
                  <c:v>451</c:v>
                </c:pt>
                <c:pt idx="13430">
                  <c:v>477</c:v>
                </c:pt>
                <c:pt idx="13431">
                  <c:v>454</c:v>
                </c:pt>
                <c:pt idx="13432">
                  <c:v>470</c:v>
                </c:pt>
                <c:pt idx="13433">
                  <c:v>416</c:v>
                </c:pt>
                <c:pt idx="13434">
                  <c:v>451</c:v>
                </c:pt>
                <c:pt idx="13435">
                  <c:v>403</c:v>
                </c:pt>
                <c:pt idx="13436">
                  <c:v>411</c:v>
                </c:pt>
                <c:pt idx="13437">
                  <c:v>397</c:v>
                </c:pt>
                <c:pt idx="13438">
                  <c:v>390</c:v>
                </c:pt>
                <c:pt idx="13439">
                  <c:v>395</c:v>
                </c:pt>
                <c:pt idx="13440">
                  <c:v>380</c:v>
                </c:pt>
                <c:pt idx="13441">
                  <c:v>456</c:v>
                </c:pt>
                <c:pt idx="13442">
                  <c:v>406</c:v>
                </c:pt>
                <c:pt idx="13443">
                  <c:v>443</c:v>
                </c:pt>
                <c:pt idx="13444">
                  <c:v>407</c:v>
                </c:pt>
                <c:pt idx="13445">
                  <c:v>445</c:v>
                </c:pt>
                <c:pt idx="13446">
                  <c:v>392</c:v>
                </c:pt>
                <c:pt idx="13447">
                  <c:v>440</c:v>
                </c:pt>
                <c:pt idx="13448">
                  <c:v>396</c:v>
                </c:pt>
                <c:pt idx="13449">
                  <c:v>443</c:v>
                </c:pt>
                <c:pt idx="13450">
                  <c:v>427</c:v>
                </c:pt>
                <c:pt idx="13451">
                  <c:v>449</c:v>
                </c:pt>
                <c:pt idx="13452">
                  <c:v>446</c:v>
                </c:pt>
                <c:pt idx="13453">
                  <c:v>447</c:v>
                </c:pt>
                <c:pt idx="13454">
                  <c:v>432</c:v>
                </c:pt>
                <c:pt idx="13455">
                  <c:v>465</c:v>
                </c:pt>
                <c:pt idx="13456">
                  <c:v>449</c:v>
                </c:pt>
                <c:pt idx="13457">
                  <c:v>418</c:v>
                </c:pt>
                <c:pt idx="13458">
                  <c:v>418</c:v>
                </c:pt>
                <c:pt idx="13459">
                  <c:v>424</c:v>
                </c:pt>
                <c:pt idx="13460">
                  <c:v>435</c:v>
                </c:pt>
                <c:pt idx="13461">
                  <c:v>420</c:v>
                </c:pt>
                <c:pt idx="13462">
                  <c:v>450</c:v>
                </c:pt>
                <c:pt idx="13463">
                  <c:v>528</c:v>
                </c:pt>
                <c:pt idx="13464">
                  <c:v>643</c:v>
                </c:pt>
                <c:pt idx="13465">
                  <c:v>546</c:v>
                </c:pt>
                <c:pt idx="13466">
                  <c:v>562</c:v>
                </c:pt>
                <c:pt idx="13467">
                  <c:v>551</c:v>
                </c:pt>
                <c:pt idx="13468">
                  <c:v>602</c:v>
                </c:pt>
                <c:pt idx="13469">
                  <c:v>641</c:v>
                </c:pt>
                <c:pt idx="13470">
                  <c:v>635</c:v>
                </c:pt>
                <c:pt idx="13471">
                  <c:v>731</c:v>
                </c:pt>
                <c:pt idx="13472">
                  <c:v>660</c:v>
                </c:pt>
                <c:pt idx="13473">
                  <c:v>704</c:v>
                </c:pt>
                <c:pt idx="13474">
                  <c:v>720</c:v>
                </c:pt>
                <c:pt idx="13475">
                  <c:v>825</c:v>
                </c:pt>
                <c:pt idx="13476">
                  <c:v>787</c:v>
                </c:pt>
                <c:pt idx="13477">
                  <c:v>886</c:v>
                </c:pt>
                <c:pt idx="13478">
                  <c:v>902</c:v>
                </c:pt>
                <c:pt idx="13479">
                  <c:v>884</c:v>
                </c:pt>
                <c:pt idx="13480">
                  <c:v>818</c:v>
                </c:pt>
                <c:pt idx="13481">
                  <c:v>829</c:v>
                </c:pt>
                <c:pt idx="13482">
                  <c:v>858</c:v>
                </c:pt>
                <c:pt idx="13483">
                  <c:v>885</c:v>
                </c:pt>
                <c:pt idx="13484">
                  <c:v>884</c:v>
                </c:pt>
                <c:pt idx="13485">
                  <c:v>819</c:v>
                </c:pt>
                <c:pt idx="13486">
                  <c:v>877</c:v>
                </c:pt>
                <c:pt idx="13487">
                  <c:v>918</c:v>
                </c:pt>
                <c:pt idx="13488">
                  <c:v>892</c:v>
                </c:pt>
                <c:pt idx="13489">
                  <c:v>826</c:v>
                </c:pt>
                <c:pt idx="13490">
                  <c:v>781</c:v>
                </c:pt>
                <c:pt idx="13491">
                  <c:v>894</c:v>
                </c:pt>
                <c:pt idx="13492">
                  <c:v>860</c:v>
                </c:pt>
                <c:pt idx="13493">
                  <c:v>723</c:v>
                </c:pt>
                <c:pt idx="13494">
                  <c:v>715</c:v>
                </c:pt>
                <c:pt idx="13495">
                  <c:v>723</c:v>
                </c:pt>
                <c:pt idx="13496">
                  <c:v>694</c:v>
                </c:pt>
                <c:pt idx="13497">
                  <c:v>742</c:v>
                </c:pt>
                <c:pt idx="13498">
                  <c:v>752</c:v>
                </c:pt>
                <c:pt idx="13499">
                  <c:v>733</c:v>
                </c:pt>
                <c:pt idx="13500">
                  <c:v>695</c:v>
                </c:pt>
                <c:pt idx="13501">
                  <c:v>717</c:v>
                </c:pt>
                <c:pt idx="13502">
                  <c:v>728</c:v>
                </c:pt>
                <c:pt idx="13503">
                  <c:v>747</c:v>
                </c:pt>
                <c:pt idx="13504">
                  <c:v>725</c:v>
                </c:pt>
                <c:pt idx="13505">
                  <c:v>680</c:v>
                </c:pt>
                <c:pt idx="13506">
                  <c:v>734</c:v>
                </c:pt>
                <c:pt idx="13507">
                  <c:v>659</c:v>
                </c:pt>
                <c:pt idx="13508">
                  <c:v>601</c:v>
                </c:pt>
                <c:pt idx="13509">
                  <c:v>621</c:v>
                </c:pt>
                <c:pt idx="13510">
                  <c:v>594</c:v>
                </c:pt>
                <c:pt idx="13511">
                  <c:v>678</c:v>
                </c:pt>
                <c:pt idx="13512">
                  <c:v>567</c:v>
                </c:pt>
                <c:pt idx="13513">
                  <c:v>589</c:v>
                </c:pt>
                <c:pt idx="13514">
                  <c:v>480</c:v>
                </c:pt>
                <c:pt idx="13515">
                  <c:v>532</c:v>
                </c:pt>
                <c:pt idx="13516">
                  <c:v>559</c:v>
                </c:pt>
                <c:pt idx="13517">
                  <c:v>507</c:v>
                </c:pt>
                <c:pt idx="13518">
                  <c:v>530</c:v>
                </c:pt>
                <c:pt idx="13519">
                  <c:v>541</c:v>
                </c:pt>
                <c:pt idx="13520">
                  <c:v>513</c:v>
                </c:pt>
                <c:pt idx="13521">
                  <c:v>550</c:v>
                </c:pt>
                <c:pt idx="13522">
                  <c:v>474</c:v>
                </c:pt>
                <c:pt idx="13523">
                  <c:v>542</c:v>
                </c:pt>
                <c:pt idx="13524">
                  <c:v>472</c:v>
                </c:pt>
                <c:pt idx="13525">
                  <c:v>451</c:v>
                </c:pt>
                <c:pt idx="13526">
                  <c:v>455</c:v>
                </c:pt>
                <c:pt idx="13527">
                  <c:v>492</c:v>
                </c:pt>
                <c:pt idx="13528">
                  <c:v>424</c:v>
                </c:pt>
                <c:pt idx="13529">
                  <c:v>499</c:v>
                </c:pt>
                <c:pt idx="13530">
                  <c:v>421</c:v>
                </c:pt>
                <c:pt idx="13531">
                  <c:v>414</c:v>
                </c:pt>
                <c:pt idx="13532">
                  <c:v>428</c:v>
                </c:pt>
                <c:pt idx="13533">
                  <c:v>431</c:v>
                </c:pt>
                <c:pt idx="13534">
                  <c:v>429</c:v>
                </c:pt>
                <c:pt idx="13535">
                  <c:v>394</c:v>
                </c:pt>
                <c:pt idx="13536">
                  <c:v>392</c:v>
                </c:pt>
                <c:pt idx="13537">
                  <c:v>404</c:v>
                </c:pt>
                <c:pt idx="13538">
                  <c:v>404</c:v>
                </c:pt>
                <c:pt idx="13539">
                  <c:v>407</c:v>
                </c:pt>
                <c:pt idx="13540">
                  <c:v>407</c:v>
                </c:pt>
                <c:pt idx="13541">
                  <c:v>394</c:v>
                </c:pt>
                <c:pt idx="13542">
                  <c:v>415</c:v>
                </c:pt>
                <c:pt idx="13543">
                  <c:v>408</c:v>
                </c:pt>
                <c:pt idx="13544">
                  <c:v>487</c:v>
                </c:pt>
                <c:pt idx="13545">
                  <c:v>408</c:v>
                </c:pt>
                <c:pt idx="13546">
                  <c:v>411</c:v>
                </c:pt>
                <c:pt idx="13547">
                  <c:v>369</c:v>
                </c:pt>
                <c:pt idx="13548">
                  <c:v>403</c:v>
                </c:pt>
                <c:pt idx="13549">
                  <c:v>402</c:v>
                </c:pt>
                <c:pt idx="13550">
                  <c:v>465</c:v>
                </c:pt>
                <c:pt idx="13551">
                  <c:v>427</c:v>
                </c:pt>
                <c:pt idx="13552">
                  <c:v>463</c:v>
                </c:pt>
                <c:pt idx="13553">
                  <c:v>442</c:v>
                </c:pt>
                <c:pt idx="13554">
                  <c:v>435</c:v>
                </c:pt>
                <c:pt idx="13555">
                  <c:v>434</c:v>
                </c:pt>
                <c:pt idx="13556">
                  <c:v>452</c:v>
                </c:pt>
                <c:pt idx="13557">
                  <c:v>475</c:v>
                </c:pt>
                <c:pt idx="13558">
                  <c:v>553</c:v>
                </c:pt>
                <c:pt idx="13559">
                  <c:v>444</c:v>
                </c:pt>
                <c:pt idx="13560">
                  <c:v>509</c:v>
                </c:pt>
                <c:pt idx="13561">
                  <c:v>658</c:v>
                </c:pt>
                <c:pt idx="13562">
                  <c:v>602</c:v>
                </c:pt>
                <c:pt idx="13563">
                  <c:v>605</c:v>
                </c:pt>
                <c:pt idx="13564">
                  <c:v>595</c:v>
                </c:pt>
                <c:pt idx="13565">
                  <c:v>910</c:v>
                </c:pt>
                <c:pt idx="13566">
                  <c:v>661</c:v>
                </c:pt>
                <c:pt idx="13567">
                  <c:v>763</c:v>
                </c:pt>
                <c:pt idx="13568">
                  <c:v>779</c:v>
                </c:pt>
                <c:pt idx="13569">
                  <c:v>848</c:v>
                </c:pt>
                <c:pt idx="13570">
                  <c:v>841</c:v>
                </c:pt>
                <c:pt idx="13571">
                  <c:v>820</c:v>
                </c:pt>
                <c:pt idx="13572">
                  <c:v>838</c:v>
                </c:pt>
                <c:pt idx="13573">
                  <c:v>841</c:v>
                </c:pt>
                <c:pt idx="13574">
                  <c:v>811</c:v>
                </c:pt>
                <c:pt idx="13575">
                  <c:v>786</c:v>
                </c:pt>
                <c:pt idx="13576">
                  <c:v>867</c:v>
                </c:pt>
                <c:pt idx="13577">
                  <c:v>876</c:v>
                </c:pt>
                <c:pt idx="13578">
                  <c:v>842</c:v>
                </c:pt>
                <c:pt idx="13579">
                  <c:v>848</c:v>
                </c:pt>
                <c:pt idx="13580">
                  <c:v>820</c:v>
                </c:pt>
                <c:pt idx="13581">
                  <c:v>847</c:v>
                </c:pt>
                <c:pt idx="13582">
                  <c:v>855</c:v>
                </c:pt>
                <c:pt idx="13583">
                  <c:v>780</c:v>
                </c:pt>
                <c:pt idx="13584">
                  <c:v>820</c:v>
                </c:pt>
                <c:pt idx="13585">
                  <c:v>823</c:v>
                </c:pt>
                <c:pt idx="13586">
                  <c:v>834</c:v>
                </c:pt>
                <c:pt idx="13587">
                  <c:v>834</c:v>
                </c:pt>
                <c:pt idx="13588">
                  <c:v>812</c:v>
                </c:pt>
                <c:pt idx="13589">
                  <c:v>796</c:v>
                </c:pt>
                <c:pt idx="13590">
                  <c:v>773</c:v>
                </c:pt>
                <c:pt idx="13591">
                  <c:v>753</c:v>
                </c:pt>
                <c:pt idx="13592">
                  <c:v>798</c:v>
                </c:pt>
                <c:pt idx="13593">
                  <c:v>809</c:v>
                </c:pt>
                <c:pt idx="13594">
                  <c:v>769</c:v>
                </c:pt>
                <c:pt idx="13595">
                  <c:v>728</c:v>
                </c:pt>
                <c:pt idx="13596">
                  <c:v>745</c:v>
                </c:pt>
                <c:pt idx="13597">
                  <c:v>795</c:v>
                </c:pt>
                <c:pt idx="13598">
                  <c:v>743</c:v>
                </c:pt>
                <c:pt idx="13599">
                  <c:v>736</c:v>
                </c:pt>
                <c:pt idx="13600">
                  <c:v>733</c:v>
                </c:pt>
                <c:pt idx="13601">
                  <c:v>768</c:v>
                </c:pt>
                <c:pt idx="13602">
                  <c:v>735</c:v>
                </c:pt>
                <c:pt idx="13603">
                  <c:v>783</c:v>
                </c:pt>
                <c:pt idx="13604">
                  <c:v>715</c:v>
                </c:pt>
                <c:pt idx="13605">
                  <c:v>656</c:v>
                </c:pt>
                <c:pt idx="13606">
                  <c:v>603</c:v>
                </c:pt>
                <c:pt idx="13607">
                  <c:v>632</c:v>
                </c:pt>
                <c:pt idx="13608">
                  <c:v>667</c:v>
                </c:pt>
                <c:pt idx="13609">
                  <c:v>673</c:v>
                </c:pt>
                <c:pt idx="13610">
                  <c:v>667</c:v>
                </c:pt>
                <c:pt idx="13611">
                  <c:v>701</c:v>
                </c:pt>
                <c:pt idx="13612">
                  <c:v>651</c:v>
                </c:pt>
                <c:pt idx="13613">
                  <c:v>627</c:v>
                </c:pt>
                <c:pt idx="13614">
                  <c:v>588</c:v>
                </c:pt>
                <c:pt idx="13615">
                  <c:v>595</c:v>
                </c:pt>
                <c:pt idx="13616">
                  <c:v>538</c:v>
                </c:pt>
                <c:pt idx="13617">
                  <c:v>574</c:v>
                </c:pt>
                <c:pt idx="13618">
                  <c:v>499</c:v>
                </c:pt>
                <c:pt idx="13619">
                  <c:v>556</c:v>
                </c:pt>
                <c:pt idx="13620">
                  <c:v>518</c:v>
                </c:pt>
                <c:pt idx="13621">
                  <c:v>514</c:v>
                </c:pt>
                <c:pt idx="13622">
                  <c:v>483</c:v>
                </c:pt>
                <c:pt idx="13623">
                  <c:v>520</c:v>
                </c:pt>
                <c:pt idx="13624">
                  <c:v>467</c:v>
                </c:pt>
                <c:pt idx="13625">
                  <c:v>450</c:v>
                </c:pt>
                <c:pt idx="13626">
                  <c:v>538</c:v>
                </c:pt>
                <c:pt idx="13627">
                  <c:v>704</c:v>
                </c:pt>
                <c:pt idx="13628">
                  <c:v>585</c:v>
                </c:pt>
                <c:pt idx="13629">
                  <c:v>703</c:v>
                </c:pt>
                <c:pt idx="13630">
                  <c:v>698</c:v>
                </c:pt>
                <c:pt idx="13631">
                  <c:v>594</c:v>
                </c:pt>
                <c:pt idx="13632">
                  <c:v>668</c:v>
                </c:pt>
                <c:pt idx="13633">
                  <c:v>602</c:v>
                </c:pt>
                <c:pt idx="13634">
                  <c:v>619</c:v>
                </c:pt>
                <c:pt idx="13635">
                  <c:v>621</c:v>
                </c:pt>
                <c:pt idx="13636">
                  <c:v>667</c:v>
                </c:pt>
                <c:pt idx="13637">
                  <c:v>582</c:v>
                </c:pt>
                <c:pt idx="13638">
                  <c:v>668</c:v>
                </c:pt>
                <c:pt idx="13639">
                  <c:v>645</c:v>
                </c:pt>
                <c:pt idx="13640">
                  <c:v>706</c:v>
                </c:pt>
                <c:pt idx="13641">
                  <c:v>648</c:v>
                </c:pt>
                <c:pt idx="13642">
                  <c:v>789</c:v>
                </c:pt>
                <c:pt idx="13643">
                  <c:v>709</c:v>
                </c:pt>
                <c:pt idx="13644">
                  <c:v>698</c:v>
                </c:pt>
                <c:pt idx="13645">
                  <c:v>716</c:v>
                </c:pt>
                <c:pt idx="13646">
                  <c:v>734</c:v>
                </c:pt>
                <c:pt idx="13647">
                  <c:v>864</c:v>
                </c:pt>
                <c:pt idx="13648">
                  <c:v>798</c:v>
                </c:pt>
                <c:pt idx="13649">
                  <c:v>838</c:v>
                </c:pt>
                <c:pt idx="13650">
                  <c:v>828</c:v>
                </c:pt>
                <c:pt idx="13651">
                  <c:v>752</c:v>
                </c:pt>
                <c:pt idx="13652">
                  <c:v>789</c:v>
                </c:pt>
                <c:pt idx="13653">
                  <c:v>794</c:v>
                </c:pt>
                <c:pt idx="13654">
                  <c:v>762</c:v>
                </c:pt>
                <c:pt idx="13655">
                  <c:v>759</c:v>
                </c:pt>
                <c:pt idx="13656">
                  <c:v>777</c:v>
                </c:pt>
                <c:pt idx="13657">
                  <c:v>824</c:v>
                </c:pt>
                <c:pt idx="13658">
                  <c:v>767</c:v>
                </c:pt>
                <c:pt idx="13659">
                  <c:v>760</c:v>
                </c:pt>
                <c:pt idx="13660">
                  <c:v>757</c:v>
                </c:pt>
                <c:pt idx="13661">
                  <c:v>866</c:v>
                </c:pt>
                <c:pt idx="13662">
                  <c:v>879</c:v>
                </c:pt>
                <c:pt idx="13663">
                  <c:v>817</c:v>
                </c:pt>
                <c:pt idx="13664">
                  <c:v>835</c:v>
                </c:pt>
                <c:pt idx="13665">
                  <c:v>877</c:v>
                </c:pt>
                <c:pt idx="13666">
                  <c:v>875</c:v>
                </c:pt>
                <c:pt idx="13667">
                  <c:v>759</c:v>
                </c:pt>
                <c:pt idx="13668">
                  <c:v>1316</c:v>
                </c:pt>
                <c:pt idx="13669">
                  <c:v>977</c:v>
                </c:pt>
                <c:pt idx="13670">
                  <c:v>1018</c:v>
                </c:pt>
                <c:pt idx="13671">
                  <c:v>1012</c:v>
                </c:pt>
                <c:pt idx="13672">
                  <c:v>974</c:v>
                </c:pt>
                <c:pt idx="13673">
                  <c:v>902</c:v>
                </c:pt>
                <c:pt idx="13674">
                  <c:v>940</c:v>
                </c:pt>
                <c:pt idx="13675">
                  <c:v>925</c:v>
                </c:pt>
                <c:pt idx="13676">
                  <c:v>940</c:v>
                </c:pt>
                <c:pt idx="13677">
                  <c:v>947</c:v>
                </c:pt>
                <c:pt idx="13678">
                  <c:v>954</c:v>
                </c:pt>
                <c:pt idx="13679">
                  <c:v>938</c:v>
                </c:pt>
                <c:pt idx="13680">
                  <c:v>978</c:v>
                </c:pt>
                <c:pt idx="13681">
                  <c:v>987</c:v>
                </c:pt>
                <c:pt idx="13682">
                  <c:v>988</c:v>
                </c:pt>
                <c:pt idx="13683">
                  <c:v>949</c:v>
                </c:pt>
                <c:pt idx="13684">
                  <c:v>992</c:v>
                </c:pt>
                <c:pt idx="13685">
                  <c:v>959</c:v>
                </c:pt>
                <c:pt idx="13686">
                  <c:v>976</c:v>
                </c:pt>
                <c:pt idx="13687">
                  <c:v>945</c:v>
                </c:pt>
                <c:pt idx="13688">
                  <c:v>968</c:v>
                </c:pt>
                <c:pt idx="13689">
                  <c:v>951</c:v>
                </c:pt>
                <c:pt idx="13690">
                  <c:v>959</c:v>
                </c:pt>
                <c:pt idx="13691">
                  <c:v>934</c:v>
                </c:pt>
                <c:pt idx="13692">
                  <c:v>913</c:v>
                </c:pt>
                <c:pt idx="13693">
                  <c:v>979</c:v>
                </c:pt>
                <c:pt idx="13694">
                  <c:v>977</c:v>
                </c:pt>
                <c:pt idx="13695">
                  <c:v>961</c:v>
                </c:pt>
                <c:pt idx="13696">
                  <c:v>925</c:v>
                </c:pt>
                <c:pt idx="13697">
                  <c:v>929</c:v>
                </c:pt>
                <c:pt idx="13698">
                  <c:v>886</c:v>
                </c:pt>
                <c:pt idx="13699">
                  <c:v>881</c:v>
                </c:pt>
                <c:pt idx="13700">
                  <c:v>852</c:v>
                </c:pt>
                <c:pt idx="13701">
                  <c:v>718</c:v>
                </c:pt>
                <c:pt idx="13702">
                  <c:v>674</c:v>
                </c:pt>
                <c:pt idx="13703">
                  <c:v>706</c:v>
                </c:pt>
                <c:pt idx="13704">
                  <c:v>727</c:v>
                </c:pt>
                <c:pt idx="13705">
                  <c:v>776</c:v>
                </c:pt>
                <c:pt idx="13706">
                  <c:v>778</c:v>
                </c:pt>
                <c:pt idx="13707">
                  <c:v>755</c:v>
                </c:pt>
                <c:pt idx="13708">
                  <c:v>761</c:v>
                </c:pt>
                <c:pt idx="13709">
                  <c:v>733</c:v>
                </c:pt>
                <c:pt idx="13710">
                  <c:v>740</c:v>
                </c:pt>
                <c:pt idx="13711">
                  <c:v>730</c:v>
                </c:pt>
                <c:pt idx="13712">
                  <c:v>749</c:v>
                </c:pt>
                <c:pt idx="13713">
                  <c:v>737</c:v>
                </c:pt>
                <c:pt idx="13714">
                  <c:v>742</c:v>
                </c:pt>
                <c:pt idx="13715">
                  <c:v>621</c:v>
                </c:pt>
                <c:pt idx="13716">
                  <c:v>622</c:v>
                </c:pt>
                <c:pt idx="13717">
                  <c:v>642</c:v>
                </c:pt>
                <c:pt idx="13718">
                  <c:v>596</c:v>
                </c:pt>
                <c:pt idx="13719">
                  <c:v>598</c:v>
                </c:pt>
                <c:pt idx="13720">
                  <c:v>532</c:v>
                </c:pt>
                <c:pt idx="13721">
                  <c:v>505</c:v>
                </c:pt>
                <c:pt idx="13722">
                  <c:v>512</c:v>
                </c:pt>
                <c:pt idx="13723">
                  <c:v>587</c:v>
                </c:pt>
                <c:pt idx="13724">
                  <c:v>486</c:v>
                </c:pt>
                <c:pt idx="13725">
                  <c:v>548</c:v>
                </c:pt>
                <c:pt idx="13726">
                  <c:v>533</c:v>
                </c:pt>
                <c:pt idx="13727">
                  <c:v>627</c:v>
                </c:pt>
                <c:pt idx="13728">
                  <c:v>589</c:v>
                </c:pt>
                <c:pt idx="13729">
                  <c:v>544</c:v>
                </c:pt>
                <c:pt idx="13730">
                  <c:v>592</c:v>
                </c:pt>
                <c:pt idx="13731">
                  <c:v>599</c:v>
                </c:pt>
                <c:pt idx="13732">
                  <c:v>569</c:v>
                </c:pt>
                <c:pt idx="13733">
                  <c:v>657</c:v>
                </c:pt>
                <c:pt idx="13734">
                  <c:v>593</c:v>
                </c:pt>
                <c:pt idx="13735">
                  <c:v>595</c:v>
                </c:pt>
                <c:pt idx="13736">
                  <c:v>617</c:v>
                </c:pt>
                <c:pt idx="13737">
                  <c:v>610</c:v>
                </c:pt>
                <c:pt idx="13738">
                  <c:v>715</c:v>
                </c:pt>
                <c:pt idx="13739">
                  <c:v>667</c:v>
                </c:pt>
                <c:pt idx="13740">
                  <c:v>583</c:v>
                </c:pt>
                <c:pt idx="13741">
                  <c:v>551</c:v>
                </c:pt>
                <c:pt idx="13742">
                  <c:v>808</c:v>
                </c:pt>
                <c:pt idx="13743">
                  <c:v>786</c:v>
                </c:pt>
                <c:pt idx="13744">
                  <c:v>718</c:v>
                </c:pt>
                <c:pt idx="13745">
                  <c:v>687</c:v>
                </c:pt>
                <c:pt idx="13746">
                  <c:v>668</c:v>
                </c:pt>
                <c:pt idx="13747">
                  <c:v>691</c:v>
                </c:pt>
                <c:pt idx="13748">
                  <c:v>703</c:v>
                </c:pt>
                <c:pt idx="13749">
                  <c:v>704</c:v>
                </c:pt>
                <c:pt idx="13750">
                  <c:v>723</c:v>
                </c:pt>
                <c:pt idx="13751">
                  <c:v>770</c:v>
                </c:pt>
                <c:pt idx="13752">
                  <c:v>797</c:v>
                </c:pt>
                <c:pt idx="13753">
                  <c:v>804</c:v>
                </c:pt>
                <c:pt idx="13754">
                  <c:v>823</c:v>
                </c:pt>
                <c:pt idx="13755">
                  <c:v>834</c:v>
                </c:pt>
                <c:pt idx="13756">
                  <c:v>841</c:v>
                </c:pt>
                <c:pt idx="13757">
                  <c:v>879</c:v>
                </c:pt>
                <c:pt idx="13758">
                  <c:v>829</c:v>
                </c:pt>
                <c:pt idx="13759">
                  <c:v>803</c:v>
                </c:pt>
                <c:pt idx="13760">
                  <c:v>798</c:v>
                </c:pt>
                <c:pt idx="13761">
                  <c:v>801</c:v>
                </c:pt>
                <c:pt idx="13762">
                  <c:v>789</c:v>
                </c:pt>
                <c:pt idx="13763">
                  <c:v>827</c:v>
                </c:pt>
                <c:pt idx="13764">
                  <c:v>890</c:v>
                </c:pt>
                <c:pt idx="13765">
                  <c:v>1158</c:v>
                </c:pt>
                <c:pt idx="13766">
                  <c:v>1000</c:v>
                </c:pt>
                <c:pt idx="13767">
                  <c:v>893</c:v>
                </c:pt>
                <c:pt idx="13768">
                  <c:v>926</c:v>
                </c:pt>
                <c:pt idx="13769">
                  <c:v>970</c:v>
                </c:pt>
                <c:pt idx="13770">
                  <c:v>919</c:v>
                </c:pt>
                <c:pt idx="13771">
                  <c:v>927</c:v>
                </c:pt>
                <c:pt idx="13772">
                  <c:v>922</c:v>
                </c:pt>
                <c:pt idx="13773">
                  <c:v>926</c:v>
                </c:pt>
                <c:pt idx="13774">
                  <c:v>934</c:v>
                </c:pt>
                <c:pt idx="13775">
                  <c:v>972</c:v>
                </c:pt>
                <c:pt idx="13776">
                  <c:v>923</c:v>
                </c:pt>
                <c:pt idx="13777">
                  <c:v>939</c:v>
                </c:pt>
                <c:pt idx="13778">
                  <c:v>909</c:v>
                </c:pt>
                <c:pt idx="13779">
                  <c:v>925</c:v>
                </c:pt>
                <c:pt idx="13780">
                  <c:v>926</c:v>
                </c:pt>
                <c:pt idx="13781">
                  <c:v>908</c:v>
                </c:pt>
                <c:pt idx="13782">
                  <c:v>924</c:v>
                </c:pt>
                <c:pt idx="13783">
                  <c:v>911</c:v>
                </c:pt>
                <c:pt idx="13784">
                  <c:v>922</c:v>
                </c:pt>
                <c:pt idx="13785">
                  <c:v>940</c:v>
                </c:pt>
                <c:pt idx="13786">
                  <c:v>975</c:v>
                </c:pt>
                <c:pt idx="13787">
                  <c:v>919</c:v>
                </c:pt>
                <c:pt idx="13788">
                  <c:v>876</c:v>
                </c:pt>
                <c:pt idx="13789">
                  <c:v>866</c:v>
                </c:pt>
                <c:pt idx="13790">
                  <c:v>849</c:v>
                </c:pt>
                <c:pt idx="13791">
                  <c:v>889</c:v>
                </c:pt>
                <c:pt idx="13792">
                  <c:v>951</c:v>
                </c:pt>
                <c:pt idx="13793">
                  <c:v>887</c:v>
                </c:pt>
                <c:pt idx="13794">
                  <c:v>884</c:v>
                </c:pt>
                <c:pt idx="13795">
                  <c:v>708</c:v>
                </c:pt>
                <c:pt idx="13796">
                  <c:v>731</c:v>
                </c:pt>
                <c:pt idx="13797">
                  <c:v>737</c:v>
                </c:pt>
                <c:pt idx="13798">
                  <c:v>731</c:v>
                </c:pt>
                <c:pt idx="13799">
                  <c:v>770</c:v>
                </c:pt>
                <c:pt idx="13800">
                  <c:v>730</c:v>
                </c:pt>
                <c:pt idx="13801">
                  <c:v>813</c:v>
                </c:pt>
                <c:pt idx="13802">
                  <c:v>814</c:v>
                </c:pt>
                <c:pt idx="13803">
                  <c:v>810</c:v>
                </c:pt>
                <c:pt idx="13804">
                  <c:v>738</c:v>
                </c:pt>
                <c:pt idx="13805">
                  <c:v>725</c:v>
                </c:pt>
                <c:pt idx="13806">
                  <c:v>674</c:v>
                </c:pt>
                <c:pt idx="13807">
                  <c:v>660</c:v>
                </c:pt>
                <c:pt idx="13808">
                  <c:v>620</c:v>
                </c:pt>
                <c:pt idx="13809">
                  <c:v>649</c:v>
                </c:pt>
                <c:pt idx="13810">
                  <c:v>752</c:v>
                </c:pt>
                <c:pt idx="13811">
                  <c:v>683</c:v>
                </c:pt>
                <c:pt idx="13812">
                  <c:v>646</c:v>
                </c:pt>
                <c:pt idx="13813">
                  <c:v>590</c:v>
                </c:pt>
                <c:pt idx="13814">
                  <c:v>789</c:v>
                </c:pt>
                <c:pt idx="13815">
                  <c:v>651</c:v>
                </c:pt>
                <c:pt idx="13816">
                  <c:v>687</c:v>
                </c:pt>
                <c:pt idx="13817">
                  <c:v>705</c:v>
                </c:pt>
                <c:pt idx="13818">
                  <c:v>675</c:v>
                </c:pt>
                <c:pt idx="13819">
                  <c:v>664</c:v>
                </c:pt>
                <c:pt idx="13820">
                  <c:v>669</c:v>
                </c:pt>
                <c:pt idx="13821">
                  <c:v>648</c:v>
                </c:pt>
                <c:pt idx="13822">
                  <c:v>633</c:v>
                </c:pt>
                <c:pt idx="13823">
                  <c:v>619</c:v>
                </c:pt>
                <c:pt idx="13824">
                  <c:v>660</c:v>
                </c:pt>
                <c:pt idx="13825">
                  <c:v>644</c:v>
                </c:pt>
                <c:pt idx="13826">
                  <c:v>647</c:v>
                </c:pt>
                <c:pt idx="13827">
                  <c:v>611</c:v>
                </c:pt>
                <c:pt idx="13828">
                  <c:v>595</c:v>
                </c:pt>
                <c:pt idx="13829">
                  <c:v>633</c:v>
                </c:pt>
                <c:pt idx="13830">
                  <c:v>864</c:v>
                </c:pt>
                <c:pt idx="13831">
                  <c:v>688</c:v>
                </c:pt>
                <c:pt idx="13832">
                  <c:v>565</c:v>
                </c:pt>
                <c:pt idx="13833">
                  <c:v>796</c:v>
                </c:pt>
                <c:pt idx="13834">
                  <c:v>669</c:v>
                </c:pt>
                <c:pt idx="13835">
                  <c:v>785</c:v>
                </c:pt>
                <c:pt idx="13836">
                  <c:v>804</c:v>
                </c:pt>
                <c:pt idx="13837">
                  <c:v>793</c:v>
                </c:pt>
                <c:pt idx="13838">
                  <c:v>706</c:v>
                </c:pt>
                <c:pt idx="13839">
                  <c:v>739</c:v>
                </c:pt>
                <c:pt idx="13840">
                  <c:v>749</c:v>
                </c:pt>
                <c:pt idx="13841">
                  <c:v>833</c:v>
                </c:pt>
                <c:pt idx="13842">
                  <c:v>833</c:v>
                </c:pt>
                <c:pt idx="13843">
                  <c:v>840</c:v>
                </c:pt>
                <c:pt idx="13844">
                  <c:v>833</c:v>
                </c:pt>
                <c:pt idx="13845">
                  <c:v>837</c:v>
                </c:pt>
                <c:pt idx="13846">
                  <c:v>845</c:v>
                </c:pt>
                <c:pt idx="13847">
                  <c:v>870</c:v>
                </c:pt>
                <c:pt idx="13848">
                  <c:v>838</c:v>
                </c:pt>
                <c:pt idx="13849">
                  <c:v>773</c:v>
                </c:pt>
                <c:pt idx="13850">
                  <c:v>815</c:v>
                </c:pt>
                <c:pt idx="13851">
                  <c:v>826</c:v>
                </c:pt>
                <c:pt idx="13852">
                  <c:v>864</c:v>
                </c:pt>
                <c:pt idx="13853">
                  <c:v>1218</c:v>
                </c:pt>
                <c:pt idx="13854">
                  <c:v>1125</c:v>
                </c:pt>
                <c:pt idx="13855">
                  <c:v>1021</c:v>
                </c:pt>
                <c:pt idx="13856">
                  <c:v>938</c:v>
                </c:pt>
                <c:pt idx="13857">
                  <c:v>919</c:v>
                </c:pt>
                <c:pt idx="13858">
                  <c:v>912</c:v>
                </c:pt>
                <c:pt idx="13859">
                  <c:v>906</c:v>
                </c:pt>
                <c:pt idx="13860">
                  <c:v>916</c:v>
                </c:pt>
                <c:pt idx="13861">
                  <c:v>919</c:v>
                </c:pt>
                <c:pt idx="13862">
                  <c:v>925</c:v>
                </c:pt>
                <c:pt idx="13863">
                  <c:v>905</c:v>
                </c:pt>
                <c:pt idx="13864">
                  <c:v>934</c:v>
                </c:pt>
                <c:pt idx="13865">
                  <c:v>919</c:v>
                </c:pt>
                <c:pt idx="13866">
                  <c:v>985</c:v>
                </c:pt>
                <c:pt idx="13867">
                  <c:v>927</c:v>
                </c:pt>
                <c:pt idx="13868">
                  <c:v>939</c:v>
                </c:pt>
                <c:pt idx="13869">
                  <c:v>996</c:v>
                </c:pt>
                <c:pt idx="13870">
                  <c:v>983</c:v>
                </c:pt>
                <c:pt idx="13871">
                  <c:v>940</c:v>
                </c:pt>
                <c:pt idx="13872">
                  <c:v>929</c:v>
                </c:pt>
                <c:pt idx="13873">
                  <c:v>933</c:v>
                </c:pt>
                <c:pt idx="13874">
                  <c:v>927</c:v>
                </c:pt>
                <c:pt idx="13875">
                  <c:v>973</c:v>
                </c:pt>
                <c:pt idx="13876">
                  <c:v>1005</c:v>
                </c:pt>
                <c:pt idx="13877">
                  <c:v>968</c:v>
                </c:pt>
                <c:pt idx="13878">
                  <c:v>936</c:v>
                </c:pt>
                <c:pt idx="13879">
                  <c:v>948</c:v>
                </c:pt>
                <c:pt idx="13880">
                  <c:v>862</c:v>
                </c:pt>
                <c:pt idx="13881">
                  <c:v>915</c:v>
                </c:pt>
                <c:pt idx="13882">
                  <c:v>905</c:v>
                </c:pt>
                <c:pt idx="13883">
                  <c:v>799</c:v>
                </c:pt>
                <c:pt idx="13884">
                  <c:v>875</c:v>
                </c:pt>
                <c:pt idx="13885">
                  <c:v>868</c:v>
                </c:pt>
                <c:pt idx="13886">
                  <c:v>875</c:v>
                </c:pt>
                <c:pt idx="13887">
                  <c:v>835</c:v>
                </c:pt>
                <c:pt idx="13888">
                  <c:v>832</c:v>
                </c:pt>
                <c:pt idx="13889">
                  <c:v>885</c:v>
                </c:pt>
                <c:pt idx="13890">
                  <c:v>856</c:v>
                </c:pt>
                <c:pt idx="13891">
                  <c:v>740</c:v>
                </c:pt>
                <c:pt idx="13892">
                  <c:v>1295</c:v>
                </c:pt>
                <c:pt idx="13893">
                  <c:v>939</c:v>
                </c:pt>
                <c:pt idx="13894">
                  <c:v>813</c:v>
                </c:pt>
                <c:pt idx="13895">
                  <c:v>673</c:v>
                </c:pt>
                <c:pt idx="13896">
                  <c:v>847</c:v>
                </c:pt>
                <c:pt idx="13897">
                  <c:v>852</c:v>
                </c:pt>
                <c:pt idx="13898">
                  <c:v>811</c:v>
                </c:pt>
                <c:pt idx="13899">
                  <c:v>802</c:v>
                </c:pt>
                <c:pt idx="13900">
                  <c:v>790</c:v>
                </c:pt>
                <c:pt idx="13901">
                  <c:v>723</c:v>
                </c:pt>
                <c:pt idx="13902">
                  <c:v>799</c:v>
                </c:pt>
                <c:pt idx="13903">
                  <c:v>774</c:v>
                </c:pt>
                <c:pt idx="13904">
                  <c:v>723</c:v>
                </c:pt>
                <c:pt idx="13905">
                  <c:v>764</c:v>
                </c:pt>
                <c:pt idx="13906">
                  <c:v>709</c:v>
                </c:pt>
                <c:pt idx="13907">
                  <c:v>696</c:v>
                </c:pt>
                <c:pt idx="13908">
                  <c:v>746</c:v>
                </c:pt>
                <c:pt idx="13909">
                  <c:v>701</c:v>
                </c:pt>
                <c:pt idx="13910">
                  <c:v>671</c:v>
                </c:pt>
                <c:pt idx="13911">
                  <c:v>746</c:v>
                </c:pt>
                <c:pt idx="13912">
                  <c:v>649</c:v>
                </c:pt>
                <c:pt idx="13913">
                  <c:v>589</c:v>
                </c:pt>
                <c:pt idx="13914">
                  <c:v>604</c:v>
                </c:pt>
                <c:pt idx="13915">
                  <c:v>636</c:v>
                </c:pt>
                <c:pt idx="13916">
                  <c:v>572</c:v>
                </c:pt>
                <c:pt idx="13917">
                  <c:v>607</c:v>
                </c:pt>
                <c:pt idx="13918">
                  <c:v>626</c:v>
                </c:pt>
                <c:pt idx="13919">
                  <c:v>658</c:v>
                </c:pt>
                <c:pt idx="13920">
                  <c:v>677</c:v>
                </c:pt>
                <c:pt idx="13921">
                  <c:v>649</c:v>
                </c:pt>
                <c:pt idx="13922">
                  <c:v>707</c:v>
                </c:pt>
                <c:pt idx="13923">
                  <c:v>572</c:v>
                </c:pt>
                <c:pt idx="13924">
                  <c:v>621</c:v>
                </c:pt>
                <c:pt idx="13925">
                  <c:v>698</c:v>
                </c:pt>
                <c:pt idx="13926">
                  <c:v>680</c:v>
                </c:pt>
                <c:pt idx="13927">
                  <c:v>727</c:v>
                </c:pt>
                <c:pt idx="13928">
                  <c:v>614</c:v>
                </c:pt>
                <c:pt idx="13929">
                  <c:v>770</c:v>
                </c:pt>
                <c:pt idx="13930">
                  <c:v>852</c:v>
                </c:pt>
                <c:pt idx="13931">
                  <c:v>829</c:v>
                </c:pt>
                <c:pt idx="13932">
                  <c:v>808</c:v>
                </c:pt>
                <c:pt idx="13933">
                  <c:v>823</c:v>
                </c:pt>
                <c:pt idx="13934">
                  <c:v>860</c:v>
                </c:pt>
                <c:pt idx="13935">
                  <c:v>855</c:v>
                </c:pt>
                <c:pt idx="13936">
                  <c:v>848</c:v>
                </c:pt>
                <c:pt idx="13937">
                  <c:v>802</c:v>
                </c:pt>
                <c:pt idx="13938">
                  <c:v>848</c:v>
                </c:pt>
                <c:pt idx="13939">
                  <c:v>879</c:v>
                </c:pt>
                <c:pt idx="13940">
                  <c:v>610</c:v>
                </c:pt>
                <c:pt idx="13941">
                  <c:v>491</c:v>
                </c:pt>
                <c:pt idx="13942">
                  <c:v>425</c:v>
                </c:pt>
                <c:pt idx="13943">
                  <c:v>820</c:v>
                </c:pt>
                <c:pt idx="13944">
                  <c:v>1255</c:v>
                </c:pt>
                <c:pt idx="13945">
                  <c:v>1131</c:v>
                </c:pt>
                <c:pt idx="13946">
                  <c:v>1028</c:v>
                </c:pt>
                <c:pt idx="13947">
                  <c:v>904</c:v>
                </c:pt>
                <c:pt idx="13948">
                  <c:v>935</c:v>
                </c:pt>
                <c:pt idx="13949">
                  <c:v>911</c:v>
                </c:pt>
                <c:pt idx="13950">
                  <c:v>1081</c:v>
                </c:pt>
                <c:pt idx="13951">
                  <c:v>931</c:v>
                </c:pt>
                <c:pt idx="13952">
                  <c:v>939</c:v>
                </c:pt>
                <c:pt idx="13953">
                  <c:v>913</c:v>
                </c:pt>
                <c:pt idx="13954">
                  <c:v>992</c:v>
                </c:pt>
                <c:pt idx="13955">
                  <c:v>947</c:v>
                </c:pt>
                <c:pt idx="13956">
                  <c:v>1006</c:v>
                </c:pt>
                <c:pt idx="13957">
                  <c:v>1099</c:v>
                </c:pt>
                <c:pt idx="13958">
                  <c:v>990</c:v>
                </c:pt>
                <c:pt idx="13959">
                  <c:v>1044</c:v>
                </c:pt>
                <c:pt idx="13960">
                  <c:v>1022</c:v>
                </c:pt>
                <c:pt idx="13961">
                  <c:v>950</c:v>
                </c:pt>
                <c:pt idx="13962">
                  <c:v>993</c:v>
                </c:pt>
                <c:pt idx="13963">
                  <c:v>960</c:v>
                </c:pt>
                <c:pt idx="13964">
                  <c:v>1061</c:v>
                </c:pt>
                <c:pt idx="13965">
                  <c:v>974</c:v>
                </c:pt>
                <c:pt idx="13966">
                  <c:v>985</c:v>
                </c:pt>
                <c:pt idx="13967">
                  <c:v>1009</c:v>
                </c:pt>
                <c:pt idx="13968">
                  <c:v>1058</c:v>
                </c:pt>
                <c:pt idx="13969">
                  <c:v>1050</c:v>
                </c:pt>
                <c:pt idx="13970">
                  <c:v>1087</c:v>
                </c:pt>
                <c:pt idx="13971">
                  <c:v>1038</c:v>
                </c:pt>
                <c:pt idx="13972">
                  <c:v>1003</c:v>
                </c:pt>
                <c:pt idx="13973">
                  <c:v>986</c:v>
                </c:pt>
                <c:pt idx="13974">
                  <c:v>970</c:v>
                </c:pt>
                <c:pt idx="13975">
                  <c:v>947</c:v>
                </c:pt>
                <c:pt idx="13976">
                  <c:v>990</c:v>
                </c:pt>
                <c:pt idx="13977">
                  <c:v>941</c:v>
                </c:pt>
                <c:pt idx="13978">
                  <c:v>969</c:v>
                </c:pt>
                <c:pt idx="13979">
                  <c:v>958</c:v>
                </c:pt>
                <c:pt idx="13980">
                  <c:v>922</c:v>
                </c:pt>
                <c:pt idx="13981">
                  <c:v>901</c:v>
                </c:pt>
                <c:pt idx="13982">
                  <c:v>999</c:v>
                </c:pt>
                <c:pt idx="13983">
                  <c:v>928</c:v>
                </c:pt>
                <c:pt idx="13984">
                  <c:v>926</c:v>
                </c:pt>
                <c:pt idx="13985">
                  <c:v>918</c:v>
                </c:pt>
                <c:pt idx="13986">
                  <c:v>934</c:v>
                </c:pt>
                <c:pt idx="13987">
                  <c:v>912</c:v>
                </c:pt>
                <c:pt idx="13988">
                  <c:v>930</c:v>
                </c:pt>
                <c:pt idx="13989">
                  <c:v>921</c:v>
                </c:pt>
                <c:pt idx="13990">
                  <c:v>828</c:v>
                </c:pt>
                <c:pt idx="13991">
                  <c:v>806</c:v>
                </c:pt>
                <c:pt idx="13992">
                  <c:v>833</c:v>
                </c:pt>
                <c:pt idx="13993">
                  <c:v>857</c:v>
                </c:pt>
                <c:pt idx="13994">
                  <c:v>868</c:v>
                </c:pt>
                <c:pt idx="13995">
                  <c:v>742</c:v>
                </c:pt>
                <c:pt idx="13996">
                  <c:v>846</c:v>
                </c:pt>
                <c:pt idx="13997">
                  <c:v>844</c:v>
                </c:pt>
                <c:pt idx="13998">
                  <c:v>823</c:v>
                </c:pt>
                <c:pt idx="13999">
                  <c:v>779</c:v>
                </c:pt>
                <c:pt idx="14000">
                  <c:v>620</c:v>
                </c:pt>
                <c:pt idx="14001">
                  <c:v>767</c:v>
                </c:pt>
                <c:pt idx="14002">
                  <c:v>717</c:v>
                </c:pt>
                <c:pt idx="14003">
                  <c:v>764</c:v>
                </c:pt>
                <c:pt idx="14004">
                  <c:v>735</c:v>
                </c:pt>
                <c:pt idx="14005">
                  <c:v>765</c:v>
                </c:pt>
                <c:pt idx="14006">
                  <c:v>651</c:v>
                </c:pt>
                <c:pt idx="14007">
                  <c:v>609</c:v>
                </c:pt>
                <c:pt idx="14008">
                  <c:v>598</c:v>
                </c:pt>
                <c:pt idx="14009">
                  <c:v>637</c:v>
                </c:pt>
                <c:pt idx="14010">
                  <c:v>698</c:v>
                </c:pt>
                <c:pt idx="14011">
                  <c:v>550</c:v>
                </c:pt>
                <c:pt idx="14012">
                  <c:v>649</c:v>
                </c:pt>
                <c:pt idx="14013">
                  <c:v>696</c:v>
                </c:pt>
                <c:pt idx="14014">
                  <c:v>716</c:v>
                </c:pt>
                <c:pt idx="14015">
                  <c:v>649</c:v>
                </c:pt>
                <c:pt idx="14016">
                  <c:v>712</c:v>
                </c:pt>
                <c:pt idx="14017">
                  <c:v>670</c:v>
                </c:pt>
                <c:pt idx="14018">
                  <c:v>656</c:v>
                </c:pt>
                <c:pt idx="14019">
                  <c:v>783</c:v>
                </c:pt>
                <c:pt idx="14020">
                  <c:v>697</c:v>
                </c:pt>
                <c:pt idx="14021">
                  <c:v>700</c:v>
                </c:pt>
                <c:pt idx="14022">
                  <c:v>731</c:v>
                </c:pt>
                <c:pt idx="14023">
                  <c:v>813</c:v>
                </c:pt>
                <c:pt idx="14024">
                  <c:v>858</c:v>
                </c:pt>
                <c:pt idx="14025">
                  <c:v>838</c:v>
                </c:pt>
                <c:pt idx="14026">
                  <c:v>830</c:v>
                </c:pt>
                <c:pt idx="14027">
                  <c:v>862</c:v>
                </c:pt>
                <c:pt idx="14028">
                  <c:v>848</c:v>
                </c:pt>
                <c:pt idx="14029">
                  <c:v>889</c:v>
                </c:pt>
                <c:pt idx="14030">
                  <c:v>832</c:v>
                </c:pt>
                <c:pt idx="14031">
                  <c:v>870</c:v>
                </c:pt>
                <c:pt idx="14032">
                  <c:v>841</c:v>
                </c:pt>
                <c:pt idx="14033">
                  <c:v>889</c:v>
                </c:pt>
                <c:pt idx="14034">
                  <c:v>837</c:v>
                </c:pt>
                <c:pt idx="14035">
                  <c:v>869</c:v>
                </c:pt>
                <c:pt idx="14036">
                  <c:v>744</c:v>
                </c:pt>
                <c:pt idx="14037">
                  <c:v>1225</c:v>
                </c:pt>
                <c:pt idx="14038">
                  <c:v>1029</c:v>
                </c:pt>
                <c:pt idx="14039">
                  <c:v>926</c:v>
                </c:pt>
                <c:pt idx="14040">
                  <c:v>934</c:v>
                </c:pt>
                <c:pt idx="14041">
                  <c:v>937</c:v>
                </c:pt>
                <c:pt idx="14042">
                  <c:v>887</c:v>
                </c:pt>
                <c:pt idx="14043">
                  <c:v>948</c:v>
                </c:pt>
                <c:pt idx="14044">
                  <c:v>930</c:v>
                </c:pt>
                <c:pt idx="14045">
                  <c:v>962</c:v>
                </c:pt>
                <c:pt idx="14046">
                  <c:v>946</c:v>
                </c:pt>
                <c:pt idx="14047">
                  <c:v>972</c:v>
                </c:pt>
                <c:pt idx="14048">
                  <c:v>939</c:v>
                </c:pt>
                <c:pt idx="14049">
                  <c:v>922</c:v>
                </c:pt>
                <c:pt idx="14050">
                  <c:v>963</c:v>
                </c:pt>
                <c:pt idx="14051">
                  <c:v>952</c:v>
                </c:pt>
                <c:pt idx="14052">
                  <c:v>955</c:v>
                </c:pt>
                <c:pt idx="14053">
                  <c:v>909</c:v>
                </c:pt>
                <c:pt idx="14054">
                  <c:v>941</c:v>
                </c:pt>
                <c:pt idx="14055">
                  <c:v>958</c:v>
                </c:pt>
                <c:pt idx="14056">
                  <c:v>937</c:v>
                </c:pt>
                <c:pt idx="14057">
                  <c:v>971</c:v>
                </c:pt>
                <c:pt idx="14058">
                  <c:v>934</c:v>
                </c:pt>
                <c:pt idx="14059">
                  <c:v>962</c:v>
                </c:pt>
                <c:pt idx="14060">
                  <c:v>947</c:v>
                </c:pt>
                <c:pt idx="14061">
                  <c:v>965</c:v>
                </c:pt>
                <c:pt idx="14062">
                  <c:v>965</c:v>
                </c:pt>
                <c:pt idx="14063">
                  <c:v>959</c:v>
                </c:pt>
                <c:pt idx="14064">
                  <c:v>910</c:v>
                </c:pt>
                <c:pt idx="14065">
                  <c:v>901</c:v>
                </c:pt>
                <c:pt idx="14066">
                  <c:v>900</c:v>
                </c:pt>
                <c:pt idx="14067">
                  <c:v>943</c:v>
                </c:pt>
                <c:pt idx="14068">
                  <c:v>913</c:v>
                </c:pt>
                <c:pt idx="14069">
                  <c:v>849</c:v>
                </c:pt>
                <c:pt idx="14070">
                  <c:v>886</c:v>
                </c:pt>
                <c:pt idx="14071">
                  <c:v>914</c:v>
                </c:pt>
                <c:pt idx="14072">
                  <c:v>857</c:v>
                </c:pt>
                <c:pt idx="14073">
                  <c:v>910</c:v>
                </c:pt>
                <c:pt idx="14074">
                  <c:v>749</c:v>
                </c:pt>
                <c:pt idx="14075">
                  <c:v>928</c:v>
                </c:pt>
                <c:pt idx="14076">
                  <c:v>854</c:v>
                </c:pt>
                <c:pt idx="14077">
                  <c:v>804</c:v>
                </c:pt>
                <c:pt idx="14078">
                  <c:v>857</c:v>
                </c:pt>
                <c:pt idx="14079">
                  <c:v>820</c:v>
                </c:pt>
                <c:pt idx="14080">
                  <c:v>787</c:v>
                </c:pt>
                <c:pt idx="14081">
                  <c:v>864</c:v>
                </c:pt>
                <c:pt idx="14082">
                  <c:v>842</c:v>
                </c:pt>
                <c:pt idx="14083">
                  <c:v>443</c:v>
                </c:pt>
                <c:pt idx="14084">
                  <c:v>905</c:v>
                </c:pt>
                <c:pt idx="14085">
                  <c:v>832</c:v>
                </c:pt>
                <c:pt idx="14086">
                  <c:v>726</c:v>
                </c:pt>
                <c:pt idx="14087">
                  <c:v>774</c:v>
                </c:pt>
                <c:pt idx="14088">
                  <c:v>817</c:v>
                </c:pt>
                <c:pt idx="14089">
                  <c:v>787</c:v>
                </c:pt>
                <c:pt idx="14090">
                  <c:v>810</c:v>
                </c:pt>
                <c:pt idx="14091">
                  <c:v>792</c:v>
                </c:pt>
                <c:pt idx="14092">
                  <c:v>840</c:v>
                </c:pt>
                <c:pt idx="14093">
                  <c:v>752</c:v>
                </c:pt>
                <c:pt idx="14094">
                  <c:v>845</c:v>
                </c:pt>
                <c:pt idx="14095">
                  <c:v>788</c:v>
                </c:pt>
                <c:pt idx="14096">
                  <c:v>842</c:v>
                </c:pt>
                <c:pt idx="14097">
                  <c:v>730</c:v>
                </c:pt>
                <c:pt idx="14098">
                  <c:v>740</c:v>
                </c:pt>
                <c:pt idx="14099">
                  <c:v>716</c:v>
                </c:pt>
                <c:pt idx="14100">
                  <c:v>793</c:v>
                </c:pt>
                <c:pt idx="14101">
                  <c:v>699</c:v>
                </c:pt>
                <c:pt idx="14102">
                  <c:v>784</c:v>
                </c:pt>
                <c:pt idx="14103">
                  <c:v>744</c:v>
                </c:pt>
                <c:pt idx="14104">
                  <c:v>633</c:v>
                </c:pt>
                <c:pt idx="14105">
                  <c:v>741</c:v>
                </c:pt>
                <c:pt idx="14106">
                  <c:v>765</c:v>
                </c:pt>
                <c:pt idx="14107">
                  <c:v>780</c:v>
                </c:pt>
                <c:pt idx="14108">
                  <c:v>603</c:v>
                </c:pt>
                <c:pt idx="14109">
                  <c:v>730</c:v>
                </c:pt>
                <c:pt idx="14110">
                  <c:v>756</c:v>
                </c:pt>
                <c:pt idx="14111">
                  <c:v>729</c:v>
                </c:pt>
                <c:pt idx="14112">
                  <c:v>682</c:v>
                </c:pt>
                <c:pt idx="14113">
                  <c:v>696</c:v>
                </c:pt>
                <c:pt idx="14114">
                  <c:v>685</c:v>
                </c:pt>
                <c:pt idx="14115">
                  <c:v>762</c:v>
                </c:pt>
                <c:pt idx="14116">
                  <c:v>682</c:v>
                </c:pt>
                <c:pt idx="14117">
                  <c:v>728</c:v>
                </c:pt>
                <c:pt idx="14118">
                  <c:v>803</c:v>
                </c:pt>
                <c:pt idx="14119">
                  <c:v>729</c:v>
                </c:pt>
                <c:pt idx="14120">
                  <c:v>784</c:v>
                </c:pt>
                <c:pt idx="14121">
                  <c:v>718</c:v>
                </c:pt>
                <c:pt idx="14122">
                  <c:v>780</c:v>
                </c:pt>
                <c:pt idx="14123">
                  <c:v>786</c:v>
                </c:pt>
                <c:pt idx="14124">
                  <c:v>707</c:v>
                </c:pt>
                <c:pt idx="14125">
                  <c:v>671</c:v>
                </c:pt>
                <c:pt idx="14126">
                  <c:v>705</c:v>
                </c:pt>
                <c:pt idx="14127">
                  <c:v>816</c:v>
                </c:pt>
                <c:pt idx="14128">
                  <c:v>736</c:v>
                </c:pt>
                <c:pt idx="14129">
                  <c:v>740</c:v>
                </c:pt>
                <c:pt idx="14130">
                  <c:v>732</c:v>
                </c:pt>
                <c:pt idx="14131">
                  <c:v>707</c:v>
                </c:pt>
                <c:pt idx="14132">
                  <c:v>705</c:v>
                </c:pt>
                <c:pt idx="14133">
                  <c:v>757</c:v>
                </c:pt>
                <c:pt idx="14134">
                  <c:v>809</c:v>
                </c:pt>
                <c:pt idx="14135">
                  <c:v>852</c:v>
                </c:pt>
                <c:pt idx="14136">
                  <c:v>699</c:v>
                </c:pt>
                <c:pt idx="14137">
                  <c:v>817</c:v>
                </c:pt>
                <c:pt idx="14138">
                  <c:v>772</c:v>
                </c:pt>
                <c:pt idx="14139">
                  <c:v>776</c:v>
                </c:pt>
                <c:pt idx="14140">
                  <c:v>777</c:v>
                </c:pt>
                <c:pt idx="14141">
                  <c:v>810</c:v>
                </c:pt>
                <c:pt idx="14142">
                  <c:v>803</c:v>
                </c:pt>
                <c:pt idx="14143">
                  <c:v>853</c:v>
                </c:pt>
                <c:pt idx="14144">
                  <c:v>835</c:v>
                </c:pt>
                <c:pt idx="14145">
                  <c:v>854</c:v>
                </c:pt>
                <c:pt idx="14146">
                  <c:v>872</c:v>
                </c:pt>
                <c:pt idx="14147">
                  <c:v>899</c:v>
                </c:pt>
                <c:pt idx="14148">
                  <c:v>860</c:v>
                </c:pt>
                <c:pt idx="14149">
                  <c:v>880</c:v>
                </c:pt>
                <c:pt idx="14150">
                  <c:v>843</c:v>
                </c:pt>
                <c:pt idx="14151">
                  <c:v>852</c:v>
                </c:pt>
                <c:pt idx="14152">
                  <c:v>828</c:v>
                </c:pt>
                <c:pt idx="14153">
                  <c:v>816</c:v>
                </c:pt>
                <c:pt idx="14154">
                  <c:v>776</c:v>
                </c:pt>
                <c:pt idx="14155">
                  <c:v>786</c:v>
                </c:pt>
                <c:pt idx="14156">
                  <c:v>729</c:v>
                </c:pt>
                <c:pt idx="14157">
                  <c:v>778</c:v>
                </c:pt>
                <c:pt idx="14158">
                  <c:v>743</c:v>
                </c:pt>
                <c:pt idx="14159">
                  <c:v>794</c:v>
                </c:pt>
                <c:pt idx="14160">
                  <c:v>770</c:v>
                </c:pt>
                <c:pt idx="14161">
                  <c:v>773</c:v>
                </c:pt>
                <c:pt idx="14162">
                  <c:v>791</c:v>
                </c:pt>
                <c:pt idx="14163">
                  <c:v>819</c:v>
                </c:pt>
                <c:pt idx="14164">
                  <c:v>856</c:v>
                </c:pt>
                <c:pt idx="14165">
                  <c:v>846</c:v>
                </c:pt>
                <c:pt idx="14166">
                  <c:v>849</c:v>
                </c:pt>
                <c:pt idx="14167">
                  <c:v>822</c:v>
                </c:pt>
                <c:pt idx="14168">
                  <c:v>800</c:v>
                </c:pt>
                <c:pt idx="14169">
                  <c:v>812</c:v>
                </c:pt>
                <c:pt idx="14170">
                  <c:v>843</c:v>
                </c:pt>
                <c:pt idx="14171">
                  <c:v>801</c:v>
                </c:pt>
                <c:pt idx="14172">
                  <c:v>769</c:v>
                </c:pt>
                <c:pt idx="14173">
                  <c:v>703</c:v>
                </c:pt>
                <c:pt idx="14174">
                  <c:v>800</c:v>
                </c:pt>
                <c:pt idx="14175">
                  <c:v>779</c:v>
                </c:pt>
                <c:pt idx="14176">
                  <c:v>734</c:v>
                </c:pt>
                <c:pt idx="14177">
                  <c:v>784</c:v>
                </c:pt>
                <c:pt idx="14178">
                  <c:v>834</c:v>
                </c:pt>
                <c:pt idx="14179">
                  <c:v>726</c:v>
                </c:pt>
                <c:pt idx="14180">
                  <c:v>715</c:v>
                </c:pt>
                <c:pt idx="14181">
                  <c:v>692</c:v>
                </c:pt>
                <c:pt idx="14182">
                  <c:v>669</c:v>
                </c:pt>
                <c:pt idx="14183">
                  <c:v>666</c:v>
                </c:pt>
                <c:pt idx="14184">
                  <c:v>588</c:v>
                </c:pt>
                <c:pt idx="14185">
                  <c:v>660</c:v>
                </c:pt>
                <c:pt idx="14186">
                  <c:v>571</c:v>
                </c:pt>
                <c:pt idx="14187">
                  <c:v>641</c:v>
                </c:pt>
                <c:pt idx="14188">
                  <c:v>632</c:v>
                </c:pt>
                <c:pt idx="14189">
                  <c:v>774</c:v>
                </c:pt>
                <c:pt idx="14190">
                  <c:v>661</c:v>
                </c:pt>
                <c:pt idx="14191">
                  <c:v>519</c:v>
                </c:pt>
                <c:pt idx="14192">
                  <c:v>689</c:v>
                </c:pt>
                <c:pt idx="14193">
                  <c:v>580</c:v>
                </c:pt>
                <c:pt idx="14194">
                  <c:v>505</c:v>
                </c:pt>
                <c:pt idx="14195">
                  <c:v>642</c:v>
                </c:pt>
                <c:pt idx="14196">
                  <c:v>606</c:v>
                </c:pt>
                <c:pt idx="14197">
                  <c:v>573</c:v>
                </c:pt>
                <c:pt idx="14198">
                  <c:v>743</c:v>
                </c:pt>
                <c:pt idx="14199">
                  <c:v>640</c:v>
                </c:pt>
                <c:pt idx="14200">
                  <c:v>569</c:v>
                </c:pt>
                <c:pt idx="14201">
                  <c:v>582</c:v>
                </c:pt>
                <c:pt idx="14202">
                  <c:v>468</c:v>
                </c:pt>
                <c:pt idx="14203">
                  <c:v>492</c:v>
                </c:pt>
                <c:pt idx="14204">
                  <c:v>449</c:v>
                </c:pt>
                <c:pt idx="14205">
                  <c:v>557</c:v>
                </c:pt>
                <c:pt idx="14206">
                  <c:v>493</c:v>
                </c:pt>
                <c:pt idx="14207">
                  <c:v>431</c:v>
                </c:pt>
                <c:pt idx="14208">
                  <c:v>479</c:v>
                </c:pt>
                <c:pt idx="14209">
                  <c:v>374</c:v>
                </c:pt>
                <c:pt idx="14210">
                  <c:v>553</c:v>
                </c:pt>
                <c:pt idx="14211">
                  <c:v>525</c:v>
                </c:pt>
                <c:pt idx="14212">
                  <c:v>523</c:v>
                </c:pt>
                <c:pt idx="14213">
                  <c:v>469</c:v>
                </c:pt>
                <c:pt idx="14214">
                  <c:v>464</c:v>
                </c:pt>
                <c:pt idx="14215">
                  <c:v>554</c:v>
                </c:pt>
                <c:pt idx="14216">
                  <c:v>602</c:v>
                </c:pt>
                <c:pt idx="14217">
                  <c:v>710</c:v>
                </c:pt>
                <c:pt idx="14218">
                  <c:v>627</c:v>
                </c:pt>
                <c:pt idx="14219">
                  <c:v>545</c:v>
                </c:pt>
                <c:pt idx="14220">
                  <c:v>573</c:v>
                </c:pt>
                <c:pt idx="14221">
                  <c:v>577</c:v>
                </c:pt>
                <c:pt idx="14222">
                  <c:v>659</c:v>
                </c:pt>
                <c:pt idx="14223">
                  <c:v>615</c:v>
                </c:pt>
                <c:pt idx="14224">
                  <c:v>574</c:v>
                </c:pt>
                <c:pt idx="14225">
                  <c:v>587</c:v>
                </c:pt>
                <c:pt idx="14226">
                  <c:v>631</c:v>
                </c:pt>
                <c:pt idx="14227">
                  <c:v>500</c:v>
                </c:pt>
                <c:pt idx="14228">
                  <c:v>538</c:v>
                </c:pt>
                <c:pt idx="14229">
                  <c:v>678</c:v>
                </c:pt>
                <c:pt idx="14230">
                  <c:v>569</c:v>
                </c:pt>
                <c:pt idx="14231">
                  <c:v>678</c:v>
                </c:pt>
                <c:pt idx="14232">
                  <c:v>673</c:v>
                </c:pt>
                <c:pt idx="14233">
                  <c:v>647</c:v>
                </c:pt>
                <c:pt idx="14234">
                  <c:v>782</c:v>
                </c:pt>
                <c:pt idx="14235">
                  <c:v>801</c:v>
                </c:pt>
                <c:pt idx="14236">
                  <c:v>797</c:v>
                </c:pt>
                <c:pt idx="14237">
                  <c:v>782</c:v>
                </c:pt>
                <c:pt idx="14238">
                  <c:v>800</c:v>
                </c:pt>
                <c:pt idx="14239">
                  <c:v>853</c:v>
                </c:pt>
                <c:pt idx="14240">
                  <c:v>824</c:v>
                </c:pt>
                <c:pt idx="14241">
                  <c:v>863</c:v>
                </c:pt>
                <c:pt idx="14242">
                  <c:v>869</c:v>
                </c:pt>
                <c:pt idx="14243">
                  <c:v>806</c:v>
                </c:pt>
                <c:pt idx="14244">
                  <c:v>931</c:v>
                </c:pt>
                <c:pt idx="14245">
                  <c:v>1197</c:v>
                </c:pt>
                <c:pt idx="14246">
                  <c:v>960</c:v>
                </c:pt>
                <c:pt idx="14247">
                  <c:v>838</c:v>
                </c:pt>
                <c:pt idx="14248">
                  <c:v>871</c:v>
                </c:pt>
                <c:pt idx="14249">
                  <c:v>800</c:v>
                </c:pt>
                <c:pt idx="14250">
                  <c:v>828</c:v>
                </c:pt>
                <c:pt idx="14251">
                  <c:v>790</c:v>
                </c:pt>
                <c:pt idx="14252">
                  <c:v>830</c:v>
                </c:pt>
                <c:pt idx="14253">
                  <c:v>831</c:v>
                </c:pt>
                <c:pt idx="14254">
                  <c:v>818</c:v>
                </c:pt>
                <c:pt idx="14255">
                  <c:v>839</c:v>
                </c:pt>
                <c:pt idx="14256">
                  <c:v>795</c:v>
                </c:pt>
                <c:pt idx="14257">
                  <c:v>952</c:v>
                </c:pt>
                <c:pt idx="14258">
                  <c:v>875</c:v>
                </c:pt>
                <c:pt idx="14259">
                  <c:v>954</c:v>
                </c:pt>
                <c:pt idx="14260">
                  <c:v>890</c:v>
                </c:pt>
                <c:pt idx="14261">
                  <c:v>889</c:v>
                </c:pt>
                <c:pt idx="14262">
                  <c:v>848</c:v>
                </c:pt>
                <c:pt idx="14263">
                  <c:v>874</c:v>
                </c:pt>
                <c:pt idx="14264">
                  <c:v>872</c:v>
                </c:pt>
                <c:pt idx="14265">
                  <c:v>843</c:v>
                </c:pt>
                <c:pt idx="14266">
                  <c:v>904</c:v>
                </c:pt>
                <c:pt idx="14267">
                  <c:v>890</c:v>
                </c:pt>
                <c:pt idx="14268">
                  <c:v>927</c:v>
                </c:pt>
                <c:pt idx="14269">
                  <c:v>897</c:v>
                </c:pt>
                <c:pt idx="14270">
                  <c:v>830</c:v>
                </c:pt>
                <c:pt idx="14271">
                  <c:v>840</c:v>
                </c:pt>
                <c:pt idx="14272">
                  <c:v>806</c:v>
                </c:pt>
                <c:pt idx="14273">
                  <c:v>840</c:v>
                </c:pt>
                <c:pt idx="14274">
                  <c:v>868</c:v>
                </c:pt>
                <c:pt idx="14275">
                  <c:v>823</c:v>
                </c:pt>
                <c:pt idx="14276">
                  <c:v>774</c:v>
                </c:pt>
                <c:pt idx="14277">
                  <c:v>697</c:v>
                </c:pt>
                <c:pt idx="14278">
                  <c:v>810</c:v>
                </c:pt>
                <c:pt idx="14279">
                  <c:v>638</c:v>
                </c:pt>
                <c:pt idx="14280">
                  <c:v>776</c:v>
                </c:pt>
                <c:pt idx="14281">
                  <c:v>744</c:v>
                </c:pt>
                <c:pt idx="14282">
                  <c:v>483</c:v>
                </c:pt>
                <c:pt idx="14283">
                  <c:v>817</c:v>
                </c:pt>
                <c:pt idx="14284">
                  <c:v>743</c:v>
                </c:pt>
                <c:pt idx="14285">
                  <c:v>810</c:v>
                </c:pt>
                <c:pt idx="14286">
                  <c:v>720</c:v>
                </c:pt>
                <c:pt idx="14287">
                  <c:v>864</c:v>
                </c:pt>
                <c:pt idx="14288">
                  <c:v>747</c:v>
                </c:pt>
                <c:pt idx="14289">
                  <c:v>760</c:v>
                </c:pt>
                <c:pt idx="14290">
                  <c:v>758</c:v>
                </c:pt>
                <c:pt idx="14291">
                  <c:v>696</c:v>
                </c:pt>
                <c:pt idx="14292">
                  <c:v>739</c:v>
                </c:pt>
                <c:pt idx="14293">
                  <c:v>714</c:v>
                </c:pt>
                <c:pt idx="14294">
                  <c:v>624</c:v>
                </c:pt>
                <c:pt idx="14295">
                  <c:v>582</c:v>
                </c:pt>
                <c:pt idx="14296">
                  <c:v>541</c:v>
                </c:pt>
                <c:pt idx="14297">
                  <c:v>580</c:v>
                </c:pt>
                <c:pt idx="14298">
                  <c:v>502</c:v>
                </c:pt>
                <c:pt idx="14299">
                  <c:v>594</c:v>
                </c:pt>
                <c:pt idx="14300">
                  <c:v>734</c:v>
                </c:pt>
                <c:pt idx="14301">
                  <c:v>651</c:v>
                </c:pt>
                <c:pt idx="14302">
                  <c:v>758</c:v>
                </c:pt>
                <c:pt idx="14303">
                  <c:v>663</c:v>
                </c:pt>
                <c:pt idx="14304">
                  <c:v>776</c:v>
                </c:pt>
                <c:pt idx="14305">
                  <c:v>765</c:v>
                </c:pt>
                <c:pt idx="14306">
                  <c:v>723</c:v>
                </c:pt>
                <c:pt idx="14307">
                  <c:v>735</c:v>
                </c:pt>
                <c:pt idx="14308">
                  <c:v>676</c:v>
                </c:pt>
                <c:pt idx="14309">
                  <c:v>684</c:v>
                </c:pt>
                <c:pt idx="14310">
                  <c:v>650</c:v>
                </c:pt>
                <c:pt idx="14311">
                  <c:v>857</c:v>
                </c:pt>
                <c:pt idx="14312">
                  <c:v>792</c:v>
                </c:pt>
                <c:pt idx="14313">
                  <c:v>836</c:v>
                </c:pt>
                <c:pt idx="14314">
                  <c:v>811</c:v>
                </c:pt>
                <c:pt idx="14315">
                  <c:v>837</c:v>
                </c:pt>
                <c:pt idx="14316">
                  <c:v>862</c:v>
                </c:pt>
                <c:pt idx="14317">
                  <c:v>818</c:v>
                </c:pt>
                <c:pt idx="14318">
                  <c:v>817</c:v>
                </c:pt>
                <c:pt idx="14319">
                  <c:v>845</c:v>
                </c:pt>
                <c:pt idx="14320">
                  <c:v>820</c:v>
                </c:pt>
                <c:pt idx="14321">
                  <c:v>821</c:v>
                </c:pt>
                <c:pt idx="14322">
                  <c:v>805</c:v>
                </c:pt>
                <c:pt idx="14323">
                  <c:v>813</c:v>
                </c:pt>
                <c:pt idx="14324">
                  <c:v>801</c:v>
                </c:pt>
                <c:pt idx="14325">
                  <c:v>847</c:v>
                </c:pt>
                <c:pt idx="14326">
                  <c:v>840</c:v>
                </c:pt>
                <c:pt idx="14327">
                  <c:v>857</c:v>
                </c:pt>
                <c:pt idx="14328">
                  <c:v>882</c:v>
                </c:pt>
                <c:pt idx="14329">
                  <c:v>927</c:v>
                </c:pt>
                <c:pt idx="14330">
                  <c:v>1215</c:v>
                </c:pt>
                <c:pt idx="14331">
                  <c:v>1041</c:v>
                </c:pt>
                <c:pt idx="14332">
                  <c:v>874</c:v>
                </c:pt>
                <c:pt idx="14333">
                  <c:v>919</c:v>
                </c:pt>
                <c:pt idx="14334">
                  <c:v>889</c:v>
                </c:pt>
                <c:pt idx="14335">
                  <c:v>907</c:v>
                </c:pt>
                <c:pt idx="14336">
                  <c:v>928</c:v>
                </c:pt>
                <c:pt idx="14337">
                  <c:v>932</c:v>
                </c:pt>
                <c:pt idx="14338">
                  <c:v>966</c:v>
                </c:pt>
                <c:pt idx="14339">
                  <c:v>963</c:v>
                </c:pt>
                <c:pt idx="14340">
                  <c:v>949</c:v>
                </c:pt>
                <c:pt idx="14341">
                  <c:v>943</c:v>
                </c:pt>
                <c:pt idx="14342">
                  <c:v>933</c:v>
                </c:pt>
                <c:pt idx="14343">
                  <c:v>959</c:v>
                </c:pt>
                <c:pt idx="14344">
                  <c:v>895</c:v>
                </c:pt>
                <c:pt idx="14345">
                  <c:v>926</c:v>
                </c:pt>
                <c:pt idx="14346">
                  <c:v>910</c:v>
                </c:pt>
                <c:pt idx="14347">
                  <c:v>933</c:v>
                </c:pt>
                <c:pt idx="14348">
                  <c:v>972</c:v>
                </c:pt>
                <c:pt idx="14349">
                  <c:v>935</c:v>
                </c:pt>
                <c:pt idx="14350">
                  <c:v>893</c:v>
                </c:pt>
                <c:pt idx="14351">
                  <c:v>914</c:v>
                </c:pt>
                <c:pt idx="14352">
                  <c:v>887</c:v>
                </c:pt>
                <c:pt idx="14353">
                  <c:v>935</c:v>
                </c:pt>
                <c:pt idx="14354">
                  <c:v>972</c:v>
                </c:pt>
                <c:pt idx="14355">
                  <c:v>918</c:v>
                </c:pt>
                <c:pt idx="14356">
                  <c:v>907</c:v>
                </c:pt>
                <c:pt idx="14357">
                  <c:v>814</c:v>
                </c:pt>
                <c:pt idx="14358">
                  <c:v>852</c:v>
                </c:pt>
                <c:pt idx="14359">
                  <c:v>876</c:v>
                </c:pt>
                <c:pt idx="14360">
                  <c:v>900</c:v>
                </c:pt>
                <c:pt idx="14361">
                  <c:v>861</c:v>
                </c:pt>
                <c:pt idx="14362">
                  <c:v>791</c:v>
                </c:pt>
                <c:pt idx="14363">
                  <c:v>829</c:v>
                </c:pt>
                <c:pt idx="14364">
                  <c:v>898</c:v>
                </c:pt>
                <c:pt idx="14365">
                  <c:v>809</c:v>
                </c:pt>
                <c:pt idx="14366">
                  <c:v>826</c:v>
                </c:pt>
                <c:pt idx="14367">
                  <c:v>724</c:v>
                </c:pt>
                <c:pt idx="14368">
                  <c:v>746</c:v>
                </c:pt>
                <c:pt idx="14369">
                  <c:v>739</c:v>
                </c:pt>
                <c:pt idx="14370">
                  <c:v>787</c:v>
                </c:pt>
                <c:pt idx="14371">
                  <c:v>780</c:v>
                </c:pt>
                <c:pt idx="14372">
                  <c:v>723</c:v>
                </c:pt>
                <c:pt idx="14373">
                  <c:v>791</c:v>
                </c:pt>
                <c:pt idx="14374">
                  <c:v>786</c:v>
                </c:pt>
                <c:pt idx="14375">
                  <c:v>796</c:v>
                </c:pt>
                <c:pt idx="14376">
                  <c:v>690</c:v>
                </c:pt>
                <c:pt idx="14377">
                  <c:v>715</c:v>
                </c:pt>
                <c:pt idx="14378">
                  <c:v>693</c:v>
                </c:pt>
                <c:pt idx="14379">
                  <c:v>652</c:v>
                </c:pt>
                <c:pt idx="14380">
                  <c:v>676</c:v>
                </c:pt>
                <c:pt idx="14381">
                  <c:v>609</c:v>
                </c:pt>
                <c:pt idx="14382">
                  <c:v>580</c:v>
                </c:pt>
                <c:pt idx="14383">
                  <c:v>608</c:v>
                </c:pt>
                <c:pt idx="14384">
                  <c:v>599</c:v>
                </c:pt>
                <c:pt idx="14385">
                  <c:v>599</c:v>
                </c:pt>
                <c:pt idx="14386">
                  <c:v>535</c:v>
                </c:pt>
                <c:pt idx="14387">
                  <c:v>539</c:v>
                </c:pt>
                <c:pt idx="14388">
                  <c:v>492</c:v>
                </c:pt>
                <c:pt idx="14389">
                  <c:v>565</c:v>
                </c:pt>
                <c:pt idx="14390">
                  <c:v>517</c:v>
                </c:pt>
                <c:pt idx="14391">
                  <c:v>619</c:v>
                </c:pt>
                <c:pt idx="14392">
                  <c:v>666</c:v>
                </c:pt>
                <c:pt idx="14393">
                  <c:v>681</c:v>
                </c:pt>
                <c:pt idx="14394">
                  <c:v>641</c:v>
                </c:pt>
                <c:pt idx="14395">
                  <c:v>604</c:v>
                </c:pt>
                <c:pt idx="14396">
                  <c:v>537</c:v>
                </c:pt>
                <c:pt idx="14397">
                  <c:v>631</c:v>
                </c:pt>
                <c:pt idx="14398">
                  <c:v>712</c:v>
                </c:pt>
                <c:pt idx="14399">
                  <c:v>657</c:v>
                </c:pt>
                <c:pt idx="14400">
                  <c:v>685</c:v>
                </c:pt>
                <c:pt idx="14401">
                  <c:v>705</c:v>
                </c:pt>
                <c:pt idx="14402">
                  <c:v>570</c:v>
                </c:pt>
                <c:pt idx="14403">
                  <c:v>819</c:v>
                </c:pt>
                <c:pt idx="14404">
                  <c:v>798</c:v>
                </c:pt>
                <c:pt idx="14405">
                  <c:v>864</c:v>
                </c:pt>
                <c:pt idx="14406">
                  <c:v>816</c:v>
                </c:pt>
                <c:pt idx="14407">
                  <c:v>865</c:v>
                </c:pt>
                <c:pt idx="14408">
                  <c:v>820</c:v>
                </c:pt>
                <c:pt idx="14409">
                  <c:v>855</c:v>
                </c:pt>
                <c:pt idx="14410">
                  <c:v>903</c:v>
                </c:pt>
                <c:pt idx="14411">
                  <c:v>872</c:v>
                </c:pt>
                <c:pt idx="14412">
                  <c:v>828</c:v>
                </c:pt>
                <c:pt idx="14413">
                  <c:v>849</c:v>
                </c:pt>
                <c:pt idx="14414">
                  <c:v>844</c:v>
                </c:pt>
                <c:pt idx="14415">
                  <c:v>828</c:v>
                </c:pt>
                <c:pt idx="14416">
                  <c:v>843</c:v>
                </c:pt>
                <c:pt idx="14417">
                  <c:v>845</c:v>
                </c:pt>
                <c:pt idx="14418">
                  <c:v>856</c:v>
                </c:pt>
                <c:pt idx="14419">
                  <c:v>849</c:v>
                </c:pt>
                <c:pt idx="14420">
                  <c:v>766</c:v>
                </c:pt>
                <c:pt idx="14421">
                  <c:v>1258</c:v>
                </c:pt>
                <c:pt idx="14422">
                  <c:v>1071</c:v>
                </c:pt>
                <c:pt idx="14423">
                  <c:v>932</c:v>
                </c:pt>
                <c:pt idx="14424">
                  <c:v>905</c:v>
                </c:pt>
                <c:pt idx="14425">
                  <c:v>928</c:v>
                </c:pt>
                <c:pt idx="14426">
                  <c:v>927</c:v>
                </c:pt>
                <c:pt idx="14427">
                  <c:v>882</c:v>
                </c:pt>
                <c:pt idx="14428">
                  <c:v>865</c:v>
                </c:pt>
                <c:pt idx="14429">
                  <c:v>907</c:v>
                </c:pt>
                <c:pt idx="14430">
                  <c:v>909</c:v>
                </c:pt>
                <c:pt idx="14431">
                  <c:v>857</c:v>
                </c:pt>
                <c:pt idx="14432">
                  <c:v>916</c:v>
                </c:pt>
                <c:pt idx="14433">
                  <c:v>962</c:v>
                </c:pt>
                <c:pt idx="14434">
                  <c:v>918</c:v>
                </c:pt>
                <c:pt idx="14435">
                  <c:v>897</c:v>
                </c:pt>
                <c:pt idx="14436">
                  <c:v>882</c:v>
                </c:pt>
                <c:pt idx="14437">
                  <c:v>897</c:v>
                </c:pt>
                <c:pt idx="14438">
                  <c:v>893</c:v>
                </c:pt>
                <c:pt idx="14439">
                  <c:v>861</c:v>
                </c:pt>
                <c:pt idx="14440">
                  <c:v>914</c:v>
                </c:pt>
                <c:pt idx="14441">
                  <c:v>967</c:v>
                </c:pt>
                <c:pt idx="14442">
                  <c:v>897</c:v>
                </c:pt>
                <c:pt idx="14443">
                  <c:v>897</c:v>
                </c:pt>
                <c:pt idx="14444">
                  <c:v>874</c:v>
                </c:pt>
                <c:pt idx="14445">
                  <c:v>897</c:v>
                </c:pt>
                <c:pt idx="14446">
                  <c:v>839</c:v>
                </c:pt>
                <c:pt idx="14447">
                  <c:v>788</c:v>
                </c:pt>
                <c:pt idx="14448">
                  <c:v>802</c:v>
                </c:pt>
                <c:pt idx="14449">
                  <c:v>816</c:v>
                </c:pt>
                <c:pt idx="14450">
                  <c:v>838</c:v>
                </c:pt>
                <c:pt idx="14451">
                  <c:v>831</c:v>
                </c:pt>
                <c:pt idx="14452">
                  <c:v>801</c:v>
                </c:pt>
                <c:pt idx="14453">
                  <c:v>726</c:v>
                </c:pt>
                <c:pt idx="14454">
                  <c:v>760</c:v>
                </c:pt>
                <c:pt idx="14455">
                  <c:v>561</c:v>
                </c:pt>
                <c:pt idx="14456">
                  <c:v>753</c:v>
                </c:pt>
                <c:pt idx="14457">
                  <c:v>753</c:v>
                </c:pt>
                <c:pt idx="14458">
                  <c:v>701</c:v>
                </c:pt>
                <c:pt idx="14459">
                  <c:v>807</c:v>
                </c:pt>
                <c:pt idx="14460">
                  <c:v>720</c:v>
                </c:pt>
                <c:pt idx="14461">
                  <c:v>660</c:v>
                </c:pt>
                <c:pt idx="14462">
                  <c:v>641</c:v>
                </c:pt>
                <c:pt idx="14463">
                  <c:v>627</c:v>
                </c:pt>
                <c:pt idx="14464">
                  <c:v>692</c:v>
                </c:pt>
                <c:pt idx="14465">
                  <c:v>725</c:v>
                </c:pt>
                <c:pt idx="14466">
                  <c:v>637</c:v>
                </c:pt>
                <c:pt idx="14467">
                  <c:v>619</c:v>
                </c:pt>
                <c:pt idx="14468">
                  <c:v>658</c:v>
                </c:pt>
                <c:pt idx="14469">
                  <c:v>645</c:v>
                </c:pt>
                <c:pt idx="14470">
                  <c:v>656</c:v>
                </c:pt>
                <c:pt idx="14471">
                  <c:v>551</c:v>
                </c:pt>
                <c:pt idx="14472">
                  <c:v>499</c:v>
                </c:pt>
                <c:pt idx="14473">
                  <c:v>617</c:v>
                </c:pt>
                <c:pt idx="14474">
                  <c:v>527</c:v>
                </c:pt>
                <c:pt idx="14475">
                  <c:v>541</c:v>
                </c:pt>
                <c:pt idx="14476">
                  <c:v>616</c:v>
                </c:pt>
                <c:pt idx="14477">
                  <c:v>620</c:v>
                </c:pt>
                <c:pt idx="14478">
                  <c:v>685</c:v>
                </c:pt>
                <c:pt idx="14479">
                  <c:v>577</c:v>
                </c:pt>
                <c:pt idx="14480">
                  <c:v>537</c:v>
                </c:pt>
                <c:pt idx="14481">
                  <c:v>645</c:v>
                </c:pt>
                <c:pt idx="14482">
                  <c:v>531</c:v>
                </c:pt>
                <c:pt idx="14483">
                  <c:v>544</c:v>
                </c:pt>
                <c:pt idx="14484">
                  <c:v>718</c:v>
                </c:pt>
                <c:pt idx="14485">
                  <c:v>625</c:v>
                </c:pt>
                <c:pt idx="14486">
                  <c:v>648</c:v>
                </c:pt>
                <c:pt idx="14487">
                  <c:v>709</c:v>
                </c:pt>
                <c:pt idx="14488">
                  <c:v>724</c:v>
                </c:pt>
                <c:pt idx="14489">
                  <c:v>757</c:v>
                </c:pt>
                <c:pt idx="14490">
                  <c:v>769</c:v>
                </c:pt>
                <c:pt idx="14491">
                  <c:v>753</c:v>
                </c:pt>
                <c:pt idx="14492">
                  <c:v>738</c:v>
                </c:pt>
                <c:pt idx="14493">
                  <c:v>750</c:v>
                </c:pt>
                <c:pt idx="14494">
                  <c:v>815</c:v>
                </c:pt>
                <c:pt idx="14495">
                  <c:v>830</c:v>
                </c:pt>
                <c:pt idx="14496">
                  <c:v>811</c:v>
                </c:pt>
                <c:pt idx="14497">
                  <c:v>857</c:v>
                </c:pt>
                <c:pt idx="14498">
                  <c:v>828</c:v>
                </c:pt>
                <c:pt idx="14499">
                  <c:v>791</c:v>
                </c:pt>
                <c:pt idx="14500">
                  <c:v>812</c:v>
                </c:pt>
                <c:pt idx="14501">
                  <c:v>777</c:v>
                </c:pt>
                <c:pt idx="14502">
                  <c:v>783</c:v>
                </c:pt>
                <c:pt idx="14503">
                  <c:v>767</c:v>
                </c:pt>
                <c:pt idx="14504">
                  <c:v>801</c:v>
                </c:pt>
                <c:pt idx="14505">
                  <c:v>687</c:v>
                </c:pt>
                <c:pt idx="14506">
                  <c:v>1234</c:v>
                </c:pt>
                <c:pt idx="14507">
                  <c:v>1046</c:v>
                </c:pt>
                <c:pt idx="14508">
                  <c:v>960</c:v>
                </c:pt>
                <c:pt idx="14509">
                  <c:v>910</c:v>
                </c:pt>
                <c:pt idx="14510">
                  <c:v>882</c:v>
                </c:pt>
                <c:pt idx="14511">
                  <c:v>1025</c:v>
                </c:pt>
                <c:pt idx="14512">
                  <c:v>927</c:v>
                </c:pt>
                <c:pt idx="14513">
                  <c:v>905</c:v>
                </c:pt>
                <c:pt idx="14514">
                  <c:v>902</c:v>
                </c:pt>
                <c:pt idx="14515">
                  <c:v>899</c:v>
                </c:pt>
                <c:pt idx="14516">
                  <c:v>933</c:v>
                </c:pt>
                <c:pt idx="14517">
                  <c:v>912</c:v>
                </c:pt>
                <c:pt idx="14518">
                  <c:v>918</c:v>
                </c:pt>
                <c:pt idx="14519">
                  <c:v>923</c:v>
                </c:pt>
                <c:pt idx="14520">
                  <c:v>935</c:v>
                </c:pt>
                <c:pt idx="14521">
                  <c:v>955</c:v>
                </c:pt>
                <c:pt idx="14522">
                  <c:v>950</c:v>
                </c:pt>
                <c:pt idx="14523">
                  <c:v>881</c:v>
                </c:pt>
                <c:pt idx="14524">
                  <c:v>912</c:v>
                </c:pt>
                <c:pt idx="14525">
                  <c:v>925</c:v>
                </c:pt>
                <c:pt idx="14526">
                  <c:v>923</c:v>
                </c:pt>
                <c:pt idx="14527">
                  <c:v>940</c:v>
                </c:pt>
                <c:pt idx="14528">
                  <c:v>965</c:v>
                </c:pt>
                <c:pt idx="14529">
                  <c:v>901</c:v>
                </c:pt>
                <c:pt idx="14530">
                  <c:v>898</c:v>
                </c:pt>
                <c:pt idx="14531">
                  <c:v>907</c:v>
                </c:pt>
                <c:pt idx="14532">
                  <c:v>905</c:v>
                </c:pt>
                <c:pt idx="14533">
                  <c:v>932</c:v>
                </c:pt>
                <c:pt idx="14534">
                  <c:v>876</c:v>
                </c:pt>
                <c:pt idx="14535">
                  <c:v>936</c:v>
                </c:pt>
                <c:pt idx="14536">
                  <c:v>936</c:v>
                </c:pt>
                <c:pt idx="14537">
                  <c:v>941</c:v>
                </c:pt>
                <c:pt idx="14538">
                  <c:v>893</c:v>
                </c:pt>
                <c:pt idx="14539">
                  <c:v>823</c:v>
                </c:pt>
                <c:pt idx="14540">
                  <c:v>869</c:v>
                </c:pt>
                <c:pt idx="14541">
                  <c:v>900</c:v>
                </c:pt>
                <c:pt idx="14542">
                  <c:v>808</c:v>
                </c:pt>
                <c:pt idx="14543">
                  <c:v>870</c:v>
                </c:pt>
                <c:pt idx="14544">
                  <c:v>902</c:v>
                </c:pt>
                <c:pt idx="14545">
                  <c:v>615</c:v>
                </c:pt>
                <c:pt idx="14546">
                  <c:v>664</c:v>
                </c:pt>
                <c:pt idx="14547">
                  <c:v>648</c:v>
                </c:pt>
                <c:pt idx="14548">
                  <c:v>646</c:v>
                </c:pt>
                <c:pt idx="14549">
                  <c:v>694</c:v>
                </c:pt>
                <c:pt idx="14550">
                  <c:v>673</c:v>
                </c:pt>
                <c:pt idx="14551">
                  <c:v>617</c:v>
                </c:pt>
                <c:pt idx="14552">
                  <c:v>682</c:v>
                </c:pt>
                <c:pt idx="14553">
                  <c:v>752</c:v>
                </c:pt>
                <c:pt idx="14554">
                  <c:v>664</c:v>
                </c:pt>
                <c:pt idx="14555">
                  <c:v>671</c:v>
                </c:pt>
                <c:pt idx="14556">
                  <c:v>752</c:v>
                </c:pt>
                <c:pt idx="14557">
                  <c:v>764</c:v>
                </c:pt>
                <c:pt idx="14558">
                  <c:v>845</c:v>
                </c:pt>
                <c:pt idx="14559">
                  <c:v>832</c:v>
                </c:pt>
                <c:pt idx="14560">
                  <c:v>822</c:v>
                </c:pt>
                <c:pt idx="14561">
                  <c:v>854</c:v>
                </c:pt>
                <c:pt idx="14562">
                  <c:v>833</c:v>
                </c:pt>
                <c:pt idx="14563">
                  <c:v>845</c:v>
                </c:pt>
                <c:pt idx="14564">
                  <c:v>818</c:v>
                </c:pt>
                <c:pt idx="14565">
                  <c:v>851</c:v>
                </c:pt>
                <c:pt idx="14566">
                  <c:v>807</c:v>
                </c:pt>
                <c:pt idx="14567">
                  <c:v>830</c:v>
                </c:pt>
                <c:pt idx="14568">
                  <c:v>785</c:v>
                </c:pt>
                <c:pt idx="14569">
                  <c:v>798</c:v>
                </c:pt>
                <c:pt idx="14570">
                  <c:v>715</c:v>
                </c:pt>
                <c:pt idx="14571">
                  <c:v>776</c:v>
                </c:pt>
                <c:pt idx="14572">
                  <c:v>979</c:v>
                </c:pt>
                <c:pt idx="14573">
                  <c:v>1158</c:v>
                </c:pt>
                <c:pt idx="14574">
                  <c:v>1044</c:v>
                </c:pt>
                <c:pt idx="14575">
                  <c:v>976</c:v>
                </c:pt>
                <c:pt idx="14576">
                  <c:v>932</c:v>
                </c:pt>
                <c:pt idx="14577">
                  <c:v>896</c:v>
                </c:pt>
                <c:pt idx="14578">
                  <c:v>939</c:v>
                </c:pt>
                <c:pt idx="14579">
                  <c:v>937</c:v>
                </c:pt>
                <c:pt idx="14580">
                  <c:v>925</c:v>
                </c:pt>
                <c:pt idx="14581">
                  <c:v>954</c:v>
                </c:pt>
                <c:pt idx="14582">
                  <c:v>939</c:v>
                </c:pt>
                <c:pt idx="14583">
                  <c:v>905</c:v>
                </c:pt>
                <c:pt idx="14584">
                  <c:v>947</c:v>
                </c:pt>
                <c:pt idx="14585">
                  <c:v>953</c:v>
                </c:pt>
                <c:pt idx="14586">
                  <c:v>962</c:v>
                </c:pt>
                <c:pt idx="14587">
                  <c:v>948</c:v>
                </c:pt>
                <c:pt idx="14588">
                  <c:v>925</c:v>
                </c:pt>
                <c:pt idx="14589">
                  <c:v>927</c:v>
                </c:pt>
                <c:pt idx="14590">
                  <c:v>927</c:v>
                </c:pt>
                <c:pt idx="14591">
                  <c:v>934</c:v>
                </c:pt>
                <c:pt idx="14592">
                  <c:v>945</c:v>
                </c:pt>
                <c:pt idx="14593">
                  <c:v>920</c:v>
                </c:pt>
                <c:pt idx="14594">
                  <c:v>947</c:v>
                </c:pt>
                <c:pt idx="14595">
                  <c:v>935</c:v>
                </c:pt>
                <c:pt idx="14596">
                  <c:v>940</c:v>
                </c:pt>
                <c:pt idx="14597">
                  <c:v>951</c:v>
                </c:pt>
                <c:pt idx="14598">
                  <c:v>940</c:v>
                </c:pt>
                <c:pt idx="14599">
                  <c:v>962</c:v>
                </c:pt>
                <c:pt idx="14600">
                  <c:v>929</c:v>
                </c:pt>
                <c:pt idx="14601">
                  <c:v>923</c:v>
                </c:pt>
                <c:pt idx="14602">
                  <c:v>938</c:v>
                </c:pt>
                <c:pt idx="14603">
                  <c:v>902</c:v>
                </c:pt>
                <c:pt idx="14604">
                  <c:v>869</c:v>
                </c:pt>
                <c:pt idx="14605">
                  <c:v>847</c:v>
                </c:pt>
                <c:pt idx="14606">
                  <c:v>905</c:v>
                </c:pt>
                <c:pt idx="14607">
                  <c:v>909</c:v>
                </c:pt>
                <c:pt idx="14608">
                  <c:v>802</c:v>
                </c:pt>
                <c:pt idx="14609">
                  <c:v>874</c:v>
                </c:pt>
                <c:pt idx="14610">
                  <c:v>884</c:v>
                </c:pt>
                <c:pt idx="14611">
                  <c:v>802</c:v>
                </c:pt>
                <c:pt idx="14612">
                  <c:v>789</c:v>
                </c:pt>
                <c:pt idx="14613">
                  <c:v>775</c:v>
                </c:pt>
                <c:pt idx="14614">
                  <c:v>780</c:v>
                </c:pt>
                <c:pt idx="14615">
                  <c:v>720</c:v>
                </c:pt>
                <c:pt idx="14616">
                  <c:v>747</c:v>
                </c:pt>
                <c:pt idx="14617">
                  <c:v>697</c:v>
                </c:pt>
                <c:pt idx="14618">
                  <c:v>741</c:v>
                </c:pt>
                <c:pt idx="14619">
                  <c:v>691</c:v>
                </c:pt>
                <c:pt idx="14620">
                  <c:v>744</c:v>
                </c:pt>
                <c:pt idx="14621">
                  <c:v>753</c:v>
                </c:pt>
                <c:pt idx="14622">
                  <c:v>769</c:v>
                </c:pt>
                <c:pt idx="14623">
                  <c:v>740</c:v>
                </c:pt>
                <c:pt idx="14624">
                  <c:v>714</c:v>
                </c:pt>
                <c:pt idx="14625">
                  <c:v>697</c:v>
                </c:pt>
                <c:pt idx="14626">
                  <c:v>755</c:v>
                </c:pt>
                <c:pt idx="14627">
                  <c:v>624</c:v>
                </c:pt>
                <c:pt idx="14628">
                  <c:v>590</c:v>
                </c:pt>
                <c:pt idx="14629">
                  <c:v>565</c:v>
                </c:pt>
                <c:pt idx="14630">
                  <c:v>652</c:v>
                </c:pt>
                <c:pt idx="14631">
                  <c:v>543</c:v>
                </c:pt>
                <c:pt idx="14632">
                  <c:v>562</c:v>
                </c:pt>
                <c:pt idx="14633">
                  <c:v>533</c:v>
                </c:pt>
                <c:pt idx="14634">
                  <c:v>525</c:v>
                </c:pt>
                <c:pt idx="14635">
                  <c:v>617</c:v>
                </c:pt>
                <c:pt idx="14636">
                  <c:v>561</c:v>
                </c:pt>
                <c:pt idx="14637">
                  <c:v>574</c:v>
                </c:pt>
                <c:pt idx="14638">
                  <c:v>585</c:v>
                </c:pt>
                <c:pt idx="14639">
                  <c:v>543</c:v>
                </c:pt>
                <c:pt idx="14640">
                  <c:v>564</c:v>
                </c:pt>
                <c:pt idx="14641">
                  <c:v>516</c:v>
                </c:pt>
                <c:pt idx="14642">
                  <c:v>633</c:v>
                </c:pt>
                <c:pt idx="14643">
                  <c:v>646</c:v>
                </c:pt>
                <c:pt idx="14644">
                  <c:v>616</c:v>
                </c:pt>
                <c:pt idx="14645">
                  <c:v>587</c:v>
                </c:pt>
                <c:pt idx="14646">
                  <c:v>659</c:v>
                </c:pt>
                <c:pt idx="14647">
                  <c:v>562</c:v>
                </c:pt>
                <c:pt idx="14648">
                  <c:v>586</c:v>
                </c:pt>
                <c:pt idx="14649">
                  <c:v>829</c:v>
                </c:pt>
                <c:pt idx="14650">
                  <c:v>708</c:v>
                </c:pt>
                <c:pt idx="14651">
                  <c:v>697</c:v>
                </c:pt>
                <c:pt idx="14652">
                  <c:v>649</c:v>
                </c:pt>
                <c:pt idx="14653">
                  <c:v>777</c:v>
                </c:pt>
                <c:pt idx="14654">
                  <c:v>857</c:v>
                </c:pt>
                <c:pt idx="14655">
                  <c:v>840</c:v>
                </c:pt>
                <c:pt idx="14656">
                  <c:v>816</c:v>
                </c:pt>
                <c:pt idx="14657">
                  <c:v>826</c:v>
                </c:pt>
                <c:pt idx="14658">
                  <c:v>882</c:v>
                </c:pt>
                <c:pt idx="14659">
                  <c:v>805</c:v>
                </c:pt>
                <c:pt idx="14660">
                  <c:v>805</c:v>
                </c:pt>
                <c:pt idx="14661">
                  <c:v>810</c:v>
                </c:pt>
                <c:pt idx="14662">
                  <c:v>838</c:v>
                </c:pt>
                <c:pt idx="14663">
                  <c:v>811</c:v>
                </c:pt>
                <c:pt idx="14664">
                  <c:v>812</c:v>
                </c:pt>
                <c:pt idx="14665">
                  <c:v>833</c:v>
                </c:pt>
                <c:pt idx="14666">
                  <c:v>841</c:v>
                </c:pt>
                <c:pt idx="14667">
                  <c:v>828</c:v>
                </c:pt>
                <c:pt idx="14668">
                  <c:v>860</c:v>
                </c:pt>
                <c:pt idx="14669">
                  <c:v>877</c:v>
                </c:pt>
                <c:pt idx="14670">
                  <c:v>857</c:v>
                </c:pt>
                <c:pt idx="14671">
                  <c:v>861</c:v>
                </c:pt>
                <c:pt idx="14672">
                  <c:v>838</c:v>
                </c:pt>
                <c:pt idx="14673">
                  <c:v>814</c:v>
                </c:pt>
                <c:pt idx="14674">
                  <c:v>830</c:v>
                </c:pt>
                <c:pt idx="14675">
                  <c:v>857</c:v>
                </c:pt>
                <c:pt idx="14676">
                  <c:v>1001</c:v>
                </c:pt>
                <c:pt idx="14677">
                  <c:v>1192</c:v>
                </c:pt>
                <c:pt idx="14678">
                  <c:v>937</c:v>
                </c:pt>
                <c:pt idx="14679">
                  <c:v>898</c:v>
                </c:pt>
                <c:pt idx="14680">
                  <c:v>945</c:v>
                </c:pt>
                <c:pt idx="14681">
                  <c:v>911</c:v>
                </c:pt>
                <c:pt idx="14682">
                  <c:v>901</c:v>
                </c:pt>
                <c:pt idx="14683">
                  <c:v>965</c:v>
                </c:pt>
                <c:pt idx="14684">
                  <c:v>898</c:v>
                </c:pt>
                <c:pt idx="14685">
                  <c:v>882</c:v>
                </c:pt>
                <c:pt idx="14686">
                  <c:v>885</c:v>
                </c:pt>
                <c:pt idx="14687">
                  <c:v>877</c:v>
                </c:pt>
                <c:pt idx="14688">
                  <c:v>906</c:v>
                </c:pt>
                <c:pt idx="14689">
                  <c:v>864</c:v>
                </c:pt>
                <c:pt idx="14690">
                  <c:v>909</c:v>
                </c:pt>
                <c:pt idx="14691">
                  <c:v>934</c:v>
                </c:pt>
                <c:pt idx="14692">
                  <c:v>854</c:v>
                </c:pt>
                <c:pt idx="14693">
                  <c:v>954</c:v>
                </c:pt>
                <c:pt idx="14694">
                  <c:v>882</c:v>
                </c:pt>
                <c:pt idx="14695">
                  <c:v>931</c:v>
                </c:pt>
                <c:pt idx="14696">
                  <c:v>836</c:v>
                </c:pt>
                <c:pt idx="14697">
                  <c:v>907</c:v>
                </c:pt>
                <c:pt idx="14698">
                  <c:v>800</c:v>
                </c:pt>
                <c:pt idx="14699">
                  <c:v>744</c:v>
                </c:pt>
                <c:pt idx="14700">
                  <c:v>665</c:v>
                </c:pt>
                <c:pt idx="14701">
                  <c:v>677</c:v>
                </c:pt>
                <c:pt idx="14702">
                  <c:v>719</c:v>
                </c:pt>
                <c:pt idx="14703">
                  <c:v>594</c:v>
                </c:pt>
                <c:pt idx="14704">
                  <c:v>732</c:v>
                </c:pt>
                <c:pt idx="14705">
                  <c:v>651</c:v>
                </c:pt>
                <c:pt idx="14706">
                  <c:v>598</c:v>
                </c:pt>
                <c:pt idx="14707">
                  <c:v>652</c:v>
                </c:pt>
                <c:pt idx="14708">
                  <c:v>592</c:v>
                </c:pt>
                <c:pt idx="14709">
                  <c:v>559</c:v>
                </c:pt>
                <c:pt idx="14710">
                  <c:v>579</c:v>
                </c:pt>
                <c:pt idx="14711">
                  <c:v>641</c:v>
                </c:pt>
                <c:pt idx="14712">
                  <c:v>499</c:v>
                </c:pt>
                <c:pt idx="14713">
                  <c:v>628</c:v>
                </c:pt>
                <c:pt idx="14714">
                  <c:v>627</c:v>
                </c:pt>
                <c:pt idx="14715">
                  <c:v>659</c:v>
                </c:pt>
                <c:pt idx="14716">
                  <c:v>605</c:v>
                </c:pt>
                <c:pt idx="14717">
                  <c:v>564</c:v>
                </c:pt>
                <c:pt idx="14718">
                  <c:v>600</c:v>
                </c:pt>
                <c:pt idx="14719">
                  <c:v>542</c:v>
                </c:pt>
                <c:pt idx="14720">
                  <c:v>556</c:v>
                </c:pt>
                <c:pt idx="14721">
                  <c:v>571</c:v>
                </c:pt>
                <c:pt idx="14722">
                  <c:v>527</c:v>
                </c:pt>
                <c:pt idx="14723">
                  <c:v>519</c:v>
                </c:pt>
                <c:pt idx="14724">
                  <c:v>586</c:v>
                </c:pt>
                <c:pt idx="14725">
                  <c:v>384</c:v>
                </c:pt>
                <c:pt idx="14726">
                  <c:v>564</c:v>
                </c:pt>
                <c:pt idx="14727">
                  <c:v>538</c:v>
                </c:pt>
                <c:pt idx="14728">
                  <c:v>521</c:v>
                </c:pt>
                <c:pt idx="14729">
                  <c:v>550</c:v>
                </c:pt>
                <c:pt idx="14730">
                  <c:v>464</c:v>
                </c:pt>
                <c:pt idx="14731">
                  <c:v>649</c:v>
                </c:pt>
                <c:pt idx="14732">
                  <c:v>474</c:v>
                </c:pt>
                <c:pt idx="14733">
                  <c:v>548</c:v>
                </c:pt>
                <c:pt idx="14734">
                  <c:v>468</c:v>
                </c:pt>
                <c:pt idx="14735">
                  <c:v>611</c:v>
                </c:pt>
                <c:pt idx="14736">
                  <c:v>513</c:v>
                </c:pt>
                <c:pt idx="14737">
                  <c:v>466</c:v>
                </c:pt>
                <c:pt idx="14738">
                  <c:v>427</c:v>
                </c:pt>
                <c:pt idx="14739">
                  <c:v>510</c:v>
                </c:pt>
                <c:pt idx="14740">
                  <c:v>507</c:v>
                </c:pt>
                <c:pt idx="14741">
                  <c:v>459</c:v>
                </c:pt>
                <c:pt idx="14742">
                  <c:v>501</c:v>
                </c:pt>
                <c:pt idx="14743">
                  <c:v>428</c:v>
                </c:pt>
                <c:pt idx="14744">
                  <c:v>445</c:v>
                </c:pt>
                <c:pt idx="14745">
                  <c:v>402</c:v>
                </c:pt>
                <c:pt idx="14746">
                  <c:v>482</c:v>
                </c:pt>
                <c:pt idx="14747">
                  <c:v>501</c:v>
                </c:pt>
                <c:pt idx="14748">
                  <c:v>479</c:v>
                </c:pt>
                <c:pt idx="14749">
                  <c:v>454</c:v>
                </c:pt>
                <c:pt idx="14750">
                  <c:v>475</c:v>
                </c:pt>
                <c:pt idx="14751">
                  <c:v>722</c:v>
                </c:pt>
                <c:pt idx="14752">
                  <c:v>701</c:v>
                </c:pt>
                <c:pt idx="14753">
                  <c:v>657</c:v>
                </c:pt>
                <c:pt idx="14754">
                  <c:v>538</c:v>
                </c:pt>
                <c:pt idx="14755">
                  <c:v>567</c:v>
                </c:pt>
                <c:pt idx="14756">
                  <c:v>550</c:v>
                </c:pt>
                <c:pt idx="14757">
                  <c:v>633</c:v>
                </c:pt>
                <c:pt idx="14758">
                  <c:v>559</c:v>
                </c:pt>
                <c:pt idx="14759">
                  <c:v>579</c:v>
                </c:pt>
                <c:pt idx="14760">
                  <c:v>645</c:v>
                </c:pt>
                <c:pt idx="14761">
                  <c:v>748</c:v>
                </c:pt>
                <c:pt idx="14762">
                  <c:v>586</c:v>
                </c:pt>
                <c:pt idx="14763">
                  <c:v>645</c:v>
                </c:pt>
                <c:pt idx="14764">
                  <c:v>748</c:v>
                </c:pt>
                <c:pt idx="14765">
                  <c:v>605</c:v>
                </c:pt>
                <c:pt idx="14766">
                  <c:v>645</c:v>
                </c:pt>
                <c:pt idx="14767">
                  <c:v>693</c:v>
                </c:pt>
                <c:pt idx="14768">
                  <c:v>580</c:v>
                </c:pt>
                <c:pt idx="14769">
                  <c:v>655</c:v>
                </c:pt>
                <c:pt idx="14770">
                  <c:v>656</c:v>
                </c:pt>
                <c:pt idx="14771">
                  <c:v>656</c:v>
                </c:pt>
                <c:pt idx="14772">
                  <c:v>735</c:v>
                </c:pt>
                <c:pt idx="14773">
                  <c:v>798</c:v>
                </c:pt>
                <c:pt idx="14774">
                  <c:v>690</c:v>
                </c:pt>
                <c:pt idx="14775">
                  <c:v>685</c:v>
                </c:pt>
                <c:pt idx="14776">
                  <c:v>637</c:v>
                </c:pt>
                <c:pt idx="14777">
                  <c:v>598</c:v>
                </c:pt>
                <c:pt idx="14778">
                  <c:v>657</c:v>
                </c:pt>
                <c:pt idx="14779">
                  <c:v>613</c:v>
                </c:pt>
                <c:pt idx="14780">
                  <c:v>560</c:v>
                </c:pt>
                <c:pt idx="14781">
                  <c:v>654</c:v>
                </c:pt>
                <c:pt idx="14782">
                  <c:v>680</c:v>
                </c:pt>
                <c:pt idx="14783">
                  <c:v>527</c:v>
                </c:pt>
                <c:pt idx="14784">
                  <c:v>610</c:v>
                </c:pt>
                <c:pt idx="14785">
                  <c:v>554</c:v>
                </c:pt>
                <c:pt idx="14786">
                  <c:v>561</c:v>
                </c:pt>
                <c:pt idx="14787">
                  <c:v>604</c:v>
                </c:pt>
                <c:pt idx="14788">
                  <c:v>586</c:v>
                </c:pt>
                <c:pt idx="14789">
                  <c:v>593</c:v>
                </c:pt>
                <c:pt idx="14790">
                  <c:v>562</c:v>
                </c:pt>
                <c:pt idx="14791">
                  <c:v>618</c:v>
                </c:pt>
                <c:pt idx="14792">
                  <c:v>597</c:v>
                </c:pt>
                <c:pt idx="14793">
                  <c:v>735</c:v>
                </c:pt>
                <c:pt idx="14794">
                  <c:v>663</c:v>
                </c:pt>
                <c:pt idx="14795">
                  <c:v>677</c:v>
                </c:pt>
                <c:pt idx="14796">
                  <c:v>662</c:v>
                </c:pt>
                <c:pt idx="14797">
                  <c:v>724</c:v>
                </c:pt>
                <c:pt idx="14798">
                  <c:v>673</c:v>
                </c:pt>
                <c:pt idx="14799">
                  <c:v>519</c:v>
                </c:pt>
                <c:pt idx="14800">
                  <c:v>639</c:v>
                </c:pt>
                <c:pt idx="14801">
                  <c:v>501</c:v>
                </c:pt>
                <c:pt idx="14802">
                  <c:v>657</c:v>
                </c:pt>
                <c:pt idx="14803">
                  <c:v>493</c:v>
                </c:pt>
                <c:pt idx="14804">
                  <c:v>694</c:v>
                </c:pt>
                <c:pt idx="14805">
                  <c:v>563</c:v>
                </c:pt>
                <c:pt idx="14806">
                  <c:v>624</c:v>
                </c:pt>
                <c:pt idx="14807">
                  <c:v>619</c:v>
                </c:pt>
                <c:pt idx="14808">
                  <c:v>657</c:v>
                </c:pt>
                <c:pt idx="14809">
                  <c:v>562</c:v>
                </c:pt>
                <c:pt idx="14810">
                  <c:v>491</c:v>
                </c:pt>
                <c:pt idx="14811">
                  <c:v>597</c:v>
                </c:pt>
                <c:pt idx="14812">
                  <c:v>688</c:v>
                </c:pt>
                <c:pt idx="14813">
                  <c:v>603</c:v>
                </c:pt>
                <c:pt idx="14814">
                  <c:v>487</c:v>
                </c:pt>
                <c:pt idx="14815">
                  <c:v>498</c:v>
                </c:pt>
                <c:pt idx="14816">
                  <c:v>501</c:v>
                </c:pt>
                <c:pt idx="14817">
                  <c:v>468</c:v>
                </c:pt>
                <c:pt idx="14818">
                  <c:v>520</c:v>
                </c:pt>
                <c:pt idx="14819">
                  <c:v>565</c:v>
                </c:pt>
                <c:pt idx="14820">
                  <c:v>513</c:v>
                </c:pt>
                <c:pt idx="14821">
                  <c:v>545</c:v>
                </c:pt>
                <c:pt idx="14822">
                  <c:v>489</c:v>
                </c:pt>
                <c:pt idx="14823">
                  <c:v>492</c:v>
                </c:pt>
                <c:pt idx="14824">
                  <c:v>451</c:v>
                </c:pt>
                <c:pt idx="14825">
                  <c:v>454</c:v>
                </c:pt>
                <c:pt idx="14826">
                  <c:v>536</c:v>
                </c:pt>
                <c:pt idx="14827">
                  <c:v>509</c:v>
                </c:pt>
                <c:pt idx="14828">
                  <c:v>539</c:v>
                </c:pt>
                <c:pt idx="14829">
                  <c:v>511</c:v>
                </c:pt>
                <c:pt idx="14830">
                  <c:v>459</c:v>
                </c:pt>
                <c:pt idx="14831">
                  <c:v>504</c:v>
                </c:pt>
                <c:pt idx="14832">
                  <c:v>483</c:v>
                </c:pt>
                <c:pt idx="14833">
                  <c:v>456</c:v>
                </c:pt>
                <c:pt idx="14834">
                  <c:v>434</c:v>
                </c:pt>
                <c:pt idx="14835">
                  <c:v>447</c:v>
                </c:pt>
                <c:pt idx="14836">
                  <c:v>399</c:v>
                </c:pt>
                <c:pt idx="14837">
                  <c:v>447</c:v>
                </c:pt>
                <c:pt idx="14838">
                  <c:v>453</c:v>
                </c:pt>
                <c:pt idx="14839">
                  <c:v>430</c:v>
                </c:pt>
                <c:pt idx="14840">
                  <c:v>423</c:v>
                </c:pt>
                <c:pt idx="14841">
                  <c:v>417</c:v>
                </c:pt>
                <c:pt idx="14842">
                  <c:v>463</c:v>
                </c:pt>
                <c:pt idx="14843">
                  <c:v>511</c:v>
                </c:pt>
                <c:pt idx="14844">
                  <c:v>497</c:v>
                </c:pt>
                <c:pt idx="14845">
                  <c:v>499</c:v>
                </c:pt>
                <c:pt idx="14846">
                  <c:v>491</c:v>
                </c:pt>
                <c:pt idx="14847">
                  <c:v>471</c:v>
                </c:pt>
                <c:pt idx="14848">
                  <c:v>421</c:v>
                </c:pt>
                <c:pt idx="14849">
                  <c:v>416</c:v>
                </c:pt>
                <c:pt idx="14850">
                  <c:v>487</c:v>
                </c:pt>
                <c:pt idx="14851">
                  <c:v>510</c:v>
                </c:pt>
                <c:pt idx="14852">
                  <c:v>539</c:v>
                </c:pt>
                <c:pt idx="14853">
                  <c:v>544</c:v>
                </c:pt>
                <c:pt idx="14854">
                  <c:v>531</c:v>
                </c:pt>
                <c:pt idx="14855">
                  <c:v>649</c:v>
                </c:pt>
                <c:pt idx="14856">
                  <c:v>616</c:v>
                </c:pt>
                <c:pt idx="14857">
                  <c:v>567</c:v>
                </c:pt>
                <c:pt idx="14858">
                  <c:v>601</c:v>
                </c:pt>
                <c:pt idx="14859">
                  <c:v>619</c:v>
                </c:pt>
                <c:pt idx="14860">
                  <c:v>616</c:v>
                </c:pt>
                <c:pt idx="14861">
                  <c:v>644</c:v>
                </c:pt>
                <c:pt idx="14862">
                  <c:v>641</c:v>
                </c:pt>
                <c:pt idx="14863">
                  <c:v>791</c:v>
                </c:pt>
                <c:pt idx="14864">
                  <c:v>769</c:v>
                </c:pt>
                <c:pt idx="14865">
                  <c:v>810</c:v>
                </c:pt>
                <c:pt idx="14866">
                  <c:v>817</c:v>
                </c:pt>
                <c:pt idx="14867">
                  <c:v>736</c:v>
                </c:pt>
                <c:pt idx="14868">
                  <c:v>809</c:v>
                </c:pt>
                <c:pt idx="14869">
                  <c:v>743</c:v>
                </c:pt>
                <c:pt idx="14870">
                  <c:v>737</c:v>
                </c:pt>
                <c:pt idx="14871">
                  <c:v>758</c:v>
                </c:pt>
                <c:pt idx="14872">
                  <c:v>747</c:v>
                </c:pt>
                <c:pt idx="14873">
                  <c:v>774</c:v>
                </c:pt>
                <c:pt idx="14874">
                  <c:v>737</c:v>
                </c:pt>
                <c:pt idx="14875">
                  <c:v>793</c:v>
                </c:pt>
                <c:pt idx="14876">
                  <c:v>766</c:v>
                </c:pt>
                <c:pt idx="14877">
                  <c:v>812</c:v>
                </c:pt>
                <c:pt idx="14878">
                  <c:v>860</c:v>
                </c:pt>
                <c:pt idx="14879">
                  <c:v>828</c:v>
                </c:pt>
                <c:pt idx="14880">
                  <c:v>796</c:v>
                </c:pt>
                <c:pt idx="14881">
                  <c:v>817</c:v>
                </c:pt>
                <c:pt idx="14882">
                  <c:v>743</c:v>
                </c:pt>
                <c:pt idx="14883">
                  <c:v>762</c:v>
                </c:pt>
                <c:pt idx="14884">
                  <c:v>762</c:v>
                </c:pt>
                <c:pt idx="14885">
                  <c:v>714</c:v>
                </c:pt>
                <c:pt idx="14886">
                  <c:v>742</c:v>
                </c:pt>
                <c:pt idx="14887">
                  <c:v>764</c:v>
                </c:pt>
                <c:pt idx="14888">
                  <c:v>774</c:v>
                </c:pt>
                <c:pt idx="14889">
                  <c:v>668</c:v>
                </c:pt>
                <c:pt idx="14890">
                  <c:v>710</c:v>
                </c:pt>
                <c:pt idx="14891">
                  <c:v>720</c:v>
                </c:pt>
                <c:pt idx="14892">
                  <c:v>740</c:v>
                </c:pt>
                <c:pt idx="14893">
                  <c:v>742</c:v>
                </c:pt>
                <c:pt idx="14894">
                  <c:v>749</c:v>
                </c:pt>
                <c:pt idx="14895">
                  <c:v>842</c:v>
                </c:pt>
                <c:pt idx="14896">
                  <c:v>768</c:v>
                </c:pt>
                <c:pt idx="14897">
                  <c:v>763</c:v>
                </c:pt>
                <c:pt idx="14898">
                  <c:v>728</c:v>
                </c:pt>
                <c:pt idx="14899">
                  <c:v>747</c:v>
                </c:pt>
                <c:pt idx="14900">
                  <c:v>690</c:v>
                </c:pt>
                <c:pt idx="14901">
                  <c:v>777</c:v>
                </c:pt>
                <c:pt idx="14902">
                  <c:v>854</c:v>
                </c:pt>
                <c:pt idx="14903">
                  <c:v>674</c:v>
                </c:pt>
                <c:pt idx="14904">
                  <c:v>763</c:v>
                </c:pt>
                <c:pt idx="14905">
                  <c:v>751</c:v>
                </c:pt>
                <c:pt idx="14906">
                  <c:v>764</c:v>
                </c:pt>
                <c:pt idx="14907">
                  <c:v>563</c:v>
                </c:pt>
                <c:pt idx="14908">
                  <c:v>806</c:v>
                </c:pt>
                <c:pt idx="14909">
                  <c:v>701</c:v>
                </c:pt>
                <c:pt idx="14910">
                  <c:v>667</c:v>
                </c:pt>
                <c:pt idx="14911">
                  <c:v>698</c:v>
                </c:pt>
                <c:pt idx="14912">
                  <c:v>553</c:v>
                </c:pt>
                <c:pt idx="14913">
                  <c:v>681</c:v>
                </c:pt>
                <c:pt idx="14914">
                  <c:v>617</c:v>
                </c:pt>
                <c:pt idx="14915">
                  <c:v>739</c:v>
                </c:pt>
                <c:pt idx="14916">
                  <c:v>667</c:v>
                </c:pt>
                <c:pt idx="14917">
                  <c:v>542</c:v>
                </c:pt>
                <c:pt idx="14918">
                  <c:v>658</c:v>
                </c:pt>
                <c:pt idx="14919">
                  <c:v>605</c:v>
                </c:pt>
                <c:pt idx="14920">
                  <c:v>527</c:v>
                </c:pt>
                <c:pt idx="14921">
                  <c:v>593</c:v>
                </c:pt>
                <c:pt idx="14922">
                  <c:v>548</c:v>
                </c:pt>
                <c:pt idx="14923">
                  <c:v>541</c:v>
                </c:pt>
                <c:pt idx="14924">
                  <c:v>436</c:v>
                </c:pt>
                <c:pt idx="14925">
                  <c:v>478</c:v>
                </c:pt>
                <c:pt idx="14926">
                  <c:v>518</c:v>
                </c:pt>
                <c:pt idx="14927">
                  <c:v>429</c:v>
                </c:pt>
                <c:pt idx="14928">
                  <c:v>523</c:v>
                </c:pt>
                <c:pt idx="14929">
                  <c:v>560</c:v>
                </c:pt>
                <c:pt idx="14930">
                  <c:v>494</c:v>
                </c:pt>
                <c:pt idx="14931">
                  <c:v>542</c:v>
                </c:pt>
                <c:pt idx="14932">
                  <c:v>549</c:v>
                </c:pt>
                <c:pt idx="14933">
                  <c:v>535</c:v>
                </c:pt>
                <c:pt idx="14934">
                  <c:v>480</c:v>
                </c:pt>
                <c:pt idx="14935">
                  <c:v>497</c:v>
                </c:pt>
                <c:pt idx="14936">
                  <c:v>469</c:v>
                </c:pt>
                <c:pt idx="14937">
                  <c:v>479</c:v>
                </c:pt>
                <c:pt idx="14938">
                  <c:v>529</c:v>
                </c:pt>
                <c:pt idx="14939">
                  <c:v>656</c:v>
                </c:pt>
                <c:pt idx="14940">
                  <c:v>653</c:v>
                </c:pt>
                <c:pt idx="14941">
                  <c:v>770</c:v>
                </c:pt>
                <c:pt idx="14942">
                  <c:v>675</c:v>
                </c:pt>
                <c:pt idx="14943">
                  <c:v>721</c:v>
                </c:pt>
                <c:pt idx="14944">
                  <c:v>703</c:v>
                </c:pt>
                <c:pt idx="14945">
                  <c:v>764</c:v>
                </c:pt>
                <c:pt idx="14946">
                  <c:v>760</c:v>
                </c:pt>
                <c:pt idx="14947">
                  <c:v>742</c:v>
                </c:pt>
                <c:pt idx="14948">
                  <c:v>727</c:v>
                </c:pt>
                <c:pt idx="14949">
                  <c:v>843</c:v>
                </c:pt>
                <c:pt idx="14950">
                  <c:v>769</c:v>
                </c:pt>
                <c:pt idx="14951">
                  <c:v>801</c:v>
                </c:pt>
                <c:pt idx="14952">
                  <c:v>808</c:v>
                </c:pt>
                <c:pt idx="14953">
                  <c:v>777</c:v>
                </c:pt>
                <c:pt idx="14954">
                  <c:v>806</c:v>
                </c:pt>
                <c:pt idx="14955">
                  <c:v>873</c:v>
                </c:pt>
                <c:pt idx="14956">
                  <c:v>866</c:v>
                </c:pt>
                <c:pt idx="14957">
                  <c:v>829</c:v>
                </c:pt>
                <c:pt idx="14958">
                  <c:v>845</c:v>
                </c:pt>
                <c:pt idx="14959">
                  <c:v>824</c:v>
                </c:pt>
                <c:pt idx="14960">
                  <c:v>816</c:v>
                </c:pt>
                <c:pt idx="14961">
                  <c:v>843</c:v>
                </c:pt>
                <c:pt idx="14962">
                  <c:v>818</c:v>
                </c:pt>
                <c:pt idx="14963">
                  <c:v>853</c:v>
                </c:pt>
                <c:pt idx="14964">
                  <c:v>863</c:v>
                </c:pt>
                <c:pt idx="14965">
                  <c:v>841</c:v>
                </c:pt>
                <c:pt idx="14966">
                  <c:v>858</c:v>
                </c:pt>
                <c:pt idx="14967">
                  <c:v>837</c:v>
                </c:pt>
                <c:pt idx="14968">
                  <c:v>798</c:v>
                </c:pt>
                <c:pt idx="14969">
                  <c:v>851</c:v>
                </c:pt>
                <c:pt idx="14970">
                  <c:v>788</c:v>
                </c:pt>
                <c:pt idx="14971">
                  <c:v>820</c:v>
                </c:pt>
                <c:pt idx="14972">
                  <c:v>823</c:v>
                </c:pt>
                <c:pt idx="14973">
                  <c:v>806</c:v>
                </c:pt>
                <c:pt idx="14974">
                  <c:v>798</c:v>
                </c:pt>
                <c:pt idx="14975">
                  <c:v>842</c:v>
                </c:pt>
                <c:pt idx="14976">
                  <c:v>859</c:v>
                </c:pt>
                <c:pt idx="14977">
                  <c:v>814</c:v>
                </c:pt>
                <c:pt idx="14978">
                  <c:v>835</c:v>
                </c:pt>
                <c:pt idx="14979">
                  <c:v>814</c:v>
                </c:pt>
                <c:pt idx="14980">
                  <c:v>781</c:v>
                </c:pt>
                <c:pt idx="14981">
                  <c:v>789</c:v>
                </c:pt>
                <c:pt idx="14982">
                  <c:v>765</c:v>
                </c:pt>
                <c:pt idx="14983">
                  <c:v>799</c:v>
                </c:pt>
                <c:pt idx="14984">
                  <c:v>823</c:v>
                </c:pt>
                <c:pt idx="14985">
                  <c:v>825</c:v>
                </c:pt>
                <c:pt idx="14986">
                  <c:v>789</c:v>
                </c:pt>
                <c:pt idx="14987">
                  <c:v>745</c:v>
                </c:pt>
                <c:pt idx="14988">
                  <c:v>737</c:v>
                </c:pt>
                <c:pt idx="14989">
                  <c:v>764</c:v>
                </c:pt>
                <c:pt idx="14990">
                  <c:v>768</c:v>
                </c:pt>
                <c:pt idx="14991">
                  <c:v>749</c:v>
                </c:pt>
                <c:pt idx="14992">
                  <c:v>714</c:v>
                </c:pt>
                <c:pt idx="14993">
                  <c:v>779</c:v>
                </c:pt>
                <c:pt idx="14994">
                  <c:v>712</c:v>
                </c:pt>
                <c:pt idx="14995">
                  <c:v>713</c:v>
                </c:pt>
                <c:pt idx="14996">
                  <c:v>736</c:v>
                </c:pt>
                <c:pt idx="14997">
                  <c:v>692</c:v>
                </c:pt>
                <c:pt idx="14998">
                  <c:v>613</c:v>
                </c:pt>
                <c:pt idx="14999">
                  <c:v>516</c:v>
                </c:pt>
                <c:pt idx="15000">
                  <c:v>585</c:v>
                </c:pt>
                <c:pt idx="15001">
                  <c:v>602</c:v>
                </c:pt>
                <c:pt idx="15002">
                  <c:v>550</c:v>
                </c:pt>
                <c:pt idx="15003">
                  <c:v>614</c:v>
                </c:pt>
                <c:pt idx="15004">
                  <c:v>695</c:v>
                </c:pt>
                <c:pt idx="15005">
                  <c:v>527</c:v>
                </c:pt>
                <c:pt idx="15006">
                  <c:v>645</c:v>
                </c:pt>
                <c:pt idx="15007">
                  <c:v>560</c:v>
                </c:pt>
                <c:pt idx="15008">
                  <c:v>595</c:v>
                </c:pt>
                <c:pt idx="15009">
                  <c:v>621</c:v>
                </c:pt>
                <c:pt idx="15010">
                  <c:v>516</c:v>
                </c:pt>
                <c:pt idx="15011">
                  <c:v>525</c:v>
                </c:pt>
                <c:pt idx="15012">
                  <c:v>485</c:v>
                </c:pt>
                <c:pt idx="15013">
                  <c:v>470</c:v>
                </c:pt>
                <c:pt idx="15014">
                  <c:v>501</c:v>
                </c:pt>
                <c:pt idx="15015">
                  <c:v>430</c:v>
                </c:pt>
                <c:pt idx="15016">
                  <c:v>476</c:v>
                </c:pt>
                <c:pt idx="15017">
                  <c:v>527</c:v>
                </c:pt>
                <c:pt idx="15018">
                  <c:v>553</c:v>
                </c:pt>
                <c:pt idx="15019">
                  <c:v>446</c:v>
                </c:pt>
                <c:pt idx="15020">
                  <c:v>441</c:v>
                </c:pt>
                <c:pt idx="15021">
                  <c:v>393</c:v>
                </c:pt>
                <c:pt idx="15022">
                  <c:v>413</c:v>
                </c:pt>
                <c:pt idx="15023">
                  <c:v>402</c:v>
                </c:pt>
                <c:pt idx="15024">
                  <c:v>413</c:v>
                </c:pt>
                <c:pt idx="15025">
                  <c:v>584</c:v>
                </c:pt>
                <c:pt idx="15026">
                  <c:v>497</c:v>
                </c:pt>
                <c:pt idx="15027">
                  <c:v>542</c:v>
                </c:pt>
                <c:pt idx="15028">
                  <c:v>503</c:v>
                </c:pt>
                <c:pt idx="15029">
                  <c:v>522</c:v>
                </c:pt>
                <c:pt idx="15030">
                  <c:v>471</c:v>
                </c:pt>
                <c:pt idx="15031">
                  <c:v>421</c:v>
                </c:pt>
                <c:pt idx="15032">
                  <c:v>672</c:v>
                </c:pt>
                <c:pt idx="15033">
                  <c:v>447</c:v>
                </c:pt>
                <c:pt idx="15034">
                  <c:v>374</c:v>
                </c:pt>
                <c:pt idx="15035">
                  <c:v>528</c:v>
                </c:pt>
                <c:pt idx="15036">
                  <c:v>600</c:v>
                </c:pt>
                <c:pt idx="15037">
                  <c:v>593</c:v>
                </c:pt>
                <c:pt idx="15038">
                  <c:v>532</c:v>
                </c:pt>
                <c:pt idx="15039">
                  <c:v>610</c:v>
                </c:pt>
                <c:pt idx="15040">
                  <c:v>537</c:v>
                </c:pt>
                <c:pt idx="15041">
                  <c:v>611</c:v>
                </c:pt>
                <c:pt idx="15042">
                  <c:v>651</c:v>
                </c:pt>
                <c:pt idx="15043">
                  <c:v>650</c:v>
                </c:pt>
                <c:pt idx="15044">
                  <c:v>616</c:v>
                </c:pt>
                <c:pt idx="15045">
                  <c:v>600</c:v>
                </c:pt>
                <c:pt idx="15046">
                  <c:v>672</c:v>
                </c:pt>
                <c:pt idx="15047">
                  <c:v>705</c:v>
                </c:pt>
                <c:pt idx="15048">
                  <c:v>681</c:v>
                </c:pt>
                <c:pt idx="15049">
                  <c:v>803</c:v>
                </c:pt>
                <c:pt idx="15050">
                  <c:v>835</c:v>
                </c:pt>
                <c:pt idx="15051">
                  <c:v>806</c:v>
                </c:pt>
                <c:pt idx="15052">
                  <c:v>822</c:v>
                </c:pt>
                <c:pt idx="15053">
                  <c:v>821</c:v>
                </c:pt>
                <c:pt idx="15054">
                  <c:v>825</c:v>
                </c:pt>
                <c:pt idx="15055">
                  <c:v>850</c:v>
                </c:pt>
                <c:pt idx="15056">
                  <c:v>824</c:v>
                </c:pt>
                <c:pt idx="15057">
                  <c:v>835</c:v>
                </c:pt>
                <c:pt idx="15058">
                  <c:v>851</c:v>
                </c:pt>
                <c:pt idx="15059">
                  <c:v>854</c:v>
                </c:pt>
                <c:pt idx="15060">
                  <c:v>830</c:v>
                </c:pt>
                <c:pt idx="15061">
                  <c:v>864</c:v>
                </c:pt>
                <c:pt idx="15062">
                  <c:v>866</c:v>
                </c:pt>
                <c:pt idx="15063">
                  <c:v>913</c:v>
                </c:pt>
                <c:pt idx="15064">
                  <c:v>871</c:v>
                </c:pt>
                <c:pt idx="15065">
                  <c:v>864</c:v>
                </c:pt>
                <c:pt idx="15066">
                  <c:v>862</c:v>
                </c:pt>
                <c:pt idx="15067">
                  <c:v>877</c:v>
                </c:pt>
                <c:pt idx="15068">
                  <c:v>901</c:v>
                </c:pt>
                <c:pt idx="15069">
                  <c:v>869</c:v>
                </c:pt>
                <c:pt idx="15070">
                  <c:v>851</c:v>
                </c:pt>
                <c:pt idx="15071">
                  <c:v>809</c:v>
                </c:pt>
                <c:pt idx="15072">
                  <c:v>892</c:v>
                </c:pt>
                <c:pt idx="15073">
                  <c:v>930</c:v>
                </c:pt>
                <c:pt idx="15074">
                  <c:v>869</c:v>
                </c:pt>
                <c:pt idx="15075">
                  <c:v>869</c:v>
                </c:pt>
                <c:pt idx="15076">
                  <c:v>878</c:v>
                </c:pt>
                <c:pt idx="15077">
                  <c:v>912</c:v>
                </c:pt>
                <c:pt idx="15078">
                  <c:v>916</c:v>
                </c:pt>
                <c:pt idx="15079">
                  <c:v>905</c:v>
                </c:pt>
                <c:pt idx="15080">
                  <c:v>854</c:v>
                </c:pt>
                <c:pt idx="15081">
                  <c:v>844</c:v>
                </c:pt>
                <c:pt idx="15082">
                  <c:v>792</c:v>
                </c:pt>
                <c:pt idx="15083">
                  <c:v>830</c:v>
                </c:pt>
                <c:pt idx="15084">
                  <c:v>826</c:v>
                </c:pt>
                <c:pt idx="15085">
                  <c:v>794</c:v>
                </c:pt>
                <c:pt idx="15086">
                  <c:v>748</c:v>
                </c:pt>
                <c:pt idx="15087">
                  <c:v>756</c:v>
                </c:pt>
                <c:pt idx="15088">
                  <c:v>756</c:v>
                </c:pt>
                <c:pt idx="15089">
                  <c:v>703</c:v>
                </c:pt>
                <c:pt idx="15090">
                  <c:v>760</c:v>
                </c:pt>
                <c:pt idx="15091">
                  <c:v>660</c:v>
                </c:pt>
                <c:pt idx="15092">
                  <c:v>649</c:v>
                </c:pt>
                <c:pt idx="15093">
                  <c:v>678</c:v>
                </c:pt>
                <c:pt idx="15094">
                  <c:v>627</c:v>
                </c:pt>
                <c:pt idx="15095">
                  <c:v>635</c:v>
                </c:pt>
                <c:pt idx="15096">
                  <c:v>655</c:v>
                </c:pt>
                <c:pt idx="15097">
                  <c:v>666</c:v>
                </c:pt>
                <c:pt idx="15098">
                  <c:v>556</c:v>
                </c:pt>
                <c:pt idx="15099">
                  <c:v>661</c:v>
                </c:pt>
                <c:pt idx="15100">
                  <c:v>625</c:v>
                </c:pt>
                <c:pt idx="15101">
                  <c:v>638</c:v>
                </c:pt>
                <c:pt idx="15102">
                  <c:v>569</c:v>
                </c:pt>
                <c:pt idx="15103">
                  <c:v>512</c:v>
                </c:pt>
                <c:pt idx="15104">
                  <c:v>540</c:v>
                </c:pt>
                <c:pt idx="15105">
                  <c:v>636</c:v>
                </c:pt>
                <c:pt idx="15106">
                  <c:v>574</c:v>
                </c:pt>
                <c:pt idx="15107">
                  <c:v>535</c:v>
                </c:pt>
                <c:pt idx="15108">
                  <c:v>646</c:v>
                </c:pt>
                <c:pt idx="15109">
                  <c:v>497</c:v>
                </c:pt>
                <c:pt idx="15110">
                  <c:v>472</c:v>
                </c:pt>
                <c:pt idx="15111">
                  <c:v>539</c:v>
                </c:pt>
                <c:pt idx="15112">
                  <c:v>482</c:v>
                </c:pt>
                <c:pt idx="15113">
                  <c:v>510</c:v>
                </c:pt>
                <c:pt idx="15114">
                  <c:v>558</c:v>
                </c:pt>
                <c:pt idx="15115">
                  <c:v>473</c:v>
                </c:pt>
                <c:pt idx="15116">
                  <c:v>445</c:v>
                </c:pt>
                <c:pt idx="15117">
                  <c:v>430</c:v>
                </c:pt>
                <c:pt idx="15118">
                  <c:v>459</c:v>
                </c:pt>
                <c:pt idx="15119">
                  <c:v>477</c:v>
                </c:pt>
                <c:pt idx="15120">
                  <c:v>470</c:v>
                </c:pt>
                <c:pt idx="15121">
                  <c:v>559</c:v>
                </c:pt>
                <c:pt idx="15122">
                  <c:v>528</c:v>
                </c:pt>
                <c:pt idx="15123">
                  <c:v>429</c:v>
                </c:pt>
                <c:pt idx="15124">
                  <c:v>467</c:v>
                </c:pt>
                <c:pt idx="15125">
                  <c:v>430</c:v>
                </c:pt>
                <c:pt idx="15126">
                  <c:v>429</c:v>
                </c:pt>
                <c:pt idx="15127">
                  <c:v>491</c:v>
                </c:pt>
                <c:pt idx="15128">
                  <c:v>606</c:v>
                </c:pt>
                <c:pt idx="15129">
                  <c:v>425</c:v>
                </c:pt>
                <c:pt idx="15130">
                  <c:v>412</c:v>
                </c:pt>
                <c:pt idx="15131">
                  <c:v>495</c:v>
                </c:pt>
                <c:pt idx="15132">
                  <c:v>554</c:v>
                </c:pt>
                <c:pt idx="15133">
                  <c:v>627</c:v>
                </c:pt>
                <c:pt idx="15134">
                  <c:v>591</c:v>
                </c:pt>
                <c:pt idx="15135">
                  <c:v>630</c:v>
                </c:pt>
                <c:pt idx="15136">
                  <c:v>544</c:v>
                </c:pt>
                <c:pt idx="15137">
                  <c:v>562</c:v>
                </c:pt>
                <c:pt idx="15138">
                  <c:v>603</c:v>
                </c:pt>
                <c:pt idx="15139">
                  <c:v>604</c:v>
                </c:pt>
                <c:pt idx="15140">
                  <c:v>547</c:v>
                </c:pt>
                <c:pt idx="15141">
                  <c:v>604</c:v>
                </c:pt>
                <c:pt idx="15142">
                  <c:v>644</c:v>
                </c:pt>
                <c:pt idx="15143">
                  <c:v>638</c:v>
                </c:pt>
                <c:pt idx="15144">
                  <c:v>734</c:v>
                </c:pt>
                <c:pt idx="15145">
                  <c:v>762</c:v>
                </c:pt>
                <c:pt idx="15146">
                  <c:v>942</c:v>
                </c:pt>
                <c:pt idx="15147">
                  <c:v>856</c:v>
                </c:pt>
                <c:pt idx="15148">
                  <c:v>840</c:v>
                </c:pt>
                <c:pt idx="15149">
                  <c:v>867</c:v>
                </c:pt>
                <c:pt idx="15150">
                  <c:v>813</c:v>
                </c:pt>
                <c:pt idx="15151">
                  <c:v>869</c:v>
                </c:pt>
                <c:pt idx="15152">
                  <c:v>817</c:v>
                </c:pt>
                <c:pt idx="15153">
                  <c:v>761</c:v>
                </c:pt>
                <c:pt idx="15154">
                  <c:v>811</c:v>
                </c:pt>
                <c:pt idx="15155">
                  <c:v>835</c:v>
                </c:pt>
                <c:pt idx="15156">
                  <c:v>885</c:v>
                </c:pt>
                <c:pt idx="15157">
                  <c:v>973</c:v>
                </c:pt>
                <c:pt idx="15158">
                  <c:v>1230</c:v>
                </c:pt>
                <c:pt idx="15159">
                  <c:v>945</c:v>
                </c:pt>
                <c:pt idx="15160">
                  <c:v>862</c:v>
                </c:pt>
                <c:pt idx="15161">
                  <c:v>798</c:v>
                </c:pt>
                <c:pt idx="15162">
                  <c:v>818</c:v>
                </c:pt>
                <c:pt idx="15163">
                  <c:v>803</c:v>
                </c:pt>
                <c:pt idx="15164">
                  <c:v>848</c:v>
                </c:pt>
                <c:pt idx="15165">
                  <c:v>852</c:v>
                </c:pt>
                <c:pt idx="15166">
                  <c:v>826</c:v>
                </c:pt>
                <c:pt idx="15167">
                  <c:v>799</c:v>
                </c:pt>
                <c:pt idx="15168">
                  <c:v>843</c:v>
                </c:pt>
                <c:pt idx="15169">
                  <c:v>800</c:v>
                </c:pt>
                <c:pt idx="15170">
                  <c:v>826</c:v>
                </c:pt>
                <c:pt idx="15171">
                  <c:v>794</c:v>
                </c:pt>
                <c:pt idx="15172">
                  <c:v>839</c:v>
                </c:pt>
                <c:pt idx="15173">
                  <c:v>871</c:v>
                </c:pt>
                <c:pt idx="15174">
                  <c:v>859</c:v>
                </c:pt>
                <c:pt idx="15175">
                  <c:v>821</c:v>
                </c:pt>
                <c:pt idx="15176">
                  <c:v>785</c:v>
                </c:pt>
                <c:pt idx="15177">
                  <c:v>837</c:v>
                </c:pt>
                <c:pt idx="15178">
                  <c:v>769</c:v>
                </c:pt>
                <c:pt idx="15179">
                  <c:v>841</c:v>
                </c:pt>
                <c:pt idx="15180">
                  <c:v>768</c:v>
                </c:pt>
                <c:pt idx="15181">
                  <c:v>792</c:v>
                </c:pt>
                <c:pt idx="15182">
                  <c:v>801</c:v>
                </c:pt>
                <c:pt idx="15183">
                  <c:v>817</c:v>
                </c:pt>
                <c:pt idx="15184">
                  <c:v>776</c:v>
                </c:pt>
                <c:pt idx="15185">
                  <c:v>796</c:v>
                </c:pt>
                <c:pt idx="15186">
                  <c:v>804</c:v>
                </c:pt>
                <c:pt idx="15187">
                  <c:v>751</c:v>
                </c:pt>
                <c:pt idx="15188">
                  <c:v>763</c:v>
                </c:pt>
                <c:pt idx="15189">
                  <c:v>724</c:v>
                </c:pt>
                <c:pt idx="15190">
                  <c:v>569</c:v>
                </c:pt>
                <c:pt idx="15191">
                  <c:v>812</c:v>
                </c:pt>
                <c:pt idx="15192">
                  <c:v>681</c:v>
                </c:pt>
                <c:pt idx="15193">
                  <c:v>639</c:v>
                </c:pt>
                <c:pt idx="15194">
                  <c:v>725</c:v>
                </c:pt>
                <c:pt idx="15195">
                  <c:v>674</c:v>
                </c:pt>
                <c:pt idx="15196">
                  <c:v>668</c:v>
                </c:pt>
                <c:pt idx="15197">
                  <c:v>732</c:v>
                </c:pt>
                <c:pt idx="15198">
                  <c:v>553</c:v>
                </c:pt>
                <c:pt idx="15199">
                  <c:v>662</c:v>
                </c:pt>
                <c:pt idx="15200">
                  <c:v>613</c:v>
                </c:pt>
                <c:pt idx="15201">
                  <c:v>555</c:v>
                </c:pt>
                <c:pt idx="15202">
                  <c:v>639</c:v>
                </c:pt>
                <c:pt idx="15203">
                  <c:v>575</c:v>
                </c:pt>
                <c:pt idx="15204">
                  <c:v>618</c:v>
                </c:pt>
                <c:pt idx="15205">
                  <c:v>508</c:v>
                </c:pt>
                <c:pt idx="15206">
                  <c:v>536</c:v>
                </c:pt>
                <c:pt idx="15207">
                  <c:v>593</c:v>
                </c:pt>
                <c:pt idx="15208">
                  <c:v>495</c:v>
                </c:pt>
                <c:pt idx="15209">
                  <c:v>473</c:v>
                </c:pt>
                <c:pt idx="15210">
                  <c:v>531</c:v>
                </c:pt>
                <c:pt idx="15211">
                  <c:v>538</c:v>
                </c:pt>
                <c:pt idx="15212">
                  <c:v>519</c:v>
                </c:pt>
                <c:pt idx="15213">
                  <c:v>481</c:v>
                </c:pt>
                <c:pt idx="15214">
                  <c:v>471</c:v>
                </c:pt>
                <c:pt idx="15215">
                  <c:v>517</c:v>
                </c:pt>
                <c:pt idx="15216">
                  <c:v>554</c:v>
                </c:pt>
                <c:pt idx="15217">
                  <c:v>574</c:v>
                </c:pt>
                <c:pt idx="15218">
                  <c:v>484</c:v>
                </c:pt>
                <c:pt idx="15219">
                  <c:v>459</c:v>
                </c:pt>
                <c:pt idx="15220">
                  <c:v>431</c:v>
                </c:pt>
                <c:pt idx="15221">
                  <c:v>439</c:v>
                </c:pt>
                <c:pt idx="15222">
                  <c:v>447</c:v>
                </c:pt>
                <c:pt idx="15223">
                  <c:v>625</c:v>
                </c:pt>
                <c:pt idx="15224">
                  <c:v>607</c:v>
                </c:pt>
                <c:pt idx="15225">
                  <c:v>453</c:v>
                </c:pt>
                <c:pt idx="15226">
                  <c:v>522</c:v>
                </c:pt>
                <c:pt idx="15227">
                  <c:v>532</c:v>
                </c:pt>
                <c:pt idx="15228">
                  <c:v>611</c:v>
                </c:pt>
                <c:pt idx="15229">
                  <c:v>641</c:v>
                </c:pt>
                <c:pt idx="15230">
                  <c:v>595</c:v>
                </c:pt>
                <c:pt idx="15231">
                  <c:v>720</c:v>
                </c:pt>
                <c:pt idx="15232">
                  <c:v>608</c:v>
                </c:pt>
                <c:pt idx="15233">
                  <c:v>619</c:v>
                </c:pt>
                <c:pt idx="15234">
                  <c:v>488</c:v>
                </c:pt>
                <c:pt idx="15235">
                  <c:v>523</c:v>
                </c:pt>
                <c:pt idx="15236">
                  <c:v>676</c:v>
                </c:pt>
                <c:pt idx="15237">
                  <c:v>681</c:v>
                </c:pt>
                <c:pt idx="15238">
                  <c:v>599</c:v>
                </c:pt>
                <c:pt idx="15239">
                  <c:v>689</c:v>
                </c:pt>
                <c:pt idx="15240">
                  <c:v>736</c:v>
                </c:pt>
                <c:pt idx="15241">
                  <c:v>705</c:v>
                </c:pt>
                <c:pt idx="15242">
                  <c:v>794</c:v>
                </c:pt>
                <c:pt idx="15243">
                  <c:v>834</c:v>
                </c:pt>
                <c:pt idx="15244">
                  <c:v>825</c:v>
                </c:pt>
                <c:pt idx="15245">
                  <c:v>820</c:v>
                </c:pt>
                <c:pt idx="15246">
                  <c:v>809</c:v>
                </c:pt>
                <c:pt idx="15247">
                  <c:v>859</c:v>
                </c:pt>
                <c:pt idx="15248">
                  <c:v>839</c:v>
                </c:pt>
                <c:pt idx="15249">
                  <c:v>835</c:v>
                </c:pt>
                <c:pt idx="15250">
                  <c:v>846</c:v>
                </c:pt>
                <c:pt idx="15251">
                  <c:v>869</c:v>
                </c:pt>
                <c:pt idx="15252">
                  <c:v>856</c:v>
                </c:pt>
                <c:pt idx="15253">
                  <c:v>856</c:v>
                </c:pt>
                <c:pt idx="15254">
                  <c:v>833</c:v>
                </c:pt>
                <c:pt idx="15255">
                  <c:v>887</c:v>
                </c:pt>
                <c:pt idx="15256">
                  <c:v>918</c:v>
                </c:pt>
                <c:pt idx="15257">
                  <c:v>814</c:v>
                </c:pt>
                <c:pt idx="15258">
                  <c:v>820</c:v>
                </c:pt>
                <c:pt idx="15259">
                  <c:v>904</c:v>
                </c:pt>
                <c:pt idx="15260">
                  <c:v>854</c:v>
                </c:pt>
                <c:pt idx="15261">
                  <c:v>839</c:v>
                </c:pt>
                <c:pt idx="15262">
                  <c:v>861</c:v>
                </c:pt>
                <c:pt idx="15263">
                  <c:v>832</c:v>
                </c:pt>
                <c:pt idx="15264">
                  <c:v>833</c:v>
                </c:pt>
                <c:pt idx="15265">
                  <c:v>897</c:v>
                </c:pt>
                <c:pt idx="15266">
                  <c:v>862</c:v>
                </c:pt>
                <c:pt idx="15267">
                  <c:v>831</c:v>
                </c:pt>
                <c:pt idx="15268">
                  <c:v>830</c:v>
                </c:pt>
                <c:pt idx="15269">
                  <c:v>890</c:v>
                </c:pt>
                <c:pt idx="15270">
                  <c:v>817</c:v>
                </c:pt>
                <c:pt idx="15271">
                  <c:v>816</c:v>
                </c:pt>
                <c:pt idx="15272">
                  <c:v>797</c:v>
                </c:pt>
                <c:pt idx="15273">
                  <c:v>825</c:v>
                </c:pt>
                <c:pt idx="15274">
                  <c:v>729</c:v>
                </c:pt>
                <c:pt idx="15275">
                  <c:v>767</c:v>
                </c:pt>
                <c:pt idx="15276">
                  <c:v>777</c:v>
                </c:pt>
                <c:pt idx="15277">
                  <c:v>742</c:v>
                </c:pt>
                <c:pt idx="15278">
                  <c:v>756</c:v>
                </c:pt>
                <c:pt idx="15279">
                  <c:v>644</c:v>
                </c:pt>
                <c:pt idx="15280">
                  <c:v>676</c:v>
                </c:pt>
                <c:pt idx="15281">
                  <c:v>673</c:v>
                </c:pt>
                <c:pt idx="15282">
                  <c:v>677</c:v>
                </c:pt>
                <c:pt idx="15283">
                  <c:v>734</c:v>
                </c:pt>
                <c:pt idx="15284">
                  <c:v>608</c:v>
                </c:pt>
                <c:pt idx="15285">
                  <c:v>657</c:v>
                </c:pt>
                <c:pt idx="15286">
                  <c:v>568</c:v>
                </c:pt>
                <c:pt idx="15287">
                  <c:v>579</c:v>
                </c:pt>
                <c:pt idx="15288">
                  <c:v>623</c:v>
                </c:pt>
                <c:pt idx="15289">
                  <c:v>547</c:v>
                </c:pt>
                <c:pt idx="15290">
                  <c:v>576</c:v>
                </c:pt>
                <c:pt idx="15291">
                  <c:v>581</c:v>
                </c:pt>
                <c:pt idx="15292">
                  <c:v>615</c:v>
                </c:pt>
                <c:pt idx="15293">
                  <c:v>565</c:v>
                </c:pt>
                <c:pt idx="15294">
                  <c:v>513</c:v>
                </c:pt>
                <c:pt idx="15295">
                  <c:v>590</c:v>
                </c:pt>
                <c:pt idx="15296">
                  <c:v>584</c:v>
                </c:pt>
                <c:pt idx="15297">
                  <c:v>520</c:v>
                </c:pt>
                <c:pt idx="15298">
                  <c:v>621</c:v>
                </c:pt>
                <c:pt idx="15299">
                  <c:v>512</c:v>
                </c:pt>
                <c:pt idx="15300">
                  <c:v>413</c:v>
                </c:pt>
                <c:pt idx="15301">
                  <c:v>438</c:v>
                </c:pt>
                <c:pt idx="15302">
                  <c:v>443</c:v>
                </c:pt>
                <c:pt idx="15303">
                  <c:v>399</c:v>
                </c:pt>
                <c:pt idx="15304">
                  <c:v>488</c:v>
                </c:pt>
                <c:pt idx="15305">
                  <c:v>455</c:v>
                </c:pt>
                <c:pt idx="15306">
                  <c:v>412</c:v>
                </c:pt>
                <c:pt idx="15307">
                  <c:v>426</c:v>
                </c:pt>
                <c:pt idx="15308">
                  <c:v>408</c:v>
                </c:pt>
                <c:pt idx="15309">
                  <c:v>415</c:v>
                </c:pt>
                <c:pt idx="15310">
                  <c:v>470</c:v>
                </c:pt>
                <c:pt idx="15311">
                  <c:v>365</c:v>
                </c:pt>
                <c:pt idx="15312">
                  <c:v>375</c:v>
                </c:pt>
                <c:pt idx="15313">
                  <c:v>556</c:v>
                </c:pt>
                <c:pt idx="15314">
                  <c:v>650</c:v>
                </c:pt>
                <c:pt idx="15315">
                  <c:v>445</c:v>
                </c:pt>
                <c:pt idx="15316">
                  <c:v>449</c:v>
                </c:pt>
                <c:pt idx="15317">
                  <c:v>433</c:v>
                </c:pt>
                <c:pt idx="15318">
                  <c:v>508</c:v>
                </c:pt>
                <c:pt idx="15319">
                  <c:v>456</c:v>
                </c:pt>
                <c:pt idx="15320">
                  <c:v>606</c:v>
                </c:pt>
                <c:pt idx="15321">
                  <c:v>469</c:v>
                </c:pt>
                <c:pt idx="15322">
                  <c:v>449</c:v>
                </c:pt>
                <c:pt idx="15323">
                  <c:v>494</c:v>
                </c:pt>
                <c:pt idx="15324">
                  <c:v>571</c:v>
                </c:pt>
                <c:pt idx="15325">
                  <c:v>595</c:v>
                </c:pt>
                <c:pt idx="15326">
                  <c:v>520</c:v>
                </c:pt>
                <c:pt idx="15327">
                  <c:v>623</c:v>
                </c:pt>
                <c:pt idx="15328">
                  <c:v>594</c:v>
                </c:pt>
                <c:pt idx="15329">
                  <c:v>592</c:v>
                </c:pt>
                <c:pt idx="15330">
                  <c:v>606</c:v>
                </c:pt>
                <c:pt idx="15331">
                  <c:v>589</c:v>
                </c:pt>
                <c:pt idx="15332">
                  <c:v>533</c:v>
                </c:pt>
                <c:pt idx="15333">
                  <c:v>642</c:v>
                </c:pt>
                <c:pt idx="15334">
                  <c:v>639</c:v>
                </c:pt>
                <c:pt idx="15335">
                  <c:v>625</c:v>
                </c:pt>
                <c:pt idx="15336">
                  <c:v>704</c:v>
                </c:pt>
                <c:pt idx="15337">
                  <c:v>790</c:v>
                </c:pt>
                <c:pt idx="15338">
                  <c:v>810</c:v>
                </c:pt>
                <c:pt idx="15339">
                  <c:v>837</c:v>
                </c:pt>
                <c:pt idx="15340">
                  <c:v>832</c:v>
                </c:pt>
                <c:pt idx="15341">
                  <c:v>861</c:v>
                </c:pt>
                <c:pt idx="15342">
                  <c:v>830</c:v>
                </c:pt>
                <c:pt idx="15343">
                  <c:v>828</c:v>
                </c:pt>
                <c:pt idx="15344">
                  <c:v>853</c:v>
                </c:pt>
                <c:pt idx="15345">
                  <c:v>893</c:v>
                </c:pt>
                <c:pt idx="15346">
                  <c:v>843</c:v>
                </c:pt>
                <c:pt idx="15347">
                  <c:v>831</c:v>
                </c:pt>
                <c:pt idx="15348">
                  <c:v>850</c:v>
                </c:pt>
                <c:pt idx="15349">
                  <c:v>815</c:v>
                </c:pt>
                <c:pt idx="15350">
                  <c:v>832</c:v>
                </c:pt>
                <c:pt idx="15351">
                  <c:v>908</c:v>
                </c:pt>
                <c:pt idx="15352">
                  <c:v>858</c:v>
                </c:pt>
                <c:pt idx="15353">
                  <c:v>824</c:v>
                </c:pt>
                <c:pt idx="15354">
                  <c:v>868</c:v>
                </c:pt>
                <c:pt idx="15355">
                  <c:v>869</c:v>
                </c:pt>
                <c:pt idx="15356">
                  <c:v>871</c:v>
                </c:pt>
                <c:pt idx="15357">
                  <c:v>905</c:v>
                </c:pt>
                <c:pt idx="15358">
                  <c:v>824</c:v>
                </c:pt>
                <c:pt idx="15359">
                  <c:v>823</c:v>
                </c:pt>
                <c:pt idx="15360">
                  <c:v>828</c:v>
                </c:pt>
                <c:pt idx="15361">
                  <c:v>872</c:v>
                </c:pt>
                <c:pt idx="15362">
                  <c:v>855</c:v>
                </c:pt>
                <c:pt idx="15363">
                  <c:v>890</c:v>
                </c:pt>
                <c:pt idx="15364">
                  <c:v>890</c:v>
                </c:pt>
                <c:pt idx="15365">
                  <c:v>878</c:v>
                </c:pt>
                <c:pt idx="15366">
                  <c:v>869</c:v>
                </c:pt>
                <c:pt idx="15367">
                  <c:v>876</c:v>
                </c:pt>
                <c:pt idx="15368">
                  <c:v>871</c:v>
                </c:pt>
                <c:pt idx="15369">
                  <c:v>842</c:v>
                </c:pt>
                <c:pt idx="15370">
                  <c:v>796</c:v>
                </c:pt>
                <c:pt idx="15371">
                  <c:v>795</c:v>
                </c:pt>
                <c:pt idx="15372">
                  <c:v>815</c:v>
                </c:pt>
                <c:pt idx="15373">
                  <c:v>701</c:v>
                </c:pt>
                <c:pt idx="15374">
                  <c:v>708</c:v>
                </c:pt>
                <c:pt idx="15375">
                  <c:v>701</c:v>
                </c:pt>
                <c:pt idx="15376">
                  <c:v>811</c:v>
                </c:pt>
                <c:pt idx="15377">
                  <c:v>637</c:v>
                </c:pt>
                <c:pt idx="15378">
                  <c:v>596</c:v>
                </c:pt>
                <c:pt idx="15379">
                  <c:v>601</c:v>
                </c:pt>
                <c:pt idx="15380">
                  <c:v>595</c:v>
                </c:pt>
                <c:pt idx="15381">
                  <c:v>529</c:v>
                </c:pt>
                <c:pt idx="15382">
                  <c:v>577</c:v>
                </c:pt>
                <c:pt idx="15383">
                  <c:v>609</c:v>
                </c:pt>
                <c:pt idx="15384">
                  <c:v>599</c:v>
                </c:pt>
                <c:pt idx="15385">
                  <c:v>500</c:v>
                </c:pt>
                <c:pt idx="15386">
                  <c:v>456</c:v>
                </c:pt>
                <c:pt idx="15387">
                  <c:v>517</c:v>
                </c:pt>
                <c:pt idx="15388">
                  <c:v>547</c:v>
                </c:pt>
                <c:pt idx="15389">
                  <c:v>477</c:v>
                </c:pt>
                <c:pt idx="15390">
                  <c:v>529</c:v>
                </c:pt>
                <c:pt idx="15391">
                  <c:v>427</c:v>
                </c:pt>
                <c:pt idx="15392">
                  <c:v>575</c:v>
                </c:pt>
                <c:pt idx="15393">
                  <c:v>531</c:v>
                </c:pt>
                <c:pt idx="15394">
                  <c:v>497</c:v>
                </c:pt>
                <c:pt idx="15395">
                  <c:v>461</c:v>
                </c:pt>
                <c:pt idx="15396">
                  <c:v>471</c:v>
                </c:pt>
                <c:pt idx="15397">
                  <c:v>493</c:v>
                </c:pt>
                <c:pt idx="15398">
                  <c:v>461</c:v>
                </c:pt>
                <c:pt idx="15399">
                  <c:v>505</c:v>
                </c:pt>
                <c:pt idx="15400">
                  <c:v>453</c:v>
                </c:pt>
                <c:pt idx="15401">
                  <c:v>475</c:v>
                </c:pt>
                <c:pt idx="15402">
                  <c:v>501</c:v>
                </c:pt>
                <c:pt idx="15403">
                  <c:v>492</c:v>
                </c:pt>
                <c:pt idx="15404">
                  <c:v>484</c:v>
                </c:pt>
                <c:pt idx="15405">
                  <c:v>414</c:v>
                </c:pt>
                <c:pt idx="15406">
                  <c:v>417</c:v>
                </c:pt>
                <c:pt idx="15407">
                  <c:v>475</c:v>
                </c:pt>
                <c:pt idx="15408">
                  <c:v>437</c:v>
                </c:pt>
                <c:pt idx="15409">
                  <c:v>390</c:v>
                </c:pt>
                <c:pt idx="15410">
                  <c:v>366</c:v>
                </c:pt>
                <c:pt idx="15411">
                  <c:v>387</c:v>
                </c:pt>
                <c:pt idx="15412">
                  <c:v>458</c:v>
                </c:pt>
                <c:pt idx="15413">
                  <c:v>416</c:v>
                </c:pt>
                <c:pt idx="15414">
                  <c:v>438</c:v>
                </c:pt>
                <c:pt idx="15415">
                  <c:v>472</c:v>
                </c:pt>
                <c:pt idx="15416">
                  <c:v>406</c:v>
                </c:pt>
                <c:pt idx="15417">
                  <c:v>376</c:v>
                </c:pt>
                <c:pt idx="15418">
                  <c:v>436</c:v>
                </c:pt>
                <c:pt idx="15419">
                  <c:v>437</c:v>
                </c:pt>
                <c:pt idx="15420">
                  <c:v>449</c:v>
                </c:pt>
                <c:pt idx="15421">
                  <c:v>476</c:v>
                </c:pt>
                <c:pt idx="15422">
                  <c:v>449</c:v>
                </c:pt>
                <c:pt idx="15423">
                  <c:v>599</c:v>
                </c:pt>
                <c:pt idx="15424">
                  <c:v>471</c:v>
                </c:pt>
                <c:pt idx="15425">
                  <c:v>474</c:v>
                </c:pt>
                <c:pt idx="15426">
                  <c:v>539</c:v>
                </c:pt>
                <c:pt idx="15427">
                  <c:v>464</c:v>
                </c:pt>
                <c:pt idx="15428">
                  <c:v>527</c:v>
                </c:pt>
                <c:pt idx="15429">
                  <c:v>588</c:v>
                </c:pt>
                <c:pt idx="15430">
                  <c:v>486</c:v>
                </c:pt>
                <c:pt idx="15431">
                  <c:v>629</c:v>
                </c:pt>
                <c:pt idx="15432">
                  <c:v>621</c:v>
                </c:pt>
                <c:pt idx="15433">
                  <c:v>668</c:v>
                </c:pt>
                <c:pt idx="15434">
                  <c:v>786</c:v>
                </c:pt>
                <c:pt idx="15435">
                  <c:v>619</c:v>
                </c:pt>
                <c:pt idx="15436">
                  <c:v>638</c:v>
                </c:pt>
                <c:pt idx="15437">
                  <c:v>665</c:v>
                </c:pt>
                <c:pt idx="15438">
                  <c:v>750</c:v>
                </c:pt>
                <c:pt idx="15439">
                  <c:v>759</c:v>
                </c:pt>
                <c:pt idx="15440">
                  <c:v>746</c:v>
                </c:pt>
                <c:pt idx="15441">
                  <c:v>765</c:v>
                </c:pt>
                <c:pt idx="15442">
                  <c:v>816</c:v>
                </c:pt>
                <c:pt idx="15443">
                  <c:v>792</c:v>
                </c:pt>
                <c:pt idx="15444">
                  <c:v>766</c:v>
                </c:pt>
                <c:pt idx="15445">
                  <c:v>722</c:v>
                </c:pt>
                <c:pt idx="15446">
                  <c:v>761</c:v>
                </c:pt>
                <c:pt idx="15447">
                  <c:v>782</c:v>
                </c:pt>
                <c:pt idx="15448">
                  <c:v>740</c:v>
                </c:pt>
                <c:pt idx="15449">
                  <c:v>769</c:v>
                </c:pt>
                <c:pt idx="15450">
                  <c:v>799</c:v>
                </c:pt>
                <c:pt idx="15451">
                  <c:v>847</c:v>
                </c:pt>
                <c:pt idx="15452">
                  <c:v>838</c:v>
                </c:pt>
                <c:pt idx="15453">
                  <c:v>760</c:v>
                </c:pt>
                <c:pt idx="15454">
                  <c:v>773</c:v>
                </c:pt>
                <c:pt idx="15455">
                  <c:v>732</c:v>
                </c:pt>
                <c:pt idx="15456">
                  <c:v>769</c:v>
                </c:pt>
                <c:pt idx="15457">
                  <c:v>795</c:v>
                </c:pt>
                <c:pt idx="15458">
                  <c:v>744</c:v>
                </c:pt>
                <c:pt idx="15459">
                  <c:v>785</c:v>
                </c:pt>
                <c:pt idx="15460">
                  <c:v>713</c:v>
                </c:pt>
                <c:pt idx="15461">
                  <c:v>780</c:v>
                </c:pt>
                <c:pt idx="15462">
                  <c:v>699</c:v>
                </c:pt>
                <c:pt idx="15463">
                  <c:v>720</c:v>
                </c:pt>
                <c:pt idx="15464">
                  <c:v>617</c:v>
                </c:pt>
                <c:pt idx="15465">
                  <c:v>649</c:v>
                </c:pt>
                <c:pt idx="15466">
                  <c:v>644</c:v>
                </c:pt>
                <c:pt idx="15467">
                  <c:v>607</c:v>
                </c:pt>
                <c:pt idx="15468">
                  <c:v>740</c:v>
                </c:pt>
                <c:pt idx="15469">
                  <c:v>711</c:v>
                </c:pt>
                <c:pt idx="15470">
                  <c:v>720</c:v>
                </c:pt>
                <c:pt idx="15471">
                  <c:v>698</c:v>
                </c:pt>
                <c:pt idx="15472">
                  <c:v>607</c:v>
                </c:pt>
                <c:pt idx="15473">
                  <c:v>692</c:v>
                </c:pt>
                <c:pt idx="15474">
                  <c:v>635</c:v>
                </c:pt>
                <c:pt idx="15475">
                  <c:v>648</c:v>
                </c:pt>
                <c:pt idx="15476">
                  <c:v>705</c:v>
                </c:pt>
                <c:pt idx="15477">
                  <c:v>730</c:v>
                </c:pt>
                <c:pt idx="15478">
                  <c:v>728</c:v>
                </c:pt>
                <c:pt idx="15479">
                  <c:v>612</c:v>
                </c:pt>
                <c:pt idx="15480">
                  <c:v>646</c:v>
                </c:pt>
                <c:pt idx="15481">
                  <c:v>759</c:v>
                </c:pt>
                <c:pt idx="15482">
                  <c:v>668</c:v>
                </c:pt>
                <c:pt idx="15483">
                  <c:v>593</c:v>
                </c:pt>
                <c:pt idx="15484">
                  <c:v>674</c:v>
                </c:pt>
                <c:pt idx="15485">
                  <c:v>579</c:v>
                </c:pt>
                <c:pt idx="15486">
                  <c:v>641</c:v>
                </c:pt>
                <c:pt idx="15487">
                  <c:v>500</c:v>
                </c:pt>
                <c:pt idx="15488">
                  <c:v>548</c:v>
                </c:pt>
                <c:pt idx="15489">
                  <c:v>640</c:v>
                </c:pt>
                <c:pt idx="15490">
                  <c:v>586</c:v>
                </c:pt>
                <c:pt idx="15491">
                  <c:v>562</c:v>
                </c:pt>
                <c:pt idx="15492">
                  <c:v>551</c:v>
                </c:pt>
                <c:pt idx="15493">
                  <c:v>570</c:v>
                </c:pt>
                <c:pt idx="15494">
                  <c:v>527</c:v>
                </c:pt>
                <c:pt idx="15495">
                  <c:v>620</c:v>
                </c:pt>
                <c:pt idx="15496">
                  <c:v>524</c:v>
                </c:pt>
                <c:pt idx="15497">
                  <c:v>517</c:v>
                </c:pt>
                <c:pt idx="15498">
                  <c:v>560</c:v>
                </c:pt>
                <c:pt idx="15499">
                  <c:v>456</c:v>
                </c:pt>
                <c:pt idx="15500">
                  <c:v>542</c:v>
                </c:pt>
                <c:pt idx="15501">
                  <c:v>632</c:v>
                </c:pt>
                <c:pt idx="15502">
                  <c:v>644</c:v>
                </c:pt>
                <c:pt idx="15503">
                  <c:v>612</c:v>
                </c:pt>
                <c:pt idx="15504">
                  <c:v>603</c:v>
                </c:pt>
                <c:pt idx="15505">
                  <c:v>581</c:v>
                </c:pt>
                <c:pt idx="15506">
                  <c:v>564</c:v>
                </c:pt>
                <c:pt idx="15507">
                  <c:v>481</c:v>
                </c:pt>
                <c:pt idx="15508">
                  <c:v>431</c:v>
                </c:pt>
                <c:pt idx="15509">
                  <c:v>430</c:v>
                </c:pt>
                <c:pt idx="15510">
                  <c:v>420</c:v>
                </c:pt>
                <c:pt idx="15511">
                  <c:v>412</c:v>
                </c:pt>
                <c:pt idx="15512">
                  <c:v>418</c:v>
                </c:pt>
                <c:pt idx="15513">
                  <c:v>422</c:v>
                </c:pt>
                <c:pt idx="15514">
                  <c:v>430</c:v>
                </c:pt>
                <c:pt idx="15515">
                  <c:v>420</c:v>
                </c:pt>
                <c:pt idx="15516">
                  <c:v>413</c:v>
                </c:pt>
                <c:pt idx="15517">
                  <c:v>520</c:v>
                </c:pt>
                <c:pt idx="15518">
                  <c:v>494</c:v>
                </c:pt>
                <c:pt idx="15519">
                  <c:v>480</c:v>
                </c:pt>
                <c:pt idx="15520">
                  <c:v>493</c:v>
                </c:pt>
                <c:pt idx="15521">
                  <c:v>498</c:v>
                </c:pt>
                <c:pt idx="15522">
                  <c:v>563</c:v>
                </c:pt>
                <c:pt idx="15523">
                  <c:v>551</c:v>
                </c:pt>
                <c:pt idx="15524">
                  <c:v>494</c:v>
                </c:pt>
                <c:pt idx="15525">
                  <c:v>514</c:v>
                </c:pt>
                <c:pt idx="15526">
                  <c:v>497</c:v>
                </c:pt>
                <c:pt idx="15527">
                  <c:v>518</c:v>
                </c:pt>
                <c:pt idx="15528">
                  <c:v>508</c:v>
                </c:pt>
                <c:pt idx="15529">
                  <c:v>522</c:v>
                </c:pt>
                <c:pt idx="15530">
                  <c:v>550</c:v>
                </c:pt>
                <c:pt idx="15531">
                  <c:v>567</c:v>
                </c:pt>
                <c:pt idx="15532">
                  <c:v>570</c:v>
                </c:pt>
                <c:pt idx="15533">
                  <c:v>571</c:v>
                </c:pt>
                <c:pt idx="15534">
                  <c:v>560</c:v>
                </c:pt>
                <c:pt idx="15535">
                  <c:v>545</c:v>
                </c:pt>
                <c:pt idx="15536">
                  <c:v>581</c:v>
                </c:pt>
                <c:pt idx="15537">
                  <c:v>554</c:v>
                </c:pt>
                <c:pt idx="15538">
                  <c:v>558</c:v>
                </c:pt>
                <c:pt idx="15539">
                  <c:v>515</c:v>
                </c:pt>
                <c:pt idx="15540">
                  <c:v>431</c:v>
                </c:pt>
                <c:pt idx="15541">
                  <c:v>422</c:v>
                </c:pt>
                <c:pt idx="15542">
                  <c:v>462</c:v>
                </c:pt>
                <c:pt idx="15543">
                  <c:v>444</c:v>
                </c:pt>
                <c:pt idx="15544">
                  <c:v>438</c:v>
                </c:pt>
                <c:pt idx="15545">
                  <c:v>459</c:v>
                </c:pt>
                <c:pt idx="15546">
                  <c:v>452</c:v>
                </c:pt>
                <c:pt idx="15547">
                  <c:v>482</c:v>
                </c:pt>
                <c:pt idx="15548">
                  <c:v>452</c:v>
                </c:pt>
                <c:pt idx="15549">
                  <c:v>477</c:v>
                </c:pt>
                <c:pt idx="15550">
                  <c:v>511</c:v>
                </c:pt>
                <c:pt idx="15551">
                  <c:v>504</c:v>
                </c:pt>
                <c:pt idx="15552">
                  <c:v>598</c:v>
                </c:pt>
                <c:pt idx="15553">
                  <c:v>670</c:v>
                </c:pt>
                <c:pt idx="15554">
                  <c:v>661</c:v>
                </c:pt>
                <c:pt idx="15555">
                  <c:v>654</c:v>
                </c:pt>
                <c:pt idx="15556">
                  <c:v>669</c:v>
                </c:pt>
                <c:pt idx="15557">
                  <c:v>643</c:v>
                </c:pt>
                <c:pt idx="15558">
                  <c:v>652</c:v>
                </c:pt>
                <c:pt idx="15559">
                  <c:v>655</c:v>
                </c:pt>
                <c:pt idx="15560">
                  <c:v>646</c:v>
                </c:pt>
                <c:pt idx="15561">
                  <c:v>666</c:v>
                </c:pt>
                <c:pt idx="15562">
                  <c:v>658</c:v>
                </c:pt>
                <c:pt idx="15563">
                  <c:v>638</c:v>
                </c:pt>
                <c:pt idx="15564">
                  <c:v>621</c:v>
                </c:pt>
                <c:pt idx="15565">
                  <c:v>621</c:v>
                </c:pt>
                <c:pt idx="15566">
                  <c:v>624</c:v>
                </c:pt>
                <c:pt idx="15567">
                  <c:v>577</c:v>
                </c:pt>
                <c:pt idx="15568">
                  <c:v>604</c:v>
                </c:pt>
                <c:pt idx="15569">
                  <c:v>568</c:v>
                </c:pt>
                <c:pt idx="15570">
                  <c:v>557</c:v>
                </c:pt>
                <c:pt idx="15571">
                  <c:v>534</c:v>
                </c:pt>
                <c:pt idx="15572">
                  <c:v>541</c:v>
                </c:pt>
                <c:pt idx="15573">
                  <c:v>523</c:v>
                </c:pt>
                <c:pt idx="15574">
                  <c:v>521</c:v>
                </c:pt>
                <c:pt idx="15575">
                  <c:v>520</c:v>
                </c:pt>
                <c:pt idx="15576">
                  <c:v>491</c:v>
                </c:pt>
                <c:pt idx="15577">
                  <c:v>501</c:v>
                </c:pt>
                <c:pt idx="15578">
                  <c:v>491</c:v>
                </c:pt>
                <c:pt idx="15579">
                  <c:v>484</c:v>
                </c:pt>
                <c:pt idx="15580">
                  <c:v>486</c:v>
                </c:pt>
                <c:pt idx="15581">
                  <c:v>424</c:v>
                </c:pt>
                <c:pt idx="15582">
                  <c:v>398</c:v>
                </c:pt>
                <c:pt idx="15583">
                  <c:v>384</c:v>
                </c:pt>
                <c:pt idx="15584">
                  <c:v>421</c:v>
                </c:pt>
                <c:pt idx="15585">
                  <c:v>403</c:v>
                </c:pt>
                <c:pt idx="15586">
                  <c:v>420</c:v>
                </c:pt>
                <c:pt idx="15587">
                  <c:v>532</c:v>
                </c:pt>
                <c:pt idx="15588">
                  <c:v>499</c:v>
                </c:pt>
                <c:pt idx="15589">
                  <c:v>498</c:v>
                </c:pt>
                <c:pt idx="15590">
                  <c:v>478</c:v>
                </c:pt>
                <c:pt idx="15591">
                  <c:v>514</c:v>
                </c:pt>
                <c:pt idx="15592">
                  <c:v>492</c:v>
                </c:pt>
                <c:pt idx="15593">
                  <c:v>498</c:v>
                </c:pt>
                <c:pt idx="15594">
                  <c:v>521</c:v>
                </c:pt>
                <c:pt idx="15595">
                  <c:v>464</c:v>
                </c:pt>
                <c:pt idx="15596">
                  <c:v>455</c:v>
                </c:pt>
                <c:pt idx="15597">
                  <c:v>477</c:v>
                </c:pt>
                <c:pt idx="15598">
                  <c:v>557</c:v>
                </c:pt>
                <c:pt idx="15599">
                  <c:v>572</c:v>
                </c:pt>
                <c:pt idx="15600">
                  <c:v>580</c:v>
                </c:pt>
                <c:pt idx="15601">
                  <c:v>552</c:v>
                </c:pt>
                <c:pt idx="15602">
                  <c:v>592</c:v>
                </c:pt>
                <c:pt idx="15603">
                  <c:v>597</c:v>
                </c:pt>
                <c:pt idx="15604">
                  <c:v>589</c:v>
                </c:pt>
                <c:pt idx="15605">
                  <c:v>531</c:v>
                </c:pt>
                <c:pt idx="15606">
                  <c:v>432</c:v>
                </c:pt>
                <c:pt idx="15607">
                  <c:v>415</c:v>
                </c:pt>
                <c:pt idx="15608">
                  <c:v>425</c:v>
                </c:pt>
                <c:pt idx="15609">
                  <c:v>431</c:v>
                </c:pt>
                <c:pt idx="15610">
                  <c:v>380</c:v>
                </c:pt>
                <c:pt idx="15611">
                  <c:v>903</c:v>
                </c:pt>
                <c:pt idx="15612">
                  <c:v>890</c:v>
                </c:pt>
                <c:pt idx="15613">
                  <c:v>626</c:v>
                </c:pt>
                <c:pt idx="15614">
                  <c:v>639</c:v>
                </c:pt>
                <c:pt idx="15615">
                  <c:v>664</c:v>
                </c:pt>
                <c:pt idx="15616">
                  <c:v>632</c:v>
                </c:pt>
                <c:pt idx="15617">
                  <c:v>703</c:v>
                </c:pt>
                <c:pt idx="15618">
                  <c:v>731</c:v>
                </c:pt>
                <c:pt idx="15619">
                  <c:v>683</c:v>
                </c:pt>
                <c:pt idx="15620">
                  <c:v>765</c:v>
                </c:pt>
                <c:pt idx="15621">
                  <c:v>743</c:v>
                </c:pt>
                <c:pt idx="15622">
                  <c:v>746</c:v>
                </c:pt>
                <c:pt idx="15623">
                  <c:v>801</c:v>
                </c:pt>
                <c:pt idx="15624">
                  <c:v>812</c:v>
                </c:pt>
                <c:pt idx="15625">
                  <c:v>808</c:v>
                </c:pt>
                <c:pt idx="15626">
                  <c:v>868</c:v>
                </c:pt>
                <c:pt idx="15627">
                  <c:v>847</c:v>
                </c:pt>
                <c:pt idx="15628">
                  <c:v>889</c:v>
                </c:pt>
                <c:pt idx="15629">
                  <c:v>833</c:v>
                </c:pt>
                <c:pt idx="15630">
                  <c:v>856</c:v>
                </c:pt>
                <c:pt idx="15631">
                  <c:v>874</c:v>
                </c:pt>
                <c:pt idx="15632">
                  <c:v>870</c:v>
                </c:pt>
                <c:pt idx="15633">
                  <c:v>812</c:v>
                </c:pt>
                <c:pt idx="15634">
                  <c:v>877</c:v>
                </c:pt>
                <c:pt idx="15635">
                  <c:v>886</c:v>
                </c:pt>
                <c:pt idx="15636">
                  <c:v>865</c:v>
                </c:pt>
                <c:pt idx="15637">
                  <c:v>853</c:v>
                </c:pt>
                <c:pt idx="15638">
                  <c:v>880</c:v>
                </c:pt>
                <c:pt idx="15639">
                  <c:v>869</c:v>
                </c:pt>
                <c:pt idx="15640">
                  <c:v>853</c:v>
                </c:pt>
                <c:pt idx="15641">
                  <c:v>847</c:v>
                </c:pt>
                <c:pt idx="15642">
                  <c:v>879</c:v>
                </c:pt>
                <c:pt idx="15643">
                  <c:v>862</c:v>
                </c:pt>
                <c:pt idx="15644">
                  <c:v>811</c:v>
                </c:pt>
                <c:pt idx="15645">
                  <c:v>814</c:v>
                </c:pt>
                <c:pt idx="15646">
                  <c:v>827</c:v>
                </c:pt>
                <c:pt idx="15647">
                  <c:v>834</c:v>
                </c:pt>
                <c:pt idx="15648">
                  <c:v>824</c:v>
                </c:pt>
                <c:pt idx="15649">
                  <c:v>779</c:v>
                </c:pt>
                <c:pt idx="15650">
                  <c:v>823</c:v>
                </c:pt>
                <c:pt idx="15651">
                  <c:v>813</c:v>
                </c:pt>
                <c:pt idx="15652">
                  <c:v>774</c:v>
                </c:pt>
                <c:pt idx="15653">
                  <c:v>777</c:v>
                </c:pt>
                <c:pt idx="15654">
                  <c:v>740</c:v>
                </c:pt>
                <c:pt idx="15655">
                  <c:v>689</c:v>
                </c:pt>
                <c:pt idx="15656">
                  <c:v>596</c:v>
                </c:pt>
                <c:pt idx="15657">
                  <c:v>597</c:v>
                </c:pt>
                <c:pt idx="15658">
                  <c:v>599</c:v>
                </c:pt>
                <c:pt idx="15659">
                  <c:v>577</c:v>
                </c:pt>
                <c:pt idx="15660">
                  <c:v>532</c:v>
                </c:pt>
                <c:pt idx="15661">
                  <c:v>518</c:v>
                </c:pt>
                <c:pt idx="15662">
                  <c:v>548</c:v>
                </c:pt>
                <c:pt idx="15663">
                  <c:v>570</c:v>
                </c:pt>
                <c:pt idx="15664">
                  <c:v>565</c:v>
                </c:pt>
                <c:pt idx="15665">
                  <c:v>556</c:v>
                </c:pt>
                <c:pt idx="15666">
                  <c:v>539</c:v>
                </c:pt>
                <c:pt idx="15667">
                  <c:v>539</c:v>
                </c:pt>
                <c:pt idx="15668">
                  <c:v>525</c:v>
                </c:pt>
                <c:pt idx="15669">
                  <c:v>550</c:v>
                </c:pt>
                <c:pt idx="15670">
                  <c:v>544</c:v>
                </c:pt>
                <c:pt idx="15671">
                  <c:v>566</c:v>
                </c:pt>
                <c:pt idx="15672">
                  <c:v>491</c:v>
                </c:pt>
                <c:pt idx="15673">
                  <c:v>535</c:v>
                </c:pt>
                <c:pt idx="15674">
                  <c:v>469</c:v>
                </c:pt>
                <c:pt idx="15675">
                  <c:v>511</c:v>
                </c:pt>
                <c:pt idx="15676">
                  <c:v>513</c:v>
                </c:pt>
                <c:pt idx="15677">
                  <c:v>373</c:v>
                </c:pt>
                <c:pt idx="15678">
                  <c:v>449</c:v>
                </c:pt>
                <c:pt idx="15679">
                  <c:v>493</c:v>
                </c:pt>
                <c:pt idx="15680">
                  <c:v>433</c:v>
                </c:pt>
                <c:pt idx="15681">
                  <c:v>482</c:v>
                </c:pt>
                <c:pt idx="15682">
                  <c:v>446</c:v>
                </c:pt>
                <c:pt idx="15683">
                  <c:v>498</c:v>
                </c:pt>
                <c:pt idx="15684">
                  <c:v>525</c:v>
                </c:pt>
                <c:pt idx="15685">
                  <c:v>495</c:v>
                </c:pt>
                <c:pt idx="15686">
                  <c:v>507</c:v>
                </c:pt>
                <c:pt idx="15687">
                  <c:v>487</c:v>
                </c:pt>
                <c:pt idx="15688">
                  <c:v>472</c:v>
                </c:pt>
                <c:pt idx="15689">
                  <c:v>492</c:v>
                </c:pt>
                <c:pt idx="15690">
                  <c:v>618</c:v>
                </c:pt>
                <c:pt idx="15691">
                  <c:v>514</c:v>
                </c:pt>
                <c:pt idx="15692">
                  <c:v>485</c:v>
                </c:pt>
                <c:pt idx="15693">
                  <c:v>606</c:v>
                </c:pt>
                <c:pt idx="15694">
                  <c:v>640</c:v>
                </c:pt>
                <c:pt idx="15695">
                  <c:v>569</c:v>
                </c:pt>
                <c:pt idx="15696">
                  <c:v>713</c:v>
                </c:pt>
                <c:pt idx="15697">
                  <c:v>687</c:v>
                </c:pt>
                <c:pt idx="15698">
                  <c:v>681</c:v>
                </c:pt>
                <c:pt idx="15699">
                  <c:v>650</c:v>
                </c:pt>
                <c:pt idx="15700">
                  <c:v>635</c:v>
                </c:pt>
                <c:pt idx="15701">
                  <c:v>684</c:v>
                </c:pt>
                <c:pt idx="15702">
                  <c:v>756</c:v>
                </c:pt>
                <c:pt idx="15703">
                  <c:v>746</c:v>
                </c:pt>
                <c:pt idx="15704">
                  <c:v>784</c:v>
                </c:pt>
                <c:pt idx="15705">
                  <c:v>812</c:v>
                </c:pt>
                <c:pt idx="15706">
                  <c:v>834</c:v>
                </c:pt>
                <c:pt idx="15707">
                  <c:v>815</c:v>
                </c:pt>
                <c:pt idx="15708">
                  <c:v>805</c:v>
                </c:pt>
                <c:pt idx="15709">
                  <c:v>803</c:v>
                </c:pt>
                <c:pt idx="15710">
                  <c:v>832</c:v>
                </c:pt>
                <c:pt idx="15711">
                  <c:v>807</c:v>
                </c:pt>
                <c:pt idx="15712">
                  <c:v>806</c:v>
                </c:pt>
                <c:pt idx="15713">
                  <c:v>843</c:v>
                </c:pt>
                <c:pt idx="15714">
                  <c:v>799</c:v>
                </c:pt>
                <c:pt idx="15715">
                  <c:v>817</c:v>
                </c:pt>
                <c:pt idx="15716">
                  <c:v>813</c:v>
                </c:pt>
                <c:pt idx="15717">
                  <c:v>855</c:v>
                </c:pt>
                <c:pt idx="15718">
                  <c:v>885</c:v>
                </c:pt>
                <c:pt idx="15719">
                  <c:v>838</c:v>
                </c:pt>
                <c:pt idx="15720">
                  <c:v>589</c:v>
                </c:pt>
                <c:pt idx="15721">
                  <c:v>1232</c:v>
                </c:pt>
                <c:pt idx="15722">
                  <c:v>964</c:v>
                </c:pt>
                <c:pt idx="15723">
                  <c:v>857</c:v>
                </c:pt>
                <c:pt idx="15724">
                  <c:v>845</c:v>
                </c:pt>
                <c:pt idx="15725">
                  <c:v>849</c:v>
                </c:pt>
                <c:pt idx="15726">
                  <c:v>851</c:v>
                </c:pt>
                <c:pt idx="15727">
                  <c:v>847</c:v>
                </c:pt>
                <c:pt idx="15728">
                  <c:v>812</c:v>
                </c:pt>
                <c:pt idx="15729">
                  <c:v>825</c:v>
                </c:pt>
                <c:pt idx="15730">
                  <c:v>834</c:v>
                </c:pt>
                <c:pt idx="15731">
                  <c:v>802</c:v>
                </c:pt>
                <c:pt idx="15732">
                  <c:v>767</c:v>
                </c:pt>
                <c:pt idx="15733">
                  <c:v>774</c:v>
                </c:pt>
                <c:pt idx="15734">
                  <c:v>794</c:v>
                </c:pt>
                <c:pt idx="15735">
                  <c:v>812</c:v>
                </c:pt>
                <c:pt idx="15736">
                  <c:v>843</c:v>
                </c:pt>
                <c:pt idx="15737">
                  <c:v>827</c:v>
                </c:pt>
                <c:pt idx="15738">
                  <c:v>840</c:v>
                </c:pt>
                <c:pt idx="15739">
                  <c:v>830</c:v>
                </c:pt>
                <c:pt idx="15740">
                  <c:v>705</c:v>
                </c:pt>
                <c:pt idx="15741">
                  <c:v>708</c:v>
                </c:pt>
                <c:pt idx="15742">
                  <c:v>672</c:v>
                </c:pt>
                <c:pt idx="15743">
                  <c:v>691</c:v>
                </c:pt>
                <c:pt idx="15744">
                  <c:v>692</c:v>
                </c:pt>
                <c:pt idx="15745">
                  <c:v>722</c:v>
                </c:pt>
                <c:pt idx="15746">
                  <c:v>646</c:v>
                </c:pt>
                <c:pt idx="15747">
                  <c:v>788</c:v>
                </c:pt>
                <c:pt idx="15748">
                  <c:v>731</c:v>
                </c:pt>
                <c:pt idx="15749">
                  <c:v>663</c:v>
                </c:pt>
                <c:pt idx="15750">
                  <c:v>683</c:v>
                </c:pt>
                <c:pt idx="15751">
                  <c:v>584</c:v>
                </c:pt>
                <c:pt idx="15752">
                  <c:v>637</c:v>
                </c:pt>
                <c:pt idx="15753">
                  <c:v>536</c:v>
                </c:pt>
                <c:pt idx="15754">
                  <c:v>551</c:v>
                </c:pt>
                <c:pt idx="15755">
                  <c:v>545</c:v>
                </c:pt>
                <c:pt idx="15756">
                  <c:v>449</c:v>
                </c:pt>
                <c:pt idx="15757">
                  <c:v>586</c:v>
                </c:pt>
                <c:pt idx="15758">
                  <c:v>613</c:v>
                </c:pt>
                <c:pt idx="15759">
                  <c:v>501</c:v>
                </c:pt>
                <c:pt idx="15760">
                  <c:v>530</c:v>
                </c:pt>
                <c:pt idx="15761">
                  <c:v>513</c:v>
                </c:pt>
                <c:pt idx="15762">
                  <c:v>484</c:v>
                </c:pt>
                <c:pt idx="15763">
                  <c:v>489</c:v>
                </c:pt>
                <c:pt idx="15764">
                  <c:v>502</c:v>
                </c:pt>
                <c:pt idx="15765">
                  <c:v>444</c:v>
                </c:pt>
                <c:pt idx="15766">
                  <c:v>433</c:v>
                </c:pt>
                <c:pt idx="15767">
                  <c:v>454</c:v>
                </c:pt>
                <c:pt idx="15768">
                  <c:v>462</c:v>
                </c:pt>
                <c:pt idx="15769">
                  <c:v>484</c:v>
                </c:pt>
                <c:pt idx="15770">
                  <c:v>431</c:v>
                </c:pt>
                <c:pt idx="15771">
                  <c:v>444</c:v>
                </c:pt>
                <c:pt idx="15772">
                  <c:v>333</c:v>
                </c:pt>
                <c:pt idx="15773">
                  <c:v>392</c:v>
                </c:pt>
                <c:pt idx="15774">
                  <c:v>427</c:v>
                </c:pt>
                <c:pt idx="15775">
                  <c:v>420</c:v>
                </c:pt>
                <c:pt idx="15776">
                  <c:v>420</c:v>
                </c:pt>
                <c:pt idx="15777">
                  <c:v>392</c:v>
                </c:pt>
                <c:pt idx="15778">
                  <c:v>472</c:v>
                </c:pt>
                <c:pt idx="15779">
                  <c:v>418</c:v>
                </c:pt>
                <c:pt idx="15780">
                  <c:v>458</c:v>
                </c:pt>
                <c:pt idx="15781">
                  <c:v>419</c:v>
                </c:pt>
                <c:pt idx="15782">
                  <c:v>489</c:v>
                </c:pt>
                <c:pt idx="15783">
                  <c:v>434</c:v>
                </c:pt>
                <c:pt idx="15784">
                  <c:v>462</c:v>
                </c:pt>
                <c:pt idx="15785">
                  <c:v>536</c:v>
                </c:pt>
                <c:pt idx="15786">
                  <c:v>433</c:v>
                </c:pt>
                <c:pt idx="15787">
                  <c:v>365</c:v>
                </c:pt>
                <c:pt idx="15788">
                  <c:v>578</c:v>
                </c:pt>
                <c:pt idx="15789">
                  <c:v>538</c:v>
                </c:pt>
                <c:pt idx="15790">
                  <c:v>558</c:v>
                </c:pt>
                <c:pt idx="15791">
                  <c:v>639</c:v>
                </c:pt>
                <c:pt idx="15792">
                  <c:v>597</c:v>
                </c:pt>
                <c:pt idx="15793">
                  <c:v>585</c:v>
                </c:pt>
                <c:pt idx="15794">
                  <c:v>540</c:v>
                </c:pt>
                <c:pt idx="15795">
                  <c:v>607</c:v>
                </c:pt>
                <c:pt idx="15796">
                  <c:v>594</c:v>
                </c:pt>
                <c:pt idx="15797">
                  <c:v>666</c:v>
                </c:pt>
                <c:pt idx="15798">
                  <c:v>651</c:v>
                </c:pt>
                <c:pt idx="15799">
                  <c:v>652</c:v>
                </c:pt>
                <c:pt idx="15800">
                  <c:v>778</c:v>
                </c:pt>
                <c:pt idx="15801">
                  <c:v>850</c:v>
                </c:pt>
                <c:pt idx="15802">
                  <c:v>862</c:v>
                </c:pt>
                <c:pt idx="15803">
                  <c:v>837</c:v>
                </c:pt>
                <c:pt idx="15804">
                  <c:v>861</c:v>
                </c:pt>
                <c:pt idx="15805">
                  <c:v>853</c:v>
                </c:pt>
                <c:pt idx="15806">
                  <c:v>847</c:v>
                </c:pt>
                <c:pt idx="15807">
                  <c:v>866</c:v>
                </c:pt>
                <c:pt idx="15808">
                  <c:v>873</c:v>
                </c:pt>
                <c:pt idx="15809">
                  <c:v>890</c:v>
                </c:pt>
                <c:pt idx="15810">
                  <c:v>812</c:v>
                </c:pt>
                <c:pt idx="15811">
                  <c:v>810</c:v>
                </c:pt>
                <c:pt idx="15812">
                  <c:v>815</c:v>
                </c:pt>
                <c:pt idx="15813">
                  <c:v>847</c:v>
                </c:pt>
                <c:pt idx="15814">
                  <c:v>908</c:v>
                </c:pt>
                <c:pt idx="15815">
                  <c:v>906</c:v>
                </c:pt>
                <c:pt idx="15816">
                  <c:v>886</c:v>
                </c:pt>
                <c:pt idx="15817">
                  <c:v>906</c:v>
                </c:pt>
                <c:pt idx="15818">
                  <c:v>877</c:v>
                </c:pt>
                <c:pt idx="15819">
                  <c:v>877</c:v>
                </c:pt>
                <c:pt idx="15820">
                  <c:v>860</c:v>
                </c:pt>
                <c:pt idx="15821">
                  <c:v>1075</c:v>
                </c:pt>
                <c:pt idx="15822">
                  <c:v>1097</c:v>
                </c:pt>
                <c:pt idx="15823">
                  <c:v>924</c:v>
                </c:pt>
                <c:pt idx="15824">
                  <c:v>889</c:v>
                </c:pt>
                <c:pt idx="15825">
                  <c:v>877</c:v>
                </c:pt>
                <c:pt idx="15826">
                  <c:v>868</c:v>
                </c:pt>
                <c:pt idx="15827">
                  <c:v>866</c:v>
                </c:pt>
                <c:pt idx="15828">
                  <c:v>854</c:v>
                </c:pt>
                <c:pt idx="15829">
                  <c:v>837</c:v>
                </c:pt>
                <c:pt idx="15830">
                  <c:v>855</c:v>
                </c:pt>
                <c:pt idx="15831">
                  <c:v>849</c:v>
                </c:pt>
                <c:pt idx="15832">
                  <c:v>839</c:v>
                </c:pt>
                <c:pt idx="15833">
                  <c:v>862</c:v>
                </c:pt>
                <c:pt idx="15834">
                  <c:v>802</c:v>
                </c:pt>
                <c:pt idx="15835">
                  <c:v>793</c:v>
                </c:pt>
                <c:pt idx="15836">
                  <c:v>833</c:v>
                </c:pt>
                <c:pt idx="15837">
                  <c:v>844</c:v>
                </c:pt>
                <c:pt idx="15838">
                  <c:v>825</c:v>
                </c:pt>
                <c:pt idx="15839">
                  <c:v>855</c:v>
                </c:pt>
                <c:pt idx="15840">
                  <c:v>820</c:v>
                </c:pt>
                <c:pt idx="15841">
                  <c:v>832</c:v>
                </c:pt>
                <c:pt idx="15842">
                  <c:v>738</c:v>
                </c:pt>
                <c:pt idx="15843">
                  <c:v>731</c:v>
                </c:pt>
                <c:pt idx="15844">
                  <c:v>708</c:v>
                </c:pt>
                <c:pt idx="15845">
                  <c:v>702</c:v>
                </c:pt>
                <c:pt idx="15846">
                  <c:v>726</c:v>
                </c:pt>
                <c:pt idx="15847">
                  <c:v>670</c:v>
                </c:pt>
                <c:pt idx="15848">
                  <c:v>630</c:v>
                </c:pt>
                <c:pt idx="15849">
                  <c:v>613</c:v>
                </c:pt>
                <c:pt idx="15850">
                  <c:v>592</c:v>
                </c:pt>
                <c:pt idx="15851">
                  <c:v>638</c:v>
                </c:pt>
                <c:pt idx="15852">
                  <c:v>616</c:v>
                </c:pt>
                <c:pt idx="15853">
                  <c:v>592</c:v>
                </c:pt>
                <c:pt idx="15854">
                  <c:v>494</c:v>
                </c:pt>
                <c:pt idx="15855">
                  <c:v>489</c:v>
                </c:pt>
                <c:pt idx="15856">
                  <c:v>485</c:v>
                </c:pt>
                <c:pt idx="15857">
                  <c:v>468</c:v>
                </c:pt>
                <c:pt idx="15858">
                  <c:v>450</c:v>
                </c:pt>
                <c:pt idx="15859">
                  <c:v>515</c:v>
                </c:pt>
                <c:pt idx="15860">
                  <c:v>501</c:v>
                </c:pt>
                <c:pt idx="15861">
                  <c:v>482</c:v>
                </c:pt>
                <c:pt idx="15862">
                  <c:v>452</c:v>
                </c:pt>
                <c:pt idx="15863">
                  <c:v>435</c:v>
                </c:pt>
                <c:pt idx="15864">
                  <c:v>483</c:v>
                </c:pt>
                <c:pt idx="15865">
                  <c:v>490</c:v>
                </c:pt>
                <c:pt idx="15866">
                  <c:v>454</c:v>
                </c:pt>
                <c:pt idx="15867">
                  <c:v>430</c:v>
                </c:pt>
                <c:pt idx="15868">
                  <c:v>455</c:v>
                </c:pt>
                <c:pt idx="15869">
                  <c:v>427</c:v>
                </c:pt>
                <c:pt idx="15870">
                  <c:v>527</c:v>
                </c:pt>
                <c:pt idx="15871">
                  <c:v>484</c:v>
                </c:pt>
                <c:pt idx="15872">
                  <c:v>430</c:v>
                </c:pt>
                <c:pt idx="15873">
                  <c:v>430</c:v>
                </c:pt>
                <c:pt idx="15874">
                  <c:v>442</c:v>
                </c:pt>
                <c:pt idx="15875">
                  <c:v>470</c:v>
                </c:pt>
                <c:pt idx="15876">
                  <c:v>504</c:v>
                </c:pt>
                <c:pt idx="15877">
                  <c:v>500</c:v>
                </c:pt>
                <c:pt idx="15878">
                  <c:v>411</c:v>
                </c:pt>
                <c:pt idx="15879">
                  <c:v>429</c:v>
                </c:pt>
                <c:pt idx="15880">
                  <c:v>419</c:v>
                </c:pt>
                <c:pt idx="15881">
                  <c:v>648</c:v>
                </c:pt>
                <c:pt idx="15882">
                  <c:v>484</c:v>
                </c:pt>
                <c:pt idx="15883">
                  <c:v>459</c:v>
                </c:pt>
                <c:pt idx="15884">
                  <c:v>493</c:v>
                </c:pt>
                <c:pt idx="15885">
                  <c:v>584</c:v>
                </c:pt>
                <c:pt idx="15886">
                  <c:v>646</c:v>
                </c:pt>
                <c:pt idx="15887">
                  <c:v>662</c:v>
                </c:pt>
                <c:pt idx="15888">
                  <c:v>617</c:v>
                </c:pt>
                <c:pt idx="15889">
                  <c:v>690</c:v>
                </c:pt>
                <c:pt idx="15890">
                  <c:v>617</c:v>
                </c:pt>
                <c:pt idx="15891">
                  <c:v>661</c:v>
                </c:pt>
                <c:pt idx="15892">
                  <c:v>663</c:v>
                </c:pt>
                <c:pt idx="15893">
                  <c:v>698</c:v>
                </c:pt>
                <c:pt idx="15894">
                  <c:v>646</c:v>
                </c:pt>
                <c:pt idx="15895">
                  <c:v>681</c:v>
                </c:pt>
                <c:pt idx="15896">
                  <c:v>782</c:v>
                </c:pt>
                <c:pt idx="15897">
                  <c:v>818</c:v>
                </c:pt>
                <c:pt idx="15898">
                  <c:v>837</c:v>
                </c:pt>
                <c:pt idx="15899">
                  <c:v>855</c:v>
                </c:pt>
                <c:pt idx="15900">
                  <c:v>835</c:v>
                </c:pt>
                <c:pt idx="15901">
                  <c:v>858</c:v>
                </c:pt>
                <c:pt idx="15902">
                  <c:v>863</c:v>
                </c:pt>
                <c:pt idx="15903">
                  <c:v>844</c:v>
                </c:pt>
                <c:pt idx="15904">
                  <c:v>877</c:v>
                </c:pt>
                <c:pt idx="15905">
                  <c:v>937</c:v>
                </c:pt>
                <c:pt idx="15906">
                  <c:v>803</c:v>
                </c:pt>
                <c:pt idx="15907">
                  <c:v>831</c:v>
                </c:pt>
                <c:pt idx="15908">
                  <c:v>856</c:v>
                </c:pt>
                <c:pt idx="15909">
                  <c:v>871</c:v>
                </c:pt>
                <c:pt idx="15910">
                  <c:v>922</c:v>
                </c:pt>
                <c:pt idx="15911">
                  <c:v>931</c:v>
                </c:pt>
                <c:pt idx="15912">
                  <c:v>893</c:v>
                </c:pt>
                <c:pt idx="15913">
                  <c:v>920</c:v>
                </c:pt>
                <c:pt idx="15914">
                  <c:v>966</c:v>
                </c:pt>
                <c:pt idx="15915">
                  <c:v>957</c:v>
                </c:pt>
                <c:pt idx="15916">
                  <c:v>1302</c:v>
                </c:pt>
                <c:pt idx="15917">
                  <c:v>1021</c:v>
                </c:pt>
                <c:pt idx="15918">
                  <c:v>881</c:v>
                </c:pt>
                <c:pt idx="15919">
                  <c:v>866</c:v>
                </c:pt>
                <c:pt idx="15920">
                  <c:v>883</c:v>
                </c:pt>
                <c:pt idx="15921">
                  <c:v>918</c:v>
                </c:pt>
                <c:pt idx="15922">
                  <c:v>952</c:v>
                </c:pt>
                <c:pt idx="15923">
                  <c:v>871</c:v>
                </c:pt>
                <c:pt idx="15924">
                  <c:v>898</c:v>
                </c:pt>
                <c:pt idx="15925">
                  <c:v>913</c:v>
                </c:pt>
                <c:pt idx="15926">
                  <c:v>882</c:v>
                </c:pt>
                <c:pt idx="15927">
                  <c:v>880</c:v>
                </c:pt>
                <c:pt idx="15928">
                  <c:v>886</c:v>
                </c:pt>
                <c:pt idx="15929">
                  <c:v>863</c:v>
                </c:pt>
                <c:pt idx="15930">
                  <c:v>891</c:v>
                </c:pt>
                <c:pt idx="15931">
                  <c:v>737</c:v>
                </c:pt>
                <c:pt idx="15932">
                  <c:v>692</c:v>
                </c:pt>
                <c:pt idx="15933">
                  <c:v>702</c:v>
                </c:pt>
                <c:pt idx="15934">
                  <c:v>734</c:v>
                </c:pt>
                <c:pt idx="15935">
                  <c:v>701</c:v>
                </c:pt>
                <c:pt idx="15936">
                  <c:v>693</c:v>
                </c:pt>
                <c:pt idx="15937">
                  <c:v>705</c:v>
                </c:pt>
                <c:pt idx="15938">
                  <c:v>661</c:v>
                </c:pt>
                <c:pt idx="15939">
                  <c:v>678</c:v>
                </c:pt>
                <c:pt idx="15940">
                  <c:v>652</c:v>
                </c:pt>
                <c:pt idx="15941">
                  <c:v>669</c:v>
                </c:pt>
                <c:pt idx="15942">
                  <c:v>610</c:v>
                </c:pt>
                <c:pt idx="15943">
                  <c:v>579</c:v>
                </c:pt>
                <c:pt idx="15944">
                  <c:v>610</c:v>
                </c:pt>
                <c:pt idx="15945">
                  <c:v>627</c:v>
                </c:pt>
                <c:pt idx="15946">
                  <c:v>577</c:v>
                </c:pt>
                <c:pt idx="15947">
                  <c:v>620</c:v>
                </c:pt>
                <c:pt idx="15948">
                  <c:v>587</c:v>
                </c:pt>
                <c:pt idx="15949">
                  <c:v>577</c:v>
                </c:pt>
                <c:pt idx="15950">
                  <c:v>494</c:v>
                </c:pt>
                <c:pt idx="15951">
                  <c:v>588</c:v>
                </c:pt>
                <c:pt idx="15952">
                  <c:v>543</c:v>
                </c:pt>
                <c:pt idx="15953">
                  <c:v>463</c:v>
                </c:pt>
                <c:pt idx="15954">
                  <c:v>539</c:v>
                </c:pt>
                <c:pt idx="15955">
                  <c:v>511</c:v>
                </c:pt>
                <c:pt idx="15956">
                  <c:v>460</c:v>
                </c:pt>
                <c:pt idx="15957">
                  <c:v>450</c:v>
                </c:pt>
                <c:pt idx="15958">
                  <c:v>431</c:v>
                </c:pt>
                <c:pt idx="15959">
                  <c:v>405</c:v>
                </c:pt>
                <c:pt idx="15960">
                  <c:v>377</c:v>
                </c:pt>
                <c:pt idx="15961">
                  <c:v>422</c:v>
                </c:pt>
                <c:pt idx="15962">
                  <c:v>420</c:v>
                </c:pt>
                <c:pt idx="15963">
                  <c:v>395</c:v>
                </c:pt>
                <c:pt idx="15964">
                  <c:v>373</c:v>
                </c:pt>
                <c:pt idx="15965">
                  <c:v>372</c:v>
                </c:pt>
                <c:pt idx="15966">
                  <c:v>420</c:v>
                </c:pt>
                <c:pt idx="15967">
                  <c:v>466</c:v>
                </c:pt>
                <c:pt idx="15968">
                  <c:v>462</c:v>
                </c:pt>
                <c:pt idx="15969">
                  <c:v>395</c:v>
                </c:pt>
                <c:pt idx="15970">
                  <c:v>453</c:v>
                </c:pt>
                <c:pt idx="15971">
                  <c:v>513</c:v>
                </c:pt>
                <c:pt idx="15972">
                  <c:v>462</c:v>
                </c:pt>
                <c:pt idx="15973">
                  <c:v>513</c:v>
                </c:pt>
                <c:pt idx="15974">
                  <c:v>461</c:v>
                </c:pt>
                <c:pt idx="15975">
                  <c:v>438</c:v>
                </c:pt>
                <c:pt idx="15976">
                  <c:v>466</c:v>
                </c:pt>
                <c:pt idx="15977">
                  <c:v>534</c:v>
                </c:pt>
                <c:pt idx="15978">
                  <c:v>501</c:v>
                </c:pt>
                <c:pt idx="15979">
                  <c:v>515</c:v>
                </c:pt>
                <c:pt idx="15980">
                  <c:v>602</c:v>
                </c:pt>
                <c:pt idx="15981">
                  <c:v>630</c:v>
                </c:pt>
                <c:pt idx="15982">
                  <c:v>626</c:v>
                </c:pt>
                <c:pt idx="15983">
                  <c:v>757</c:v>
                </c:pt>
                <c:pt idx="15984">
                  <c:v>722</c:v>
                </c:pt>
                <c:pt idx="15985">
                  <c:v>693</c:v>
                </c:pt>
                <c:pt idx="15986">
                  <c:v>706</c:v>
                </c:pt>
                <c:pt idx="15987">
                  <c:v>716</c:v>
                </c:pt>
                <c:pt idx="15988">
                  <c:v>790</c:v>
                </c:pt>
                <c:pt idx="15989">
                  <c:v>715</c:v>
                </c:pt>
                <c:pt idx="15990">
                  <c:v>777</c:v>
                </c:pt>
                <c:pt idx="15991">
                  <c:v>757</c:v>
                </c:pt>
                <c:pt idx="15992">
                  <c:v>818</c:v>
                </c:pt>
                <c:pt idx="15993">
                  <c:v>849</c:v>
                </c:pt>
                <c:pt idx="15994">
                  <c:v>852</c:v>
                </c:pt>
                <c:pt idx="15995">
                  <c:v>845</c:v>
                </c:pt>
                <c:pt idx="15996">
                  <c:v>856</c:v>
                </c:pt>
                <c:pt idx="15997">
                  <c:v>889</c:v>
                </c:pt>
                <c:pt idx="15998">
                  <c:v>849</c:v>
                </c:pt>
                <c:pt idx="15999">
                  <c:v>877</c:v>
                </c:pt>
                <c:pt idx="16000">
                  <c:v>862</c:v>
                </c:pt>
                <c:pt idx="16001">
                  <c:v>805</c:v>
                </c:pt>
                <c:pt idx="16002">
                  <c:v>848</c:v>
                </c:pt>
                <c:pt idx="16003">
                  <c:v>851</c:v>
                </c:pt>
                <c:pt idx="16004">
                  <c:v>868</c:v>
                </c:pt>
                <c:pt idx="16005">
                  <c:v>872</c:v>
                </c:pt>
                <c:pt idx="16006">
                  <c:v>693</c:v>
                </c:pt>
                <c:pt idx="16007">
                  <c:v>1209</c:v>
                </c:pt>
                <c:pt idx="16008">
                  <c:v>952</c:v>
                </c:pt>
                <c:pt idx="16009">
                  <c:v>842</c:v>
                </c:pt>
                <c:pt idx="16010">
                  <c:v>916</c:v>
                </c:pt>
                <c:pt idx="16011">
                  <c:v>855</c:v>
                </c:pt>
                <c:pt idx="16012">
                  <c:v>861</c:v>
                </c:pt>
                <c:pt idx="16013">
                  <c:v>831</c:v>
                </c:pt>
                <c:pt idx="16014">
                  <c:v>826</c:v>
                </c:pt>
                <c:pt idx="16015">
                  <c:v>863</c:v>
                </c:pt>
                <c:pt idx="16016">
                  <c:v>890</c:v>
                </c:pt>
                <c:pt idx="16017">
                  <c:v>832</c:v>
                </c:pt>
                <c:pt idx="16018">
                  <c:v>845</c:v>
                </c:pt>
                <c:pt idx="16019">
                  <c:v>865</c:v>
                </c:pt>
                <c:pt idx="16020">
                  <c:v>849</c:v>
                </c:pt>
                <c:pt idx="16021">
                  <c:v>865</c:v>
                </c:pt>
                <c:pt idx="16022">
                  <c:v>835</c:v>
                </c:pt>
                <c:pt idx="16023">
                  <c:v>861</c:v>
                </c:pt>
                <c:pt idx="16024">
                  <c:v>870</c:v>
                </c:pt>
                <c:pt idx="16025">
                  <c:v>854</c:v>
                </c:pt>
                <c:pt idx="16026">
                  <c:v>839</c:v>
                </c:pt>
                <c:pt idx="16027">
                  <c:v>621</c:v>
                </c:pt>
                <c:pt idx="16028">
                  <c:v>532</c:v>
                </c:pt>
                <c:pt idx="16029">
                  <c:v>525</c:v>
                </c:pt>
                <c:pt idx="16030">
                  <c:v>468</c:v>
                </c:pt>
                <c:pt idx="16031">
                  <c:v>432</c:v>
                </c:pt>
                <c:pt idx="16032">
                  <c:v>466</c:v>
                </c:pt>
                <c:pt idx="16033">
                  <c:v>495</c:v>
                </c:pt>
                <c:pt idx="16034">
                  <c:v>495</c:v>
                </c:pt>
                <c:pt idx="16035">
                  <c:v>452</c:v>
                </c:pt>
                <c:pt idx="16036">
                  <c:v>416</c:v>
                </c:pt>
                <c:pt idx="16037">
                  <c:v>424</c:v>
                </c:pt>
                <c:pt idx="16038">
                  <c:v>412</c:v>
                </c:pt>
                <c:pt idx="16039">
                  <c:v>508</c:v>
                </c:pt>
                <c:pt idx="16040">
                  <c:v>445</c:v>
                </c:pt>
                <c:pt idx="16041">
                  <c:v>404</c:v>
                </c:pt>
                <c:pt idx="16042">
                  <c:v>441</c:v>
                </c:pt>
                <c:pt idx="16043">
                  <c:v>409</c:v>
                </c:pt>
                <c:pt idx="16044">
                  <c:v>382</c:v>
                </c:pt>
                <c:pt idx="16045">
                  <c:v>436</c:v>
                </c:pt>
                <c:pt idx="16046">
                  <c:v>392</c:v>
                </c:pt>
                <c:pt idx="16047">
                  <c:v>404</c:v>
                </c:pt>
                <c:pt idx="16048">
                  <c:v>388</c:v>
                </c:pt>
                <c:pt idx="16049">
                  <c:v>372</c:v>
                </c:pt>
                <c:pt idx="16050">
                  <c:v>392</c:v>
                </c:pt>
                <c:pt idx="16051">
                  <c:v>384</c:v>
                </c:pt>
                <c:pt idx="16052">
                  <c:v>361</c:v>
                </c:pt>
                <c:pt idx="16053">
                  <c:v>349</c:v>
                </c:pt>
                <c:pt idx="16054">
                  <c:v>375</c:v>
                </c:pt>
                <c:pt idx="16055">
                  <c:v>388</c:v>
                </c:pt>
                <c:pt idx="16056">
                  <c:v>374</c:v>
                </c:pt>
                <c:pt idx="16057">
                  <c:v>381</c:v>
                </c:pt>
                <c:pt idx="16058">
                  <c:v>400</c:v>
                </c:pt>
                <c:pt idx="16059">
                  <c:v>370</c:v>
                </c:pt>
                <c:pt idx="16060">
                  <c:v>388</c:v>
                </c:pt>
                <c:pt idx="16061">
                  <c:v>410</c:v>
                </c:pt>
                <c:pt idx="16062">
                  <c:v>377</c:v>
                </c:pt>
                <c:pt idx="16063">
                  <c:v>367</c:v>
                </c:pt>
                <c:pt idx="16064">
                  <c:v>396</c:v>
                </c:pt>
                <c:pt idx="16065">
                  <c:v>336</c:v>
                </c:pt>
                <c:pt idx="16066">
                  <c:v>367</c:v>
                </c:pt>
                <c:pt idx="16067">
                  <c:v>412</c:v>
                </c:pt>
                <c:pt idx="16068">
                  <c:v>359</c:v>
                </c:pt>
                <c:pt idx="16069">
                  <c:v>374</c:v>
                </c:pt>
                <c:pt idx="16070">
                  <c:v>379</c:v>
                </c:pt>
                <c:pt idx="16071">
                  <c:v>367</c:v>
                </c:pt>
                <c:pt idx="16072">
                  <c:v>422</c:v>
                </c:pt>
                <c:pt idx="16073">
                  <c:v>405</c:v>
                </c:pt>
                <c:pt idx="16074">
                  <c:v>377</c:v>
                </c:pt>
                <c:pt idx="16075">
                  <c:v>386</c:v>
                </c:pt>
                <c:pt idx="16076">
                  <c:v>385</c:v>
                </c:pt>
                <c:pt idx="16077">
                  <c:v>414</c:v>
                </c:pt>
                <c:pt idx="16078">
                  <c:v>479</c:v>
                </c:pt>
                <c:pt idx="16079">
                  <c:v>474</c:v>
                </c:pt>
                <c:pt idx="16080">
                  <c:v>548</c:v>
                </c:pt>
                <c:pt idx="16081">
                  <c:v>578</c:v>
                </c:pt>
                <c:pt idx="16082">
                  <c:v>527</c:v>
                </c:pt>
                <c:pt idx="16083">
                  <c:v>482</c:v>
                </c:pt>
                <c:pt idx="16084">
                  <c:v>557</c:v>
                </c:pt>
                <c:pt idx="16085">
                  <c:v>572</c:v>
                </c:pt>
                <c:pt idx="16086">
                  <c:v>450</c:v>
                </c:pt>
                <c:pt idx="16087">
                  <c:v>615</c:v>
                </c:pt>
                <c:pt idx="16088">
                  <c:v>615</c:v>
                </c:pt>
                <c:pt idx="16089">
                  <c:v>561</c:v>
                </c:pt>
                <c:pt idx="16090">
                  <c:v>521</c:v>
                </c:pt>
                <c:pt idx="16091">
                  <c:v>602</c:v>
                </c:pt>
                <c:pt idx="16092">
                  <c:v>543</c:v>
                </c:pt>
                <c:pt idx="16093">
                  <c:v>601</c:v>
                </c:pt>
                <c:pt idx="16094">
                  <c:v>580</c:v>
                </c:pt>
                <c:pt idx="16095">
                  <c:v>468</c:v>
                </c:pt>
                <c:pt idx="16096">
                  <c:v>659</c:v>
                </c:pt>
                <c:pt idx="16097">
                  <c:v>649</c:v>
                </c:pt>
                <c:pt idx="16098">
                  <c:v>649</c:v>
                </c:pt>
                <c:pt idx="16099">
                  <c:v>569</c:v>
                </c:pt>
                <c:pt idx="16100">
                  <c:v>565</c:v>
                </c:pt>
                <c:pt idx="16101">
                  <c:v>635</c:v>
                </c:pt>
                <c:pt idx="16102">
                  <c:v>701</c:v>
                </c:pt>
                <c:pt idx="16103">
                  <c:v>661</c:v>
                </c:pt>
                <c:pt idx="16104">
                  <c:v>604</c:v>
                </c:pt>
                <c:pt idx="16105">
                  <c:v>592</c:v>
                </c:pt>
                <c:pt idx="16106">
                  <c:v>565</c:v>
                </c:pt>
                <c:pt idx="16107">
                  <c:v>598</c:v>
                </c:pt>
                <c:pt idx="16108">
                  <c:v>612</c:v>
                </c:pt>
                <c:pt idx="16109">
                  <c:v>574</c:v>
                </c:pt>
                <c:pt idx="16110">
                  <c:v>623</c:v>
                </c:pt>
                <c:pt idx="16111">
                  <c:v>634</c:v>
                </c:pt>
                <c:pt idx="16112">
                  <c:v>517</c:v>
                </c:pt>
                <c:pt idx="16113">
                  <c:v>532</c:v>
                </c:pt>
                <c:pt idx="16114">
                  <c:v>495</c:v>
                </c:pt>
                <c:pt idx="16115">
                  <c:v>525</c:v>
                </c:pt>
                <c:pt idx="16116">
                  <c:v>550</c:v>
                </c:pt>
                <c:pt idx="16117">
                  <c:v>477</c:v>
                </c:pt>
                <c:pt idx="16118">
                  <c:v>536</c:v>
                </c:pt>
                <c:pt idx="16119">
                  <c:v>554</c:v>
                </c:pt>
                <c:pt idx="16120">
                  <c:v>439</c:v>
                </c:pt>
                <c:pt idx="16121">
                  <c:v>536</c:v>
                </c:pt>
                <c:pt idx="16122">
                  <c:v>468</c:v>
                </c:pt>
                <c:pt idx="16123">
                  <c:v>471</c:v>
                </c:pt>
                <c:pt idx="16124">
                  <c:v>513</c:v>
                </c:pt>
                <c:pt idx="16125">
                  <c:v>509</c:v>
                </c:pt>
                <c:pt idx="16126">
                  <c:v>463</c:v>
                </c:pt>
                <c:pt idx="16127">
                  <c:v>538</c:v>
                </c:pt>
                <c:pt idx="16128">
                  <c:v>427</c:v>
                </c:pt>
                <c:pt idx="16129">
                  <c:v>490</c:v>
                </c:pt>
                <c:pt idx="16130">
                  <c:v>468</c:v>
                </c:pt>
                <c:pt idx="16131">
                  <c:v>416</c:v>
                </c:pt>
                <c:pt idx="16132">
                  <c:v>455</c:v>
                </c:pt>
                <c:pt idx="16133">
                  <c:v>425</c:v>
                </c:pt>
                <c:pt idx="16134">
                  <c:v>386</c:v>
                </c:pt>
                <c:pt idx="16135">
                  <c:v>429</c:v>
                </c:pt>
                <c:pt idx="16136">
                  <c:v>437</c:v>
                </c:pt>
                <c:pt idx="16137">
                  <c:v>454</c:v>
                </c:pt>
                <c:pt idx="16138">
                  <c:v>393</c:v>
                </c:pt>
                <c:pt idx="16139">
                  <c:v>396</c:v>
                </c:pt>
                <c:pt idx="16140">
                  <c:v>335</c:v>
                </c:pt>
                <c:pt idx="16141">
                  <c:v>352</c:v>
                </c:pt>
                <c:pt idx="16142">
                  <c:v>435</c:v>
                </c:pt>
                <c:pt idx="16143">
                  <c:v>396</c:v>
                </c:pt>
                <c:pt idx="16144">
                  <c:v>341</c:v>
                </c:pt>
                <c:pt idx="16145">
                  <c:v>332</c:v>
                </c:pt>
                <c:pt idx="16146">
                  <c:v>368</c:v>
                </c:pt>
                <c:pt idx="16147">
                  <c:v>360</c:v>
                </c:pt>
                <c:pt idx="16148">
                  <c:v>439</c:v>
                </c:pt>
                <c:pt idx="16149">
                  <c:v>365</c:v>
                </c:pt>
                <c:pt idx="16150">
                  <c:v>381</c:v>
                </c:pt>
                <c:pt idx="16151">
                  <c:v>372</c:v>
                </c:pt>
                <c:pt idx="16152">
                  <c:v>373</c:v>
                </c:pt>
                <c:pt idx="16153">
                  <c:v>362</c:v>
                </c:pt>
                <c:pt idx="16154">
                  <c:v>412</c:v>
                </c:pt>
                <c:pt idx="16155">
                  <c:v>360</c:v>
                </c:pt>
                <c:pt idx="16156">
                  <c:v>400</c:v>
                </c:pt>
                <c:pt idx="16157">
                  <c:v>350</c:v>
                </c:pt>
                <c:pt idx="16158">
                  <c:v>389</c:v>
                </c:pt>
                <c:pt idx="16159">
                  <c:v>411</c:v>
                </c:pt>
                <c:pt idx="16160">
                  <c:v>460</c:v>
                </c:pt>
                <c:pt idx="16161">
                  <c:v>450</c:v>
                </c:pt>
                <c:pt idx="16162">
                  <c:v>527</c:v>
                </c:pt>
                <c:pt idx="16163">
                  <c:v>424</c:v>
                </c:pt>
                <c:pt idx="16164">
                  <c:v>476</c:v>
                </c:pt>
                <c:pt idx="16165">
                  <c:v>410</c:v>
                </c:pt>
                <c:pt idx="16166">
                  <c:v>419</c:v>
                </c:pt>
                <c:pt idx="16167">
                  <c:v>413</c:v>
                </c:pt>
                <c:pt idx="16168">
                  <c:v>430</c:v>
                </c:pt>
                <c:pt idx="16169">
                  <c:v>402</c:v>
                </c:pt>
                <c:pt idx="16170">
                  <c:v>463</c:v>
                </c:pt>
                <c:pt idx="16171">
                  <c:v>395</c:v>
                </c:pt>
                <c:pt idx="16172">
                  <c:v>423</c:v>
                </c:pt>
                <c:pt idx="16173">
                  <c:v>386</c:v>
                </c:pt>
                <c:pt idx="16174">
                  <c:v>393</c:v>
                </c:pt>
                <c:pt idx="16175">
                  <c:v>468</c:v>
                </c:pt>
                <c:pt idx="16176">
                  <c:v>416</c:v>
                </c:pt>
                <c:pt idx="16177">
                  <c:v>432</c:v>
                </c:pt>
                <c:pt idx="16178">
                  <c:v>414</c:v>
                </c:pt>
                <c:pt idx="16179">
                  <c:v>410</c:v>
                </c:pt>
                <c:pt idx="16180">
                  <c:v>371</c:v>
                </c:pt>
                <c:pt idx="16181">
                  <c:v>442</c:v>
                </c:pt>
                <c:pt idx="16182">
                  <c:v>383</c:v>
                </c:pt>
                <c:pt idx="16183">
                  <c:v>514</c:v>
                </c:pt>
                <c:pt idx="16184">
                  <c:v>543</c:v>
                </c:pt>
                <c:pt idx="16185">
                  <c:v>484</c:v>
                </c:pt>
                <c:pt idx="16186">
                  <c:v>486</c:v>
                </c:pt>
                <c:pt idx="16187">
                  <c:v>474</c:v>
                </c:pt>
                <c:pt idx="16188">
                  <c:v>488</c:v>
                </c:pt>
                <c:pt idx="16189">
                  <c:v>477</c:v>
                </c:pt>
                <c:pt idx="16190">
                  <c:v>487</c:v>
                </c:pt>
                <c:pt idx="16191">
                  <c:v>420</c:v>
                </c:pt>
                <c:pt idx="16192">
                  <c:v>581</c:v>
                </c:pt>
                <c:pt idx="16193">
                  <c:v>624</c:v>
                </c:pt>
                <c:pt idx="16194">
                  <c:v>746</c:v>
                </c:pt>
                <c:pt idx="16195">
                  <c:v>632</c:v>
                </c:pt>
                <c:pt idx="16196">
                  <c:v>706</c:v>
                </c:pt>
                <c:pt idx="16197">
                  <c:v>663</c:v>
                </c:pt>
                <c:pt idx="16198">
                  <c:v>689</c:v>
                </c:pt>
                <c:pt idx="16199">
                  <c:v>704</c:v>
                </c:pt>
                <c:pt idx="16200">
                  <c:v>632</c:v>
                </c:pt>
                <c:pt idx="16201">
                  <c:v>613</c:v>
                </c:pt>
                <c:pt idx="16202">
                  <c:v>616</c:v>
                </c:pt>
                <c:pt idx="16203">
                  <c:v>615</c:v>
                </c:pt>
                <c:pt idx="16204">
                  <c:v>632</c:v>
                </c:pt>
                <c:pt idx="16205">
                  <c:v>688</c:v>
                </c:pt>
                <c:pt idx="16206">
                  <c:v>715</c:v>
                </c:pt>
                <c:pt idx="16207">
                  <c:v>696</c:v>
                </c:pt>
                <c:pt idx="16208">
                  <c:v>724</c:v>
                </c:pt>
                <c:pt idx="16209">
                  <c:v>722</c:v>
                </c:pt>
                <c:pt idx="16210">
                  <c:v>616</c:v>
                </c:pt>
                <c:pt idx="16211">
                  <c:v>667</c:v>
                </c:pt>
                <c:pt idx="16212">
                  <c:v>643</c:v>
                </c:pt>
                <c:pt idx="16213">
                  <c:v>605</c:v>
                </c:pt>
                <c:pt idx="16214">
                  <c:v>626</c:v>
                </c:pt>
                <c:pt idx="16215">
                  <c:v>630</c:v>
                </c:pt>
                <c:pt idx="16216">
                  <c:v>618</c:v>
                </c:pt>
                <c:pt idx="16217">
                  <c:v>654</c:v>
                </c:pt>
                <c:pt idx="16218">
                  <c:v>651</c:v>
                </c:pt>
                <c:pt idx="16219">
                  <c:v>667</c:v>
                </c:pt>
                <c:pt idx="16220">
                  <c:v>647</c:v>
                </c:pt>
                <c:pt idx="16221">
                  <c:v>651</c:v>
                </c:pt>
                <c:pt idx="16222">
                  <c:v>635</c:v>
                </c:pt>
                <c:pt idx="16223">
                  <c:v>608</c:v>
                </c:pt>
                <c:pt idx="16224">
                  <c:v>553</c:v>
                </c:pt>
                <c:pt idx="16225">
                  <c:v>641</c:v>
                </c:pt>
                <c:pt idx="16226">
                  <c:v>683</c:v>
                </c:pt>
                <c:pt idx="16227">
                  <c:v>650</c:v>
                </c:pt>
                <c:pt idx="16228">
                  <c:v>627</c:v>
                </c:pt>
                <c:pt idx="16229">
                  <c:v>564</c:v>
                </c:pt>
                <c:pt idx="16230">
                  <c:v>620</c:v>
                </c:pt>
                <c:pt idx="16231">
                  <c:v>619</c:v>
                </c:pt>
                <c:pt idx="16232">
                  <c:v>621</c:v>
                </c:pt>
                <c:pt idx="16233">
                  <c:v>652</c:v>
                </c:pt>
                <c:pt idx="16234">
                  <c:v>597</c:v>
                </c:pt>
                <c:pt idx="16235">
                  <c:v>623</c:v>
                </c:pt>
                <c:pt idx="16236">
                  <c:v>520</c:v>
                </c:pt>
                <c:pt idx="16237">
                  <c:v>471</c:v>
                </c:pt>
                <c:pt idx="16238">
                  <c:v>601</c:v>
                </c:pt>
                <c:pt idx="16239">
                  <c:v>570</c:v>
                </c:pt>
                <c:pt idx="16240">
                  <c:v>530</c:v>
                </c:pt>
                <c:pt idx="16241">
                  <c:v>527</c:v>
                </c:pt>
                <c:pt idx="16242">
                  <c:v>514</c:v>
                </c:pt>
                <c:pt idx="16243">
                  <c:v>448</c:v>
                </c:pt>
                <c:pt idx="16244">
                  <c:v>459</c:v>
                </c:pt>
                <c:pt idx="16245">
                  <c:v>469</c:v>
                </c:pt>
                <c:pt idx="16246">
                  <c:v>519</c:v>
                </c:pt>
                <c:pt idx="16247">
                  <c:v>512</c:v>
                </c:pt>
                <c:pt idx="16248">
                  <c:v>481</c:v>
                </c:pt>
                <c:pt idx="16249">
                  <c:v>480</c:v>
                </c:pt>
                <c:pt idx="16250">
                  <c:v>444</c:v>
                </c:pt>
                <c:pt idx="16251">
                  <c:v>450</c:v>
                </c:pt>
                <c:pt idx="16252">
                  <c:v>433</c:v>
                </c:pt>
                <c:pt idx="16253">
                  <c:v>419</c:v>
                </c:pt>
                <c:pt idx="16254">
                  <c:v>503</c:v>
                </c:pt>
                <c:pt idx="16255">
                  <c:v>449</c:v>
                </c:pt>
                <c:pt idx="16256">
                  <c:v>468</c:v>
                </c:pt>
                <c:pt idx="16257">
                  <c:v>451</c:v>
                </c:pt>
                <c:pt idx="16258">
                  <c:v>513</c:v>
                </c:pt>
                <c:pt idx="16259">
                  <c:v>513</c:v>
                </c:pt>
                <c:pt idx="16260">
                  <c:v>529</c:v>
                </c:pt>
                <c:pt idx="16261">
                  <c:v>496</c:v>
                </c:pt>
                <c:pt idx="16262">
                  <c:v>574</c:v>
                </c:pt>
                <c:pt idx="16263">
                  <c:v>627</c:v>
                </c:pt>
                <c:pt idx="16264">
                  <c:v>548</c:v>
                </c:pt>
                <c:pt idx="16265">
                  <c:v>596</c:v>
                </c:pt>
                <c:pt idx="16266">
                  <c:v>608</c:v>
                </c:pt>
                <c:pt idx="16267">
                  <c:v>587</c:v>
                </c:pt>
                <c:pt idx="16268">
                  <c:v>646</c:v>
                </c:pt>
                <c:pt idx="16269">
                  <c:v>621</c:v>
                </c:pt>
                <c:pt idx="16270">
                  <c:v>824</c:v>
                </c:pt>
                <c:pt idx="16271">
                  <c:v>782</c:v>
                </c:pt>
                <c:pt idx="16272">
                  <c:v>781</c:v>
                </c:pt>
                <c:pt idx="16273">
                  <c:v>794</c:v>
                </c:pt>
                <c:pt idx="16274">
                  <c:v>754</c:v>
                </c:pt>
                <c:pt idx="16275">
                  <c:v>781</c:v>
                </c:pt>
                <c:pt idx="16276">
                  <c:v>691</c:v>
                </c:pt>
                <c:pt idx="16277">
                  <c:v>786</c:v>
                </c:pt>
                <c:pt idx="16278">
                  <c:v>784</c:v>
                </c:pt>
                <c:pt idx="16279">
                  <c:v>811</c:v>
                </c:pt>
                <c:pt idx="16280">
                  <c:v>852</c:v>
                </c:pt>
                <c:pt idx="16281">
                  <c:v>871</c:v>
                </c:pt>
                <c:pt idx="16282">
                  <c:v>865</c:v>
                </c:pt>
                <c:pt idx="16283">
                  <c:v>895</c:v>
                </c:pt>
                <c:pt idx="16284">
                  <c:v>886</c:v>
                </c:pt>
                <c:pt idx="16285">
                  <c:v>851</c:v>
                </c:pt>
                <c:pt idx="16286">
                  <c:v>846</c:v>
                </c:pt>
                <c:pt idx="16287">
                  <c:v>835</c:v>
                </c:pt>
                <c:pt idx="16288">
                  <c:v>817</c:v>
                </c:pt>
                <c:pt idx="16289">
                  <c:v>837</c:v>
                </c:pt>
                <c:pt idx="16290">
                  <c:v>848</c:v>
                </c:pt>
                <c:pt idx="16291">
                  <c:v>1248</c:v>
                </c:pt>
                <c:pt idx="16292">
                  <c:v>1177</c:v>
                </c:pt>
                <c:pt idx="16293">
                  <c:v>1063</c:v>
                </c:pt>
                <c:pt idx="16294">
                  <c:v>914</c:v>
                </c:pt>
                <c:pt idx="16295">
                  <c:v>1020</c:v>
                </c:pt>
                <c:pt idx="16296">
                  <c:v>1028</c:v>
                </c:pt>
                <c:pt idx="16297">
                  <c:v>961</c:v>
                </c:pt>
                <c:pt idx="16298">
                  <c:v>981</c:v>
                </c:pt>
                <c:pt idx="16299">
                  <c:v>932</c:v>
                </c:pt>
                <c:pt idx="16300">
                  <c:v>913</c:v>
                </c:pt>
                <c:pt idx="16301">
                  <c:v>903</c:v>
                </c:pt>
                <c:pt idx="16302">
                  <c:v>868</c:v>
                </c:pt>
                <c:pt idx="16303">
                  <c:v>907</c:v>
                </c:pt>
                <c:pt idx="16304">
                  <c:v>933</c:v>
                </c:pt>
                <c:pt idx="16305">
                  <c:v>891</c:v>
                </c:pt>
                <c:pt idx="16306">
                  <c:v>943</c:v>
                </c:pt>
                <c:pt idx="16307">
                  <c:v>891</c:v>
                </c:pt>
                <c:pt idx="16308">
                  <c:v>958</c:v>
                </c:pt>
                <c:pt idx="16309">
                  <c:v>930</c:v>
                </c:pt>
                <c:pt idx="16310">
                  <c:v>904</c:v>
                </c:pt>
                <c:pt idx="16311">
                  <c:v>897</c:v>
                </c:pt>
                <c:pt idx="16312">
                  <c:v>896</c:v>
                </c:pt>
                <c:pt idx="16313">
                  <c:v>843</c:v>
                </c:pt>
                <c:pt idx="16314">
                  <c:v>854</c:v>
                </c:pt>
                <c:pt idx="16315">
                  <c:v>806</c:v>
                </c:pt>
                <c:pt idx="16316">
                  <c:v>800</c:v>
                </c:pt>
                <c:pt idx="16317">
                  <c:v>822</c:v>
                </c:pt>
                <c:pt idx="16318">
                  <c:v>786</c:v>
                </c:pt>
                <c:pt idx="16319">
                  <c:v>833</c:v>
                </c:pt>
                <c:pt idx="16320">
                  <c:v>768</c:v>
                </c:pt>
                <c:pt idx="16321">
                  <c:v>788</c:v>
                </c:pt>
                <c:pt idx="16322">
                  <c:v>760</c:v>
                </c:pt>
                <c:pt idx="16323">
                  <c:v>775</c:v>
                </c:pt>
                <c:pt idx="16324">
                  <c:v>765</c:v>
                </c:pt>
                <c:pt idx="16325">
                  <c:v>703</c:v>
                </c:pt>
                <c:pt idx="16326">
                  <c:v>716</c:v>
                </c:pt>
                <c:pt idx="16327">
                  <c:v>616</c:v>
                </c:pt>
                <c:pt idx="16328">
                  <c:v>587</c:v>
                </c:pt>
                <c:pt idx="16329">
                  <c:v>619</c:v>
                </c:pt>
                <c:pt idx="16330">
                  <c:v>648</c:v>
                </c:pt>
                <c:pt idx="16331">
                  <c:v>599</c:v>
                </c:pt>
                <c:pt idx="16332">
                  <c:v>530</c:v>
                </c:pt>
                <c:pt idx="16333">
                  <c:v>506</c:v>
                </c:pt>
                <c:pt idx="16334">
                  <c:v>473</c:v>
                </c:pt>
                <c:pt idx="16335">
                  <c:v>502</c:v>
                </c:pt>
                <c:pt idx="16336">
                  <c:v>483</c:v>
                </c:pt>
                <c:pt idx="16337">
                  <c:v>533</c:v>
                </c:pt>
                <c:pt idx="16338">
                  <c:v>528</c:v>
                </c:pt>
                <c:pt idx="16339">
                  <c:v>445</c:v>
                </c:pt>
                <c:pt idx="16340">
                  <c:v>494</c:v>
                </c:pt>
                <c:pt idx="16341">
                  <c:v>490</c:v>
                </c:pt>
                <c:pt idx="16342">
                  <c:v>476</c:v>
                </c:pt>
                <c:pt idx="16343">
                  <c:v>452</c:v>
                </c:pt>
                <c:pt idx="16344">
                  <c:v>471</c:v>
                </c:pt>
                <c:pt idx="16345">
                  <c:v>482</c:v>
                </c:pt>
                <c:pt idx="16346">
                  <c:v>421</c:v>
                </c:pt>
                <c:pt idx="16347">
                  <c:v>464</c:v>
                </c:pt>
                <c:pt idx="16348">
                  <c:v>364</c:v>
                </c:pt>
                <c:pt idx="16349">
                  <c:v>361</c:v>
                </c:pt>
                <c:pt idx="16350">
                  <c:v>403</c:v>
                </c:pt>
                <c:pt idx="16351">
                  <c:v>355</c:v>
                </c:pt>
                <c:pt idx="16352">
                  <c:v>379</c:v>
                </c:pt>
                <c:pt idx="16353">
                  <c:v>417</c:v>
                </c:pt>
                <c:pt idx="16354">
                  <c:v>536</c:v>
                </c:pt>
                <c:pt idx="16355">
                  <c:v>442</c:v>
                </c:pt>
                <c:pt idx="16356">
                  <c:v>451</c:v>
                </c:pt>
                <c:pt idx="16357">
                  <c:v>416</c:v>
                </c:pt>
                <c:pt idx="16358">
                  <c:v>443</c:v>
                </c:pt>
                <c:pt idx="16359">
                  <c:v>419</c:v>
                </c:pt>
                <c:pt idx="16360">
                  <c:v>457</c:v>
                </c:pt>
                <c:pt idx="16361">
                  <c:v>616</c:v>
                </c:pt>
                <c:pt idx="16362">
                  <c:v>430</c:v>
                </c:pt>
                <c:pt idx="16363">
                  <c:v>460</c:v>
                </c:pt>
                <c:pt idx="16364">
                  <c:v>623</c:v>
                </c:pt>
                <c:pt idx="16365">
                  <c:v>588</c:v>
                </c:pt>
                <c:pt idx="16366">
                  <c:v>634</c:v>
                </c:pt>
                <c:pt idx="16367">
                  <c:v>642</c:v>
                </c:pt>
                <c:pt idx="16368">
                  <c:v>668</c:v>
                </c:pt>
                <c:pt idx="16369">
                  <c:v>662</c:v>
                </c:pt>
                <c:pt idx="16370">
                  <c:v>610</c:v>
                </c:pt>
                <c:pt idx="16371">
                  <c:v>621</c:v>
                </c:pt>
                <c:pt idx="16372">
                  <c:v>718</c:v>
                </c:pt>
                <c:pt idx="16373">
                  <c:v>668</c:v>
                </c:pt>
                <c:pt idx="16374">
                  <c:v>646</c:v>
                </c:pt>
                <c:pt idx="16375">
                  <c:v>751</c:v>
                </c:pt>
                <c:pt idx="16376">
                  <c:v>747</c:v>
                </c:pt>
                <c:pt idx="16377">
                  <c:v>776</c:v>
                </c:pt>
                <c:pt idx="16378">
                  <c:v>815</c:v>
                </c:pt>
                <c:pt idx="16379">
                  <c:v>800</c:v>
                </c:pt>
                <c:pt idx="16380">
                  <c:v>817</c:v>
                </c:pt>
                <c:pt idx="16381">
                  <c:v>791</c:v>
                </c:pt>
                <c:pt idx="16382">
                  <c:v>854</c:v>
                </c:pt>
                <c:pt idx="16383">
                  <c:v>855</c:v>
                </c:pt>
                <c:pt idx="16384">
                  <c:v>830</c:v>
                </c:pt>
                <c:pt idx="16385">
                  <c:v>822</c:v>
                </c:pt>
                <c:pt idx="16386">
                  <c:v>856</c:v>
                </c:pt>
                <c:pt idx="16387">
                  <c:v>869</c:v>
                </c:pt>
                <c:pt idx="16388">
                  <c:v>898</c:v>
                </c:pt>
                <c:pt idx="16389">
                  <c:v>889</c:v>
                </c:pt>
                <c:pt idx="16390">
                  <c:v>877</c:v>
                </c:pt>
                <c:pt idx="16391">
                  <c:v>898</c:v>
                </c:pt>
                <c:pt idx="16392">
                  <c:v>905</c:v>
                </c:pt>
                <c:pt idx="16393">
                  <c:v>914</c:v>
                </c:pt>
                <c:pt idx="16394">
                  <c:v>927</c:v>
                </c:pt>
                <c:pt idx="16395">
                  <c:v>875</c:v>
                </c:pt>
                <c:pt idx="16396">
                  <c:v>874</c:v>
                </c:pt>
                <c:pt idx="16397">
                  <c:v>877</c:v>
                </c:pt>
                <c:pt idx="16398">
                  <c:v>860</c:v>
                </c:pt>
                <c:pt idx="16399">
                  <c:v>897</c:v>
                </c:pt>
                <c:pt idx="16400">
                  <c:v>894</c:v>
                </c:pt>
                <c:pt idx="16401">
                  <c:v>912</c:v>
                </c:pt>
                <c:pt idx="16402">
                  <c:v>922</c:v>
                </c:pt>
                <c:pt idx="16403">
                  <c:v>906</c:v>
                </c:pt>
                <c:pt idx="16404">
                  <c:v>890</c:v>
                </c:pt>
                <c:pt idx="16405">
                  <c:v>879</c:v>
                </c:pt>
                <c:pt idx="16406">
                  <c:v>895</c:v>
                </c:pt>
                <c:pt idx="16407">
                  <c:v>910</c:v>
                </c:pt>
                <c:pt idx="16408">
                  <c:v>855</c:v>
                </c:pt>
                <c:pt idx="16409">
                  <c:v>844</c:v>
                </c:pt>
                <c:pt idx="16410">
                  <c:v>878</c:v>
                </c:pt>
                <c:pt idx="16411">
                  <c:v>791</c:v>
                </c:pt>
                <c:pt idx="16412">
                  <c:v>784</c:v>
                </c:pt>
                <c:pt idx="16413">
                  <c:v>729</c:v>
                </c:pt>
                <c:pt idx="16414">
                  <c:v>703</c:v>
                </c:pt>
                <c:pt idx="16415">
                  <c:v>722</c:v>
                </c:pt>
                <c:pt idx="16416">
                  <c:v>689</c:v>
                </c:pt>
                <c:pt idx="16417">
                  <c:v>833</c:v>
                </c:pt>
                <c:pt idx="16418">
                  <c:v>812</c:v>
                </c:pt>
                <c:pt idx="16419">
                  <c:v>709</c:v>
                </c:pt>
                <c:pt idx="16420">
                  <c:v>690</c:v>
                </c:pt>
                <c:pt idx="16421">
                  <c:v>699</c:v>
                </c:pt>
                <c:pt idx="16422">
                  <c:v>731</c:v>
                </c:pt>
                <c:pt idx="16423">
                  <c:v>550</c:v>
                </c:pt>
                <c:pt idx="16424">
                  <c:v>605</c:v>
                </c:pt>
                <c:pt idx="16425">
                  <c:v>571</c:v>
                </c:pt>
                <c:pt idx="16426">
                  <c:v>556</c:v>
                </c:pt>
                <c:pt idx="16427">
                  <c:v>590</c:v>
                </c:pt>
                <c:pt idx="16428">
                  <c:v>567</c:v>
                </c:pt>
                <c:pt idx="16429">
                  <c:v>627</c:v>
                </c:pt>
                <c:pt idx="16430">
                  <c:v>679</c:v>
                </c:pt>
                <c:pt idx="16431">
                  <c:v>550</c:v>
                </c:pt>
                <c:pt idx="16432">
                  <c:v>473</c:v>
                </c:pt>
                <c:pt idx="16433">
                  <c:v>480</c:v>
                </c:pt>
                <c:pt idx="16434">
                  <c:v>540</c:v>
                </c:pt>
                <c:pt idx="16435">
                  <c:v>520</c:v>
                </c:pt>
                <c:pt idx="16436">
                  <c:v>603</c:v>
                </c:pt>
                <c:pt idx="16437">
                  <c:v>526</c:v>
                </c:pt>
                <c:pt idx="16438">
                  <c:v>425</c:v>
                </c:pt>
                <c:pt idx="16439">
                  <c:v>406</c:v>
                </c:pt>
                <c:pt idx="16440">
                  <c:v>430</c:v>
                </c:pt>
                <c:pt idx="16441">
                  <c:v>454</c:v>
                </c:pt>
                <c:pt idx="16442">
                  <c:v>434</c:v>
                </c:pt>
                <c:pt idx="16443">
                  <c:v>459</c:v>
                </c:pt>
                <c:pt idx="16444">
                  <c:v>385</c:v>
                </c:pt>
                <c:pt idx="16445">
                  <c:v>360</c:v>
                </c:pt>
                <c:pt idx="16446">
                  <c:v>406</c:v>
                </c:pt>
                <c:pt idx="16447">
                  <c:v>451</c:v>
                </c:pt>
                <c:pt idx="16448">
                  <c:v>396</c:v>
                </c:pt>
                <c:pt idx="16449">
                  <c:v>382</c:v>
                </c:pt>
                <c:pt idx="16450">
                  <c:v>496</c:v>
                </c:pt>
                <c:pt idx="16451">
                  <c:v>585</c:v>
                </c:pt>
                <c:pt idx="16452">
                  <c:v>560</c:v>
                </c:pt>
                <c:pt idx="16453">
                  <c:v>519</c:v>
                </c:pt>
                <c:pt idx="16454">
                  <c:v>476</c:v>
                </c:pt>
                <c:pt idx="16455">
                  <c:v>439</c:v>
                </c:pt>
                <c:pt idx="16456">
                  <c:v>422</c:v>
                </c:pt>
                <c:pt idx="16457">
                  <c:v>778</c:v>
                </c:pt>
                <c:pt idx="16458">
                  <c:v>453</c:v>
                </c:pt>
                <c:pt idx="16459">
                  <c:v>433</c:v>
                </c:pt>
                <c:pt idx="16460">
                  <c:v>670</c:v>
                </c:pt>
                <c:pt idx="16461">
                  <c:v>583</c:v>
                </c:pt>
                <c:pt idx="16462">
                  <c:v>696</c:v>
                </c:pt>
                <c:pt idx="16463">
                  <c:v>802</c:v>
                </c:pt>
                <c:pt idx="16464">
                  <c:v>768</c:v>
                </c:pt>
                <c:pt idx="16465">
                  <c:v>743</c:v>
                </c:pt>
                <c:pt idx="16466">
                  <c:v>672</c:v>
                </c:pt>
                <c:pt idx="16467">
                  <c:v>721</c:v>
                </c:pt>
                <c:pt idx="16468">
                  <c:v>759</c:v>
                </c:pt>
                <c:pt idx="16469">
                  <c:v>783</c:v>
                </c:pt>
                <c:pt idx="16470">
                  <c:v>723</c:v>
                </c:pt>
                <c:pt idx="16471">
                  <c:v>769</c:v>
                </c:pt>
                <c:pt idx="16472">
                  <c:v>828</c:v>
                </c:pt>
                <c:pt idx="16473">
                  <c:v>840</c:v>
                </c:pt>
                <c:pt idx="16474">
                  <c:v>847</c:v>
                </c:pt>
                <c:pt idx="16475">
                  <c:v>859</c:v>
                </c:pt>
                <c:pt idx="16476">
                  <c:v>851</c:v>
                </c:pt>
                <c:pt idx="16477">
                  <c:v>857</c:v>
                </c:pt>
                <c:pt idx="16478">
                  <c:v>880</c:v>
                </c:pt>
                <c:pt idx="16479">
                  <c:v>835</c:v>
                </c:pt>
                <c:pt idx="16480">
                  <c:v>938</c:v>
                </c:pt>
                <c:pt idx="16481">
                  <c:v>865</c:v>
                </c:pt>
                <c:pt idx="16482">
                  <c:v>923</c:v>
                </c:pt>
                <c:pt idx="16483">
                  <c:v>874</c:v>
                </c:pt>
                <c:pt idx="16484">
                  <c:v>878</c:v>
                </c:pt>
                <c:pt idx="16485">
                  <c:v>882</c:v>
                </c:pt>
                <c:pt idx="16486">
                  <c:v>876</c:v>
                </c:pt>
                <c:pt idx="16487">
                  <c:v>867</c:v>
                </c:pt>
                <c:pt idx="16488">
                  <c:v>908</c:v>
                </c:pt>
                <c:pt idx="16489">
                  <c:v>905</c:v>
                </c:pt>
                <c:pt idx="16490">
                  <c:v>930</c:v>
                </c:pt>
                <c:pt idx="16491">
                  <c:v>933</c:v>
                </c:pt>
                <c:pt idx="16492">
                  <c:v>866</c:v>
                </c:pt>
                <c:pt idx="16493">
                  <c:v>881</c:v>
                </c:pt>
                <c:pt idx="16494">
                  <c:v>883</c:v>
                </c:pt>
                <c:pt idx="16495">
                  <c:v>860</c:v>
                </c:pt>
                <c:pt idx="16496">
                  <c:v>872</c:v>
                </c:pt>
                <c:pt idx="16497">
                  <c:v>870</c:v>
                </c:pt>
                <c:pt idx="16498">
                  <c:v>862</c:v>
                </c:pt>
                <c:pt idx="16499">
                  <c:v>880</c:v>
                </c:pt>
                <c:pt idx="16500">
                  <c:v>849</c:v>
                </c:pt>
                <c:pt idx="16501">
                  <c:v>890</c:v>
                </c:pt>
                <c:pt idx="16502">
                  <c:v>904</c:v>
                </c:pt>
                <c:pt idx="16503">
                  <c:v>888</c:v>
                </c:pt>
                <c:pt idx="16504">
                  <c:v>903</c:v>
                </c:pt>
                <c:pt idx="16505">
                  <c:v>939</c:v>
                </c:pt>
                <c:pt idx="16506">
                  <c:v>933</c:v>
                </c:pt>
                <c:pt idx="16507">
                  <c:v>910</c:v>
                </c:pt>
                <c:pt idx="16508">
                  <c:v>896</c:v>
                </c:pt>
                <c:pt idx="16509">
                  <c:v>937</c:v>
                </c:pt>
                <c:pt idx="16510">
                  <c:v>911</c:v>
                </c:pt>
                <c:pt idx="16511">
                  <c:v>920</c:v>
                </c:pt>
                <c:pt idx="16512">
                  <c:v>830</c:v>
                </c:pt>
                <c:pt idx="16513">
                  <c:v>843</c:v>
                </c:pt>
                <c:pt idx="16514">
                  <c:v>779</c:v>
                </c:pt>
                <c:pt idx="16515">
                  <c:v>790</c:v>
                </c:pt>
                <c:pt idx="16516">
                  <c:v>710</c:v>
                </c:pt>
                <c:pt idx="16517">
                  <c:v>761</c:v>
                </c:pt>
                <c:pt idx="16518">
                  <c:v>710</c:v>
                </c:pt>
                <c:pt idx="16519">
                  <c:v>653</c:v>
                </c:pt>
                <c:pt idx="16520">
                  <c:v>631</c:v>
                </c:pt>
                <c:pt idx="16521">
                  <c:v>685</c:v>
                </c:pt>
                <c:pt idx="16522">
                  <c:v>589</c:v>
                </c:pt>
                <c:pt idx="16523">
                  <c:v>780</c:v>
                </c:pt>
                <c:pt idx="16524">
                  <c:v>683</c:v>
                </c:pt>
                <c:pt idx="16525">
                  <c:v>642</c:v>
                </c:pt>
                <c:pt idx="16526">
                  <c:v>597</c:v>
                </c:pt>
                <c:pt idx="16527">
                  <c:v>503</c:v>
                </c:pt>
                <c:pt idx="16528">
                  <c:v>557</c:v>
                </c:pt>
                <c:pt idx="16529">
                  <c:v>548</c:v>
                </c:pt>
                <c:pt idx="16530">
                  <c:v>479</c:v>
                </c:pt>
                <c:pt idx="16531">
                  <c:v>492</c:v>
                </c:pt>
                <c:pt idx="16532">
                  <c:v>495</c:v>
                </c:pt>
                <c:pt idx="16533">
                  <c:v>507</c:v>
                </c:pt>
                <c:pt idx="16534">
                  <c:v>473</c:v>
                </c:pt>
                <c:pt idx="16535">
                  <c:v>518</c:v>
                </c:pt>
                <c:pt idx="16536">
                  <c:v>485</c:v>
                </c:pt>
                <c:pt idx="16537">
                  <c:v>511</c:v>
                </c:pt>
                <c:pt idx="16538">
                  <c:v>505</c:v>
                </c:pt>
                <c:pt idx="16539">
                  <c:v>492</c:v>
                </c:pt>
                <c:pt idx="16540">
                  <c:v>415</c:v>
                </c:pt>
                <c:pt idx="16541">
                  <c:v>500</c:v>
                </c:pt>
                <c:pt idx="16542">
                  <c:v>528</c:v>
                </c:pt>
                <c:pt idx="16543">
                  <c:v>445</c:v>
                </c:pt>
                <c:pt idx="16544">
                  <c:v>451</c:v>
                </c:pt>
                <c:pt idx="16545">
                  <c:v>405</c:v>
                </c:pt>
                <c:pt idx="16546">
                  <c:v>427</c:v>
                </c:pt>
                <c:pt idx="16547">
                  <c:v>501</c:v>
                </c:pt>
                <c:pt idx="16548">
                  <c:v>432</c:v>
                </c:pt>
                <c:pt idx="16549">
                  <c:v>449</c:v>
                </c:pt>
                <c:pt idx="16550">
                  <c:v>425</c:v>
                </c:pt>
                <c:pt idx="16551">
                  <c:v>469</c:v>
                </c:pt>
                <c:pt idx="16552">
                  <c:v>505</c:v>
                </c:pt>
                <c:pt idx="16553">
                  <c:v>733</c:v>
                </c:pt>
                <c:pt idx="16554">
                  <c:v>511</c:v>
                </c:pt>
                <c:pt idx="16555">
                  <c:v>477</c:v>
                </c:pt>
                <c:pt idx="16556">
                  <c:v>617</c:v>
                </c:pt>
                <c:pt idx="16557">
                  <c:v>596</c:v>
                </c:pt>
                <c:pt idx="16558">
                  <c:v>674</c:v>
                </c:pt>
                <c:pt idx="16559">
                  <c:v>690</c:v>
                </c:pt>
                <c:pt idx="16560">
                  <c:v>686</c:v>
                </c:pt>
                <c:pt idx="16561">
                  <c:v>673</c:v>
                </c:pt>
                <c:pt idx="16562">
                  <c:v>633</c:v>
                </c:pt>
                <c:pt idx="16563">
                  <c:v>683</c:v>
                </c:pt>
                <c:pt idx="16564">
                  <c:v>736</c:v>
                </c:pt>
                <c:pt idx="16565">
                  <c:v>677</c:v>
                </c:pt>
                <c:pt idx="16566">
                  <c:v>667</c:v>
                </c:pt>
                <c:pt idx="16567">
                  <c:v>656</c:v>
                </c:pt>
                <c:pt idx="16568">
                  <c:v>782</c:v>
                </c:pt>
                <c:pt idx="16569">
                  <c:v>819</c:v>
                </c:pt>
                <c:pt idx="16570">
                  <c:v>803</c:v>
                </c:pt>
                <c:pt idx="16571">
                  <c:v>849</c:v>
                </c:pt>
                <c:pt idx="16572">
                  <c:v>863</c:v>
                </c:pt>
                <c:pt idx="16573">
                  <c:v>844</c:v>
                </c:pt>
                <c:pt idx="16574">
                  <c:v>851</c:v>
                </c:pt>
                <c:pt idx="16575">
                  <c:v>855</c:v>
                </c:pt>
                <c:pt idx="16576">
                  <c:v>872</c:v>
                </c:pt>
                <c:pt idx="16577">
                  <c:v>894</c:v>
                </c:pt>
                <c:pt idx="16578">
                  <c:v>870</c:v>
                </c:pt>
                <c:pt idx="16579">
                  <c:v>923</c:v>
                </c:pt>
                <c:pt idx="16580">
                  <c:v>908</c:v>
                </c:pt>
                <c:pt idx="16581">
                  <c:v>908</c:v>
                </c:pt>
                <c:pt idx="16582">
                  <c:v>889</c:v>
                </c:pt>
                <c:pt idx="16583">
                  <c:v>909</c:v>
                </c:pt>
                <c:pt idx="16584">
                  <c:v>886</c:v>
                </c:pt>
                <c:pt idx="16585">
                  <c:v>894</c:v>
                </c:pt>
                <c:pt idx="16586">
                  <c:v>858</c:v>
                </c:pt>
                <c:pt idx="16587">
                  <c:v>894</c:v>
                </c:pt>
                <c:pt idx="16588">
                  <c:v>879</c:v>
                </c:pt>
                <c:pt idx="16589">
                  <c:v>888</c:v>
                </c:pt>
                <c:pt idx="16590">
                  <c:v>909</c:v>
                </c:pt>
                <c:pt idx="16591">
                  <c:v>1007</c:v>
                </c:pt>
                <c:pt idx="16592">
                  <c:v>1206</c:v>
                </c:pt>
                <c:pt idx="16593">
                  <c:v>906</c:v>
                </c:pt>
                <c:pt idx="16594">
                  <c:v>961</c:v>
                </c:pt>
                <c:pt idx="16595">
                  <c:v>944</c:v>
                </c:pt>
                <c:pt idx="16596">
                  <c:v>952</c:v>
                </c:pt>
                <c:pt idx="16597">
                  <c:v>925</c:v>
                </c:pt>
                <c:pt idx="16598">
                  <c:v>869</c:v>
                </c:pt>
                <c:pt idx="16599">
                  <c:v>867</c:v>
                </c:pt>
                <c:pt idx="16600">
                  <c:v>846</c:v>
                </c:pt>
                <c:pt idx="16601">
                  <c:v>866</c:v>
                </c:pt>
                <c:pt idx="16602">
                  <c:v>868</c:v>
                </c:pt>
                <c:pt idx="16603">
                  <c:v>746</c:v>
                </c:pt>
                <c:pt idx="16604">
                  <c:v>725</c:v>
                </c:pt>
                <c:pt idx="16605">
                  <c:v>698</c:v>
                </c:pt>
                <c:pt idx="16606">
                  <c:v>717</c:v>
                </c:pt>
                <c:pt idx="16607">
                  <c:v>718</c:v>
                </c:pt>
                <c:pt idx="16608">
                  <c:v>733</c:v>
                </c:pt>
                <c:pt idx="16609">
                  <c:v>692</c:v>
                </c:pt>
                <c:pt idx="16610">
                  <c:v>700</c:v>
                </c:pt>
                <c:pt idx="16611">
                  <c:v>714</c:v>
                </c:pt>
                <c:pt idx="16612">
                  <c:v>643</c:v>
                </c:pt>
                <c:pt idx="16613">
                  <c:v>682</c:v>
                </c:pt>
                <c:pt idx="16614">
                  <c:v>626</c:v>
                </c:pt>
                <c:pt idx="16615">
                  <c:v>578</c:v>
                </c:pt>
                <c:pt idx="16616">
                  <c:v>587</c:v>
                </c:pt>
                <c:pt idx="16617">
                  <c:v>658</c:v>
                </c:pt>
                <c:pt idx="16618">
                  <c:v>599</c:v>
                </c:pt>
                <c:pt idx="16619">
                  <c:v>631</c:v>
                </c:pt>
                <c:pt idx="16620">
                  <c:v>592</c:v>
                </c:pt>
                <c:pt idx="16621">
                  <c:v>589</c:v>
                </c:pt>
                <c:pt idx="16622">
                  <c:v>558</c:v>
                </c:pt>
                <c:pt idx="16623">
                  <c:v>570</c:v>
                </c:pt>
                <c:pt idx="16624">
                  <c:v>540</c:v>
                </c:pt>
                <c:pt idx="16625">
                  <c:v>566</c:v>
                </c:pt>
                <c:pt idx="16626">
                  <c:v>586</c:v>
                </c:pt>
                <c:pt idx="16627">
                  <c:v>600</c:v>
                </c:pt>
                <c:pt idx="16628">
                  <c:v>385</c:v>
                </c:pt>
                <c:pt idx="16629">
                  <c:v>376</c:v>
                </c:pt>
                <c:pt idx="16630">
                  <c:v>432</c:v>
                </c:pt>
                <c:pt idx="16631">
                  <c:v>421</c:v>
                </c:pt>
                <c:pt idx="16632">
                  <c:v>465</c:v>
                </c:pt>
                <c:pt idx="16633">
                  <c:v>431</c:v>
                </c:pt>
                <c:pt idx="16634">
                  <c:v>374</c:v>
                </c:pt>
                <c:pt idx="16635">
                  <c:v>385</c:v>
                </c:pt>
                <c:pt idx="16636">
                  <c:v>411</c:v>
                </c:pt>
                <c:pt idx="16637">
                  <c:v>415</c:v>
                </c:pt>
                <c:pt idx="16638">
                  <c:v>460</c:v>
                </c:pt>
                <c:pt idx="16639">
                  <c:v>506</c:v>
                </c:pt>
                <c:pt idx="16640">
                  <c:v>409</c:v>
                </c:pt>
                <c:pt idx="16641">
                  <c:v>427</c:v>
                </c:pt>
                <c:pt idx="16642">
                  <c:v>493</c:v>
                </c:pt>
                <c:pt idx="16643">
                  <c:v>516</c:v>
                </c:pt>
                <c:pt idx="16644">
                  <c:v>458</c:v>
                </c:pt>
                <c:pt idx="16645">
                  <c:v>479</c:v>
                </c:pt>
                <c:pt idx="16646">
                  <c:v>458</c:v>
                </c:pt>
                <c:pt idx="16647">
                  <c:v>461</c:v>
                </c:pt>
                <c:pt idx="16648">
                  <c:v>470</c:v>
                </c:pt>
                <c:pt idx="16649">
                  <c:v>581</c:v>
                </c:pt>
                <c:pt idx="16650">
                  <c:v>430</c:v>
                </c:pt>
                <c:pt idx="16651">
                  <c:v>552</c:v>
                </c:pt>
                <c:pt idx="16652">
                  <c:v>560</c:v>
                </c:pt>
                <c:pt idx="16653">
                  <c:v>584</c:v>
                </c:pt>
                <c:pt idx="16654">
                  <c:v>661</c:v>
                </c:pt>
                <c:pt idx="16655">
                  <c:v>672</c:v>
                </c:pt>
                <c:pt idx="16656">
                  <c:v>713</c:v>
                </c:pt>
                <c:pt idx="16657">
                  <c:v>713</c:v>
                </c:pt>
                <c:pt idx="16658">
                  <c:v>639</c:v>
                </c:pt>
                <c:pt idx="16659">
                  <c:v>680</c:v>
                </c:pt>
                <c:pt idx="16660">
                  <c:v>679</c:v>
                </c:pt>
                <c:pt idx="16661">
                  <c:v>731</c:v>
                </c:pt>
                <c:pt idx="16662">
                  <c:v>659</c:v>
                </c:pt>
                <c:pt idx="16663">
                  <c:v>780</c:v>
                </c:pt>
                <c:pt idx="16664">
                  <c:v>798</c:v>
                </c:pt>
                <c:pt idx="16665">
                  <c:v>857</c:v>
                </c:pt>
                <c:pt idx="16666">
                  <c:v>828</c:v>
                </c:pt>
                <c:pt idx="16667">
                  <c:v>858</c:v>
                </c:pt>
                <c:pt idx="16668">
                  <c:v>845</c:v>
                </c:pt>
                <c:pt idx="16669">
                  <c:v>872</c:v>
                </c:pt>
                <c:pt idx="16670">
                  <c:v>904</c:v>
                </c:pt>
                <c:pt idx="16671">
                  <c:v>846</c:v>
                </c:pt>
                <c:pt idx="16672">
                  <c:v>850</c:v>
                </c:pt>
                <c:pt idx="16673">
                  <c:v>858</c:v>
                </c:pt>
                <c:pt idx="16674">
                  <c:v>873</c:v>
                </c:pt>
                <c:pt idx="16675">
                  <c:v>834</c:v>
                </c:pt>
                <c:pt idx="16676">
                  <c:v>843</c:v>
                </c:pt>
                <c:pt idx="16677">
                  <c:v>849</c:v>
                </c:pt>
                <c:pt idx="16678">
                  <c:v>895</c:v>
                </c:pt>
                <c:pt idx="16679">
                  <c:v>843</c:v>
                </c:pt>
                <c:pt idx="16680">
                  <c:v>887</c:v>
                </c:pt>
                <c:pt idx="16681">
                  <c:v>914</c:v>
                </c:pt>
                <c:pt idx="16682">
                  <c:v>954</c:v>
                </c:pt>
                <c:pt idx="16683">
                  <c:v>780</c:v>
                </c:pt>
                <c:pt idx="16684">
                  <c:v>1287</c:v>
                </c:pt>
                <c:pt idx="16685">
                  <c:v>948</c:v>
                </c:pt>
                <c:pt idx="16686">
                  <c:v>914</c:v>
                </c:pt>
                <c:pt idx="16687">
                  <c:v>927</c:v>
                </c:pt>
                <c:pt idx="16688">
                  <c:v>899</c:v>
                </c:pt>
                <c:pt idx="16689">
                  <c:v>860</c:v>
                </c:pt>
                <c:pt idx="16690">
                  <c:v>909</c:v>
                </c:pt>
                <c:pt idx="16691">
                  <c:v>860</c:v>
                </c:pt>
                <c:pt idx="16692">
                  <c:v>844</c:v>
                </c:pt>
                <c:pt idx="16693">
                  <c:v>864</c:v>
                </c:pt>
                <c:pt idx="16694">
                  <c:v>834</c:v>
                </c:pt>
                <c:pt idx="16695">
                  <c:v>859</c:v>
                </c:pt>
                <c:pt idx="16696">
                  <c:v>891</c:v>
                </c:pt>
                <c:pt idx="16697">
                  <c:v>891</c:v>
                </c:pt>
                <c:pt idx="16698">
                  <c:v>875</c:v>
                </c:pt>
                <c:pt idx="16699">
                  <c:v>655</c:v>
                </c:pt>
                <c:pt idx="16700">
                  <c:v>661</c:v>
                </c:pt>
                <c:pt idx="16701">
                  <c:v>519</c:v>
                </c:pt>
                <c:pt idx="16702">
                  <c:v>505</c:v>
                </c:pt>
                <c:pt idx="16703">
                  <c:v>466</c:v>
                </c:pt>
                <c:pt idx="16704">
                  <c:v>526</c:v>
                </c:pt>
                <c:pt idx="16705">
                  <c:v>467</c:v>
                </c:pt>
                <c:pt idx="16706">
                  <c:v>443</c:v>
                </c:pt>
                <c:pt idx="16707">
                  <c:v>536</c:v>
                </c:pt>
                <c:pt idx="16708">
                  <c:v>530</c:v>
                </c:pt>
                <c:pt idx="16709">
                  <c:v>449</c:v>
                </c:pt>
                <c:pt idx="16710">
                  <c:v>490</c:v>
                </c:pt>
                <c:pt idx="16711">
                  <c:v>447</c:v>
                </c:pt>
                <c:pt idx="16712">
                  <c:v>485</c:v>
                </c:pt>
                <c:pt idx="16713">
                  <c:v>492</c:v>
                </c:pt>
                <c:pt idx="16714">
                  <c:v>453</c:v>
                </c:pt>
                <c:pt idx="16715">
                  <c:v>419</c:v>
                </c:pt>
                <c:pt idx="16716">
                  <c:v>494</c:v>
                </c:pt>
                <c:pt idx="16717">
                  <c:v>493</c:v>
                </c:pt>
                <c:pt idx="16718">
                  <c:v>373</c:v>
                </c:pt>
                <c:pt idx="16719">
                  <c:v>422</c:v>
                </c:pt>
                <c:pt idx="16720">
                  <c:v>394</c:v>
                </c:pt>
                <c:pt idx="16721">
                  <c:v>540</c:v>
                </c:pt>
                <c:pt idx="16722">
                  <c:v>474</c:v>
                </c:pt>
                <c:pt idx="16723">
                  <c:v>404</c:v>
                </c:pt>
                <c:pt idx="16724">
                  <c:v>428</c:v>
                </c:pt>
                <c:pt idx="16725">
                  <c:v>443</c:v>
                </c:pt>
                <c:pt idx="16726">
                  <c:v>440</c:v>
                </c:pt>
                <c:pt idx="16727">
                  <c:v>405</c:v>
                </c:pt>
                <c:pt idx="16728">
                  <c:v>435</c:v>
                </c:pt>
                <c:pt idx="16729">
                  <c:v>423</c:v>
                </c:pt>
                <c:pt idx="16730">
                  <c:v>379</c:v>
                </c:pt>
                <c:pt idx="16731">
                  <c:v>427</c:v>
                </c:pt>
                <c:pt idx="16732">
                  <c:v>353</c:v>
                </c:pt>
                <c:pt idx="16733">
                  <c:v>387</c:v>
                </c:pt>
                <c:pt idx="16734">
                  <c:v>392</c:v>
                </c:pt>
                <c:pt idx="16735">
                  <c:v>406</c:v>
                </c:pt>
                <c:pt idx="16736">
                  <c:v>418</c:v>
                </c:pt>
                <c:pt idx="16737">
                  <c:v>425</c:v>
                </c:pt>
                <c:pt idx="16738">
                  <c:v>363</c:v>
                </c:pt>
                <c:pt idx="16739">
                  <c:v>345</c:v>
                </c:pt>
                <c:pt idx="16740">
                  <c:v>343</c:v>
                </c:pt>
                <c:pt idx="16741">
                  <c:v>389</c:v>
                </c:pt>
                <c:pt idx="16742">
                  <c:v>456</c:v>
                </c:pt>
                <c:pt idx="16743">
                  <c:v>364</c:v>
                </c:pt>
                <c:pt idx="16744">
                  <c:v>345</c:v>
                </c:pt>
                <c:pt idx="16745">
                  <c:v>372</c:v>
                </c:pt>
                <c:pt idx="16746">
                  <c:v>321</c:v>
                </c:pt>
                <c:pt idx="16747">
                  <c:v>358</c:v>
                </c:pt>
                <c:pt idx="16748">
                  <c:v>347</c:v>
                </c:pt>
                <c:pt idx="16749">
                  <c:v>371</c:v>
                </c:pt>
                <c:pt idx="16750">
                  <c:v>372</c:v>
                </c:pt>
                <c:pt idx="16751">
                  <c:v>353</c:v>
                </c:pt>
                <c:pt idx="16752">
                  <c:v>535</c:v>
                </c:pt>
                <c:pt idx="16753">
                  <c:v>414</c:v>
                </c:pt>
                <c:pt idx="16754">
                  <c:v>397</c:v>
                </c:pt>
                <c:pt idx="16755">
                  <c:v>396</c:v>
                </c:pt>
                <c:pt idx="16756">
                  <c:v>425</c:v>
                </c:pt>
                <c:pt idx="16757">
                  <c:v>479</c:v>
                </c:pt>
                <c:pt idx="16758">
                  <c:v>470</c:v>
                </c:pt>
                <c:pt idx="16759">
                  <c:v>522</c:v>
                </c:pt>
                <c:pt idx="16760">
                  <c:v>631</c:v>
                </c:pt>
                <c:pt idx="16761">
                  <c:v>549</c:v>
                </c:pt>
                <c:pt idx="16762">
                  <c:v>481</c:v>
                </c:pt>
                <c:pt idx="16763">
                  <c:v>514</c:v>
                </c:pt>
                <c:pt idx="16764">
                  <c:v>511</c:v>
                </c:pt>
                <c:pt idx="16765">
                  <c:v>519</c:v>
                </c:pt>
                <c:pt idx="16766">
                  <c:v>496</c:v>
                </c:pt>
                <c:pt idx="16767">
                  <c:v>502</c:v>
                </c:pt>
                <c:pt idx="16768">
                  <c:v>620</c:v>
                </c:pt>
                <c:pt idx="16769">
                  <c:v>625</c:v>
                </c:pt>
                <c:pt idx="16770">
                  <c:v>627</c:v>
                </c:pt>
                <c:pt idx="16771">
                  <c:v>678</c:v>
                </c:pt>
                <c:pt idx="16772">
                  <c:v>646</c:v>
                </c:pt>
                <c:pt idx="16773">
                  <c:v>615</c:v>
                </c:pt>
                <c:pt idx="16774">
                  <c:v>610</c:v>
                </c:pt>
                <c:pt idx="16775">
                  <c:v>554</c:v>
                </c:pt>
                <c:pt idx="16776">
                  <c:v>553</c:v>
                </c:pt>
                <c:pt idx="16777">
                  <c:v>568</c:v>
                </c:pt>
                <c:pt idx="16778">
                  <c:v>544</c:v>
                </c:pt>
                <c:pt idx="16779">
                  <c:v>567</c:v>
                </c:pt>
                <c:pt idx="16780">
                  <c:v>575</c:v>
                </c:pt>
                <c:pt idx="16781">
                  <c:v>579</c:v>
                </c:pt>
                <c:pt idx="16782">
                  <c:v>657</c:v>
                </c:pt>
                <c:pt idx="16783">
                  <c:v>611</c:v>
                </c:pt>
                <c:pt idx="16784">
                  <c:v>477</c:v>
                </c:pt>
                <c:pt idx="16785">
                  <c:v>559</c:v>
                </c:pt>
                <c:pt idx="16786">
                  <c:v>484</c:v>
                </c:pt>
                <c:pt idx="16787">
                  <c:v>468</c:v>
                </c:pt>
                <c:pt idx="16788">
                  <c:v>454</c:v>
                </c:pt>
                <c:pt idx="16789">
                  <c:v>492</c:v>
                </c:pt>
                <c:pt idx="16790">
                  <c:v>523</c:v>
                </c:pt>
                <c:pt idx="16791">
                  <c:v>480</c:v>
                </c:pt>
                <c:pt idx="16792">
                  <c:v>508</c:v>
                </c:pt>
                <c:pt idx="16793">
                  <c:v>522</c:v>
                </c:pt>
                <c:pt idx="16794">
                  <c:v>516</c:v>
                </c:pt>
                <c:pt idx="16795">
                  <c:v>514</c:v>
                </c:pt>
                <c:pt idx="16796">
                  <c:v>472</c:v>
                </c:pt>
                <c:pt idx="16797">
                  <c:v>486</c:v>
                </c:pt>
                <c:pt idx="16798">
                  <c:v>472</c:v>
                </c:pt>
                <c:pt idx="16799">
                  <c:v>493</c:v>
                </c:pt>
                <c:pt idx="16800">
                  <c:v>483</c:v>
                </c:pt>
                <c:pt idx="16801">
                  <c:v>497</c:v>
                </c:pt>
                <c:pt idx="16802">
                  <c:v>506</c:v>
                </c:pt>
                <c:pt idx="16803">
                  <c:v>455</c:v>
                </c:pt>
                <c:pt idx="16804">
                  <c:v>497</c:v>
                </c:pt>
                <c:pt idx="16805">
                  <c:v>547</c:v>
                </c:pt>
                <c:pt idx="16806">
                  <c:v>547</c:v>
                </c:pt>
                <c:pt idx="16807">
                  <c:v>517</c:v>
                </c:pt>
                <c:pt idx="16808">
                  <c:v>537</c:v>
                </c:pt>
                <c:pt idx="16809">
                  <c:v>488</c:v>
                </c:pt>
                <c:pt idx="16810">
                  <c:v>518</c:v>
                </c:pt>
                <c:pt idx="16811">
                  <c:v>466</c:v>
                </c:pt>
                <c:pt idx="16812">
                  <c:v>444</c:v>
                </c:pt>
                <c:pt idx="16813">
                  <c:v>441</c:v>
                </c:pt>
                <c:pt idx="16814">
                  <c:v>399</c:v>
                </c:pt>
                <c:pt idx="16815">
                  <c:v>436</c:v>
                </c:pt>
                <c:pt idx="16816">
                  <c:v>408</c:v>
                </c:pt>
                <c:pt idx="16817">
                  <c:v>361</c:v>
                </c:pt>
                <c:pt idx="16818">
                  <c:v>330</c:v>
                </c:pt>
                <c:pt idx="16819">
                  <c:v>329</c:v>
                </c:pt>
                <c:pt idx="16820">
                  <c:v>410</c:v>
                </c:pt>
                <c:pt idx="16821">
                  <c:v>360</c:v>
                </c:pt>
                <c:pt idx="16822">
                  <c:v>373</c:v>
                </c:pt>
                <c:pt idx="16823">
                  <c:v>463</c:v>
                </c:pt>
                <c:pt idx="16824">
                  <c:v>426</c:v>
                </c:pt>
                <c:pt idx="16825">
                  <c:v>423</c:v>
                </c:pt>
                <c:pt idx="16826">
                  <c:v>421</c:v>
                </c:pt>
                <c:pt idx="16827">
                  <c:v>386</c:v>
                </c:pt>
                <c:pt idx="16828">
                  <c:v>391</c:v>
                </c:pt>
                <c:pt idx="16829">
                  <c:v>399</c:v>
                </c:pt>
                <c:pt idx="16830">
                  <c:v>378</c:v>
                </c:pt>
                <c:pt idx="16831">
                  <c:v>392</c:v>
                </c:pt>
                <c:pt idx="16832">
                  <c:v>387</c:v>
                </c:pt>
                <c:pt idx="16833">
                  <c:v>383</c:v>
                </c:pt>
                <c:pt idx="16834">
                  <c:v>372</c:v>
                </c:pt>
                <c:pt idx="16835">
                  <c:v>366</c:v>
                </c:pt>
                <c:pt idx="16836">
                  <c:v>368</c:v>
                </c:pt>
                <c:pt idx="16837">
                  <c:v>383</c:v>
                </c:pt>
                <c:pt idx="16838">
                  <c:v>390</c:v>
                </c:pt>
                <c:pt idx="16839">
                  <c:v>377</c:v>
                </c:pt>
                <c:pt idx="16840">
                  <c:v>363</c:v>
                </c:pt>
                <c:pt idx="16841">
                  <c:v>409</c:v>
                </c:pt>
                <c:pt idx="16842">
                  <c:v>342</c:v>
                </c:pt>
                <c:pt idx="16843">
                  <c:v>359</c:v>
                </c:pt>
                <c:pt idx="16844">
                  <c:v>409</c:v>
                </c:pt>
                <c:pt idx="16845">
                  <c:v>400</c:v>
                </c:pt>
                <c:pt idx="16846">
                  <c:v>367</c:v>
                </c:pt>
                <c:pt idx="16847">
                  <c:v>455</c:v>
                </c:pt>
                <c:pt idx="16848">
                  <c:v>431</c:v>
                </c:pt>
                <c:pt idx="16849">
                  <c:v>429</c:v>
                </c:pt>
                <c:pt idx="16850">
                  <c:v>462</c:v>
                </c:pt>
                <c:pt idx="16851">
                  <c:v>423</c:v>
                </c:pt>
                <c:pt idx="16852">
                  <c:v>424</c:v>
                </c:pt>
                <c:pt idx="16853">
                  <c:v>435</c:v>
                </c:pt>
                <c:pt idx="16854">
                  <c:v>422</c:v>
                </c:pt>
                <c:pt idx="16855">
                  <c:v>537</c:v>
                </c:pt>
                <c:pt idx="16856">
                  <c:v>493</c:v>
                </c:pt>
                <c:pt idx="16857">
                  <c:v>437</c:v>
                </c:pt>
                <c:pt idx="16858">
                  <c:v>446</c:v>
                </c:pt>
                <c:pt idx="16859">
                  <c:v>456</c:v>
                </c:pt>
                <c:pt idx="16860">
                  <c:v>520</c:v>
                </c:pt>
                <c:pt idx="16861">
                  <c:v>498</c:v>
                </c:pt>
                <c:pt idx="16862">
                  <c:v>475</c:v>
                </c:pt>
                <c:pt idx="16863">
                  <c:v>524</c:v>
                </c:pt>
                <c:pt idx="16864">
                  <c:v>758</c:v>
                </c:pt>
                <c:pt idx="16865">
                  <c:v>625</c:v>
                </c:pt>
                <c:pt idx="16866">
                  <c:v>658</c:v>
                </c:pt>
                <c:pt idx="16867">
                  <c:v>637</c:v>
                </c:pt>
                <c:pt idx="16868">
                  <c:v>652</c:v>
                </c:pt>
                <c:pt idx="16869">
                  <c:v>729</c:v>
                </c:pt>
                <c:pt idx="16870">
                  <c:v>687</c:v>
                </c:pt>
                <c:pt idx="16871">
                  <c:v>726</c:v>
                </c:pt>
                <c:pt idx="16872">
                  <c:v>710</c:v>
                </c:pt>
                <c:pt idx="16873">
                  <c:v>744</c:v>
                </c:pt>
                <c:pt idx="16874">
                  <c:v>696</c:v>
                </c:pt>
                <c:pt idx="16875">
                  <c:v>692</c:v>
                </c:pt>
                <c:pt idx="16876">
                  <c:v>646</c:v>
                </c:pt>
                <c:pt idx="16877">
                  <c:v>642</c:v>
                </c:pt>
                <c:pt idx="16878">
                  <c:v>701</c:v>
                </c:pt>
                <c:pt idx="16879">
                  <c:v>602</c:v>
                </c:pt>
                <c:pt idx="16880">
                  <c:v>639</c:v>
                </c:pt>
                <c:pt idx="16881">
                  <c:v>643</c:v>
                </c:pt>
                <c:pt idx="16882">
                  <c:v>806</c:v>
                </c:pt>
                <c:pt idx="16883">
                  <c:v>708</c:v>
                </c:pt>
                <c:pt idx="16884">
                  <c:v>712</c:v>
                </c:pt>
                <c:pt idx="16885">
                  <c:v>713</c:v>
                </c:pt>
                <c:pt idx="16886">
                  <c:v>688</c:v>
                </c:pt>
                <c:pt idx="16887">
                  <c:v>673</c:v>
                </c:pt>
                <c:pt idx="16888">
                  <c:v>680</c:v>
                </c:pt>
                <c:pt idx="16889">
                  <c:v>695</c:v>
                </c:pt>
                <c:pt idx="16890">
                  <c:v>685</c:v>
                </c:pt>
                <c:pt idx="16891">
                  <c:v>668</c:v>
                </c:pt>
                <c:pt idx="16892">
                  <c:v>647</c:v>
                </c:pt>
                <c:pt idx="16893">
                  <c:v>634</c:v>
                </c:pt>
                <c:pt idx="16894">
                  <c:v>661</c:v>
                </c:pt>
                <c:pt idx="16895">
                  <c:v>741</c:v>
                </c:pt>
                <c:pt idx="16896">
                  <c:v>849</c:v>
                </c:pt>
                <c:pt idx="16897">
                  <c:v>794</c:v>
                </c:pt>
                <c:pt idx="16898">
                  <c:v>718</c:v>
                </c:pt>
                <c:pt idx="16899">
                  <c:v>718</c:v>
                </c:pt>
                <c:pt idx="16900">
                  <c:v>655</c:v>
                </c:pt>
                <c:pt idx="16901">
                  <c:v>802</c:v>
                </c:pt>
                <c:pt idx="16902">
                  <c:v>774</c:v>
                </c:pt>
                <c:pt idx="16903">
                  <c:v>765</c:v>
                </c:pt>
                <c:pt idx="16904">
                  <c:v>754</c:v>
                </c:pt>
                <c:pt idx="16905">
                  <c:v>656</c:v>
                </c:pt>
                <c:pt idx="16906">
                  <c:v>772</c:v>
                </c:pt>
                <c:pt idx="16907">
                  <c:v>737</c:v>
                </c:pt>
                <c:pt idx="16908">
                  <c:v>667</c:v>
                </c:pt>
                <c:pt idx="16909">
                  <c:v>652</c:v>
                </c:pt>
                <c:pt idx="16910">
                  <c:v>685</c:v>
                </c:pt>
                <c:pt idx="16911">
                  <c:v>635</c:v>
                </c:pt>
                <c:pt idx="16912">
                  <c:v>544</c:v>
                </c:pt>
                <c:pt idx="16913">
                  <c:v>602</c:v>
                </c:pt>
                <c:pt idx="16914">
                  <c:v>555</c:v>
                </c:pt>
                <c:pt idx="16915">
                  <c:v>574</c:v>
                </c:pt>
                <c:pt idx="16916">
                  <c:v>550</c:v>
                </c:pt>
                <c:pt idx="16917">
                  <c:v>578</c:v>
                </c:pt>
                <c:pt idx="16918">
                  <c:v>634</c:v>
                </c:pt>
                <c:pt idx="16919">
                  <c:v>500</c:v>
                </c:pt>
                <c:pt idx="16920">
                  <c:v>454</c:v>
                </c:pt>
                <c:pt idx="16921">
                  <c:v>437</c:v>
                </c:pt>
                <c:pt idx="16922">
                  <c:v>457</c:v>
                </c:pt>
                <c:pt idx="16923">
                  <c:v>506</c:v>
                </c:pt>
                <c:pt idx="16924">
                  <c:v>403</c:v>
                </c:pt>
                <c:pt idx="16925">
                  <c:v>357</c:v>
                </c:pt>
                <c:pt idx="16926">
                  <c:v>408</c:v>
                </c:pt>
                <c:pt idx="16927">
                  <c:v>458</c:v>
                </c:pt>
                <c:pt idx="16928">
                  <c:v>436</c:v>
                </c:pt>
                <c:pt idx="16929">
                  <c:v>426</c:v>
                </c:pt>
                <c:pt idx="16930">
                  <c:v>508</c:v>
                </c:pt>
                <c:pt idx="16931">
                  <c:v>548</c:v>
                </c:pt>
                <c:pt idx="16932">
                  <c:v>506</c:v>
                </c:pt>
                <c:pt idx="16933">
                  <c:v>470</c:v>
                </c:pt>
                <c:pt idx="16934">
                  <c:v>518</c:v>
                </c:pt>
                <c:pt idx="16935">
                  <c:v>508</c:v>
                </c:pt>
                <c:pt idx="16936">
                  <c:v>551</c:v>
                </c:pt>
                <c:pt idx="16937">
                  <c:v>690</c:v>
                </c:pt>
                <c:pt idx="16938">
                  <c:v>480</c:v>
                </c:pt>
                <c:pt idx="16939">
                  <c:v>454</c:v>
                </c:pt>
                <c:pt idx="16940">
                  <c:v>700</c:v>
                </c:pt>
                <c:pt idx="16941">
                  <c:v>614</c:v>
                </c:pt>
                <c:pt idx="16942">
                  <c:v>752</c:v>
                </c:pt>
                <c:pt idx="16943">
                  <c:v>658</c:v>
                </c:pt>
                <c:pt idx="16944">
                  <c:v>718</c:v>
                </c:pt>
                <c:pt idx="16945">
                  <c:v>723</c:v>
                </c:pt>
                <c:pt idx="16946">
                  <c:v>711</c:v>
                </c:pt>
                <c:pt idx="16947">
                  <c:v>764</c:v>
                </c:pt>
                <c:pt idx="16948">
                  <c:v>744</c:v>
                </c:pt>
                <c:pt idx="16949">
                  <c:v>666</c:v>
                </c:pt>
                <c:pt idx="16950">
                  <c:v>678</c:v>
                </c:pt>
                <c:pt idx="16951">
                  <c:v>717</c:v>
                </c:pt>
                <c:pt idx="16952">
                  <c:v>779</c:v>
                </c:pt>
                <c:pt idx="16953">
                  <c:v>875</c:v>
                </c:pt>
                <c:pt idx="16954">
                  <c:v>897</c:v>
                </c:pt>
                <c:pt idx="16955">
                  <c:v>904</c:v>
                </c:pt>
                <c:pt idx="16956">
                  <c:v>881</c:v>
                </c:pt>
                <c:pt idx="16957">
                  <c:v>902</c:v>
                </c:pt>
                <c:pt idx="16958">
                  <c:v>831</c:v>
                </c:pt>
                <c:pt idx="16959">
                  <c:v>826</c:v>
                </c:pt>
                <c:pt idx="16960">
                  <c:v>830</c:v>
                </c:pt>
                <c:pt idx="16961">
                  <c:v>829</c:v>
                </c:pt>
                <c:pt idx="16962">
                  <c:v>842</c:v>
                </c:pt>
                <c:pt idx="16963">
                  <c:v>831</c:v>
                </c:pt>
                <c:pt idx="16964">
                  <c:v>926</c:v>
                </c:pt>
                <c:pt idx="16965">
                  <c:v>679</c:v>
                </c:pt>
                <c:pt idx="16966">
                  <c:v>1363</c:v>
                </c:pt>
                <c:pt idx="16967">
                  <c:v>1029</c:v>
                </c:pt>
                <c:pt idx="16968">
                  <c:v>1013</c:v>
                </c:pt>
                <c:pt idx="16969">
                  <c:v>889</c:v>
                </c:pt>
                <c:pt idx="16970">
                  <c:v>941</c:v>
                </c:pt>
                <c:pt idx="16971">
                  <c:v>887</c:v>
                </c:pt>
                <c:pt idx="16972">
                  <c:v>960</c:v>
                </c:pt>
                <c:pt idx="16973">
                  <c:v>910</c:v>
                </c:pt>
                <c:pt idx="16974">
                  <c:v>971</c:v>
                </c:pt>
                <c:pt idx="16975">
                  <c:v>937</c:v>
                </c:pt>
                <c:pt idx="16976">
                  <c:v>888</c:v>
                </c:pt>
                <c:pt idx="16977">
                  <c:v>872</c:v>
                </c:pt>
                <c:pt idx="16978">
                  <c:v>904</c:v>
                </c:pt>
                <c:pt idx="16979">
                  <c:v>896</c:v>
                </c:pt>
                <c:pt idx="16980">
                  <c:v>909</c:v>
                </c:pt>
                <c:pt idx="16981">
                  <c:v>889</c:v>
                </c:pt>
                <c:pt idx="16982">
                  <c:v>886</c:v>
                </c:pt>
                <c:pt idx="16983">
                  <c:v>877</c:v>
                </c:pt>
                <c:pt idx="16984">
                  <c:v>859</c:v>
                </c:pt>
                <c:pt idx="16985">
                  <c:v>861</c:v>
                </c:pt>
                <c:pt idx="16986">
                  <c:v>952</c:v>
                </c:pt>
                <c:pt idx="16987">
                  <c:v>886</c:v>
                </c:pt>
                <c:pt idx="16988">
                  <c:v>793</c:v>
                </c:pt>
                <c:pt idx="16989">
                  <c:v>909</c:v>
                </c:pt>
                <c:pt idx="16990">
                  <c:v>812</c:v>
                </c:pt>
                <c:pt idx="16991">
                  <c:v>809</c:v>
                </c:pt>
                <c:pt idx="16992">
                  <c:v>791</c:v>
                </c:pt>
                <c:pt idx="16993">
                  <c:v>762</c:v>
                </c:pt>
                <c:pt idx="16994">
                  <c:v>772</c:v>
                </c:pt>
                <c:pt idx="16995">
                  <c:v>746</c:v>
                </c:pt>
                <c:pt idx="16996">
                  <c:v>795</c:v>
                </c:pt>
                <c:pt idx="16997">
                  <c:v>800</c:v>
                </c:pt>
                <c:pt idx="16998">
                  <c:v>810</c:v>
                </c:pt>
                <c:pt idx="16999">
                  <c:v>714</c:v>
                </c:pt>
                <c:pt idx="17000">
                  <c:v>661</c:v>
                </c:pt>
                <c:pt idx="17001">
                  <c:v>723</c:v>
                </c:pt>
                <c:pt idx="17002">
                  <c:v>635</c:v>
                </c:pt>
                <c:pt idx="17003">
                  <c:v>591</c:v>
                </c:pt>
                <c:pt idx="17004">
                  <c:v>521</c:v>
                </c:pt>
                <c:pt idx="17005">
                  <c:v>533</c:v>
                </c:pt>
                <c:pt idx="17006">
                  <c:v>473</c:v>
                </c:pt>
                <c:pt idx="17007">
                  <c:v>562</c:v>
                </c:pt>
                <c:pt idx="17008">
                  <c:v>573</c:v>
                </c:pt>
                <c:pt idx="17009">
                  <c:v>621</c:v>
                </c:pt>
                <c:pt idx="17010">
                  <c:v>558</c:v>
                </c:pt>
                <c:pt idx="17011">
                  <c:v>537</c:v>
                </c:pt>
                <c:pt idx="17012">
                  <c:v>555</c:v>
                </c:pt>
                <c:pt idx="17013">
                  <c:v>541</c:v>
                </c:pt>
                <c:pt idx="17014">
                  <c:v>465</c:v>
                </c:pt>
                <c:pt idx="17015">
                  <c:v>487</c:v>
                </c:pt>
                <c:pt idx="17016">
                  <c:v>524</c:v>
                </c:pt>
                <c:pt idx="17017">
                  <c:v>589</c:v>
                </c:pt>
                <c:pt idx="17018">
                  <c:v>543</c:v>
                </c:pt>
                <c:pt idx="17019">
                  <c:v>494</c:v>
                </c:pt>
                <c:pt idx="17020">
                  <c:v>373</c:v>
                </c:pt>
                <c:pt idx="17021">
                  <c:v>426</c:v>
                </c:pt>
                <c:pt idx="17022">
                  <c:v>472</c:v>
                </c:pt>
                <c:pt idx="17023">
                  <c:v>447</c:v>
                </c:pt>
                <c:pt idx="17024">
                  <c:v>487</c:v>
                </c:pt>
                <c:pt idx="17025">
                  <c:v>427</c:v>
                </c:pt>
                <c:pt idx="17026">
                  <c:v>507</c:v>
                </c:pt>
                <c:pt idx="17027">
                  <c:v>556</c:v>
                </c:pt>
                <c:pt idx="17028">
                  <c:v>501</c:v>
                </c:pt>
                <c:pt idx="17029">
                  <c:v>495</c:v>
                </c:pt>
                <c:pt idx="17030">
                  <c:v>508</c:v>
                </c:pt>
                <c:pt idx="17031">
                  <c:v>492</c:v>
                </c:pt>
                <c:pt idx="17032">
                  <c:v>465</c:v>
                </c:pt>
                <c:pt idx="17033">
                  <c:v>545</c:v>
                </c:pt>
                <c:pt idx="17034">
                  <c:v>504</c:v>
                </c:pt>
                <c:pt idx="17035">
                  <c:v>538</c:v>
                </c:pt>
                <c:pt idx="17036">
                  <c:v>553</c:v>
                </c:pt>
                <c:pt idx="17037">
                  <c:v>719</c:v>
                </c:pt>
                <c:pt idx="17038">
                  <c:v>716</c:v>
                </c:pt>
                <c:pt idx="17039">
                  <c:v>749</c:v>
                </c:pt>
                <c:pt idx="17040">
                  <c:v>732</c:v>
                </c:pt>
                <c:pt idx="17041">
                  <c:v>669</c:v>
                </c:pt>
                <c:pt idx="17042">
                  <c:v>634</c:v>
                </c:pt>
                <c:pt idx="17043">
                  <c:v>702</c:v>
                </c:pt>
                <c:pt idx="17044">
                  <c:v>727</c:v>
                </c:pt>
                <c:pt idx="17045">
                  <c:v>742</c:v>
                </c:pt>
                <c:pt idx="17046">
                  <c:v>741</c:v>
                </c:pt>
                <c:pt idx="17047">
                  <c:v>706</c:v>
                </c:pt>
                <c:pt idx="17048">
                  <c:v>735</c:v>
                </c:pt>
                <c:pt idx="17049">
                  <c:v>725</c:v>
                </c:pt>
                <c:pt idx="17050">
                  <c:v>814</c:v>
                </c:pt>
                <c:pt idx="17051">
                  <c:v>854</c:v>
                </c:pt>
                <c:pt idx="17052">
                  <c:v>851</c:v>
                </c:pt>
                <c:pt idx="17053">
                  <c:v>876</c:v>
                </c:pt>
                <c:pt idx="17054">
                  <c:v>919</c:v>
                </c:pt>
                <c:pt idx="17055">
                  <c:v>869</c:v>
                </c:pt>
                <c:pt idx="17056">
                  <c:v>905</c:v>
                </c:pt>
                <c:pt idx="17057">
                  <c:v>839</c:v>
                </c:pt>
                <c:pt idx="17058">
                  <c:v>863</c:v>
                </c:pt>
                <c:pt idx="17059">
                  <c:v>887</c:v>
                </c:pt>
                <c:pt idx="17060">
                  <c:v>838</c:v>
                </c:pt>
                <c:pt idx="17061">
                  <c:v>868</c:v>
                </c:pt>
                <c:pt idx="17062">
                  <c:v>871</c:v>
                </c:pt>
                <c:pt idx="17063">
                  <c:v>891</c:v>
                </c:pt>
                <c:pt idx="17064">
                  <c:v>904</c:v>
                </c:pt>
                <c:pt idx="17065">
                  <c:v>898</c:v>
                </c:pt>
                <c:pt idx="17066">
                  <c:v>907</c:v>
                </c:pt>
                <c:pt idx="17067">
                  <c:v>923</c:v>
                </c:pt>
                <c:pt idx="17068">
                  <c:v>858</c:v>
                </c:pt>
                <c:pt idx="17069">
                  <c:v>892</c:v>
                </c:pt>
                <c:pt idx="17070">
                  <c:v>868</c:v>
                </c:pt>
                <c:pt idx="17071">
                  <c:v>1221</c:v>
                </c:pt>
                <c:pt idx="17072">
                  <c:v>987</c:v>
                </c:pt>
                <c:pt idx="17073">
                  <c:v>877</c:v>
                </c:pt>
                <c:pt idx="17074">
                  <c:v>828</c:v>
                </c:pt>
                <c:pt idx="17075">
                  <c:v>924</c:v>
                </c:pt>
                <c:pt idx="17076">
                  <c:v>877</c:v>
                </c:pt>
                <c:pt idx="17077">
                  <c:v>897</c:v>
                </c:pt>
                <c:pt idx="17078">
                  <c:v>828</c:v>
                </c:pt>
                <c:pt idx="17079">
                  <c:v>884</c:v>
                </c:pt>
                <c:pt idx="17080">
                  <c:v>860</c:v>
                </c:pt>
                <c:pt idx="17081">
                  <c:v>880</c:v>
                </c:pt>
                <c:pt idx="17082">
                  <c:v>844</c:v>
                </c:pt>
                <c:pt idx="17083">
                  <c:v>692</c:v>
                </c:pt>
                <c:pt idx="17084">
                  <c:v>747</c:v>
                </c:pt>
                <c:pt idx="17085">
                  <c:v>715</c:v>
                </c:pt>
                <c:pt idx="17086">
                  <c:v>667</c:v>
                </c:pt>
                <c:pt idx="17087">
                  <c:v>712</c:v>
                </c:pt>
                <c:pt idx="17088">
                  <c:v>695</c:v>
                </c:pt>
                <c:pt idx="17089">
                  <c:v>706</c:v>
                </c:pt>
                <c:pt idx="17090">
                  <c:v>720</c:v>
                </c:pt>
                <c:pt idx="17091">
                  <c:v>719</c:v>
                </c:pt>
                <c:pt idx="17092">
                  <c:v>690</c:v>
                </c:pt>
                <c:pt idx="17093">
                  <c:v>676</c:v>
                </c:pt>
                <c:pt idx="17094">
                  <c:v>732</c:v>
                </c:pt>
                <c:pt idx="17095">
                  <c:v>593</c:v>
                </c:pt>
                <c:pt idx="17096">
                  <c:v>607</c:v>
                </c:pt>
                <c:pt idx="17097">
                  <c:v>529</c:v>
                </c:pt>
                <c:pt idx="17098">
                  <c:v>508</c:v>
                </c:pt>
                <c:pt idx="17099">
                  <c:v>542</c:v>
                </c:pt>
                <c:pt idx="17100">
                  <c:v>527</c:v>
                </c:pt>
                <c:pt idx="17101">
                  <c:v>547</c:v>
                </c:pt>
                <c:pt idx="17102">
                  <c:v>619</c:v>
                </c:pt>
                <c:pt idx="17103">
                  <c:v>617</c:v>
                </c:pt>
                <c:pt idx="17104">
                  <c:v>548</c:v>
                </c:pt>
                <c:pt idx="17105">
                  <c:v>513</c:v>
                </c:pt>
                <c:pt idx="17106">
                  <c:v>444</c:v>
                </c:pt>
                <c:pt idx="17107">
                  <c:v>399</c:v>
                </c:pt>
                <c:pt idx="17108">
                  <c:v>446</c:v>
                </c:pt>
                <c:pt idx="17109">
                  <c:v>446</c:v>
                </c:pt>
                <c:pt idx="17110">
                  <c:v>419</c:v>
                </c:pt>
                <c:pt idx="17111">
                  <c:v>468</c:v>
                </c:pt>
                <c:pt idx="17112">
                  <c:v>498</c:v>
                </c:pt>
                <c:pt idx="17113">
                  <c:v>480</c:v>
                </c:pt>
                <c:pt idx="17114">
                  <c:v>411</c:v>
                </c:pt>
                <c:pt idx="17115">
                  <c:v>409</c:v>
                </c:pt>
                <c:pt idx="17116">
                  <c:v>301</c:v>
                </c:pt>
                <c:pt idx="17117">
                  <c:v>351</c:v>
                </c:pt>
                <c:pt idx="17118">
                  <c:v>354</c:v>
                </c:pt>
                <c:pt idx="17119">
                  <c:v>328</c:v>
                </c:pt>
                <c:pt idx="17120">
                  <c:v>355</c:v>
                </c:pt>
                <c:pt idx="17121">
                  <c:v>369</c:v>
                </c:pt>
                <c:pt idx="17122">
                  <c:v>441</c:v>
                </c:pt>
                <c:pt idx="17123">
                  <c:v>459</c:v>
                </c:pt>
                <c:pt idx="17124">
                  <c:v>427</c:v>
                </c:pt>
                <c:pt idx="17125">
                  <c:v>385</c:v>
                </c:pt>
                <c:pt idx="17126">
                  <c:v>352</c:v>
                </c:pt>
                <c:pt idx="17127">
                  <c:v>362</c:v>
                </c:pt>
                <c:pt idx="17128">
                  <c:v>362</c:v>
                </c:pt>
                <c:pt idx="17129">
                  <c:v>510</c:v>
                </c:pt>
                <c:pt idx="17130">
                  <c:v>342</c:v>
                </c:pt>
                <c:pt idx="17131">
                  <c:v>309</c:v>
                </c:pt>
                <c:pt idx="17132">
                  <c:v>401</c:v>
                </c:pt>
                <c:pt idx="17133">
                  <c:v>427</c:v>
                </c:pt>
                <c:pt idx="17134">
                  <c:v>464</c:v>
                </c:pt>
                <c:pt idx="17135">
                  <c:v>434</c:v>
                </c:pt>
                <c:pt idx="17136">
                  <c:v>558</c:v>
                </c:pt>
                <c:pt idx="17137">
                  <c:v>451</c:v>
                </c:pt>
                <c:pt idx="17138">
                  <c:v>459</c:v>
                </c:pt>
                <c:pt idx="17139">
                  <c:v>468</c:v>
                </c:pt>
                <c:pt idx="17140">
                  <c:v>535</c:v>
                </c:pt>
                <c:pt idx="17141">
                  <c:v>462</c:v>
                </c:pt>
                <c:pt idx="17142">
                  <c:v>484</c:v>
                </c:pt>
                <c:pt idx="17143">
                  <c:v>556</c:v>
                </c:pt>
                <c:pt idx="17144">
                  <c:v>502</c:v>
                </c:pt>
                <c:pt idx="17145">
                  <c:v>536</c:v>
                </c:pt>
                <c:pt idx="17146">
                  <c:v>577</c:v>
                </c:pt>
                <c:pt idx="17147">
                  <c:v>538</c:v>
                </c:pt>
                <c:pt idx="17148">
                  <c:v>636</c:v>
                </c:pt>
                <c:pt idx="17149">
                  <c:v>658</c:v>
                </c:pt>
                <c:pt idx="17150">
                  <c:v>718</c:v>
                </c:pt>
                <c:pt idx="17151">
                  <c:v>717</c:v>
                </c:pt>
                <c:pt idx="17152">
                  <c:v>715</c:v>
                </c:pt>
                <c:pt idx="17153">
                  <c:v>723</c:v>
                </c:pt>
                <c:pt idx="17154">
                  <c:v>714</c:v>
                </c:pt>
                <c:pt idx="17155">
                  <c:v>706</c:v>
                </c:pt>
                <c:pt idx="17156">
                  <c:v>705</c:v>
                </c:pt>
                <c:pt idx="17157">
                  <c:v>703</c:v>
                </c:pt>
                <c:pt idx="17158">
                  <c:v>718</c:v>
                </c:pt>
                <c:pt idx="17159">
                  <c:v>740</c:v>
                </c:pt>
                <c:pt idx="17160">
                  <c:v>730</c:v>
                </c:pt>
                <c:pt idx="17161">
                  <c:v>710</c:v>
                </c:pt>
                <c:pt idx="17162">
                  <c:v>763</c:v>
                </c:pt>
                <c:pt idx="17163">
                  <c:v>730</c:v>
                </c:pt>
                <c:pt idx="17164">
                  <c:v>759</c:v>
                </c:pt>
                <c:pt idx="17165">
                  <c:v>715</c:v>
                </c:pt>
                <c:pt idx="17166">
                  <c:v>720</c:v>
                </c:pt>
                <c:pt idx="17167">
                  <c:v>745</c:v>
                </c:pt>
                <c:pt idx="17168">
                  <c:v>721</c:v>
                </c:pt>
                <c:pt idx="17169">
                  <c:v>690</c:v>
                </c:pt>
                <c:pt idx="17170">
                  <c:v>530</c:v>
                </c:pt>
                <c:pt idx="17171">
                  <c:v>481</c:v>
                </c:pt>
                <c:pt idx="17172">
                  <c:v>435</c:v>
                </c:pt>
                <c:pt idx="17173">
                  <c:v>450</c:v>
                </c:pt>
                <c:pt idx="17174">
                  <c:v>488</c:v>
                </c:pt>
                <c:pt idx="17175">
                  <c:v>526</c:v>
                </c:pt>
                <c:pt idx="17176">
                  <c:v>556</c:v>
                </c:pt>
                <c:pt idx="17177">
                  <c:v>539</c:v>
                </c:pt>
                <c:pt idx="17178">
                  <c:v>485</c:v>
                </c:pt>
                <c:pt idx="17179">
                  <c:v>508</c:v>
                </c:pt>
                <c:pt idx="17180">
                  <c:v>526</c:v>
                </c:pt>
                <c:pt idx="17181">
                  <c:v>547</c:v>
                </c:pt>
                <c:pt idx="17182">
                  <c:v>601</c:v>
                </c:pt>
                <c:pt idx="17183">
                  <c:v>529</c:v>
                </c:pt>
                <c:pt idx="17184">
                  <c:v>550</c:v>
                </c:pt>
                <c:pt idx="17185">
                  <c:v>591</c:v>
                </c:pt>
                <c:pt idx="17186">
                  <c:v>665</c:v>
                </c:pt>
                <c:pt idx="17187">
                  <c:v>620</c:v>
                </c:pt>
                <c:pt idx="17188">
                  <c:v>658</c:v>
                </c:pt>
                <c:pt idx="17189">
                  <c:v>604</c:v>
                </c:pt>
                <c:pt idx="17190">
                  <c:v>633</c:v>
                </c:pt>
                <c:pt idx="17191">
                  <c:v>649</c:v>
                </c:pt>
                <c:pt idx="17192">
                  <c:v>656</c:v>
                </c:pt>
                <c:pt idx="17193">
                  <c:v>690</c:v>
                </c:pt>
                <c:pt idx="17194">
                  <c:v>642</c:v>
                </c:pt>
                <c:pt idx="17195">
                  <c:v>648</c:v>
                </c:pt>
                <c:pt idx="17196">
                  <c:v>638</c:v>
                </c:pt>
                <c:pt idx="17197">
                  <c:v>544</c:v>
                </c:pt>
                <c:pt idx="17198">
                  <c:v>491</c:v>
                </c:pt>
                <c:pt idx="17199">
                  <c:v>459</c:v>
                </c:pt>
                <c:pt idx="17200">
                  <c:v>534</c:v>
                </c:pt>
                <c:pt idx="17201">
                  <c:v>502</c:v>
                </c:pt>
                <c:pt idx="17202">
                  <c:v>437</c:v>
                </c:pt>
                <c:pt idx="17203">
                  <c:v>435</c:v>
                </c:pt>
                <c:pt idx="17204">
                  <c:v>459</c:v>
                </c:pt>
                <c:pt idx="17205">
                  <c:v>470</c:v>
                </c:pt>
                <c:pt idx="17206">
                  <c:v>436</c:v>
                </c:pt>
                <c:pt idx="17207">
                  <c:v>391</c:v>
                </c:pt>
                <c:pt idx="17208">
                  <c:v>392</c:v>
                </c:pt>
                <c:pt idx="17209">
                  <c:v>333</c:v>
                </c:pt>
                <c:pt idx="17210">
                  <c:v>400</c:v>
                </c:pt>
                <c:pt idx="17211">
                  <c:v>385</c:v>
                </c:pt>
                <c:pt idx="17212">
                  <c:v>266</c:v>
                </c:pt>
                <c:pt idx="17213">
                  <c:v>263</c:v>
                </c:pt>
                <c:pt idx="17214">
                  <c:v>254</c:v>
                </c:pt>
                <c:pt idx="17215">
                  <c:v>296</c:v>
                </c:pt>
                <c:pt idx="17216">
                  <c:v>280</c:v>
                </c:pt>
                <c:pt idx="17217">
                  <c:v>339</c:v>
                </c:pt>
                <c:pt idx="17218">
                  <c:v>247</c:v>
                </c:pt>
                <c:pt idx="17219">
                  <c:v>248</c:v>
                </c:pt>
                <c:pt idx="17220">
                  <c:v>233</c:v>
                </c:pt>
                <c:pt idx="17221">
                  <c:v>265</c:v>
                </c:pt>
                <c:pt idx="17222">
                  <c:v>308</c:v>
                </c:pt>
                <c:pt idx="17223">
                  <c:v>232</c:v>
                </c:pt>
                <c:pt idx="17224">
                  <c:v>236</c:v>
                </c:pt>
                <c:pt idx="17225">
                  <c:v>221</c:v>
                </c:pt>
                <c:pt idx="17226">
                  <c:v>211</c:v>
                </c:pt>
                <c:pt idx="17227">
                  <c:v>247</c:v>
                </c:pt>
                <c:pt idx="17228">
                  <c:v>166</c:v>
                </c:pt>
                <c:pt idx="17229">
                  <c:v>159</c:v>
                </c:pt>
                <c:pt idx="17230">
                  <c:v>184</c:v>
                </c:pt>
                <c:pt idx="17231">
                  <c:v>190</c:v>
                </c:pt>
                <c:pt idx="17232">
                  <c:v>199</c:v>
                </c:pt>
                <c:pt idx="17233">
                  <c:v>217</c:v>
                </c:pt>
                <c:pt idx="17234">
                  <c:v>205</c:v>
                </c:pt>
                <c:pt idx="17235">
                  <c:v>170</c:v>
                </c:pt>
                <c:pt idx="17236">
                  <c:v>262</c:v>
                </c:pt>
                <c:pt idx="17237">
                  <c:v>206</c:v>
                </c:pt>
                <c:pt idx="17238">
                  <c:v>259</c:v>
                </c:pt>
                <c:pt idx="17239">
                  <c:v>260</c:v>
                </c:pt>
                <c:pt idx="17240">
                  <c:v>245</c:v>
                </c:pt>
                <c:pt idx="17241">
                  <c:v>907</c:v>
                </c:pt>
                <c:pt idx="17242">
                  <c:v>880</c:v>
                </c:pt>
                <c:pt idx="17243">
                  <c:v>830</c:v>
                </c:pt>
                <c:pt idx="17244">
                  <c:v>700</c:v>
                </c:pt>
                <c:pt idx="17245">
                  <c:v>679</c:v>
                </c:pt>
                <c:pt idx="17246">
                  <c:v>655</c:v>
                </c:pt>
                <c:pt idx="17247">
                  <c:v>635</c:v>
                </c:pt>
                <c:pt idx="17248">
                  <c:v>597</c:v>
                </c:pt>
                <c:pt idx="17249">
                  <c:v>564</c:v>
                </c:pt>
                <c:pt idx="17250">
                  <c:v>507</c:v>
                </c:pt>
                <c:pt idx="17251">
                  <c:v>558</c:v>
                </c:pt>
                <c:pt idx="17252">
                  <c:v>529</c:v>
                </c:pt>
                <c:pt idx="17253">
                  <c:v>559</c:v>
                </c:pt>
                <c:pt idx="17254">
                  <c:v>535</c:v>
                </c:pt>
                <c:pt idx="17255">
                  <c:v>585</c:v>
                </c:pt>
                <c:pt idx="17256">
                  <c:v>535</c:v>
                </c:pt>
                <c:pt idx="17257">
                  <c:v>598</c:v>
                </c:pt>
                <c:pt idx="17258">
                  <c:v>595</c:v>
                </c:pt>
                <c:pt idx="17259">
                  <c:v>601</c:v>
                </c:pt>
                <c:pt idx="17260">
                  <c:v>633</c:v>
                </c:pt>
                <c:pt idx="17261">
                  <c:v>570</c:v>
                </c:pt>
                <c:pt idx="17262">
                  <c:v>655</c:v>
                </c:pt>
                <c:pt idx="17263">
                  <c:v>626</c:v>
                </c:pt>
                <c:pt idx="17264">
                  <c:v>654</c:v>
                </c:pt>
                <c:pt idx="17265">
                  <c:v>617</c:v>
                </c:pt>
                <c:pt idx="17266">
                  <c:v>623</c:v>
                </c:pt>
                <c:pt idx="17267">
                  <c:v>581</c:v>
                </c:pt>
                <c:pt idx="17268">
                  <c:v>647</c:v>
                </c:pt>
                <c:pt idx="17269">
                  <c:v>596</c:v>
                </c:pt>
                <c:pt idx="17270">
                  <c:v>594</c:v>
                </c:pt>
                <c:pt idx="17271">
                  <c:v>473</c:v>
                </c:pt>
                <c:pt idx="17272">
                  <c:v>434</c:v>
                </c:pt>
                <c:pt idx="17273">
                  <c:v>323</c:v>
                </c:pt>
                <c:pt idx="17274">
                  <c:v>319</c:v>
                </c:pt>
                <c:pt idx="17275">
                  <c:v>378</c:v>
                </c:pt>
                <c:pt idx="17276">
                  <c:v>298</c:v>
                </c:pt>
                <c:pt idx="17277">
                  <c:v>322</c:v>
                </c:pt>
                <c:pt idx="17278">
                  <c:v>251</c:v>
                </c:pt>
                <c:pt idx="17279">
                  <c:v>260</c:v>
                </c:pt>
                <c:pt idx="17280">
                  <c:v>251</c:v>
                </c:pt>
                <c:pt idx="17281">
                  <c:v>236</c:v>
                </c:pt>
                <c:pt idx="17282">
                  <c:v>300</c:v>
                </c:pt>
                <c:pt idx="17283">
                  <c:v>281</c:v>
                </c:pt>
                <c:pt idx="17284">
                  <c:v>236</c:v>
                </c:pt>
                <c:pt idx="17285">
                  <c:v>252</c:v>
                </c:pt>
                <c:pt idx="17286">
                  <c:v>201</c:v>
                </c:pt>
                <c:pt idx="17287">
                  <c:v>241</c:v>
                </c:pt>
                <c:pt idx="17288">
                  <c:v>214</c:v>
                </c:pt>
                <c:pt idx="17289">
                  <c:v>228</c:v>
                </c:pt>
                <c:pt idx="17290">
                  <c:v>268</c:v>
                </c:pt>
                <c:pt idx="17291">
                  <c:v>227</c:v>
                </c:pt>
                <c:pt idx="17292">
                  <c:v>168</c:v>
                </c:pt>
                <c:pt idx="17293">
                  <c:v>187</c:v>
                </c:pt>
                <c:pt idx="17294">
                  <c:v>208</c:v>
                </c:pt>
                <c:pt idx="17295">
                  <c:v>206</c:v>
                </c:pt>
                <c:pt idx="17296">
                  <c:v>202</c:v>
                </c:pt>
                <c:pt idx="17297">
                  <c:v>209</c:v>
                </c:pt>
                <c:pt idx="17298">
                  <c:v>163</c:v>
                </c:pt>
                <c:pt idx="17299">
                  <c:v>908</c:v>
                </c:pt>
                <c:pt idx="17300">
                  <c:v>920</c:v>
                </c:pt>
                <c:pt idx="17301">
                  <c:v>721</c:v>
                </c:pt>
                <c:pt idx="17302">
                  <c:v>445</c:v>
                </c:pt>
                <c:pt idx="17303">
                  <c:v>455</c:v>
                </c:pt>
                <c:pt idx="17304">
                  <c:v>455</c:v>
                </c:pt>
                <c:pt idx="17305">
                  <c:v>398</c:v>
                </c:pt>
                <c:pt idx="17306">
                  <c:v>477</c:v>
                </c:pt>
                <c:pt idx="17307">
                  <c:v>468</c:v>
                </c:pt>
                <c:pt idx="17308">
                  <c:v>503</c:v>
                </c:pt>
                <c:pt idx="17309">
                  <c:v>412</c:v>
                </c:pt>
                <c:pt idx="17310">
                  <c:v>433</c:v>
                </c:pt>
                <c:pt idx="17311">
                  <c:v>386</c:v>
                </c:pt>
                <c:pt idx="17312">
                  <c:v>466</c:v>
                </c:pt>
                <c:pt idx="17313">
                  <c:v>387</c:v>
                </c:pt>
                <c:pt idx="17314">
                  <c:v>400</c:v>
                </c:pt>
                <c:pt idx="17315">
                  <c:v>436</c:v>
                </c:pt>
                <c:pt idx="17316">
                  <c:v>469</c:v>
                </c:pt>
                <c:pt idx="17317">
                  <c:v>493</c:v>
                </c:pt>
                <c:pt idx="17318">
                  <c:v>464</c:v>
                </c:pt>
                <c:pt idx="17319">
                  <c:v>387</c:v>
                </c:pt>
                <c:pt idx="17320">
                  <c:v>413</c:v>
                </c:pt>
                <c:pt idx="17321">
                  <c:v>435</c:v>
                </c:pt>
                <c:pt idx="17322">
                  <c:v>402</c:v>
                </c:pt>
                <c:pt idx="17323">
                  <c:v>383</c:v>
                </c:pt>
                <c:pt idx="17324">
                  <c:v>445</c:v>
                </c:pt>
                <c:pt idx="17325">
                  <c:v>432</c:v>
                </c:pt>
                <c:pt idx="17326">
                  <c:v>400</c:v>
                </c:pt>
                <c:pt idx="17327">
                  <c:v>378</c:v>
                </c:pt>
                <c:pt idx="17328">
                  <c:v>417</c:v>
                </c:pt>
                <c:pt idx="17329">
                  <c:v>331</c:v>
                </c:pt>
                <c:pt idx="17330">
                  <c:v>326</c:v>
                </c:pt>
                <c:pt idx="17331">
                  <c:v>346</c:v>
                </c:pt>
                <c:pt idx="17332">
                  <c:v>336</c:v>
                </c:pt>
                <c:pt idx="17333">
                  <c:v>309</c:v>
                </c:pt>
                <c:pt idx="17334">
                  <c:v>337</c:v>
                </c:pt>
                <c:pt idx="17335">
                  <c:v>252</c:v>
                </c:pt>
                <c:pt idx="17336">
                  <c:v>284</c:v>
                </c:pt>
                <c:pt idx="17337">
                  <c:v>298</c:v>
                </c:pt>
                <c:pt idx="17338">
                  <c:v>276</c:v>
                </c:pt>
                <c:pt idx="17339">
                  <c:v>241</c:v>
                </c:pt>
                <c:pt idx="17340">
                  <c:v>278</c:v>
                </c:pt>
                <c:pt idx="17341">
                  <c:v>255</c:v>
                </c:pt>
                <c:pt idx="17342">
                  <c:v>237</c:v>
                </c:pt>
                <c:pt idx="17343">
                  <c:v>312</c:v>
                </c:pt>
                <c:pt idx="17344">
                  <c:v>255</c:v>
                </c:pt>
                <c:pt idx="17345">
                  <c:v>273</c:v>
                </c:pt>
                <c:pt idx="17346">
                  <c:v>236</c:v>
                </c:pt>
                <c:pt idx="17347">
                  <c:v>244</c:v>
                </c:pt>
                <c:pt idx="17348">
                  <c:v>229</c:v>
                </c:pt>
                <c:pt idx="17349">
                  <c:v>215</c:v>
                </c:pt>
                <c:pt idx="17350">
                  <c:v>208</c:v>
                </c:pt>
                <c:pt idx="17351">
                  <c:v>230</c:v>
                </c:pt>
                <c:pt idx="17352">
                  <c:v>252</c:v>
                </c:pt>
                <c:pt idx="17353">
                  <c:v>254</c:v>
                </c:pt>
                <c:pt idx="17354">
                  <c:v>245</c:v>
                </c:pt>
                <c:pt idx="17355">
                  <c:v>252</c:v>
                </c:pt>
                <c:pt idx="17356">
                  <c:v>226</c:v>
                </c:pt>
                <c:pt idx="17357">
                  <c:v>225</c:v>
                </c:pt>
                <c:pt idx="17358">
                  <c:v>202</c:v>
                </c:pt>
                <c:pt idx="17359">
                  <c:v>239</c:v>
                </c:pt>
                <c:pt idx="17360">
                  <c:v>212</c:v>
                </c:pt>
                <c:pt idx="17361">
                  <c:v>237</c:v>
                </c:pt>
                <c:pt idx="17362">
                  <c:v>217</c:v>
                </c:pt>
                <c:pt idx="17363">
                  <c:v>218</c:v>
                </c:pt>
                <c:pt idx="17364">
                  <c:v>202</c:v>
                </c:pt>
                <c:pt idx="17365">
                  <c:v>178</c:v>
                </c:pt>
                <c:pt idx="17366">
                  <c:v>190</c:v>
                </c:pt>
                <c:pt idx="17367">
                  <c:v>201</c:v>
                </c:pt>
                <c:pt idx="17368">
                  <c:v>265</c:v>
                </c:pt>
                <c:pt idx="17369">
                  <c:v>188</c:v>
                </c:pt>
                <c:pt idx="17370">
                  <c:v>199</c:v>
                </c:pt>
                <c:pt idx="17371">
                  <c:v>196</c:v>
                </c:pt>
                <c:pt idx="17372">
                  <c:v>192</c:v>
                </c:pt>
                <c:pt idx="17373">
                  <c:v>187</c:v>
                </c:pt>
                <c:pt idx="17374">
                  <c:v>153</c:v>
                </c:pt>
                <c:pt idx="17375">
                  <c:v>205</c:v>
                </c:pt>
                <c:pt idx="17376">
                  <c:v>182</c:v>
                </c:pt>
                <c:pt idx="17377">
                  <c:v>202</c:v>
                </c:pt>
                <c:pt idx="17378">
                  <c:v>160</c:v>
                </c:pt>
                <c:pt idx="17379">
                  <c:v>62</c:v>
                </c:pt>
                <c:pt idx="17380">
                  <c:v>603</c:v>
                </c:pt>
                <c:pt idx="17381">
                  <c:v>546</c:v>
                </c:pt>
                <c:pt idx="17382">
                  <c:v>337</c:v>
                </c:pt>
                <c:pt idx="17383">
                  <c:v>328</c:v>
                </c:pt>
                <c:pt idx="17384">
                  <c:v>303</c:v>
                </c:pt>
                <c:pt idx="17385">
                  <c:v>303</c:v>
                </c:pt>
                <c:pt idx="17386">
                  <c:v>320</c:v>
                </c:pt>
                <c:pt idx="17387">
                  <c:v>451</c:v>
                </c:pt>
                <c:pt idx="17388">
                  <c:v>446</c:v>
                </c:pt>
                <c:pt idx="17389">
                  <c:v>469</c:v>
                </c:pt>
                <c:pt idx="17390">
                  <c:v>389</c:v>
                </c:pt>
                <c:pt idx="17391">
                  <c:v>367</c:v>
                </c:pt>
                <c:pt idx="17392">
                  <c:v>398</c:v>
                </c:pt>
                <c:pt idx="17393">
                  <c:v>466</c:v>
                </c:pt>
                <c:pt idx="17394">
                  <c:v>437</c:v>
                </c:pt>
                <c:pt idx="17395">
                  <c:v>400</c:v>
                </c:pt>
                <c:pt idx="17396">
                  <c:v>462</c:v>
                </c:pt>
                <c:pt idx="17397">
                  <c:v>416</c:v>
                </c:pt>
                <c:pt idx="17398">
                  <c:v>397</c:v>
                </c:pt>
                <c:pt idx="17399">
                  <c:v>417</c:v>
                </c:pt>
                <c:pt idx="17400">
                  <c:v>447</c:v>
                </c:pt>
                <c:pt idx="17401">
                  <c:v>451</c:v>
                </c:pt>
                <c:pt idx="17402">
                  <c:v>405</c:v>
                </c:pt>
                <c:pt idx="17403">
                  <c:v>437</c:v>
                </c:pt>
                <c:pt idx="17404">
                  <c:v>408</c:v>
                </c:pt>
                <c:pt idx="17405">
                  <c:v>476</c:v>
                </c:pt>
                <c:pt idx="17406">
                  <c:v>382</c:v>
                </c:pt>
                <c:pt idx="17407">
                  <c:v>475</c:v>
                </c:pt>
                <c:pt idx="17408">
                  <c:v>411</c:v>
                </c:pt>
                <c:pt idx="17409">
                  <c:v>461</c:v>
                </c:pt>
                <c:pt idx="17410">
                  <c:v>414</c:v>
                </c:pt>
                <c:pt idx="17411">
                  <c:v>481</c:v>
                </c:pt>
                <c:pt idx="17412">
                  <c:v>462</c:v>
                </c:pt>
                <c:pt idx="17413">
                  <c:v>435</c:v>
                </c:pt>
                <c:pt idx="17414">
                  <c:v>367</c:v>
                </c:pt>
                <c:pt idx="17415">
                  <c:v>444</c:v>
                </c:pt>
                <c:pt idx="17416">
                  <c:v>462</c:v>
                </c:pt>
                <c:pt idx="17417">
                  <c:v>332</c:v>
                </c:pt>
                <c:pt idx="17418">
                  <c:v>407</c:v>
                </c:pt>
                <c:pt idx="17419">
                  <c:v>406</c:v>
                </c:pt>
                <c:pt idx="17420">
                  <c:v>347</c:v>
                </c:pt>
                <c:pt idx="17421">
                  <c:v>372</c:v>
                </c:pt>
                <c:pt idx="17422">
                  <c:v>434</c:v>
                </c:pt>
                <c:pt idx="17423">
                  <c:v>371</c:v>
                </c:pt>
                <c:pt idx="17424">
                  <c:v>355</c:v>
                </c:pt>
                <c:pt idx="17425">
                  <c:v>324</c:v>
                </c:pt>
                <c:pt idx="17426">
                  <c:v>369</c:v>
                </c:pt>
                <c:pt idx="17427">
                  <c:v>370</c:v>
                </c:pt>
                <c:pt idx="17428">
                  <c:v>269</c:v>
                </c:pt>
                <c:pt idx="17429">
                  <c:v>365</c:v>
                </c:pt>
                <c:pt idx="17430">
                  <c:v>278</c:v>
                </c:pt>
                <c:pt idx="17431">
                  <c:v>316</c:v>
                </c:pt>
                <c:pt idx="17432">
                  <c:v>255</c:v>
                </c:pt>
                <c:pt idx="17433">
                  <c:v>326</c:v>
                </c:pt>
                <c:pt idx="17434">
                  <c:v>270</c:v>
                </c:pt>
                <c:pt idx="17435">
                  <c:v>363</c:v>
                </c:pt>
                <c:pt idx="17436">
                  <c:v>246</c:v>
                </c:pt>
                <c:pt idx="17437">
                  <c:v>286</c:v>
                </c:pt>
                <c:pt idx="17438">
                  <c:v>241</c:v>
                </c:pt>
                <c:pt idx="17439">
                  <c:v>303</c:v>
                </c:pt>
                <c:pt idx="17440">
                  <c:v>268</c:v>
                </c:pt>
                <c:pt idx="17441">
                  <c:v>244</c:v>
                </c:pt>
                <c:pt idx="17442">
                  <c:v>209</c:v>
                </c:pt>
                <c:pt idx="17443">
                  <c:v>252</c:v>
                </c:pt>
                <c:pt idx="17444">
                  <c:v>291</c:v>
                </c:pt>
                <c:pt idx="17445">
                  <c:v>315</c:v>
                </c:pt>
                <c:pt idx="17446">
                  <c:v>248</c:v>
                </c:pt>
                <c:pt idx="17447">
                  <c:v>301</c:v>
                </c:pt>
                <c:pt idx="17448">
                  <c:v>241</c:v>
                </c:pt>
                <c:pt idx="17449">
                  <c:v>225</c:v>
                </c:pt>
                <c:pt idx="17450">
                  <c:v>188</c:v>
                </c:pt>
                <c:pt idx="17451">
                  <c:v>182</c:v>
                </c:pt>
                <c:pt idx="17452">
                  <c:v>206</c:v>
                </c:pt>
                <c:pt idx="17453">
                  <c:v>219</c:v>
                </c:pt>
                <c:pt idx="17454">
                  <c:v>299</c:v>
                </c:pt>
                <c:pt idx="17455">
                  <c:v>270</c:v>
                </c:pt>
                <c:pt idx="17456">
                  <c:v>277</c:v>
                </c:pt>
                <c:pt idx="17457">
                  <c:v>244</c:v>
                </c:pt>
                <c:pt idx="17458">
                  <c:v>245</c:v>
                </c:pt>
                <c:pt idx="17459">
                  <c:v>247</c:v>
                </c:pt>
                <c:pt idx="17460">
                  <c:v>255</c:v>
                </c:pt>
                <c:pt idx="17461">
                  <c:v>929</c:v>
                </c:pt>
                <c:pt idx="17462">
                  <c:v>820</c:v>
                </c:pt>
                <c:pt idx="17463">
                  <c:v>861</c:v>
                </c:pt>
                <c:pt idx="17464">
                  <c:v>660</c:v>
                </c:pt>
                <c:pt idx="17465">
                  <c:v>590</c:v>
                </c:pt>
                <c:pt idx="17466">
                  <c:v>511</c:v>
                </c:pt>
                <c:pt idx="17467">
                  <c:v>573</c:v>
                </c:pt>
                <c:pt idx="17468">
                  <c:v>566</c:v>
                </c:pt>
                <c:pt idx="17469">
                  <c:v>608</c:v>
                </c:pt>
                <c:pt idx="17470">
                  <c:v>593</c:v>
                </c:pt>
                <c:pt idx="17471">
                  <c:v>588</c:v>
                </c:pt>
                <c:pt idx="17472">
                  <c:v>612</c:v>
                </c:pt>
                <c:pt idx="17473">
                  <c:v>622</c:v>
                </c:pt>
                <c:pt idx="17474">
                  <c:v>647</c:v>
                </c:pt>
                <c:pt idx="17475">
                  <c:v>609</c:v>
                </c:pt>
                <c:pt idx="17476">
                  <c:v>666</c:v>
                </c:pt>
                <c:pt idx="17477">
                  <c:v>630</c:v>
                </c:pt>
                <c:pt idx="17478">
                  <c:v>640</c:v>
                </c:pt>
                <c:pt idx="17479">
                  <c:v>634</c:v>
                </c:pt>
                <c:pt idx="17480">
                  <c:v>654</c:v>
                </c:pt>
                <c:pt idx="17481">
                  <c:v>645</c:v>
                </c:pt>
                <c:pt idx="17482">
                  <c:v>615</c:v>
                </c:pt>
                <c:pt idx="17483">
                  <c:v>682</c:v>
                </c:pt>
                <c:pt idx="17484">
                  <c:v>793</c:v>
                </c:pt>
                <c:pt idx="17485">
                  <c:v>777</c:v>
                </c:pt>
                <c:pt idx="17486">
                  <c:v>701</c:v>
                </c:pt>
                <c:pt idx="17487">
                  <c:v>700</c:v>
                </c:pt>
                <c:pt idx="17488">
                  <c:v>746</c:v>
                </c:pt>
                <c:pt idx="17489">
                  <c:v>703</c:v>
                </c:pt>
                <c:pt idx="17490">
                  <c:v>733</c:v>
                </c:pt>
                <c:pt idx="17491">
                  <c:v>693</c:v>
                </c:pt>
                <c:pt idx="17492">
                  <c:v>750</c:v>
                </c:pt>
                <c:pt idx="17493">
                  <c:v>690</c:v>
                </c:pt>
                <c:pt idx="17494">
                  <c:v>712</c:v>
                </c:pt>
                <c:pt idx="17495">
                  <c:v>634</c:v>
                </c:pt>
                <c:pt idx="17496">
                  <c:v>636</c:v>
                </c:pt>
                <c:pt idx="17497">
                  <c:v>626</c:v>
                </c:pt>
                <c:pt idx="17498">
                  <c:v>590</c:v>
                </c:pt>
                <c:pt idx="17499">
                  <c:v>637</c:v>
                </c:pt>
                <c:pt idx="17500">
                  <c:v>566</c:v>
                </c:pt>
                <c:pt idx="17501">
                  <c:v>521</c:v>
                </c:pt>
                <c:pt idx="17502">
                  <c:v>546</c:v>
                </c:pt>
                <c:pt idx="17503">
                  <c:v>557</c:v>
                </c:pt>
                <c:pt idx="17504">
                  <c:v>571</c:v>
                </c:pt>
                <c:pt idx="17505">
                  <c:v>488</c:v>
                </c:pt>
                <c:pt idx="17506">
                  <c:v>486</c:v>
                </c:pt>
                <c:pt idx="17507">
                  <c:v>389</c:v>
                </c:pt>
                <c:pt idx="17508">
                  <c:v>423</c:v>
                </c:pt>
                <c:pt idx="17509">
                  <c:v>322</c:v>
                </c:pt>
                <c:pt idx="17510">
                  <c:v>298</c:v>
                </c:pt>
                <c:pt idx="17511">
                  <c:v>344</c:v>
                </c:pt>
                <c:pt idx="17512">
                  <c:v>297</c:v>
                </c:pt>
                <c:pt idx="17513">
                  <c:v>265</c:v>
                </c:pt>
                <c:pt idx="17514">
                  <c:v>271</c:v>
                </c:pt>
                <c:pt idx="17515">
                  <c:v>300</c:v>
                </c:pt>
                <c:pt idx="17516">
                  <c:v>276</c:v>
                </c:pt>
                <c:pt idx="17517">
                  <c:v>255</c:v>
                </c:pt>
                <c:pt idx="17518">
                  <c:v>243</c:v>
                </c:pt>
                <c:pt idx="17519">
                  <c:v>286</c:v>
                </c:pt>
                <c:pt idx="17520">
                  <c:v>315</c:v>
                </c:pt>
                <c:pt idx="17521">
                  <c:v>253</c:v>
                </c:pt>
                <c:pt idx="17522">
                  <c:v>254</c:v>
                </c:pt>
                <c:pt idx="17523">
                  <c:v>232</c:v>
                </c:pt>
                <c:pt idx="17524">
                  <c:v>326</c:v>
                </c:pt>
                <c:pt idx="17525">
                  <c:v>278</c:v>
                </c:pt>
                <c:pt idx="17526">
                  <c:v>307</c:v>
                </c:pt>
                <c:pt idx="17527">
                  <c:v>298</c:v>
                </c:pt>
                <c:pt idx="17528">
                  <c:v>291</c:v>
                </c:pt>
                <c:pt idx="17529">
                  <c:v>251</c:v>
                </c:pt>
                <c:pt idx="17530">
                  <c:v>271</c:v>
                </c:pt>
                <c:pt idx="17531">
                  <c:v>257</c:v>
                </c:pt>
                <c:pt idx="17532">
                  <c:v>249</c:v>
                </c:pt>
                <c:pt idx="17533">
                  <c:v>266</c:v>
                </c:pt>
                <c:pt idx="17534">
                  <c:v>301</c:v>
                </c:pt>
                <c:pt idx="17535">
                  <c:v>366</c:v>
                </c:pt>
                <c:pt idx="17536">
                  <c:v>307</c:v>
                </c:pt>
                <c:pt idx="17537">
                  <c:v>302</c:v>
                </c:pt>
                <c:pt idx="17538">
                  <c:v>303</c:v>
                </c:pt>
                <c:pt idx="17539">
                  <c:v>293</c:v>
                </c:pt>
                <c:pt idx="17540">
                  <c:v>300</c:v>
                </c:pt>
                <c:pt idx="17541">
                  <c:v>271</c:v>
                </c:pt>
                <c:pt idx="17542">
                  <c:v>283</c:v>
                </c:pt>
                <c:pt idx="17543">
                  <c:v>249</c:v>
                </c:pt>
                <c:pt idx="17544">
                  <c:v>320</c:v>
                </c:pt>
                <c:pt idx="17545">
                  <c:v>315</c:v>
                </c:pt>
                <c:pt idx="17546">
                  <c:v>337</c:v>
                </c:pt>
                <c:pt idx="17547">
                  <c:v>568</c:v>
                </c:pt>
                <c:pt idx="17548">
                  <c:v>424</c:v>
                </c:pt>
                <c:pt idx="17549">
                  <c:v>344</c:v>
                </c:pt>
                <c:pt idx="17550">
                  <c:v>344</c:v>
                </c:pt>
                <c:pt idx="17551">
                  <c:v>415</c:v>
                </c:pt>
                <c:pt idx="17552">
                  <c:v>432</c:v>
                </c:pt>
                <c:pt idx="17553">
                  <c:v>370</c:v>
                </c:pt>
                <c:pt idx="17554">
                  <c:v>389</c:v>
                </c:pt>
                <c:pt idx="17555">
                  <c:v>381</c:v>
                </c:pt>
                <c:pt idx="17556">
                  <c:v>472</c:v>
                </c:pt>
                <c:pt idx="17557">
                  <c:v>483</c:v>
                </c:pt>
                <c:pt idx="17558">
                  <c:v>548</c:v>
                </c:pt>
                <c:pt idx="17559">
                  <c:v>635</c:v>
                </c:pt>
                <c:pt idx="17560">
                  <c:v>662</c:v>
                </c:pt>
                <c:pt idx="17561">
                  <c:v>710</c:v>
                </c:pt>
                <c:pt idx="17562">
                  <c:v>721</c:v>
                </c:pt>
                <c:pt idx="17563">
                  <c:v>696</c:v>
                </c:pt>
                <c:pt idx="17564">
                  <c:v>678</c:v>
                </c:pt>
                <c:pt idx="17565">
                  <c:v>719</c:v>
                </c:pt>
                <c:pt idx="17566">
                  <c:v>664</c:v>
                </c:pt>
                <c:pt idx="17567">
                  <c:v>725</c:v>
                </c:pt>
                <c:pt idx="17568">
                  <c:v>741</c:v>
                </c:pt>
                <c:pt idx="17569">
                  <c:v>779</c:v>
                </c:pt>
                <c:pt idx="17570">
                  <c:v>761</c:v>
                </c:pt>
                <c:pt idx="17571">
                  <c:v>728</c:v>
                </c:pt>
                <c:pt idx="17572">
                  <c:v>781</c:v>
                </c:pt>
                <c:pt idx="17573">
                  <c:v>784</c:v>
                </c:pt>
                <c:pt idx="17574">
                  <c:v>770</c:v>
                </c:pt>
                <c:pt idx="17575">
                  <c:v>811</c:v>
                </c:pt>
                <c:pt idx="17576">
                  <c:v>781</c:v>
                </c:pt>
                <c:pt idx="17577">
                  <c:v>764</c:v>
                </c:pt>
                <c:pt idx="17578">
                  <c:v>739</c:v>
                </c:pt>
                <c:pt idx="17579">
                  <c:v>773</c:v>
                </c:pt>
                <c:pt idx="17580">
                  <c:v>822</c:v>
                </c:pt>
                <c:pt idx="17581">
                  <c:v>749</c:v>
                </c:pt>
                <c:pt idx="17582">
                  <c:v>839</c:v>
                </c:pt>
                <c:pt idx="17583">
                  <c:v>840</c:v>
                </c:pt>
                <c:pt idx="17584">
                  <c:v>853</c:v>
                </c:pt>
                <c:pt idx="17585">
                  <c:v>842</c:v>
                </c:pt>
                <c:pt idx="17586">
                  <c:v>852</c:v>
                </c:pt>
                <c:pt idx="17587">
                  <c:v>828</c:v>
                </c:pt>
                <c:pt idx="17588">
                  <c:v>848</c:v>
                </c:pt>
                <c:pt idx="17589">
                  <c:v>807</c:v>
                </c:pt>
                <c:pt idx="17590">
                  <c:v>818</c:v>
                </c:pt>
                <c:pt idx="17591">
                  <c:v>703</c:v>
                </c:pt>
                <c:pt idx="17592">
                  <c:v>633</c:v>
                </c:pt>
                <c:pt idx="17593">
                  <c:v>576</c:v>
                </c:pt>
                <c:pt idx="17594">
                  <c:v>564</c:v>
                </c:pt>
                <c:pt idx="17595">
                  <c:v>599</c:v>
                </c:pt>
                <c:pt idx="17596">
                  <c:v>590</c:v>
                </c:pt>
                <c:pt idx="17597">
                  <c:v>633</c:v>
                </c:pt>
                <c:pt idx="17598">
                  <c:v>596</c:v>
                </c:pt>
                <c:pt idx="17599">
                  <c:v>611</c:v>
                </c:pt>
                <c:pt idx="17600">
                  <c:v>662</c:v>
                </c:pt>
                <c:pt idx="17601">
                  <c:v>567</c:v>
                </c:pt>
                <c:pt idx="17602">
                  <c:v>590</c:v>
                </c:pt>
                <c:pt idx="17603">
                  <c:v>568</c:v>
                </c:pt>
                <c:pt idx="17604">
                  <c:v>494</c:v>
                </c:pt>
                <c:pt idx="17605">
                  <c:v>488</c:v>
                </c:pt>
                <c:pt idx="17606">
                  <c:v>412</c:v>
                </c:pt>
                <c:pt idx="17607">
                  <c:v>429</c:v>
                </c:pt>
                <c:pt idx="17608">
                  <c:v>385</c:v>
                </c:pt>
                <c:pt idx="17609">
                  <c:v>401</c:v>
                </c:pt>
                <c:pt idx="17610">
                  <c:v>424</c:v>
                </c:pt>
                <c:pt idx="17611">
                  <c:v>463</c:v>
                </c:pt>
                <c:pt idx="17612">
                  <c:v>449</c:v>
                </c:pt>
                <c:pt idx="17613">
                  <c:v>478</c:v>
                </c:pt>
                <c:pt idx="17614">
                  <c:v>395</c:v>
                </c:pt>
                <c:pt idx="17615">
                  <c:v>412</c:v>
                </c:pt>
                <c:pt idx="17616">
                  <c:v>351</c:v>
                </c:pt>
                <c:pt idx="17617">
                  <c:v>382</c:v>
                </c:pt>
                <c:pt idx="17618">
                  <c:v>392</c:v>
                </c:pt>
                <c:pt idx="17619">
                  <c:v>350</c:v>
                </c:pt>
                <c:pt idx="17620">
                  <c:v>338</c:v>
                </c:pt>
                <c:pt idx="17621">
                  <c:v>343</c:v>
                </c:pt>
                <c:pt idx="17622">
                  <c:v>351</c:v>
                </c:pt>
                <c:pt idx="17623">
                  <c:v>353</c:v>
                </c:pt>
                <c:pt idx="17624">
                  <c:v>342</c:v>
                </c:pt>
                <c:pt idx="17625">
                  <c:v>311</c:v>
                </c:pt>
                <c:pt idx="17626">
                  <c:v>323</c:v>
                </c:pt>
                <c:pt idx="17627">
                  <c:v>322</c:v>
                </c:pt>
                <c:pt idx="17628">
                  <c:v>307</c:v>
                </c:pt>
                <c:pt idx="17629">
                  <c:v>298</c:v>
                </c:pt>
                <c:pt idx="17630">
                  <c:v>349</c:v>
                </c:pt>
                <c:pt idx="17631">
                  <c:v>444</c:v>
                </c:pt>
                <c:pt idx="17632">
                  <c:v>396</c:v>
                </c:pt>
                <c:pt idx="17633">
                  <c:v>401</c:v>
                </c:pt>
                <c:pt idx="17634">
                  <c:v>385</c:v>
                </c:pt>
                <c:pt idx="17635">
                  <c:v>315</c:v>
                </c:pt>
                <c:pt idx="17636">
                  <c:v>367</c:v>
                </c:pt>
                <c:pt idx="17637">
                  <c:v>483</c:v>
                </c:pt>
                <c:pt idx="17638">
                  <c:v>326</c:v>
                </c:pt>
                <c:pt idx="17639">
                  <c:v>295</c:v>
                </c:pt>
                <c:pt idx="17640">
                  <c:v>531</c:v>
                </c:pt>
                <c:pt idx="17641">
                  <c:v>437</c:v>
                </c:pt>
                <c:pt idx="17642">
                  <c:v>469</c:v>
                </c:pt>
                <c:pt idx="17643">
                  <c:v>404</c:v>
                </c:pt>
                <c:pt idx="17644">
                  <c:v>437</c:v>
                </c:pt>
                <c:pt idx="17645">
                  <c:v>416</c:v>
                </c:pt>
                <c:pt idx="17646">
                  <c:v>446</c:v>
                </c:pt>
                <c:pt idx="17647">
                  <c:v>491</c:v>
                </c:pt>
                <c:pt idx="17648">
                  <c:v>538</c:v>
                </c:pt>
                <c:pt idx="17649">
                  <c:v>454</c:v>
                </c:pt>
                <c:pt idx="17650">
                  <c:v>451</c:v>
                </c:pt>
                <c:pt idx="17651">
                  <c:v>543</c:v>
                </c:pt>
                <c:pt idx="17652">
                  <c:v>535</c:v>
                </c:pt>
                <c:pt idx="17653">
                  <c:v>489</c:v>
                </c:pt>
                <c:pt idx="17654">
                  <c:v>525</c:v>
                </c:pt>
                <c:pt idx="17655">
                  <c:v>562</c:v>
                </c:pt>
                <c:pt idx="17656">
                  <c:v>600</c:v>
                </c:pt>
                <c:pt idx="17657">
                  <c:v>572</c:v>
                </c:pt>
                <c:pt idx="17658">
                  <c:v>622</c:v>
                </c:pt>
                <c:pt idx="17659">
                  <c:v>630</c:v>
                </c:pt>
                <c:pt idx="17660">
                  <c:v>625</c:v>
                </c:pt>
                <c:pt idx="17661">
                  <c:v>700</c:v>
                </c:pt>
                <c:pt idx="17662">
                  <c:v>692</c:v>
                </c:pt>
                <c:pt idx="17663">
                  <c:v>665</c:v>
                </c:pt>
                <c:pt idx="17664">
                  <c:v>683</c:v>
                </c:pt>
                <c:pt idx="17665">
                  <c:v>653</c:v>
                </c:pt>
                <c:pt idx="17666">
                  <c:v>686</c:v>
                </c:pt>
                <c:pt idx="17667">
                  <c:v>652</c:v>
                </c:pt>
                <c:pt idx="17668">
                  <c:v>693</c:v>
                </c:pt>
                <c:pt idx="17669">
                  <c:v>674</c:v>
                </c:pt>
                <c:pt idx="17670">
                  <c:v>705</c:v>
                </c:pt>
                <c:pt idx="17671">
                  <c:v>682</c:v>
                </c:pt>
                <c:pt idx="17672">
                  <c:v>698</c:v>
                </c:pt>
                <c:pt idx="17673">
                  <c:v>655</c:v>
                </c:pt>
                <c:pt idx="17674">
                  <c:v>711</c:v>
                </c:pt>
                <c:pt idx="17675">
                  <c:v>700</c:v>
                </c:pt>
                <c:pt idx="17676">
                  <c:v>709</c:v>
                </c:pt>
                <c:pt idx="17677">
                  <c:v>726</c:v>
                </c:pt>
                <c:pt idx="17678">
                  <c:v>738</c:v>
                </c:pt>
                <c:pt idx="17679">
                  <c:v>721</c:v>
                </c:pt>
                <c:pt idx="17680">
                  <c:v>704</c:v>
                </c:pt>
                <c:pt idx="17681">
                  <c:v>730</c:v>
                </c:pt>
                <c:pt idx="17682">
                  <c:v>721</c:v>
                </c:pt>
                <c:pt idx="17683">
                  <c:v>735</c:v>
                </c:pt>
                <c:pt idx="17684">
                  <c:v>698</c:v>
                </c:pt>
                <c:pt idx="17685">
                  <c:v>733</c:v>
                </c:pt>
                <c:pt idx="17686">
                  <c:v>691</c:v>
                </c:pt>
                <c:pt idx="17687">
                  <c:v>646</c:v>
                </c:pt>
                <c:pt idx="17688">
                  <c:v>612</c:v>
                </c:pt>
                <c:pt idx="17689">
                  <c:v>613</c:v>
                </c:pt>
                <c:pt idx="17690">
                  <c:v>606</c:v>
                </c:pt>
                <c:pt idx="17691">
                  <c:v>579</c:v>
                </c:pt>
                <c:pt idx="17692">
                  <c:v>564</c:v>
                </c:pt>
                <c:pt idx="17693">
                  <c:v>565</c:v>
                </c:pt>
                <c:pt idx="17694">
                  <c:v>557</c:v>
                </c:pt>
                <c:pt idx="17695">
                  <c:v>550</c:v>
                </c:pt>
                <c:pt idx="17696">
                  <c:v>476</c:v>
                </c:pt>
                <c:pt idx="17697">
                  <c:v>469</c:v>
                </c:pt>
                <c:pt idx="17698">
                  <c:v>589</c:v>
                </c:pt>
                <c:pt idx="17699">
                  <c:v>438</c:v>
                </c:pt>
                <c:pt idx="17700">
                  <c:v>453</c:v>
                </c:pt>
                <c:pt idx="17701">
                  <c:v>380</c:v>
                </c:pt>
                <c:pt idx="17702">
                  <c:v>385</c:v>
                </c:pt>
                <c:pt idx="17703">
                  <c:v>374</c:v>
                </c:pt>
                <c:pt idx="17704">
                  <c:v>439</c:v>
                </c:pt>
                <c:pt idx="17705">
                  <c:v>374</c:v>
                </c:pt>
                <c:pt idx="17706">
                  <c:v>317</c:v>
                </c:pt>
                <c:pt idx="17707">
                  <c:v>322</c:v>
                </c:pt>
                <c:pt idx="17708">
                  <c:v>331</c:v>
                </c:pt>
                <c:pt idx="17709">
                  <c:v>377</c:v>
                </c:pt>
                <c:pt idx="17710">
                  <c:v>343</c:v>
                </c:pt>
                <c:pt idx="17711">
                  <c:v>320</c:v>
                </c:pt>
                <c:pt idx="17712">
                  <c:v>313</c:v>
                </c:pt>
                <c:pt idx="17713">
                  <c:v>329</c:v>
                </c:pt>
                <c:pt idx="17714">
                  <c:v>369</c:v>
                </c:pt>
                <c:pt idx="17715">
                  <c:v>371</c:v>
                </c:pt>
                <c:pt idx="17716">
                  <c:v>317</c:v>
                </c:pt>
                <c:pt idx="17717">
                  <c:v>313</c:v>
                </c:pt>
                <c:pt idx="17718">
                  <c:v>289</c:v>
                </c:pt>
                <c:pt idx="17719">
                  <c:v>342</c:v>
                </c:pt>
                <c:pt idx="17720">
                  <c:v>366</c:v>
                </c:pt>
                <c:pt idx="17721">
                  <c:v>312</c:v>
                </c:pt>
                <c:pt idx="17722">
                  <c:v>332</c:v>
                </c:pt>
                <c:pt idx="17723">
                  <c:v>306</c:v>
                </c:pt>
                <c:pt idx="17724">
                  <c:v>352</c:v>
                </c:pt>
                <c:pt idx="17725">
                  <c:v>374</c:v>
                </c:pt>
                <c:pt idx="17726">
                  <c:v>349</c:v>
                </c:pt>
                <c:pt idx="17727">
                  <c:v>302</c:v>
                </c:pt>
                <c:pt idx="17728">
                  <c:v>307</c:v>
                </c:pt>
                <c:pt idx="17729">
                  <c:v>336</c:v>
                </c:pt>
                <c:pt idx="17730">
                  <c:v>401</c:v>
                </c:pt>
                <c:pt idx="17731">
                  <c:v>340</c:v>
                </c:pt>
                <c:pt idx="17732">
                  <c:v>358</c:v>
                </c:pt>
                <c:pt idx="17733">
                  <c:v>439</c:v>
                </c:pt>
                <c:pt idx="17734">
                  <c:v>402</c:v>
                </c:pt>
                <c:pt idx="17735">
                  <c:v>295</c:v>
                </c:pt>
                <c:pt idx="17736">
                  <c:v>405</c:v>
                </c:pt>
                <c:pt idx="17737">
                  <c:v>425</c:v>
                </c:pt>
                <c:pt idx="17738">
                  <c:v>414</c:v>
                </c:pt>
                <c:pt idx="17739">
                  <c:v>451</c:v>
                </c:pt>
                <c:pt idx="17740">
                  <c:v>508</c:v>
                </c:pt>
                <c:pt idx="17741">
                  <c:v>457</c:v>
                </c:pt>
                <c:pt idx="17742">
                  <c:v>461</c:v>
                </c:pt>
                <c:pt idx="17743">
                  <c:v>421</c:v>
                </c:pt>
                <c:pt idx="17744">
                  <c:v>467</c:v>
                </c:pt>
                <c:pt idx="17745">
                  <c:v>495</c:v>
                </c:pt>
                <c:pt idx="17746">
                  <c:v>424</c:v>
                </c:pt>
                <c:pt idx="17747">
                  <c:v>445</c:v>
                </c:pt>
                <c:pt idx="17748">
                  <c:v>488</c:v>
                </c:pt>
                <c:pt idx="17749">
                  <c:v>540</c:v>
                </c:pt>
                <c:pt idx="17750">
                  <c:v>551</c:v>
                </c:pt>
                <c:pt idx="17751">
                  <c:v>528</c:v>
                </c:pt>
                <c:pt idx="17752">
                  <c:v>545</c:v>
                </c:pt>
                <c:pt idx="17753">
                  <c:v>638</c:v>
                </c:pt>
                <c:pt idx="17754">
                  <c:v>628</c:v>
                </c:pt>
                <c:pt idx="17755">
                  <c:v>630</c:v>
                </c:pt>
                <c:pt idx="17756">
                  <c:v>635</c:v>
                </c:pt>
                <c:pt idx="17757">
                  <c:v>683</c:v>
                </c:pt>
                <c:pt idx="17758">
                  <c:v>730</c:v>
                </c:pt>
                <c:pt idx="17759">
                  <c:v>655</c:v>
                </c:pt>
                <c:pt idx="17760">
                  <c:v>719</c:v>
                </c:pt>
                <c:pt idx="17761">
                  <c:v>726</c:v>
                </c:pt>
                <c:pt idx="17762">
                  <c:v>728</c:v>
                </c:pt>
                <c:pt idx="17763">
                  <c:v>722</c:v>
                </c:pt>
                <c:pt idx="17764">
                  <c:v>729</c:v>
                </c:pt>
                <c:pt idx="17765">
                  <c:v>718</c:v>
                </c:pt>
                <c:pt idx="17766">
                  <c:v>781</c:v>
                </c:pt>
                <c:pt idx="17767">
                  <c:v>785</c:v>
                </c:pt>
                <c:pt idx="17768">
                  <c:v>764</c:v>
                </c:pt>
                <c:pt idx="17769">
                  <c:v>768</c:v>
                </c:pt>
                <c:pt idx="17770">
                  <c:v>777</c:v>
                </c:pt>
                <c:pt idx="17771">
                  <c:v>748</c:v>
                </c:pt>
                <c:pt idx="17772">
                  <c:v>804</c:v>
                </c:pt>
                <c:pt idx="17773">
                  <c:v>793</c:v>
                </c:pt>
                <c:pt idx="17774">
                  <c:v>793</c:v>
                </c:pt>
                <c:pt idx="17775">
                  <c:v>765</c:v>
                </c:pt>
                <c:pt idx="17776">
                  <c:v>769</c:v>
                </c:pt>
                <c:pt idx="17777">
                  <c:v>773</c:v>
                </c:pt>
                <c:pt idx="17778">
                  <c:v>774</c:v>
                </c:pt>
                <c:pt idx="17779">
                  <c:v>819</c:v>
                </c:pt>
                <c:pt idx="17780">
                  <c:v>793</c:v>
                </c:pt>
                <c:pt idx="17781">
                  <c:v>764</c:v>
                </c:pt>
                <c:pt idx="17782">
                  <c:v>750</c:v>
                </c:pt>
                <c:pt idx="17783">
                  <c:v>669</c:v>
                </c:pt>
                <c:pt idx="17784">
                  <c:v>579</c:v>
                </c:pt>
                <c:pt idx="17785">
                  <c:v>587</c:v>
                </c:pt>
                <c:pt idx="17786">
                  <c:v>644</c:v>
                </c:pt>
                <c:pt idx="17787">
                  <c:v>644</c:v>
                </c:pt>
                <c:pt idx="17788">
                  <c:v>632</c:v>
                </c:pt>
                <c:pt idx="17789">
                  <c:v>609</c:v>
                </c:pt>
                <c:pt idx="17790">
                  <c:v>616</c:v>
                </c:pt>
                <c:pt idx="17791">
                  <c:v>609</c:v>
                </c:pt>
                <c:pt idx="17792">
                  <c:v>594</c:v>
                </c:pt>
                <c:pt idx="17793">
                  <c:v>592</c:v>
                </c:pt>
                <c:pt idx="17794">
                  <c:v>565</c:v>
                </c:pt>
                <c:pt idx="17795">
                  <c:v>490</c:v>
                </c:pt>
                <c:pt idx="17796">
                  <c:v>497</c:v>
                </c:pt>
                <c:pt idx="17797">
                  <c:v>482</c:v>
                </c:pt>
                <c:pt idx="17798">
                  <c:v>445</c:v>
                </c:pt>
                <c:pt idx="17799">
                  <c:v>554</c:v>
                </c:pt>
                <c:pt idx="17800">
                  <c:v>535</c:v>
                </c:pt>
                <c:pt idx="17801">
                  <c:v>514</c:v>
                </c:pt>
                <c:pt idx="17802">
                  <c:v>426</c:v>
                </c:pt>
                <c:pt idx="17803">
                  <c:v>405</c:v>
                </c:pt>
                <c:pt idx="17804">
                  <c:v>389</c:v>
                </c:pt>
                <c:pt idx="17805">
                  <c:v>356</c:v>
                </c:pt>
                <c:pt idx="17806">
                  <c:v>358</c:v>
                </c:pt>
                <c:pt idx="17807">
                  <c:v>321</c:v>
                </c:pt>
                <c:pt idx="17808">
                  <c:v>304</c:v>
                </c:pt>
                <c:pt idx="17809">
                  <c:v>289</c:v>
                </c:pt>
                <c:pt idx="17810">
                  <c:v>303</c:v>
                </c:pt>
                <c:pt idx="17811">
                  <c:v>338</c:v>
                </c:pt>
                <c:pt idx="17812">
                  <c:v>327</c:v>
                </c:pt>
                <c:pt idx="17813">
                  <c:v>307</c:v>
                </c:pt>
                <c:pt idx="17814">
                  <c:v>330</c:v>
                </c:pt>
                <c:pt idx="17815">
                  <c:v>290</c:v>
                </c:pt>
                <c:pt idx="17816">
                  <c:v>338</c:v>
                </c:pt>
                <c:pt idx="17817">
                  <c:v>383</c:v>
                </c:pt>
                <c:pt idx="17818">
                  <c:v>364</c:v>
                </c:pt>
                <c:pt idx="17819">
                  <c:v>371</c:v>
                </c:pt>
                <c:pt idx="17820">
                  <c:v>333</c:v>
                </c:pt>
                <c:pt idx="17821">
                  <c:v>335</c:v>
                </c:pt>
                <c:pt idx="17822">
                  <c:v>343</c:v>
                </c:pt>
                <c:pt idx="17823">
                  <c:v>365</c:v>
                </c:pt>
                <c:pt idx="17824">
                  <c:v>408</c:v>
                </c:pt>
                <c:pt idx="17825">
                  <c:v>319</c:v>
                </c:pt>
                <c:pt idx="17826">
                  <c:v>368</c:v>
                </c:pt>
                <c:pt idx="17827">
                  <c:v>378</c:v>
                </c:pt>
                <c:pt idx="17828">
                  <c:v>409</c:v>
                </c:pt>
                <c:pt idx="17829">
                  <c:v>408</c:v>
                </c:pt>
                <c:pt idx="17830">
                  <c:v>384</c:v>
                </c:pt>
                <c:pt idx="17831">
                  <c:v>469</c:v>
                </c:pt>
                <c:pt idx="17832">
                  <c:v>403</c:v>
                </c:pt>
                <c:pt idx="17833">
                  <c:v>472</c:v>
                </c:pt>
                <c:pt idx="17834">
                  <c:v>589</c:v>
                </c:pt>
                <c:pt idx="17835">
                  <c:v>484</c:v>
                </c:pt>
                <c:pt idx="17836">
                  <c:v>411</c:v>
                </c:pt>
                <c:pt idx="17837">
                  <c:v>478</c:v>
                </c:pt>
                <c:pt idx="17838">
                  <c:v>520</c:v>
                </c:pt>
                <c:pt idx="17839">
                  <c:v>551</c:v>
                </c:pt>
                <c:pt idx="17840">
                  <c:v>533</c:v>
                </c:pt>
                <c:pt idx="17841">
                  <c:v>554</c:v>
                </c:pt>
                <c:pt idx="17842">
                  <c:v>622</c:v>
                </c:pt>
                <c:pt idx="17843">
                  <c:v>654</c:v>
                </c:pt>
                <c:pt idx="17844">
                  <c:v>629</c:v>
                </c:pt>
                <c:pt idx="17845">
                  <c:v>708</c:v>
                </c:pt>
                <c:pt idx="17846">
                  <c:v>764</c:v>
                </c:pt>
                <c:pt idx="17847">
                  <c:v>739</c:v>
                </c:pt>
                <c:pt idx="17848">
                  <c:v>761</c:v>
                </c:pt>
                <c:pt idx="17849">
                  <c:v>732</c:v>
                </c:pt>
                <c:pt idx="17850">
                  <c:v>736</c:v>
                </c:pt>
                <c:pt idx="17851">
                  <c:v>763</c:v>
                </c:pt>
                <c:pt idx="17852">
                  <c:v>735</c:v>
                </c:pt>
                <c:pt idx="17853">
                  <c:v>728</c:v>
                </c:pt>
                <c:pt idx="17854">
                  <c:v>747</c:v>
                </c:pt>
                <c:pt idx="17855">
                  <c:v>693</c:v>
                </c:pt>
                <c:pt idx="17856">
                  <c:v>738</c:v>
                </c:pt>
                <c:pt idx="17857">
                  <c:v>730</c:v>
                </c:pt>
                <c:pt idx="17858">
                  <c:v>725</c:v>
                </c:pt>
                <c:pt idx="17859">
                  <c:v>742</c:v>
                </c:pt>
                <c:pt idx="17860">
                  <c:v>761</c:v>
                </c:pt>
                <c:pt idx="17861">
                  <c:v>713</c:v>
                </c:pt>
                <c:pt idx="17862">
                  <c:v>755</c:v>
                </c:pt>
                <c:pt idx="17863">
                  <c:v>761</c:v>
                </c:pt>
                <c:pt idx="17864">
                  <c:v>705</c:v>
                </c:pt>
                <c:pt idx="17865">
                  <c:v>741</c:v>
                </c:pt>
                <c:pt idx="17866">
                  <c:v>749</c:v>
                </c:pt>
                <c:pt idx="17867">
                  <c:v>778</c:v>
                </c:pt>
                <c:pt idx="17868">
                  <c:v>725</c:v>
                </c:pt>
                <c:pt idx="17869">
                  <c:v>744</c:v>
                </c:pt>
                <c:pt idx="17870">
                  <c:v>714</c:v>
                </c:pt>
                <c:pt idx="17871">
                  <c:v>594</c:v>
                </c:pt>
                <c:pt idx="17872">
                  <c:v>492</c:v>
                </c:pt>
                <c:pt idx="17873">
                  <c:v>358</c:v>
                </c:pt>
                <c:pt idx="17874">
                  <c:v>415</c:v>
                </c:pt>
                <c:pt idx="17875">
                  <c:v>388</c:v>
                </c:pt>
                <c:pt idx="17876">
                  <c:v>437</c:v>
                </c:pt>
                <c:pt idx="17877">
                  <c:v>449</c:v>
                </c:pt>
                <c:pt idx="17878">
                  <c:v>429</c:v>
                </c:pt>
                <c:pt idx="17879">
                  <c:v>456</c:v>
                </c:pt>
                <c:pt idx="17880">
                  <c:v>427</c:v>
                </c:pt>
                <c:pt idx="17881">
                  <c:v>422</c:v>
                </c:pt>
                <c:pt idx="17882">
                  <c:v>416</c:v>
                </c:pt>
                <c:pt idx="17883">
                  <c:v>391</c:v>
                </c:pt>
                <c:pt idx="17884">
                  <c:v>408</c:v>
                </c:pt>
                <c:pt idx="17885">
                  <c:v>417</c:v>
                </c:pt>
                <c:pt idx="17886">
                  <c:v>394</c:v>
                </c:pt>
                <c:pt idx="17887">
                  <c:v>376</c:v>
                </c:pt>
                <c:pt idx="17888">
                  <c:v>355</c:v>
                </c:pt>
                <c:pt idx="17889">
                  <c:v>399</c:v>
                </c:pt>
                <c:pt idx="17890">
                  <c:v>351</c:v>
                </c:pt>
                <c:pt idx="17891">
                  <c:v>323</c:v>
                </c:pt>
                <c:pt idx="17892">
                  <c:v>312</c:v>
                </c:pt>
                <c:pt idx="17893">
                  <c:v>282</c:v>
                </c:pt>
                <c:pt idx="17894">
                  <c:v>361</c:v>
                </c:pt>
                <c:pt idx="17895">
                  <c:v>300</c:v>
                </c:pt>
                <c:pt idx="17896">
                  <c:v>311</c:v>
                </c:pt>
                <c:pt idx="17897">
                  <c:v>295</c:v>
                </c:pt>
                <c:pt idx="17898">
                  <c:v>340</c:v>
                </c:pt>
                <c:pt idx="17899">
                  <c:v>304</c:v>
                </c:pt>
                <c:pt idx="17900">
                  <c:v>374</c:v>
                </c:pt>
                <c:pt idx="17901">
                  <c:v>292</c:v>
                </c:pt>
                <c:pt idx="17902">
                  <c:v>283</c:v>
                </c:pt>
                <c:pt idx="17903">
                  <c:v>287</c:v>
                </c:pt>
                <c:pt idx="17904">
                  <c:v>368</c:v>
                </c:pt>
                <c:pt idx="17905">
                  <c:v>309</c:v>
                </c:pt>
                <c:pt idx="17906">
                  <c:v>361</c:v>
                </c:pt>
                <c:pt idx="17907">
                  <c:v>337</c:v>
                </c:pt>
                <c:pt idx="17908">
                  <c:v>309</c:v>
                </c:pt>
                <c:pt idx="17909">
                  <c:v>336</c:v>
                </c:pt>
                <c:pt idx="17910">
                  <c:v>286</c:v>
                </c:pt>
                <c:pt idx="17911">
                  <c:v>373</c:v>
                </c:pt>
                <c:pt idx="17912">
                  <c:v>474</c:v>
                </c:pt>
                <c:pt idx="17913">
                  <c:v>421</c:v>
                </c:pt>
                <c:pt idx="17914">
                  <c:v>351</c:v>
                </c:pt>
                <c:pt idx="17915">
                  <c:v>441</c:v>
                </c:pt>
                <c:pt idx="17916">
                  <c:v>451</c:v>
                </c:pt>
                <c:pt idx="17917">
                  <c:v>351</c:v>
                </c:pt>
                <c:pt idx="17918">
                  <c:v>528</c:v>
                </c:pt>
                <c:pt idx="17919">
                  <c:v>555</c:v>
                </c:pt>
                <c:pt idx="17920">
                  <c:v>393</c:v>
                </c:pt>
                <c:pt idx="17921">
                  <c:v>444</c:v>
                </c:pt>
                <c:pt idx="17922">
                  <c:v>411</c:v>
                </c:pt>
                <c:pt idx="17923">
                  <c:v>536</c:v>
                </c:pt>
                <c:pt idx="17924">
                  <c:v>419</c:v>
                </c:pt>
                <c:pt idx="17925">
                  <c:v>473</c:v>
                </c:pt>
                <c:pt idx="17926">
                  <c:v>439</c:v>
                </c:pt>
                <c:pt idx="17927">
                  <c:v>435</c:v>
                </c:pt>
                <c:pt idx="17928">
                  <c:v>561</c:v>
                </c:pt>
                <c:pt idx="17929">
                  <c:v>495</c:v>
                </c:pt>
                <c:pt idx="17930">
                  <c:v>482</c:v>
                </c:pt>
                <c:pt idx="17931">
                  <c:v>430</c:v>
                </c:pt>
                <c:pt idx="17932">
                  <c:v>501</c:v>
                </c:pt>
                <c:pt idx="17933">
                  <c:v>515</c:v>
                </c:pt>
                <c:pt idx="17934">
                  <c:v>535</c:v>
                </c:pt>
                <c:pt idx="17935">
                  <c:v>576</c:v>
                </c:pt>
                <c:pt idx="17936">
                  <c:v>515</c:v>
                </c:pt>
                <c:pt idx="17937">
                  <c:v>610</c:v>
                </c:pt>
                <c:pt idx="17938">
                  <c:v>615</c:v>
                </c:pt>
                <c:pt idx="17939">
                  <c:v>621</c:v>
                </c:pt>
                <c:pt idx="17940">
                  <c:v>587</c:v>
                </c:pt>
                <c:pt idx="17941">
                  <c:v>629</c:v>
                </c:pt>
                <c:pt idx="17942">
                  <c:v>626</c:v>
                </c:pt>
                <c:pt idx="17943">
                  <c:v>632</c:v>
                </c:pt>
                <c:pt idx="17944">
                  <c:v>574</c:v>
                </c:pt>
                <c:pt idx="17945">
                  <c:v>588</c:v>
                </c:pt>
                <c:pt idx="17946">
                  <c:v>589</c:v>
                </c:pt>
                <c:pt idx="17947">
                  <c:v>436</c:v>
                </c:pt>
                <c:pt idx="17948">
                  <c:v>485</c:v>
                </c:pt>
                <c:pt idx="17949">
                  <c:v>500</c:v>
                </c:pt>
                <c:pt idx="17950">
                  <c:v>463</c:v>
                </c:pt>
                <c:pt idx="17951">
                  <c:v>481</c:v>
                </c:pt>
                <c:pt idx="17952">
                  <c:v>484</c:v>
                </c:pt>
                <c:pt idx="17953">
                  <c:v>451</c:v>
                </c:pt>
                <c:pt idx="17954">
                  <c:v>499</c:v>
                </c:pt>
                <c:pt idx="17955">
                  <c:v>453</c:v>
                </c:pt>
                <c:pt idx="17956">
                  <c:v>443</c:v>
                </c:pt>
                <c:pt idx="17957">
                  <c:v>452</c:v>
                </c:pt>
                <c:pt idx="17958">
                  <c:v>454</c:v>
                </c:pt>
                <c:pt idx="17959">
                  <c:v>430</c:v>
                </c:pt>
                <c:pt idx="17960">
                  <c:v>476</c:v>
                </c:pt>
                <c:pt idx="17961">
                  <c:v>458</c:v>
                </c:pt>
                <c:pt idx="17962">
                  <c:v>388</c:v>
                </c:pt>
                <c:pt idx="17963">
                  <c:v>400</c:v>
                </c:pt>
                <c:pt idx="17964">
                  <c:v>375</c:v>
                </c:pt>
                <c:pt idx="17965">
                  <c:v>415</c:v>
                </c:pt>
                <c:pt idx="17966">
                  <c:v>398</c:v>
                </c:pt>
                <c:pt idx="17967">
                  <c:v>362</c:v>
                </c:pt>
                <c:pt idx="17968">
                  <c:v>390</c:v>
                </c:pt>
                <c:pt idx="17969">
                  <c:v>369</c:v>
                </c:pt>
                <c:pt idx="17970">
                  <c:v>443</c:v>
                </c:pt>
                <c:pt idx="17971">
                  <c:v>358</c:v>
                </c:pt>
                <c:pt idx="17972">
                  <c:v>323</c:v>
                </c:pt>
                <c:pt idx="17973">
                  <c:v>335</c:v>
                </c:pt>
                <c:pt idx="17974">
                  <c:v>338</c:v>
                </c:pt>
                <c:pt idx="17975">
                  <c:v>343</c:v>
                </c:pt>
                <c:pt idx="17976">
                  <c:v>300</c:v>
                </c:pt>
                <c:pt idx="17977">
                  <c:v>300</c:v>
                </c:pt>
                <c:pt idx="17978">
                  <c:v>300</c:v>
                </c:pt>
                <c:pt idx="17979">
                  <c:v>303</c:v>
                </c:pt>
                <c:pt idx="17980">
                  <c:v>263</c:v>
                </c:pt>
                <c:pt idx="17981">
                  <c:v>291</c:v>
                </c:pt>
                <c:pt idx="17982">
                  <c:v>287</c:v>
                </c:pt>
                <c:pt idx="17983">
                  <c:v>272</c:v>
                </c:pt>
                <c:pt idx="17984">
                  <c:v>250</c:v>
                </c:pt>
                <c:pt idx="17985">
                  <c:v>279</c:v>
                </c:pt>
                <c:pt idx="17986">
                  <c:v>232</c:v>
                </c:pt>
                <c:pt idx="17987">
                  <c:v>248</c:v>
                </c:pt>
                <c:pt idx="17988">
                  <c:v>261</c:v>
                </c:pt>
                <c:pt idx="17989">
                  <c:v>265</c:v>
                </c:pt>
                <c:pt idx="17990">
                  <c:v>271</c:v>
                </c:pt>
                <c:pt idx="17991">
                  <c:v>265</c:v>
                </c:pt>
                <c:pt idx="17992">
                  <c:v>280</c:v>
                </c:pt>
                <c:pt idx="17993">
                  <c:v>228</c:v>
                </c:pt>
                <c:pt idx="17994">
                  <c:v>233</c:v>
                </c:pt>
                <c:pt idx="17995">
                  <c:v>244</c:v>
                </c:pt>
                <c:pt idx="17996">
                  <c:v>242</c:v>
                </c:pt>
                <c:pt idx="17997">
                  <c:v>227</c:v>
                </c:pt>
                <c:pt idx="17998">
                  <c:v>194</c:v>
                </c:pt>
                <c:pt idx="17999">
                  <c:v>195</c:v>
                </c:pt>
                <c:pt idx="18000">
                  <c:v>165</c:v>
                </c:pt>
                <c:pt idx="18001">
                  <c:v>133</c:v>
                </c:pt>
                <c:pt idx="18002">
                  <c:v>165</c:v>
                </c:pt>
                <c:pt idx="18003">
                  <c:v>139</c:v>
                </c:pt>
                <c:pt idx="18004">
                  <c:v>141</c:v>
                </c:pt>
                <c:pt idx="18005">
                  <c:v>531</c:v>
                </c:pt>
                <c:pt idx="18006">
                  <c:v>687</c:v>
                </c:pt>
                <c:pt idx="18007">
                  <c:v>473</c:v>
                </c:pt>
                <c:pt idx="18008">
                  <c:v>376</c:v>
                </c:pt>
                <c:pt idx="18009">
                  <c:v>360</c:v>
                </c:pt>
                <c:pt idx="18010">
                  <c:v>472</c:v>
                </c:pt>
                <c:pt idx="18011">
                  <c:v>507</c:v>
                </c:pt>
                <c:pt idx="18012">
                  <c:v>411</c:v>
                </c:pt>
                <c:pt idx="18013">
                  <c:v>408</c:v>
                </c:pt>
                <c:pt idx="18014">
                  <c:v>402</c:v>
                </c:pt>
                <c:pt idx="18015">
                  <c:v>391</c:v>
                </c:pt>
                <c:pt idx="18016">
                  <c:v>433</c:v>
                </c:pt>
                <c:pt idx="18017">
                  <c:v>410</c:v>
                </c:pt>
                <c:pt idx="18018">
                  <c:v>399</c:v>
                </c:pt>
                <c:pt idx="18019">
                  <c:v>459</c:v>
                </c:pt>
                <c:pt idx="18020">
                  <c:v>553</c:v>
                </c:pt>
                <c:pt idx="18021">
                  <c:v>493</c:v>
                </c:pt>
                <c:pt idx="18022">
                  <c:v>472</c:v>
                </c:pt>
                <c:pt idx="18023">
                  <c:v>462</c:v>
                </c:pt>
                <c:pt idx="18024">
                  <c:v>414</c:v>
                </c:pt>
                <c:pt idx="18025">
                  <c:v>449</c:v>
                </c:pt>
                <c:pt idx="18026">
                  <c:v>431</c:v>
                </c:pt>
                <c:pt idx="18027">
                  <c:v>415</c:v>
                </c:pt>
                <c:pt idx="18028">
                  <c:v>527</c:v>
                </c:pt>
                <c:pt idx="18029">
                  <c:v>526</c:v>
                </c:pt>
                <c:pt idx="18030">
                  <c:v>482</c:v>
                </c:pt>
                <c:pt idx="18031">
                  <c:v>509</c:v>
                </c:pt>
                <c:pt idx="18032">
                  <c:v>445</c:v>
                </c:pt>
                <c:pt idx="18033">
                  <c:v>409</c:v>
                </c:pt>
                <c:pt idx="18034">
                  <c:v>450</c:v>
                </c:pt>
                <c:pt idx="18035">
                  <c:v>405</c:v>
                </c:pt>
                <c:pt idx="18036">
                  <c:v>384</c:v>
                </c:pt>
                <c:pt idx="18037">
                  <c:v>421</c:v>
                </c:pt>
                <c:pt idx="18038">
                  <c:v>480</c:v>
                </c:pt>
                <c:pt idx="18039">
                  <c:v>454</c:v>
                </c:pt>
                <c:pt idx="18040">
                  <c:v>490</c:v>
                </c:pt>
                <c:pt idx="18041">
                  <c:v>445</c:v>
                </c:pt>
                <c:pt idx="18042">
                  <c:v>415</c:v>
                </c:pt>
                <c:pt idx="18043">
                  <c:v>377</c:v>
                </c:pt>
                <c:pt idx="18044">
                  <c:v>488</c:v>
                </c:pt>
                <c:pt idx="18045">
                  <c:v>320</c:v>
                </c:pt>
                <c:pt idx="18046">
                  <c:v>362</c:v>
                </c:pt>
                <c:pt idx="18047">
                  <c:v>376</c:v>
                </c:pt>
                <c:pt idx="18048">
                  <c:v>416</c:v>
                </c:pt>
                <c:pt idx="18049">
                  <c:v>405</c:v>
                </c:pt>
                <c:pt idx="18050">
                  <c:v>378</c:v>
                </c:pt>
                <c:pt idx="18051">
                  <c:v>342</c:v>
                </c:pt>
                <c:pt idx="18052">
                  <c:v>334</c:v>
                </c:pt>
                <c:pt idx="18053">
                  <c:v>308</c:v>
                </c:pt>
                <c:pt idx="18054">
                  <c:v>321</c:v>
                </c:pt>
                <c:pt idx="18055">
                  <c:v>283</c:v>
                </c:pt>
                <c:pt idx="18056">
                  <c:v>345</c:v>
                </c:pt>
                <c:pt idx="18057">
                  <c:v>300</c:v>
                </c:pt>
                <c:pt idx="18058">
                  <c:v>308</c:v>
                </c:pt>
                <c:pt idx="18059">
                  <c:v>212</c:v>
                </c:pt>
                <c:pt idx="18060">
                  <c:v>260</c:v>
                </c:pt>
                <c:pt idx="18061">
                  <c:v>197</c:v>
                </c:pt>
                <c:pt idx="18062">
                  <c:v>927</c:v>
                </c:pt>
                <c:pt idx="18063">
                  <c:v>862</c:v>
                </c:pt>
                <c:pt idx="18064">
                  <c:v>911</c:v>
                </c:pt>
                <c:pt idx="18065">
                  <c:v>870</c:v>
                </c:pt>
                <c:pt idx="18066">
                  <c:v>631</c:v>
                </c:pt>
                <c:pt idx="18067">
                  <c:v>666</c:v>
                </c:pt>
                <c:pt idx="18068">
                  <c:v>615</c:v>
                </c:pt>
                <c:pt idx="18069">
                  <c:v>616</c:v>
                </c:pt>
                <c:pt idx="18070">
                  <c:v>547</c:v>
                </c:pt>
                <c:pt idx="18071">
                  <c:v>597</c:v>
                </c:pt>
                <c:pt idx="18072">
                  <c:v>578</c:v>
                </c:pt>
                <c:pt idx="18073">
                  <c:v>601</c:v>
                </c:pt>
                <c:pt idx="18074">
                  <c:v>588</c:v>
                </c:pt>
                <c:pt idx="18075">
                  <c:v>512</c:v>
                </c:pt>
                <c:pt idx="18076">
                  <c:v>534</c:v>
                </c:pt>
                <c:pt idx="18077">
                  <c:v>492</c:v>
                </c:pt>
                <c:pt idx="18078">
                  <c:v>465</c:v>
                </c:pt>
                <c:pt idx="18079">
                  <c:v>380</c:v>
                </c:pt>
                <c:pt idx="18080">
                  <c:v>426</c:v>
                </c:pt>
                <c:pt idx="18081">
                  <c:v>395</c:v>
                </c:pt>
                <c:pt idx="18082">
                  <c:v>376</c:v>
                </c:pt>
                <c:pt idx="18083">
                  <c:v>358</c:v>
                </c:pt>
                <c:pt idx="18084">
                  <c:v>360</c:v>
                </c:pt>
                <c:pt idx="18085">
                  <c:v>376</c:v>
                </c:pt>
                <c:pt idx="18086">
                  <c:v>385</c:v>
                </c:pt>
                <c:pt idx="18087">
                  <c:v>431</c:v>
                </c:pt>
                <c:pt idx="18088">
                  <c:v>320</c:v>
                </c:pt>
                <c:pt idx="18089">
                  <c:v>299</c:v>
                </c:pt>
                <c:pt idx="18090">
                  <c:v>305</c:v>
                </c:pt>
                <c:pt idx="18091">
                  <c:v>272</c:v>
                </c:pt>
                <c:pt idx="18092">
                  <c:v>325</c:v>
                </c:pt>
                <c:pt idx="18093">
                  <c:v>282</c:v>
                </c:pt>
                <c:pt idx="18094">
                  <c:v>254</c:v>
                </c:pt>
                <c:pt idx="18095">
                  <c:v>214</c:v>
                </c:pt>
                <c:pt idx="18096">
                  <c:v>188</c:v>
                </c:pt>
                <c:pt idx="18097">
                  <c:v>209</c:v>
                </c:pt>
                <c:pt idx="18098">
                  <c:v>845</c:v>
                </c:pt>
                <c:pt idx="18099">
                  <c:v>838</c:v>
                </c:pt>
                <c:pt idx="18100">
                  <c:v>841</c:v>
                </c:pt>
                <c:pt idx="18101">
                  <c:v>829</c:v>
                </c:pt>
                <c:pt idx="18102">
                  <c:v>635</c:v>
                </c:pt>
                <c:pt idx="18103">
                  <c:v>568</c:v>
                </c:pt>
                <c:pt idx="18104">
                  <c:v>570</c:v>
                </c:pt>
                <c:pt idx="18105">
                  <c:v>574</c:v>
                </c:pt>
                <c:pt idx="18106">
                  <c:v>559</c:v>
                </c:pt>
                <c:pt idx="18107">
                  <c:v>530</c:v>
                </c:pt>
                <c:pt idx="18108">
                  <c:v>522</c:v>
                </c:pt>
                <c:pt idx="18109">
                  <c:v>499</c:v>
                </c:pt>
                <c:pt idx="18110">
                  <c:v>532</c:v>
                </c:pt>
                <c:pt idx="18111">
                  <c:v>581</c:v>
                </c:pt>
                <c:pt idx="18112">
                  <c:v>583</c:v>
                </c:pt>
                <c:pt idx="18113">
                  <c:v>608</c:v>
                </c:pt>
                <c:pt idx="18114">
                  <c:v>630</c:v>
                </c:pt>
                <c:pt idx="18115">
                  <c:v>646</c:v>
                </c:pt>
                <c:pt idx="18116">
                  <c:v>640</c:v>
                </c:pt>
                <c:pt idx="18117">
                  <c:v>613</c:v>
                </c:pt>
                <c:pt idx="18118">
                  <c:v>612</c:v>
                </c:pt>
                <c:pt idx="18119">
                  <c:v>610</c:v>
                </c:pt>
                <c:pt idx="18120">
                  <c:v>636</c:v>
                </c:pt>
                <c:pt idx="18121">
                  <c:v>624</c:v>
                </c:pt>
                <c:pt idx="18122">
                  <c:v>579</c:v>
                </c:pt>
                <c:pt idx="18123">
                  <c:v>645</c:v>
                </c:pt>
                <c:pt idx="18124">
                  <c:v>664</c:v>
                </c:pt>
                <c:pt idx="18125">
                  <c:v>629</c:v>
                </c:pt>
                <c:pt idx="18126">
                  <c:v>594</c:v>
                </c:pt>
                <c:pt idx="18127">
                  <c:v>592</c:v>
                </c:pt>
                <c:pt idx="18128">
                  <c:v>566</c:v>
                </c:pt>
                <c:pt idx="18129">
                  <c:v>551</c:v>
                </c:pt>
                <c:pt idx="18130">
                  <c:v>529</c:v>
                </c:pt>
                <c:pt idx="18131">
                  <c:v>526</c:v>
                </c:pt>
                <c:pt idx="18132">
                  <c:v>516</c:v>
                </c:pt>
                <c:pt idx="18133">
                  <c:v>477</c:v>
                </c:pt>
                <c:pt idx="18134">
                  <c:v>471</c:v>
                </c:pt>
                <c:pt idx="18135">
                  <c:v>408</c:v>
                </c:pt>
                <c:pt idx="18136">
                  <c:v>401</c:v>
                </c:pt>
                <c:pt idx="18137">
                  <c:v>435</c:v>
                </c:pt>
                <c:pt idx="18138">
                  <c:v>343</c:v>
                </c:pt>
                <c:pt idx="18139">
                  <c:v>350</c:v>
                </c:pt>
                <c:pt idx="18140">
                  <c:v>324</c:v>
                </c:pt>
                <c:pt idx="18141">
                  <c:v>318</c:v>
                </c:pt>
                <c:pt idx="18142">
                  <c:v>283</c:v>
                </c:pt>
                <c:pt idx="18143">
                  <c:v>286</c:v>
                </c:pt>
                <c:pt idx="18144">
                  <c:v>324</c:v>
                </c:pt>
                <c:pt idx="18145">
                  <c:v>244</c:v>
                </c:pt>
                <c:pt idx="18146">
                  <c:v>265</c:v>
                </c:pt>
                <c:pt idx="18147">
                  <c:v>223</c:v>
                </c:pt>
                <c:pt idx="18148">
                  <c:v>231</c:v>
                </c:pt>
                <c:pt idx="18149">
                  <c:v>32</c:v>
                </c:pt>
                <c:pt idx="18150">
                  <c:v>873</c:v>
                </c:pt>
                <c:pt idx="18151">
                  <c:v>847</c:v>
                </c:pt>
                <c:pt idx="18152">
                  <c:v>800</c:v>
                </c:pt>
                <c:pt idx="18153">
                  <c:v>729</c:v>
                </c:pt>
                <c:pt idx="18154">
                  <c:v>564</c:v>
                </c:pt>
                <c:pt idx="18155">
                  <c:v>583</c:v>
                </c:pt>
                <c:pt idx="18156">
                  <c:v>483</c:v>
                </c:pt>
                <c:pt idx="18157">
                  <c:v>597</c:v>
                </c:pt>
                <c:pt idx="18158">
                  <c:v>594</c:v>
                </c:pt>
                <c:pt idx="18159">
                  <c:v>610</c:v>
                </c:pt>
                <c:pt idx="18160">
                  <c:v>640</c:v>
                </c:pt>
                <c:pt idx="18161">
                  <c:v>618</c:v>
                </c:pt>
                <c:pt idx="18162">
                  <c:v>637</c:v>
                </c:pt>
                <c:pt idx="18163">
                  <c:v>594</c:v>
                </c:pt>
                <c:pt idx="18164">
                  <c:v>662</c:v>
                </c:pt>
                <c:pt idx="18165">
                  <c:v>614</c:v>
                </c:pt>
                <c:pt idx="18166">
                  <c:v>645</c:v>
                </c:pt>
                <c:pt idx="18167">
                  <c:v>619</c:v>
                </c:pt>
                <c:pt idx="18168">
                  <c:v>627</c:v>
                </c:pt>
                <c:pt idx="18169">
                  <c:v>624</c:v>
                </c:pt>
                <c:pt idx="18170">
                  <c:v>678</c:v>
                </c:pt>
                <c:pt idx="18171">
                  <c:v>647</c:v>
                </c:pt>
                <c:pt idx="18172">
                  <c:v>626</c:v>
                </c:pt>
                <c:pt idx="18173">
                  <c:v>606</c:v>
                </c:pt>
                <c:pt idx="18174">
                  <c:v>682</c:v>
                </c:pt>
                <c:pt idx="18175">
                  <c:v>664</c:v>
                </c:pt>
                <c:pt idx="18176">
                  <c:v>640</c:v>
                </c:pt>
                <c:pt idx="18177">
                  <c:v>632</c:v>
                </c:pt>
                <c:pt idx="18178">
                  <c:v>629</c:v>
                </c:pt>
                <c:pt idx="18179">
                  <c:v>633</c:v>
                </c:pt>
                <c:pt idx="18180">
                  <c:v>558</c:v>
                </c:pt>
                <c:pt idx="18181">
                  <c:v>564</c:v>
                </c:pt>
                <c:pt idx="18182">
                  <c:v>486</c:v>
                </c:pt>
                <c:pt idx="18183">
                  <c:v>601</c:v>
                </c:pt>
                <c:pt idx="18184">
                  <c:v>542</c:v>
                </c:pt>
                <c:pt idx="18185">
                  <c:v>545</c:v>
                </c:pt>
                <c:pt idx="18186">
                  <c:v>530</c:v>
                </c:pt>
                <c:pt idx="18187">
                  <c:v>432</c:v>
                </c:pt>
                <c:pt idx="18188">
                  <c:v>342</c:v>
                </c:pt>
                <c:pt idx="18189">
                  <c:v>366</c:v>
                </c:pt>
                <c:pt idx="18190">
                  <c:v>329</c:v>
                </c:pt>
                <c:pt idx="18191">
                  <c:v>347</c:v>
                </c:pt>
                <c:pt idx="18192">
                  <c:v>419</c:v>
                </c:pt>
                <c:pt idx="18193">
                  <c:v>385</c:v>
                </c:pt>
                <c:pt idx="18194">
                  <c:v>283</c:v>
                </c:pt>
                <c:pt idx="18195">
                  <c:v>247</c:v>
                </c:pt>
                <c:pt idx="18196">
                  <c:v>255</c:v>
                </c:pt>
                <c:pt idx="18197">
                  <c:v>247</c:v>
                </c:pt>
                <c:pt idx="18198">
                  <c:v>253</c:v>
                </c:pt>
                <c:pt idx="18199">
                  <c:v>398</c:v>
                </c:pt>
                <c:pt idx="18200">
                  <c:v>252</c:v>
                </c:pt>
                <c:pt idx="18201">
                  <c:v>256</c:v>
                </c:pt>
                <c:pt idx="18202">
                  <c:v>199</c:v>
                </c:pt>
                <c:pt idx="18203">
                  <c:v>145</c:v>
                </c:pt>
                <c:pt idx="18204">
                  <c:v>761</c:v>
                </c:pt>
                <c:pt idx="18205">
                  <c:v>837</c:v>
                </c:pt>
                <c:pt idx="18206">
                  <c:v>862</c:v>
                </c:pt>
                <c:pt idx="18207">
                  <c:v>826</c:v>
                </c:pt>
                <c:pt idx="18208">
                  <c:v>892</c:v>
                </c:pt>
                <c:pt idx="18209">
                  <c:v>776</c:v>
                </c:pt>
                <c:pt idx="18210">
                  <c:v>675</c:v>
                </c:pt>
                <c:pt idx="18211">
                  <c:v>667</c:v>
                </c:pt>
                <c:pt idx="18212">
                  <c:v>626</c:v>
                </c:pt>
                <c:pt idx="18213">
                  <c:v>651</c:v>
                </c:pt>
                <c:pt idx="18214">
                  <c:v>606</c:v>
                </c:pt>
                <c:pt idx="18215">
                  <c:v>729</c:v>
                </c:pt>
                <c:pt idx="18216">
                  <c:v>634</c:v>
                </c:pt>
                <c:pt idx="18217">
                  <c:v>652</c:v>
                </c:pt>
                <c:pt idx="18218">
                  <c:v>641</c:v>
                </c:pt>
                <c:pt idx="18219">
                  <c:v>650</c:v>
                </c:pt>
                <c:pt idx="18220">
                  <c:v>624</c:v>
                </c:pt>
                <c:pt idx="18221">
                  <c:v>648</c:v>
                </c:pt>
                <c:pt idx="18222">
                  <c:v>629</c:v>
                </c:pt>
                <c:pt idx="18223">
                  <c:v>593</c:v>
                </c:pt>
                <c:pt idx="18224">
                  <c:v>686</c:v>
                </c:pt>
                <c:pt idx="18225">
                  <c:v>647</c:v>
                </c:pt>
                <c:pt idx="18226">
                  <c:v>645</c:v>
                </c:pt>
                <c:pt idx="18227">
                  <c:v>671</c:v>
                </c:pt>
                <c:pt idx="18228">
                  <c:v>676</c:v>
                </c:pt>
                <c:pt idx="18229">
                  <c:v>639</c:v>
                </c:pt>
                <c:pt idx="18230">
                  <c:v>625</c:v>
                </c:pt>
                <c:pt idx="18231">
                  <c:v>634</c:v>
                </c:pt>
                <c:pt idx="18232">
                  <c:v>648</c:v>
                </c:pt>
                <c:pt idx="18233">
                  <c:v>641</c:v>
                </c:pt>
                <c:pt idx="18234">
                  <c:v>628</c:v>
                </c:pt>
                <c:pt idx="18235">
                  <c:v>574</c:v>
                </c:pt>
                <c:pt idx="18236">
                  <c:v>519</c:v>
                </c:pt>
                <c:pt idx="18237">
                  <c:v>524</c:v>
                </c:pt>
                <c:pt idx="18238">
                  <c:v>507</c:v>
                </c:pt>
                <c:pt idx="18239">
                  <c:v>535</c:v>
                </c:pt>
                <c:pt idx="18240">
                  <c:v>542</c:v>
                </c:pt>
                <c:pt idx="18241">
                  <c:v>523</c:v>
                </c:pt>
                <c:pt idx="18242">
                  <c:v>515</c:v>
                </c:pt>
                <c:pt idx="18243">
                  <c:v>473</c:v>
                </c:pt>
                <c:pt idx="18244">
                  <c:v>494</c:v>
                </c:pt>
                <c:pt idx="18245">
                  <c:v>456</c:v>
                </c:pt>
                <c:pt idx="18246">
                  <c:v>439</c:v>
                </c:pt>
                <c:pt idx="18247">
                  <c:v>397</c:v>
                </c:pt>
                <c:pt idx="18248">
                  <c:v>372</c:v>
                </c:pt>
                <c:pt idx="18249">
                  <c:v>366</c:v>
                </c:pt>
                <c:pt idx="18250">
                  <c:v>369</c:v>
                </c:pt>
                <c:pt idx="18251">
                  <c:v>329</c:v>
                </c:pt>
                <c:pt idx="18252">
                  <c:v>321</c:v>
                </c:pt>
                <c:pt idx="18253">
                  <c:v>278</c:v>
                </c:pt>
                <c:pt idx="18254">
                  <c:v>293</c:v>
                </c:pt>
                <c:pt idx="18255">
                  <c:v>303</c:v>
                </c:pt>
                <c:pt idx="18256">
                  <c:v>330</c:v>
                </c:pt>
                <c:pt idx="18257">
                  <c:v>293</c:v>
                </c:pt>
                <c:pt idx="18258">
                  <c:v>215</c:v>
                </c:pt>
                <c:pt idx="18259">
                  <c:v>209</c:v>
                </c:pt>
                <c:pt idx="18260">
                  <c:v>227</c:v>
                </c:pt>
                <c:pt idx="18261">
                  <c:v>162</c:v>
                </c:pt>
                <c:pt idx="18262">
                  <c:v>164</c:v>
                </c:pt>
                <c:pt idx="18263">
                  <c:v>170</c:v>
                </c:pt>
                <c:pt idx="18264">
                  <c:v>214</c:v>
                </c:pt>
                <c:pt idx="18265">
                  <c:v>182</c:v>
                </c:pt>
                <c:pt idx="18266">
                  <c:v>176</c:v>
                </c:pt>
                <c:pt idx="18267">
                  <c:v>150</c:v>
                </c:pt>
                <c:pt idx="18268">
                  <c:v>167</c:v>
                </c:pt>
                <c:pt idx="18269">
                  <c:v>153</c:v>
                </c:pt>
                <c:pt idx="18270">
                  <c:v>143</c:v>
                </c:pt>
                <c:pt idx="18271">
                  <c:v>910</c:v>
                </c:pt>
                <c:pt idx="18272">
                  <c:v>893</c:v>
                </c:pt>
                <c:pt idx="18273">
                  <c:v>842</c:v>
                </c:pt>
                <c:pt idx="18274">
                  <c:v>598</c:v>
                </c:pt>
                <c:pt idx="18275">
                  <c:v>547</c:v>
                </c:pt>
                <c:pt idx="18276">
                  <c:v>554</c:v>
                </c:pt>
                <c:pt idx="18277">
                  <c:v>555</c:v>
                </c:pt>
                <c:pt idx="18278">
                  <c:v>559</c:v>
                </c:pt>
                <c:pt idx="18279">
                  <c:v>589</c:v>
                </c:pt>
                <c:pt idx="18280">
                  <c:v>614</c:v>
                </c:pt>
                <c:pt idx="18281">
                  <c:v>586</c:v>
                </c:pt>
                <c:pt idx="18282">
                  <c:v>632</c:v>
                </c:pt>
                <c:pt idx="18283">
                  <c:v>599</c:v>
                </c:pt>
                <c:pt idx="18284">
                  <c:v>639</c:v>
                </c:pt>
                <c:pt idx="18285">
                  <c:v>612</c:v>
                </c:pt>
                <c:pt idx="18286">
                  <c:v>669</c:v>
                </c:pt>
                <c:pt idx="18287">
                  <c:v>683</c:v>
                </c:pt>
                <c:pt idx="18288">
                  <c:v>661</c:v>
                </c:pt>
                <c:pt idx="18289">
                  <c:v>614</c:v>
                </c:pt>
                <c:pt idx="18290">
                  <c:v>651</c:v>
                </c:pt>
                <c:pt idx="18291">
                  <c:v>673</c:v>
                </c:pt>
                <c:pt idx="18292">
                  <c:v>700</c:v>
                </c:pt>
                <c:pt idx="18293">
                  <c:v>675</c:v>
                </c:pt>
                <c:pt idx="18294">
                  <c:v>663</c:v>
                </c:pt>
                <c:pt idx="18295">
                  <c:v>685</c:v>
                </c:pt>
                <c:pt idx="18296">
                  <c:v>682</c:v>
                </c:pt>
                <c:pt idx="18297">
                  <c:v>654</c:v>
                </c:pt>
                <c:pt idx="18298">
                  <c:v>684</c:v>
                </c:pt>
                <c:pt idx="18299">
                  <c:v>637</c:v>
                </c:pt>
                <c:pt idx="18300">
                  <c:v>612</c:v>
                </c:pt>
                <c:pt idx="18301">
                  <c:v>496</c:v>
                </c:pt>
                <c:pt idx="18302">
                  <c:v>463</c:v>
                </c:pt>
                <c:pt idx="18303">
                  <c:v>403</c:v>
                </c:pt>
                <c:pt idx="18304">
                  <c:v>376</c:v>
                </c:pt>
                <c:pt idx="18305">
                  <c:v>413</c:v>
                </c:pt>
                <c:pt idx="18306">
                  <c:v>386</c:v>
                </c:pt>
                <c:pt idx="18307">
                  <c:v>383</c:v>
                </c:pt>
                <c:pt idx="18308">
                  <c:v>341</c:v>
                </c:pt>
                <c:pt idx="18309">
                  <c:v>356</c:v>
                </c:pt>
                <c:pt idx="18310">
                  <c:v>290</c:v>
                </c:pt>
                <c:pt idx="18311">
                  <c:v>311</c:v>
                </c:pt>
                <c:pt idx="18312">
                  <c:v>300</c:v>
                </c:pt>
                <c:pt idx="18313">
                  <c:v>283</c:v>
                </c:pt>
                <c:pt idx="18314">
                  <c:v>252</c:v>
                </c:pt>
                <c:pt idx="18315">
                  <c:v>246</c:v>
                </c:pt>
                <c:pt idx="18316">
                  <c:v>311</c:v>
                </c:pt>
                <c:pt idx="18317">
                  <c:v>324</c:v>
                </c:pt>
                <c:pt idx="18318">
                  <c:v>255</c:v>
                </c:pt>
                <c:pt idx="18319">
                  <c:v>264</c:v>
                </c:pt>
                <c:pt idx="18320">
                  <c:v>228</c:v>
                </c:pt>
                <c:pt idx="18321">
                  <c:v>228</c:v>
                </c:pt>
                <c:pt idx="18322">
                  <c:v>263</c:v>
                </c:pt>
                <c:pt idx="18323">
                  <c:v>264</c:v>
                </c:pt>
                <c:pt idx="18324">
                  <c:v>232</c:v>
                </c:pt>
                <c:pt idx="18325">
                  <c:v>222</c:v>
                </c:pt>
                <c:pt idx="18326">
                  <c:v>238</c:v>
                </c:pt>
                <c:pt idx="18327">
                  <c:v>181</c:v>
                </c:pt>
                <c:pt idx="18328">
                  <c:v>201</c:v>
                </c:pt>
                <c:pt idx="18329">
                  <c:v>207</c:v>
                </c:pt>
                <c:pt idx="18330">
                  <c:v>197</c:v>
                </c:pt>
                <c:pt idx="18331">
                  <c:v>194</c:v>
                </c:pt>
                <c:pt idx="18332">
                  <c:v>201</c:v>
                </c:pt>
                <c:pt idx="18333">
                  <c:v>809</c:v>
                </c:pt>
                <c:pt idx="18334">
                  <c:v>724</c:v>
                </c:pt>
                <c:pt idx="18335">
                  <c:v>544</c:v>
                </c:pt>
                <c:pt idx="18336">
                  <c:v>519</c:v>
                </c:pt>
                <c:pt idx="18337">
                  <c:v>481</c:v>
                </c:pt>
                <c:pt idx="18338">
                  <c:v>427</c:v>
                </c:pt>
                <c:pt idx="18339">
                  <c:v>385</c:v>
                </c:pt>
                <c:pt idx="18340">
                  <c:v>391</c:v>
                </c:pt>
                <c:pt idx="18341">
                  <c:v>388</c:v>
                </c:pt>
                <c:pt idx="18342">
                  <c:v>509</c:v>
                </c:pt>
                <c:pt idx="18343">
                  <c:v>410</c:v>
                </c:pt>
                <c:pt idx="18344">
                  <c:v>425</c:v>
                </c:pt>
                <c:pt idx="18345">
                  <c:v>492</c:v>
                </c:pt>
                <c:pt idx="18346">
                  <c:v>513</c:v>
                </c:pt>
                <c:pt idx="18347">
                  <c:v>499</c:v>
                </c:pt>
                <c:pt idx="18348">
                  <c:v>469</c:v>
                </c:pt>
                <c:pt idx="18349">
                  <c:v>441</c:v>
                </c:pt>
                <c:pt idx="18350">
                  <c:v>456</c:v>
                </c:pt>
                <c:pt idx="18351">
                  <c:v>478</c:v>
                </c:pt>
                <c:pt idx="18352">
                  <c:v>421</c:v>
                </c:pt>
                <c:pt idx="18353">
                  <c:v>504</c:v>
                </c:pt>
                <c:pt idx="18354">
                  <c:v>534</c:v>
                </c:pt>
                <c:pt idx="18355">
                  <c:v>456</c:v>
                </c:pt>
                <c:pt idx="18356">
                  <c:v>513</c:v>
                </c:pt>
                <c:pt idx="18357">
                  <c:v>435</c:v>
                </c:pt>
                <c:pt idx="18358">
                  <c:v>406</c:v>
                </c:pt>
                <c:pt idx="18359">
                  <c:v>446</c:v>
                </c:pt>
                <c:pt idx="18360">
                  <c:v>427</c:v>
                </c:pt>
                <c:pt idx="18361">
                  <c:v>430</c:v>
                </c:pt>
                <c:pt idx="18362">
                  <c:v>505</c:v>
                </c:pt>
                <c:pt idx="18363">
                  <c:v>395</c:v>
                </c:pt>
                <c:pt idx="18364">
                  <c:v>416</c:v>
                </c:pt>
                <c:pt idx="18365">
                  <c:v>429</c:v>
                </c:pt>
                <c:pt idx="18366">
                  <c:v>405</c:v>
                </c:pt>
                <c:pt idx="18367">
                  <c:v>413</c:v>
                </c:pt>
                <c:pt idx="18368">
                  <c:v>458</c:v>
                </c:pt>
                <c:pt idx="18369">
                  <c:v>413</c:v>
                </c:pt>
                <c:pt idx="18370">
                  <c:v>407</c:v>
                </c:pt>
                <c:pt idx="18371">
                  <c:v>416</c:v>
                </c:pt>
                <c:pt idx="18372">
                  <c:v>385</c:v>
                </c:pt>
                <c:pt idx="18373">
                  <c:v>400</c:v>
                </c:pt>
                <c:pt idx="18374">
                  <c:v>366</c:v>
                </c:pt>
                <c:pt idx="18375">
                  <c:v>414</c:v>
                </c:pt>
                <c:pt idx="18376">
                  <c:v>377</c:v>
                </c:pt>
                <c:pt idx="18377">
                  <c:v>366</c:v>
                </c:pt>
                <c:pt idx="18378">
                  <c:v>394</c:v>
                </c:pt>
                <c:pt idx="18379">
                  <c:v>400</c:v>
                </c:pt>
                <c:pt idx="18380">
                  <c:v>381</c:v>
                </c:pt>
                <c:pt idx="18381">
                  <c:v>358</c:v>
                </c:pt>
                <c:pt idx="18382">
                  <c:v>391</c:v>
                </c:pt>
                <c:pt idx="18383">
                  <c:v>322</c:v>
                </c:pt>
                <c:pt idx="18384">
                  <c:v>365</c:v>
                </c:pt>
                <c:pt idx="18385">
                  <c:v>290</c:v>
                </c:pt>
                <c:pt idx="18386">
                  <c:v>261</c:v>
                </c:pt>
                <c:pt idx="18387">
                  <c:v>320</c:v>
                </c:pt>
                <c:pt idx="18388">
                  <c:v>311</c:v>
                </c:pt>
                <c:pt idx="18389">
                  <c:v>320</c:v>
                </c:pt>
                <c:pt idx="18390">
                  <c:v>293</c:v>
                </c:pt>
                <c:pt idx="18391">
                  <c:v>263</c:v>
                </c:pt>
                <c:pt idx="18392">
                  <c:v>299</c:v>
                </c:pt>
                <c:pt idx="18393">
                  <c:v>264</c:v>
                </c:pt>
                <c:pt idx="18394">
                  <c:v>277</c:v>
                </c:pt>
                <c:pt idx="18395">
                  <c:v>287</c:v>
                </c:pt>
                <c:pt idx="18396">
                  <c:v>376</c:v>
                </c:pt>
                <c:pt idx="18397">
                  <c:v>329</c:v>
                </c:pt>
                <c:pt idx="18398">
                  <c:v>324</c:v>
                </c:pt>
                <c:pt idx="18399">
                  <c:v>318</c:v>
                </c:pt>
                <c:pt idx="18400">
                  <c:v>313</c:v>
                </c:pt>
                <c:pt idx="18401">
                  <c:v>320</c:v>
                </c:pt>
                <c:pt idx="18402">
                  <c:v>322</c:v>
                </c:pt>
                <c:pt idx="18403">
                  <c:v>335</c:v>
                </c:pt>
                <c:pt idx="18404">
                  <c:v>318</c:v>
                </c:pt>
                <c:pt idx="18405">
                  <c:v>324</c:v>
                </c:pt>
                <c:pt idx="18406">
                  <c:v>305</c:v>
                </c:pt>
                <c:pt idx="18407">
                  <c:v>326</c:v>
                </c:pt>
                <c:pt idx="18408">
                  <c:v>320</c:v>
                </c:pt>
                <c:pt idx="18409">
                  <c:v>340</c:v>
                </c:pt>
                <c:pt idx="18410">
                  <c:v>352</c:v>
                </c:pt>
                <c:pt idx="18411">
                  <c:v>361</c:v>
                </c:pt>
                <c:pt idx="18412">
                  <c:v>356</c:v>
                </c:pt>
                <c:pt idx="18413">
                  <c:v>378</c:v>
                </c:pt>
                <c:pt idx="18414">
                  <c:v>347</c:v>
                </c:pt>
                <c:pt idx="18415">
                  <c:v>356</c:v>
                </c:pt>
                <c:pt idx="18416">
                  <c:v>361</c:v>
                </c:pt>
                <c:pt idx="18417">
                  <c:v>359</c:v>
                </c:pt>
                <c:pt idx="18418">
                  <c:v>454</c:v>
                </c:pt>
                <c:pt idx="18419">
                  <c:v>350</c:v>
                </c:pt>
                <c:pt idx="18420">
                  <c:v>391</c:v>
                </c:pt>
                <c:pt idx="18421">
                  <c:v>310</c:v>
                </c:pt>
                <c:pt idx="18422">
                  <c:v>310</c:v>
                </c:pt>
                <c:pt idx="18423">
                  <c:v>316</c:v>
                </c:pt>
                <c:pt idx="18424">
                  <c:v>568</c:v>
                </c:pt>
                <c:pt idx="18425">
                  <c:v>518</c:v>
                </c:pt>
                <c:pt idx="18426">
                  <c:v>450</c:v>
                </c:pt>
                <c:pt idx="18427">
                  <c:v>425</c:v>
                </c:pt>
                <c:pt idx="18428">
                  <c:v>409</c:v>
                </c:pt>
                <c:pt idx="18429">
                  <c:v>471</c:v>
                </c:pt>
                <c:pt idx="18430">
                  <c:v>419</c:v>
                </c:pt>
                <c:pt idx="18431">
                  <c:v>428</c:v>
                </c:pt>
                <c:pt idx="18432">
                  <c:v>456</c:v>
                </c:pt>
                <c:pt idx="18433">
                  <c:v>534</c:v>
                </c:pt>
                <c:pt idx="18434">
                  <c:v>495</c:v>
                </c:pt>
                <c:pt idx="18435">
                  <c:v>512</c:v>
                </c:pt>
                <c:pt idx="18436">
                  <c:v>438</c:v>
                </c:pt>
                <c:pt idx="18437">
                  <c:v>427</c:v>
                </c:pt>
                <c:pt idx="18438">
                  <c:v>533</c:v>
                </c:pt>
                <c:pt idx="18439">
                  <c:v>467</c:v>
                </c:pt>
                <c:pt idx="18440">
                  <c:v>458</c:v>
                </c:pt>
                <c:pt idx="18441">
                  <c:v>570</c:v>
                </c:pt>
                <c:pt idx="18442">
                  <c:v>616</c:v>
                </c:pt>
                <c:pt idx="18443">
                  <c:v>580</c:v>
                </c:pt>
                <c:pt idx="18444">
                  <c:v>542</c:v>
                </c:pt>
                <c:pt idx="18445">
                  <c:v>533</c:v>
                </c:pt>
                <c:pt idx="18446">
                  <c:v>531</c:v>
                </c:pt>
                <c:pt idx="18447">
                  <c:v>680</c:v>
                </c:pt>
                <c:pt idx="18448">
                  <c:v>528</c:v>
                </c:pt>
                <c:pt idx="18449">
                  <c:v>599</c:v>
                </c:pt>
                <c:pt idx="18450">
                  <c:v>625</c:v>
                </c:pt>
                <c:pt idx="18451">
                  <c:v>522</c:v>
                </c:pt>
                <c:pt idx="18452">
                  <c:v>540</c:v>
                </c:pt>
                <c:pt idx="18453">
                  <c:v>508</c:v>
                </c:pt>
                <c:pt idx="18454">
                  <c:v>491</c:v>
                </c:pt>
                <c:pt idx="18455">
                  <c:v>426</c:v>
                </c:pt>
                <c:pt idx="18456">
                  <c:v>551</c:v>
                </c:pt>
                <c:pt idx="18457">
                  <c:v>511</c:v>
                </c:pt>
                <c:pt idx="18458">
                  <c:v>479</c:v>
                </c:pt>
                <c:pt idx="18459">
                  <c:v>412</c:v>
                </c:pt>
                <c:pt idx="18460">
                  <c:v>436</c:v>
                </c:pt>
                <c:pt idx="18461">
                  <c:v>421</c:v>
                </c:pt>
                <c:pt idx="18462">
                  <c:v>361</c:v>
                </c:pt>
                <c:pt idx="18463">
                  <c:v>349</c:v>
                </c:pt>
                <c:pt idx="18464">
                  <c:v>389</c:v>
                </c:pt>
                <c:pt idx="18465">
                  <c:v>396</c:v>
                </c:pt>
                <c:pt idx="18466">
                  <c:v>326</c:v>
                </c:pt>
                <c:pt idx="18467">
                  <c:v>411</c:v>
                </c:pt>
                <c:pt idx="18468">
                  <c:v>298</c:v>
                </c:pt>
                <c:pt idx="18469">
                  <c:v>293</c:v>
                </c:pt>
                <c:pt idx="18470">
                  <c:v>285</c:v>
                </c:pt>
                <c:pt idx="18471">
                  <c:v>271</c:v>
                </c:pt>
                <c:pt idx="18472">
                  <c:v>311</c:v>
                </c:pt>
                <c:pt idx="18473">
                  <c:v>289</c:v>
                </c:pt>
                <c:pt idx="18474">
                  <c:v>313</c:v>
                </c:pt>
                <c:pt idx="18475">
                  <c:v>346</c:v>
                </c:pt>
                <c:pt idx="18476">
                  <c:v>266</c:v>
                </c:pt>
                <c:pt idx="18477">
                  <c:v>347</c:v>
                </c:pt>
                <c:pt idx="18478">
                  <c:v>316</c:v>
                </c:pt>
                <c:pt idx="18479">
                  <c:v>335</c:v>
                </c:pt>
                <c:pt idx="18480">
                  <c:v>291</c:v>
                </c:pt>
                <c:pt idx="18481">
                  <c:v>288</c:v>
                </c:pt>
                <c:pt idx="18482">
                  <c:v>273</c:v>
                </c:pt>
                <c:pt idx="18483">
                  <c:v>303</c:v>
                </c:pt>
                <c:pt idx="18484">
                  <c:v>256</c:v>
                </c:pt>
                <c:pt idx="18485">
                  <c:v>289</c:v>
                </c:pt>
                <c:pt idx="18486">
                  <c:v>351</c:v>
                </c:pt>
                <c:pt idx="18487">
                  <c:v>381</c:v>
                </c:pt>
                <c:pt idx="18488">
                  <c:v>298</c:v>
                </c:pt>
                <c:pt idx="18489">
                  <c:v>347</c:v>
                </c:pt>
                <c:pt idx="18490">
                  <c:v>329</c:v>
                </c:pt>
                <c:pt idx="18491">
                  <c:v>310</c:v>
                </c:pt>
                <c:pt idx="18492">
                  <c:v>333</c:v>
                </c:pt>
                <c:pt idx="18493">
                  <c:v>359</c:v>
                </c:pt>
                <c:pt idx="18494">
                  <c:v>240</c:v>
                </c:pt>
                <c:pt idx="18495">
                  <c:v>271</c:v>
                </c:pt>
                <c:pt idx="18496">
                  <c:v>277</c:v>
                </c:pt>
                <c:pt idx="18497">
                  <c:v>263</c:v>
                </c:pt>
                <c:pt idx="18498">
                  <c:v>357</c:v>
                </c:pt>
                <c:pt idx="18499">
                  <c:v>357</c:v>
                </c:pt>
                <c:pt idx="18500">
                  <c:v>316</c:v>
                </c:pt>
                <c:pt idx="18501">
                  <c:v>385</c:v>
                </c:pt>
                <c:pt idx="18502">
                  <c:v>342</c:v>
                </c:pt>
                <c:pt idx="18503">
                  <c:v>371</c:v>
                </c:pt>
                <c:pt idx="18504">
                  <c:v>379</c:v>
                </c:pt>
                <c:pt idx="18505">
                  <c:v>369</c:v>
                </c:pt>
                <c:pt idx="18506">
                  <c:v>345</c:v>
                </c:pt>
                <c:pt idx="18507">
                  <c:v>390</c:v>
                </c:pt>
                <c:pt idx="18508">
                  <c:v>463</c:v>
                </c:pt>
                <c:pt idx="18509">
                  <c:v>579</c:v>
                </c:pt>
                <c:pt idx="18510">
                  <c:v>401</c:v>
                </c:pt>
                <c:pt idx="18511">
                  <c:v>467</c:v>
                </c:pt>
                <c:pt idx="18512">
                  <c:v>579</c:v>
                </c:pt>
                <c:pt idx="18513">
                  <c:v>557</c:v>
                </c:pt>
                <c:pt idx="18514">
                  <c:v>634</c:v>
                </c:pt>
                <c:pt idx="18515">
                  <c:v>649</c:v>
                </c:pt>
                <c:pt idx="18516">
                  <c:v>683</c:v>
                </c:pt>
                <c:pt idx="18517">
                  <c:v>697</c:v>
                </c:pt>
                <c:pt idx="18518">
                  <c:v>745</c:v>
                </c:pt>
                <c:pt idx="18519">
                  <c:v>744</c:v>
                </c:pt>
                <c:pt idx="18520">
                  <c:v>713</c:v>
                </c:pt>
                <c:pt idx="18521">
                  <c:v>740</c:v>
                </c:pt>
                <c:pt idx="18522">
                  <c:v>746</c:v>
                </c:pt>
                <c:pt idx="18523">
                  <c:v>752</c:v>
                </c:pt>
                <c:pt idx="18524">
                  <c:v>770</c:v>
                </c:pt>
                <c:pt idx="18525">
                  <c:v>701</c:v>
                </c:pt>
                <c:pt idx="18526">
                  <c:v>742</c:v>
                </c:pt>
                <c:pt idx="18527">
                  <c:v>770</c:v>
                </c:pt>
                <c:pt idx="18528">
                  <c:v>788</c:v>
                </c:pt>
                <c:pt idx="18529">
                  <c:v>796</c:v>
                </c:pt>
                <c:pt idx="18530">
                  <c:v>804</c:v>
                </c:pt>
                <c:pt idx="18531">
                  <c:v>777</c:v>
                </c:pt>
                <c:pt idx="18532">
                  <c:v>789</c:v>
                </c:pt>
                <c:pt idx="18533">
                  <c:v>770</c:v>
                </c:pt>
                <c:pt idx="18534">
                  <c:v>830</c:v>
                </c:pt>
                <c:pt idx="18535">
                  <c:v>758</c:v>
                </c:pt>
                <c:pt idx="18536">
                  <c:v>753</c:v>
                </c:pt>
                <c:pt idx="18537">
                  <c:v>743</c:v>
                </c:pt>
                <c:pt idx="18538">
                  <c:v>703</c:v>
                </c:pt>
                <c:pt idx="18539">
                  <c:v>707</c:v>
                </c:pt>
                <c:pt idx="18540">
                  <c:v>717</c:v>
                </c:pt>
                <c:pt idx="18541">
                  <c:v>674</c:v>
                </c:pt>
                <c:pt idx="18542">
                  <c:v>616</c:v>
                </c:pt>
                <c:pt idx="18543">
                  <c:v>626</c:v>
                </c:pt>
                <c:pt idx="18544">
                  <c:v>596</c:v>
                </c:pt>
                <c:pt idx="18545">
                  <c:v>595</c:v>
                </c:pt>
                <c:pt idx="18546">
                  <c:v>577</c:v>
                </c:pt>
                <c:pt idx="18547">
                  <c:v>565</c:v>
                </c:pt>
                <c:pt idx="18548">
                  <c:v>455</c:v>
                </c:pt>
                <c:pt idx="18549">
                  <c:v>462</c:v>
                </c:pt>
                <c:pt idx="18550">
                  <c:v>436</c:v>
                </c:pt>
                <c:pt idx="18551">
                  <c:v>417</c:v>
                </c:pt>
                <c:pt idx="18552">
                  <c:v>386</c:v>
                </c:pt>
                <c:pt idx="18553">
                  <c:v>413</c:v>
                </c:pt>
                <c:pt idx="18554">
                  <c:v>367</c:v>
                </c:pt>
                <c:pt idx="18555">
                  <c:v>336</c:v>
                </c:pt>
                <c:pt idx="18556">
                  <c:v>380</c:v>
                </c:pt>
                <c:pt idx="18557">
                  <c:v>527</c:v>
                </c:pt>
                <c:pt idx="18558">
                  <c:v>337</c:v>
                </c:pt>
                <c:pt idx="18559">
                  <c:v>323</c:v>
                </c:pt>
                <c:pt idx="18560">
                  <c:v>332</c:v>
                </c:pt>
                <c:pt idx="18561">
                  <c:v>333</c:v>
                </c:pt>
                <c:pt idx="18562">
                  <c:v>301</c:v>
                </c:pt>
                <c:pt idx="18563">
                  <c:v>310</c:v>
                </c:pt>
                <c:pt idx="18564">
                  <c:v>294</c:v>
                </c:pt>
                <c:pt idx="18565">
                  <c:v>321</c:v>
                </c:pt>
                <c:pt idx="18566">
                  <c:v>381</c:v>
                </c:pt>
                <c:pt idx="18567">
                  <c:v>318</c:v>
                </c:pt>
                <c:pt idx="18568">
                  <c:v>336</c:v>
                </c:pt>
                <c:pt idx="18569">
                  <c:v>338</c:v>
                </c:pt>
                <c:pt idx="18570">
                  <c:v>363</c:v>
                </c:pt>
                <c:pt idx="18571">
                  <c:v>409</c:v>
                </c:pt>
                <c:pt idx="18572">
                  <c:v>364</c:v>
                </c:pt>
                <c:pt idx="18573">
                  <c:v>289</c:v>
                </c:pt>
                <c:pt idx="18574">
                  <c:v>280</c:v>
                </c:pt>
                <c:pt idx="18575">
                  <c:v>408</c:v>
                </c:pt>
                <c:pt idx="18576">
                  <c:v>402</c:v>
                </c:pt>
                <c:pt idx="18577">
                  <c:v>510</c:v>
                </c:pt>
                <c:pt idx="18578">
                  <c:v>392</c:v>
                </c:pt>
                <c:pt idx="18579">
                  <c:v>502</c:v>
                </c:pt>
                <c:pt idx="18580">
                  <c:v>481</c:v>
                </c:pt>
                <c:pt idx="18581">
                  <c:v>442</c:v>
                </c:pt>
                <c:pt idx="18582">
                  <c:v>487</c:v>
                </c:pt>
                <c:pt idx="18583">
                  <c:v>574</c:v>
                </c:pt>
                <c:pt idx="18584">
                  <c:v>445</c:v>
                </c:pt>
                <c:pt idx="18585">
                  <c:v>425</c:v>
                </c:pt>
                <c:pt idx="18586">
                  <c:v>484</c:v>
                </c:pt>
                <c:pt idx="18587">
                  <c:v>481</c:v>
                </c:pt>
                <c:pt idx="18588">
                  <c:v>578</c:v>
                </c:pt>
                <c:pt idx="18589">
                  <c:v>664</c:v>
                </c:pt>
                <c:pt idx="18590">
                  <c:v>741</c:v>
                </c:pt>
                <c:pt idx="18591">
                  <c:v>734</c:v>
                </c:pt>
                <c:pt idx="18592">
                  <c:v>755</c:v>
                </c:pt>
                <c:pt idx="18593">
                  <c:v>782</c:v>
                </c:pt>
                <c:pt idx="18594">
                  <c:v>782</c:v>
                </c:pt>
                <c:pt idx="18595">
                  <c:v>800</c:v>
                </c:pt>
                <c:pt idx="18596">
                  <c:v>786</c:v>
                </c:pt>
                <c:pt idx="18597">
                  <c:v>766</c:v>
                </c:pt>
                <c:pt idx="18598">
                  <c:v>770</c:v>
                </c:pt>
                <c:pt idx="18599">
                  <c:v>815</c:v>
                </c:pt>
                <c:pt idx="18600">
                  <c:v>814</c:v>
                </c:pt>
                <c:pt idx="18601">
                  <c:v>825</c:v>
                </c:pt>
                <c:pt idx="18602">
                  <c:v>823</c:v>
                </c:pt>
                <c:pt idx="18603">
                  <c:v>788</c:v>
                </c:pt>
                <c:pt idx="18604">
                  <c:v>798</c:v>
                </c:pt>
                <c:pt idx="18605">
                  <c:v>806</c:v>
                </c:pt>
                <c:pt idx="18606">
                  <c:v>769</c:v>
                </c:pt>
                <c:pt idx="18607">
                  <c:v>801</c:v>
                </c:pt>
                <c:pt idx="18608">
                  <c:v>843</c:v>
                </c:pt>
                <c:pt idx="18609">
                  <c:v>810</c:v>
                </c:pt>
                <c:pt idx="18610">
                  <c:v>820</c:v>
                </c:pt>
                <c:pt idx="18611">
                  <c:v>804</c:v>
                </c:pt>
                <c:pt idx="18612">
                  <c:v>790</c:v>
                </c:pt>
                <c:pt idx="18613">
                  <c:v>788</c:v>
                </c:pt>
                <c:pt idx="18614">
                  <c:v>776</c:v>
                </c:pt>
                <c:pt idx="18615">
                  <c:v>719</c:v>
                </c:pt>
                <c:pt idx="18616">
                  <c:v>648</c:v>
                </c:pt>
                <c:pt idx="18617">
                  <c:v>677</c:v>
                </c:pt>
                <c:pt idx="18618">
                  <c:v>646</c:v>
                </c:pt>
                <c:pt idx="18619">
                  <c:v>614</c:v>
                </c:pt>
                <c:pt idx="18620">
                  <c:v>571</c:v>
                </c:pt>
                <c:pt idx="18621">
                  <c:v>564</c:v>
                </c:pt>
                <c:pt idx="18622">
                  <c:v>406</c:v>
                </c:pt>
                <c:pt idx="18623">
                  <c:v>438</c:v>
                </c:pt>
                <c:pt idx="18624">
                  <c:v>454</c:v>
                </c:pt>
                <c:pt idx="18625">
                  <c:v>505</c:v>
                </c:pt>
                <c:pt idx="18626">
                  <c:v>380</c:v>
                </c:pt>
                <c:pt idx="18627">
                  <c:v>334</c:v>
                </c:pt>
                <c:pt idx="18628">
                  <c:v>373</c:v>
                </c:pt>
                <c:pt idx="18629">
                  <c:v>347</c:v>
                </c:pt>
                <c:pt idx="18630">
                  <c:v>372</c:v>
                </c:pt>
                <c:pt idx="18631">
                  <c:v>307</c:v>
                </c:pt>
                <c:pt idx="18632">
                  <c:v>484</c:v>
                </c:pt>
                <c:pt idx="18633">
                  <c:v>415</c:v>
                </c:pt>
                <c:pt idx="18634">
                  <c:v>391</c:v>
                </c:pt>
                <c:pt idx="18635">
                  <c:v>409</c:v>
                </c:pt>
                <c:pt idx="18636">
                  <c:v>378</c:v>
                </c:pt>
                <c:pt idx="18637">
                  <c:v>396</c:v>
                </c:pt>
                <c:pt idx="18638">
                  <c:v>525</c:v>
                </c:pt>
                <c:pt idx="18639">
                  <c:v>555</c:v>
                </c:pt>
                <c:pt idx="18640">
                  <c:v>525</c:v>
                </c:pt>
                <c:pt idx="18641">
                  <c:v>606</c:v>
                </c:pt>
                <c:pt idx="18642">
                  <c:v>533</c:v>
                </c:pt>
                <c:pt idx="18643">
                  <c:v>584</c:v>
                </c:pt>
                <c:pt idx="18644">
                  <c:v>557</c:v>
                </c:pt>
                <c:pt idx="18645">
                  <c:v>627</c:v>
                </c:pt>
                <c:pt idx="18646">
                  <c:v>661</c:v>
                </c:pt>
                <c:pt idx="18647">
                  <c:v>558</c:v>
                </c:pt>
                <c:pt idx="18648">
                  <c:v>590</c:v>
                </c:pt>
                <c:pt idx="18649">
                  <c:v>599</c:v>
                </c:pt>
                <c:pt idx="18650">
                  <c:v>666</c:v>
                </c:pt>
                <c:pt idx="18651">
                  <c:v>702</c:v>
                </c:pt>
                <c:pt idx="18652">
                  <c:v>840</c:v>
                </c:pt>
                <c:pt idx="18653">
                  <c:v>795</c:v>
                </c:pt>
                <c:pt idx="18654">
                  <c:v>810</c:v>
                </c:pt>
                <c:pt idx="18655">
                  <c:v>845</c:v>
                </c:pt>
                <c:pt idx="18656">
                  <c:v>861</c:v>
                </c:pt>
                <c:pt idx="18657">
                  <c:v>804</c:v>
                </c:pt>
                <c:pt idx="18658">
                  <c:v>822</c:v>
                </c:pt>
                <c:pt idx="18659">
                  <c:v>845</c:v>
                </c:pt>
                <c:pt idx="18660">
                  <c:v>830</c:v>
                </c:pt>
                <c:pt idx="18661">
                  <c:v>833</c:v>
                </c:pt>
                <c:pt idx="18662">
                  <c:v>816</c:v>
                </c:pt>
                <c:pt idx="18663">
                  <c:v>849</c:v>
                </c:pt>
                <c:pt idx="18664">
                  <c:v>813</c:v>
                </c:pt>
                <c:pt idx="18665">
                  <c:v>881</c:v>
                </c:pt>
                <c:pt idx="18666">
                  <c:v>812</c:v>
                </c:pt>
                <c:pt idx="18667">
                  <c:v>817</c:v>
                </c:pt>
                <c:pt idx="18668">
                  <c:v>822</c:v>
                </c:pt>
                <c:pt idx="18669">
                  <c:v>856</c:v>
                </c:pt>
                <c:pt idx="18670">
                  <c:v>878</c:v>
                </c:pt>
                <c:pt idx="18671">
                  <c:v>850</c:v>
                </c:pt>
                <c:pt idx="18672">
                  <c:v>882</c:v>
                </c:pt>
                <c:pt idx="18673">
                  <c:v>822</c:v>
                </c:pt>
                <c:pt idx="18674">
                  <c:v>836</c:v>
                </c:pt>
                <c:pt idx="18675">
                  <c:v>895</c:v>
                </c:pt>
                <c:pt idx="18676">
                  <c:v>815</c:v>
                </c:pt>
                <c:pt idx="18677">
                  <c:v>825</c:v>
                </c:pt>
                <c:pt idx="18678">
                  <c:v>824</c:v>
                </c:pt>
                <c:pt idx="18679">
                  <c:v>830</c:v>
                </c:pt>
                <c:pt idx="18680">
                  <c:v>841</c:v>
                </c:pt>
                <c:pt idx="18681">
                  <c:v>828</c:v>
                </c:pt>
                <c:pt idx="18682">
                  <c:v>868</c:v>
                </c:pt>
                <c:pt idx="18683">
                  <c:v>837</c:v>
                </c:pt>
                <c:pt idx="18684">
                  <c:v>827</c:v>
                </c:pt>
                <c:pt idx="18685">
                  <c:v>815</c:v>
                </c:pt>
                <c:pt idx="18686">
                  <c:v>757</c:v>
                </c:pt>
                <c:pt idx="18687">
                  <c:v>671</c:v>
                </c:pt>
                <c:pt idx="18688">
                  <c:v>713</c:v>
                </c:pt>
                <c:pt idx="18689">
                  <c:v>650</c:v>
                </c:pt>
                <c:pt idx="18690">
                  <c:v>697</c:v>
                </c:pt>
                <c:pt idx="18691">
                  <c:v>657</c:v>
                </c:pt>
                <c:pt idx="18692">
                  <c:v>687</c:v>
                </c:pt>
                <c:pt idx="18693">
                  <c:v>684</c:v>
                </c:pt>
                <c:pt idx="18694">
                  <c:v>678</c:v>
                </c:pt>
                <c:pt idx="18695">
                  <c:v>544</c:v>
                </c:pt>
                <c:pt idx="18696">
                  <c:v>533</c:v>
                </c:pt>
                <c:pt idx="18697">
                  <c:v>564</c:v>
                </c:pt>
                <c:pt idx="18698">
                  <c:v>530</c:v>
                </c:pt>
                <c:pt idx="18699">
                  <c:v>519</c:v>
                </c:pt>
                <c:pt idx="18700">
                  <c:v>417</c:v>
                </c:pt>
                <c:pt idx="18701">
                  <c:v>434</c:v>
                </c:pt>
                <c:pt idx="18702">
                  <c:v>435</c:v>
                </c:pt>
                <c:pt idx="18703">
                  <c:v>454</c:v>
                </c:pt>
                <c:pt idx="18704">
                  <c:v>375</c:v>
                </c:pt>
                <c:pt idx="18705">
                  <c:v>385</c:v>
                </c:pt>
                <c:pt idx="18706">
                  <c:v>443</c:v>
                </c:pt>
                <c:pt idx="18707">
                  <c:v>374</c:v>
                </c:pt>
                <c:pt idx="18708">
                  <c:v>356</c:v>
                </c:pt>
                <c:pt idx="18709">
                  <c:v>370</c:v>
                </c:pt>
                <c:pt idx="18710">
                  <c:v>319</c:v>
                </c:pt>
                <c:pt idx="18711">
                  <c:v>375</c:v>
                </c:pt>
                <c:pt idx="18712">
                  <c:v>387</c:v>
                </c:pt>
                <c:pt idx="18713">
                  <c:v>351</c:v>
                </c:pt>
                <c:pt idx="18714">
                  <c:v>376</c:v>
                </c:pt>
                <c:pt idx="18715">
                  <c:v>354</c:v>
                </c:pt>
                <c:pt idx="18716">
                  <c:v>355</c:v>
                </c:pt>
                <c:pt idx="18717">
                  <c:v>323</c:v>
                </c:pt>
                <c:pt idx="18718">
                  <c:v>356</c:v>
                </c:pt>
                <c:pt idx="18719">
                  <c:v>344</c:v>
                </c:pt>
                <c:pt idx="18720">
                  <c:v>369</c:v>
                </c:pt>
                <c:pt idx="18721">
                  <c:v>317</c:v>
                </c:pt>
                <c:pt idx="18722">
                  <c:v>334</c:v>
                </c:pt>
                <c:pt idx="18723">
                  <c:v>339</c:v>
                </c:pt>
                <c:pt idx="18724">
                  <c:v>383</c:v>
                </c:pt>
                <c:pt idx="18725">
                  <c:v>315</c:v>
                </c:pt>
                <c:pt idx="18726">
                  <c:v>379</c:v>
                </c:pt>
                <c:pt idx="18727">
                  <c:v>360</c:v>
                </c:pt>
                <c:pt idx="18728">
                  <c:v>362</c:v>
                </c:pt>
                <c:pt idx="18729">
                  <c:v>301</c:v>
                </c:pt>
                <c:pt idx="18730">
                  <c:v>448</c:v>
                </c:pt>
                <c:pt idx="18731">
                  <c:v>361</c:v>
                </c:pt>
                <c:pt idx="18732">
                  <c:v>555</c:v>
                </c:pt>
                <c:pt idx="18733">
                  <c:v>453</c:v>
                </c:pt>
                <c:pt idx="18734">
                  <c:v>403</c:v>
                </c:pt>
                <c:pt idx="18735">
                  <c:v>527</c:v>
                </c:pt>
                <c:pt idx="18736">
                  <c:v>396</c:v>
                </c:pt>
                <c:pt idx="18737">
                  <c:v>391</c:v>
                </c:pt>
                <c:pt idx="18738">
                  <c:v>532</c:v>
                </c:pt>
                <c:pt idx="18739">
                  <c:v>415</c:v>
                </c:pt>
                <c:pt idx="18740">
                  <c:v>418</c:v>
                </c:pt>
                <c:pt idx="18741">
                  <c:v>543</c:v>
                </c:pt>
                <c:pt idx="18742">
                  <c:v>558</c:v>
                </c:pt>
                <c:pt idx="18743">
                  <c:v>493</c:v>
                </c:pt>
                <c:pt idx="18744">
                  <c:v>585</c:v>
                </c:pt>
                <c:pt idx="18745">
                  <c:v>619</c:v>
                </c:pt>
                <c:pt idx="18746">
                  <c:v>665</c:v>
                </c:pt>
                <c:pt idx="18747">
                  <c:v>717</c:v>
                </c:pt>
                <c:pt idx="18748">
                  <c:v>714</c:v>
                </c:pt>
                <c:pt idx="18749">
                  <c:v>736</c:v>
                </c:pt>
                <c:pt idx="18750">
                  <c:v>753</c:v>
                </c:pt>
                <c:pt idx="18751">
                  <c:v>808</c:v>
                </c:pt>
                <c:pt idx="18752">
                  <c:v>745</c:v>
                </c:pt>
                <c:pt idx="18753">
                  <c:v>756</c:v>
                </c:pt>
                <c:pt idx="18754">
                  <c:v>755</c:v>
                </c:pt>
                <c:pt idx="18755">
                  <c:v>760</c:v>
                </c:pt>
                <c:pt idx="18756">
                  <c:v>753</c:v>
                </c:pt>
                <c:pt idx="18757">
                  <c:v>834</c:v>
                </c:pt>
                <c:pt idx="18758">
                  <c:v>769</c:v>
                </c:pt>
                <c:pt idx="18759">
                  <c:v>752</c:v>
                </c:pt>
                <c:pt idx="18760">
                  <c:v>817</c:v>
                </c:pt>
                <c:pt idx="18761">
                  <c:v>767</c:v>
                </c:pt>
                <c:pt idx="18762">
                  <c:v>734</c:v>
                </c:pt>
                <c:pt idx="18763">
                  <c:v>746</c:v>
                </c:pt>
                <c:pt idx="18764">
                  <c:v>749</c:v>
                </c:pt>
                <c:pt idx="18765">
                  <c:v>758</c:v>
                </c:pt>
                <c:pt idx="18766">
                  <c:v>749</c:v>
                </c:pt>
                <c:pt idx="18767">
                  <c:v>722</c:v>
                </c:pt>
                <c:pt idx="18768">
                  <c:v>749</c:v>
                </c:pt>
                <c:pt idx="18769">
                  <c:v>751</c:v>
                </c:pt>
                <c:pt idx="18770">
                  <c:v>739</c:v>
                </c:pt>
                <c:pt idx="18771">
                  <c:v>739</c:v>
                </c:pt>
                <c:pt idx="18772">
                  <c:v>690</c:v>
                </c:pt>
                <c:pt idx="18773">
                  <c:v>719</c:v>
                </c:pt>
                <c:pt idx="18774">
                  <c:v>634</c:v>
                </c:pt>
                <c:pt idx="18775">
                  <c:v>637</c:v>
                </c:pt>
                <c:pt idx="18776">
                  <c:v>594</c:v>
                </c:pt>
                <c:pt idx="18777">
                  <c:v>641</c:v>
                </c:pt>
                <c:pt idx="18778">
                  <c:v>549</c:v>
                </c:pt>
                <c:pt idx="18779">
                  <c:v>556</c:v>
                </c:pt>
                <c:pt idx="18780">
                  <c:v>543</c:v>
                </c:pt>
                <c:pt idx="18781">
                  <c:v>556</c:v>
                </c:pt>
                <c:pt idx="18782">
                  <c:v>555</c:v>
                </c:pt>
                <c:pt idx="18783">
                  <c:v>534</c:v>
                </c:pt>
                <c:pt idx="18784">
                  <c:v>578</c:v>
                </c:pt>
                <c:pt idx="18785">
                  <c:v>640</c:v>
                </c:pt>
                <c:pt idx="18786">
                  <c:v>549</c:v>
                </c:pt>
                <c:pt idx="18787">
                  <c:v>626</c:v>
                </c:pt>
                <c:pt idx="18788">
                  <c:v>579</c:v>
                </c:pt>
                <c:pt idx="18789">
                  <c:v>568</c:v>
                </c:pt>
                <c:pt idx="18790">
                  <c:v>583</c:v>
                </c:pt>
                <c:pt idx="18791">
                  <c:v>534</c:v>
                </c:pt>
                <c:pt idx="18792">
                  <c:v>421</c:v>
                </c:pt>
                <c:pt idx="18793">
                  <c:v>391</c:v>
                </c:pt>
                <c:pt idx="18794">
                  <c:v>424</c:v>
                </c:pt>
                <c:pt idx="18795">
                  <c:v>373</c:v>
                </c:pt>
                <c:pt idx="18796">
                  <c:v>386</c:v>
                </c:pt>
                <c:pt idx="18797">
                  <c:v>436</c:v>
                </c:pt>
                <c:pt idx="18798">
                  <c:v>477</c:v>
                </c:pt>
                <c:pt idx="18799">
                  <c:v>478</c:v>
                </c:pt>
                <c:pt idx="18800">
                  <c:v>357</c:v>
                </c:pt>
                <c:pt idx="18801">
                  <c:v>261</c:v>
                </c:pt>
                <c:pt idx="18802">
                  <c:v>280</c:v>
                </c:pt>
                <c:pt idx="18803">
                  <c:v>304</c:v>
                </c:pt>
                <c:pt idx="18804">
                  <c:v>327</c:v>
                </c:pt>
                <c:pt idx="18805">
                  <c:v>294</c:v>
                </c:pt>
                <c:pt idx="18806">
                  <c:v>325</c:v>
                </c:pt>
                <c:pt idx="18807">
                  <c:v>329</c:v>
                </c:pt>
                <c:pt idx="18808">
                  <c:v>328</c:v>
                </c:pt>
                <c:pt idx="18809">
                  <c:v>312</c:v>
                </c:pt>
                <c:pt idx="18810">
                  <c:v>306</c:v>
                </c:pt>
                <c:pt idx="18811">
                  <c:v>312</c:v>
                </c:pt>
                <c:pt idx="18812">
                  <c:v>315</c:v>
                </c:pt>
                <c:pt idx="18813">
                  <c:v>376</c:v>
                </c:pt>
                <c:pt idx="18814">
                  <c:v>426</c:v>
                </c:pt>
                <c:pt idx="18815">
                  <c:v>353</c:v>
                </c:pt>
                <c:pt idx="18816">
                  <c:v>304</c:v>
                </c:pt>
                <c:pt idx="18817">
                  <c:v>331</c:v>
                </c:pt>
                <c:pt idx="18818">
                  <c:v>324</c:v>
                </c:pt>
                <c:pt idx="18819">
                  <c:v>378</c:v>
                </c:pt>
                <c:pt idx="18820">
                  <c:v>329</c:v>
                </c:pt>
                <c:pt idx="18821">
                  <c:v>309</c:v>
                </c:pt>
                <c:pt idx="18822">
                  <c:v>248</c:v>
                </c:pt>
                <c:pt idx="18823">
                  <c:v>436</c:v>
                </c:pt>
                <c:pt idx="18824">
                  <c:v>285</c:v>
                </c:pt>
                <c:pt idx="18825">
                  <c:v>376</c:v>
                </c:pt>
                <c:pt idx="18826">
                  <c:v>360</c:v>
                </c:pt>
                <c:pt idx="18827">
                  <c:v>337</c:v>
                </c:pt>
                <c:pt idx="18828">
                  <c:v>368</c:v>
                </c:pt>
                <c:pt idx="18829">
                  <c:v>305</c:v>
                </c:pt>
                <c:pt idx="18830">
                  <c:v>293</c:v>
                </c:pt>
                <c:pt idx="18831">
                  <c:v>309</c:v>
                </c:pt>
                <c:pt idx="18832">
                  <c:v>291</c:v>
                </c:pt>
                <c:pt idx="18833">
                  <c:v>270</c:v>
                </c:pt>
                <c:pt idx="18834">
                  <c:v>290</c:v>
                </c:pt>
                <c:pt idx="18835">
                  <c:v>282</c:v>
                </c:pt>
                <c:pt idx="18836">
                  <c:v>326</c:v>
                </c:pt>
                <c:pt idx="18837">
                  <c:v>303</c:v>
                </c:pt>
                <c:pt idx="18838">
                  <c:v>305</c:v>
                </c:pt>
                <c:pt idx="18839">
                  <c:v>330</c:v>
                </c:pt>
                <c:pt idx="18840">
                  <c:v>722</c:v>
                </c:pt>
                <c:pt idx="18841">
                  <c:v>370</c:v>
                </c:pt>
                <c:pt idx="18842">
                  <c:v>371</c:v>
                </c:pt>
                <c:pt idx="18843">
                  <c:v>454</c:v>
                </c:pt>
                <c:pt idx="18844">
                  <c:v>442</c:v>
                </c:pt>
                <c:pt idx="18845">
                  <c:v>379</c:v>
                </c:pt>
                <c:pt idx="18846">
                  <c:v>441</c:v>
                </c:pt>
                <c:pt idx="18847">
                  <c:v>468</c:v>
                </c:pt>
                <c:pt idx="18848">
                  <c:v>427</c:v>
                </c:pt>
                <c:pt idx="18849">
                  <c:v>414</c:v>
                </c:pt>
                <c:pt idx="18850">
                  <c:v>432</c:v>
                </c:pt>
                <c:pt idx="18851">
                  <c:v>382</c:v>
                </c:pt>
                <c:pt idx="18852">
                  <c:v>451</c:v>
                </c:pt>
                <c:pt idx="18853">
                  <c:v>419</c:v>
                </c:pt>
                <c:pt idx="18854">
                  <c:v>437</c:v>
                </c:pt>
                <c:pt idx="18855">
                  <c:v>428</c:v>
                </c:pt>
                <c:pt idx="18856">
                  <c:v>435</c:v>
                </c:pt>
                <c:pt idx="18857">
                  <c:v>461</c:v>
                </c:pt>
                <c:pt idx="18858">
                  <c:v>417</c:v>
                </c:pt>
                <c:pt idx="18859">
                  <c:v>517</c:v>
                </c:pt>
                <c:pt idx="18860">
                  <c:v>473</c:v>
                </c:pt>
                <c:pt idx="18861">
                  <c:v>449</c:v>
                </c:pt>
                <c:pt idx="18862">
                  <c:v>434</c:v>
                </c:pt>
                <c:pt idx="18863">
                  <c:v>526</c:v>
                </c:pt>
                <c:pt idx="18864">
                  <c:v>465</c:v>
                </c:pt>
                <c:pt idx="18865">
                  <c:v>422</c:v>
                </c:pt>
                <c:pt idx="18866">
                  <c:v>426</c:v>
                </c:pt>
                <c:pt idx="18867">
                  <c:v>450</c:v>
                </c:pt>
                <c:pt idx="18868">
                  <c:v>514</c:v>
                </c:pt>
                <c:pt idx="18869">
                  <c:v>336</c:v>
                </c:pt>
                <c:pt idx="18870">
                  <c:v>271</c:v>
                </c:pt>
                <c:pt idx="18871">
                  <c:v>216</c:v>
                </c:pt>
                <c:pt idx="18872">
                  <c:v>224</c:v>
                </c:pt>
                <c:pt idx="18873">
                  <c:v>242</c:v>
                </c:pt>
                <c:pt idx="18874">
                  <c:v>247</c:v>
                </c:pt>
                <c:pt idx="18875">
                  <c:v>320</c:v>
                </c:pt>
                <c:pt idx="18876">
                  <c:v>325</c:v>
                </c:pt>
                <c:pt idx="18877">
                  <c:v>336</c:v>
                </c:pt>
                <c:pt idx="18878">
                  <c:v>310</c:v>
                </c:pt>
                <c:pt idx="18879">
                  <c:v>344</c:v>
                </c:pt>
                <c:pt idx="18880">
                  <c:v>330</c:v>
                </c:pt>
                <c:pt idx="18881">
                  <c:v>302</c:v>
                </c:pt>
                <c:pt idx="18882">
                  <c:v>233</c:v>
                </c:pt>
                <c:pt idx="18883">
                  <c:v>218</c:v>
                </c:pt>
                <c:pt idx="18884">
                  <c:v>223</c:v>
                </c:pt>
                <c:pt idx="18885">
                  <c:v>214</c:v>
                </c:pt>
                <c:pt idx="18886">
                  <c:v>906</c:v>
                </c:pt>
                <c:pt idx="18887">
                  <c:v>785</c:v>
                </c:pt>
                <c:pt idx="18888">
                  <c:v>516</c:v>
                </c:pt>
                <c:pt idx="18889">
                  <c:v>502</c:v>
                </c:pt>
                <c:pt idx="18890">
                  <c:v>430</c:v>
                </c:pt>
                <c:pt idx="18891">
                  <c:v>450</c:v>
                </c:pt>
                <c:pt idx="18892">
                  <c:v>423</c:v>
                </c:pt>
                <c:pt idx="18893">
                  <c:v>438</c:v>
                </c:pt>
                <c:pt idx="18894">
                  <c:v>373</c:v>
                </c:pt>
                <c:pt idx="18895">
                  <c:v>499</c:v>
                </c:pt>
                <c:pt idx="18896">
                  <c:v>395</c:v>
                </c:pt>
                <c:pt idx="18897">
                  <c:v>367</c:v>
                </c:pt>
                <c:pt idx="18898">
                  <c:v>365</c:v>
                </c:pt>
                <c:pt idx="18899">
                  <c:v>330</c:v>
                </c:pt>
                <c:pt idx="18900">
                  <c:v>390</c:v>
                </c:pt>
                <c:pt idx="18901">
                  <c:v>318</c:v>
                </c:pt>
                <c:pt idx="18902">
                  <c:v>391</c:v>
                </c:pt>
                <c:pt idx="18903">
                  <c:v>337</c:v>
                </c:pt>
                <c:pt idx="18904">
                  <c:v>346</c:v>
                </c:pt>
                <c:pt idx="18905">
                  <c:v>324</c:v>
                </c:pt>
                <c:pt idx="18906">
                  <c:v>336</c:v>
                </c:pt>
                <c:pt idx="18907">
                  <c:v>345</c:v>
                </c:pt>
                <c:pt idx="18908">
                  <c:v>352</c:v>
                </c:pt>
                <c:pt idx="18909">
                  <c:v>312</c:v>
                </c:pt>
                <c:pt idx="18910">
                  <c:v>316</c:v>
                </c:pt>
                <c:pt idx="18911">
                  <c:v>284</c:v>
                </c:pt>
                <c:pt idx="18912">
                  <c:v>300</c:v>
                </c:pt>
                <c:pt idx="18913">
                  <c:v>308</c:v>
                </c:pt>
                <c:pt idx="18914">
                  <c:v>323</c:v>
                </c:pt>
                <c:pt idx="18915">
                  <c:v>301</c:v>
                </c:pt>
                <c:pt idx="18916">
                  <c:v>170</c:v>
                </c:pt>
                <c:pt idx="18917">
                  <c:v>187</c:v>
                </c:pt>
                <c:pt idx="18918">
                  <c:v>131</c:v>
                </c:pt>
                <c:pt idx="18919">
                  <c:v>130</c:v>
                </c:pt>
                <c:pt idx="18920">
                  <c:v>1015</c:v>
                </c:pt>
                <c:pt idx="18921">
                  <c:v>728</c:v>
                </c:pt>
                <c:pt idx="18922">
                  <c:v>747</c:v>
                </c:pt>
                <c:pt idx="18923">
                  <c:v>498</c:v>
                </c:pt>
                <c:pt idx="18924">
                  <c:v>503</c:v>
                </c:pt>
                <c:pt idx="18925">
                  <c:v>438</c:v>
                </c:pt>
                <c:pt idx="18926">
                  <c:v>342</c:v>
                </c:pt>
                <c:pt idx="18927">
                  <c:v>364</c:v>
                </c:pt>
                <c:pt idx="18928">
                  <c:v>328</c:v>
                </c:pt>
                <c:pt idx="18929">
                  <c:v>345</c:v>
                </c:pt>
                <c:pt idx="18930">
                  <c:v>314</c:v>
                </c:pt>
                <c:pt idx="18931">
                  <c:v>394</c:v>
                </c:pt>
                <c:pt idx="18932">
                  <c:v>356</c:v>
                </c:pt>
                <c:pt idx="18933">
                  <c:v>396</c:v>
                </c:pt>
                <c:pt idx="18934">
                  <c:v>375</c:v>
                </c:pt>
                <c:pt idx="18935">
                  <c:v>368</c:v>
                </c:pt>
                <c:pt idx="18936">
                  <c:v>374</c:v>
                </c:pt>
                <c:pt idx="18937">
                  <c:v>465</c:v>
                </c:pt>
                <c:pt idx="18938">
                  <c:v>387</c:v>
                </c:pt>
                <c:pt idx="18939">
                  <c:v>356</c:v>
                </c:pt>
                <c:pt idx="18940">
                  <c:v>333</c:v>
                </c:pt>
                <c:pt idx="18941">
                  <c:v>370</c:v>
                </c:pt>
                <c:pt idx="18942">
                  <c:v>373</c:v>
                </c:pt>
                <c:pt idx="18943">
                  <c:v>416</c:v>
                </c:pt>
                <c:pt idx="18944">
                  <c:v>378</c:v>
                </c:pt>
                <c:pt idx="18945">
                  <c:v>430</c:v>
                </c:pt>
                <c:pt idx="18946">
                  <c:v>357</c:v>
                </c:pt>
                <c:pt idx="18947">
                  <c:v>403</c:v>
                </c:pt>
                <c:pt idx="18948">
                  <c:v>420</c:v>
                </c:pt>
                <c:pt idx="18949">
                  <c:v>372</c:v>
                </c:pt>
                <c:pt idx="18950">
                  <c:v>336</c:v>
                </c:pt>
                <c:pt idx="18951">
                  <c:v>359</c:v>
                </c:pt>
                <c:pt idx="18952">
                  <c:v>357</c:v>
                </c:pt>
                <c:pt idx="18953">
                  <c:v>318</c:v>
                </c:pt>
                <c:pt idx="18954">
                  <c:v>283</c:v>
                </c:pt>
                <c:pt idx="18955">
                  <c:v>268</c:v>
                </c:pt>
                <c:pt idx="18956">
                  <c:v>279</c:v>
                </c:pt>
                <c:pt idx="18957">
                  <c:v>267</c:v>
                </c:pt>
                <c:pt idx="18958">
                  <c:v>224</c:v>
                </c:pt>
                <c:pt idx="18959">
                  <c:v>218</c:v>
                </c:pt>
                <c:pt idx="18960">
                  <c:v>174</c:v>
                </c:pt>
                <c:pt idx="18961">
                  <c:v>125</c:v>
                </c:pt>
                <c:pt idx="18962">
                  <c:v>147</c:v>
                </c:pt>
                <c:pt idx="18963">
                  <c:v>157</c:v>
                </c:pt>
                <c:pt idx="18964">
                  <c:v>876</c:v>
                </c:pt>
                <c:pt idx="18965">
                  <c:v>829</c:v>
                </c:pt>
                <c:pt idx="18966">
                  <c:v>863</c:v>
                </c:pt>
                <c:pt idx="18967">
                  <c:v>827</c:v>
                </c:pt>
                <c:pt idx="18968">
                  <c:v>548</c:v>
                </c:pt>
                <c:pt idx="18969">
                  <c:v>527</c:v>
                </c:pt>
                <c:pt idx="18970">
                  <c:v>548</c:v>
                </c:pt>
                <c:pt idx="18971">
                  <c:v>509</c:v>
                </c:pt>
                <c:pt idx="18972">
                  <c:v>499</c:v>
                </c:pt>
                <c:pt idx="18973">
                  <c:v>519</c:v>
                </c:pt>
                <c:pt idx="18974">
                  <c:v>474</c:v>
                </c:pt>
                <c:pt idx="18975">
                  <c:v>454</c:v>
                </c:pt>
                <c:pt idx="18976">
                  <c:v>488</c:v>
                </c:pt>
                <c:pt idx="18977">
                  <c:v>472</c:v>
                </c:pt>
                <c:pt idx="18978">
                  <c:v>468</c:v>
                </c:pt>
                <c:pt idx="18979">
                  <c:v>472</c:v>
                </c:pt>
                <c:pt idx="18980">
                  <c:v>456</c:v>
                </c:pt>
                <c:pt idx="18981">
                  <c:v>456</c:v>
                </c:pt>
                <c:pt idx="18982">
                  <c:v>416</c:v>
                </c:pt>
                <c:pt idx="18983">
                  <c:v>467</c:v>
                </c:pt>
                <c:pt idx="18984">
                  <c:v>453</c:v>
                </c:pt>
                <c:pt idx="18985">
                  <c:v>425</c:v>
                </c:pt>
                <c:pt idx="18986">
                  <c:v>425</c:v>
                </c:pt>
                <c:pt idx="18987">
                  <c:v>414</c:v>
                </c:pt>
                <c:pt idx="18988">
                  <c:v>376</c:v>
                </c:pt>
                <c:pt idx="18989">
                  <c:v>391</c:v>
                </c:pt>
                <c:pt idx="18990">
                  <c:v>358</c:v>
                </c:pt>
                <c:pt idx="18991">
                  <c:v>356</c:v>
                </c:pt>
                <c:pt idx="18992">
                  <c:v>372</c:v>
                </c:pt>
                <c:pt idx="18993">
                  <c:v>370</c:v>
                </c:pt>
                <c:pt idx="18994">
                  <c:v>310</c:v>
                </c:pt>
                <c:pt idx="18995">
                  <c:v>340</c:v>
                </c:pt>
                <c:pt idx="18996">
                  <c:v>314</c:v>
                </c:pt>
                <c:pt idx="18997">
                  <c:v>316</c:v>
                </c:pt>
                <c:pt idx="18998">
                  <c:v>297</c:v>
                </c:pt>
                <c:pt idx="18999">
                  <c:v>364</c:v>
                </c:pt>
                <c:pt idx="19000">
                  <c:v>321</c:v>
                </c:pt>
                <c:pt idx="19001">
                  <c:v>192</c:v>
                </c:pt>
                <c:pt idx="19002">
                  <c:v>201</c:v>
                </c:pt>
                <c:pt idx="19003">
                  <c:v>206</c:v>
                </c:pt>
                <c:pt idx="19004">
                  <c:v>177</c:v>
                </c:pt>
                <c:pt idx="19005">
                  <c:v>822</c:v>
                </c:pt>
                <c:pt idx="19006">
                  <c:v>832</c:v>
                </c:pt>
                <c:pt idx="19007">
                  <c:v>650</c:v>
                </c:pt>
                <c:pt idx="19008">
                  <c:v>578</c:v>
                </c:pt>
                <c:pt idx="19009">
                  <c:v>523</c:v>
                </c:pt>
                <c:pt idx="19010">
                  <c:v>525</c:v>
                </c:pt>
                <c:pt idx="19011">
                  <c:v>474</c:v>
                </c:pt>
                <c:pt idx="19012">
                  <c:v>507</c:v>
                </c:pt>
                <c:pt idx="19013">
                  <c:v>495</c:v>
                </c:pt>
                <c:pt idx="19014">
                  <c:v>527</c:v>
                </c:pt>
                <c:pt idx="19015">
                  <c:v>518</c:v>
                </c:pt>
                <c:pt idx="19016">
                  <c:v>536</c:v>
                </c:pt>
                <c:pt idx="19017">
                  <c:v>539</c:v>
                </c:pt>
                <c:pt idx="19018">
                  <c:v>538</c:v>
                </c:pt>
                <c:pt idx="19019">
                  <c:v>589</c:v>
                </c:pt>
                <c:pt idx="19020">
                  <c:v>539</c:v>
                </c:pt>
                <c:pt idx="19021">
                  <c:v>567</c:v>
                </c:pt>
                <c:pt idx="19022">
                  <c:v>561</c:v>
                </c:pt>
                <c:pt idx="19023">
                  <c:v>554</c:v>
                </c:pt>
                <c:pt idx="19024">
                  <c:v>610</c:v>
                </c:pt>
                <c:pt idx="19025">
                  <c:v>659</c:v>
                </c:pt>
                <c:pt idx="19026">
                  <c:v>597</c:v>
                </c:pt>
                <c:pt idx="19027">
                  <c:v>589</c:v>
                </c:pt>
                <c:pt idx="19028">
                  <c:v>591</c:v>
                </c:pt>
                <c:pt idx="19029">
                  <c:v>605</c:v>
                </c:pt>
                <c:pt idx="19030">
                  <c:v>533</c:v>
                </c:pt>
                <c:pt idx="19031">
                  <c:v>510</c:v>
                </c:pt>
                <c:pt idx="19032">
                  <c:v>480</c:v>
                </c:pt>
                <c:pt idx="19033">
                  <c:v>466</c:v>
                </c:pt>
                <c:pt idx="19034">
                  <c:v>462</c:v>
                </c:pt>
                <c:pt idx="19035">
                  <c:v>453</c:v>
                </c:pt>
                <c:pt idx="19036">
                  <c:v>394</c:v>
                </c:pt>
                <c:pt idx="19037">
                  <c:v>358</c:v>
                </c:pt>
                <c:pt idx="19038">
                  <c:v>425</c:v>
                </c:pt>
                <c:pt idx="19039">
                  <c:v>389</c:v>
                </c:pt>
                <c:pt idx="19040">
                  <c:v>357</c:v>
                </c:pt>
                <c:pt idx="19041">
                  <c:v>352</c:v>
                </c:pt>
                <c:pt idx="19042">
                  <c:v>327</c:v>
                </c:pt>
                <c:pt idx="19043">
                  <c:v>363</c:v>
                </c:pt>
                <c:pt idx="19044">
                  <c:v>295</c:v>
                </c:pt>
                <c:pt idx="19045">
                  <c:v>329</c:v>
                </c:pt>
                <c:pt idx="19046">
                  <c:v>305</c:v>
                </c:pt>
                <c:pt idx="19047">
                  <c:v>316</c:v>
                </c:pt>
                <c:pt idx="19048">
                  <c:v>292</c:v>
                </c:pt>
                <c:pt idx="19049">
                  <c:v>284</c:v>
                </c:pt>
                <c:pt idx="19050">
                  <c:v>233</c:v>
                </c:pt>
                <c:pt idx="19051">
                  <c:v>226</c:v>
                </c:pt>
                <c:pt idx="19052">
                  <c:v>215</c:v>
                </c:pt>
                <c:pt idx="19053">
                  <c:v>216</c:v>
                </c:pt>
                <c:pt idx="19054">
                  <c:v>217</c:v>
                </c:pt>
                <c:pt idx="19055">
                  <c:v>180</c:v>
                </c:pt>
                <c:pt idx="19056">
                  <c:v>162</c:v>
                </c:pt>
                <c:pt idx="19057">
                  <c:v>173</c:v>
                </c:pt>
                <c:pt idx="19058">
                  <c:v>189</c:v>
                </c:pt>
                <c:pt idx="19059">
                  <c:v>186</c:v>
                </c:pt>
                <c:pt idx="19060">
                  <c:v>164</c:v>
                </c:pt>
                <c:pt idx="19061">
                  <c:v>230</c:v>
                </c:pt>
                <c:pt idx="19062">
                  <c:v>852</c:v>
                </c:pt>
                <c:pt idx="19063">
                  <c:v>827</c:v>
                </c:pt>
                <c:pt idx="19064">
                  <c:v>804</c:v>
                </c:pt>
                <c:pt idx="19065">
                  <c:v>636</c:v>
                </c:pt>
                <c:pt idx="19066">
                  <c:v>521</c:v>
                </c:pt>
                <c:pt idx="19067">
                  <c:v>533</c:v>
                </c:pt>
                <c:pt idx="19068">
                  <c:v>503</c:v>
                </c:pt>
                <c:pt idx="19069">
                  <c:v>471</c:v>
                </c:pt>
                <c:pt idx="19070">
                  <c:v>486</c:v>
                </c:pt>
                <c:pt idx="19071">
                  <c:v>517</c:v>
                </c:pt>
                <c:pt idx="19072">
                  <c:v>510</c:v>
                </c:pt>
                <c:pt idx="19073">
                  <c:v>494</c:v>
                </c:pt>
                <c:pt idx="19074">
                  <c:v>513</c:v>
                </c:pt>
                <c:pt idx="19075">
                  <c:v>568</c:v>
                </c:pt>
                <c:pt idx="19076">
                  <c:v>563</c:v>
                </c:pt>
                <c:pt idx="19077">
                  <c:v>559</c:v>
                </c:pt>
                <c:pt idx="19078">
                  <c:v>561</c:v>
                </c:pt>
                <c:pt idx="19079">
                  <c:v>536</c:v>
                </c:pt>
                <c:pt idx="19080">
                  <c:v>578</c:v>
                </c:pt>
                <c:pt idx="19081">
                  <c:v>550</c:v>
                </c:pt>
                <c:pt idx="19082">
                  <c:v>534</c:v>
                </c:pt>
                <c:pt idx="19083">
                  <c:v>571</c:v>
                </c:pt>
                <c:pt idx="19084">
                  <c:v>510</c:v>
                </c:pt>
                <c:pt idx="19085">
                  <c:v>538</c:v>
                </c:pt>
                <c:pt idx="19086">
                  <c:v>547</c:v>
                </c:pt>
                <c:pt idx="19087">
                  <c:v>533</c:v>
                </c:pt>
                <c:pt idx="19088">
                  <c:v>517</c:v>
                </c:pt>
                <c:pt idx="19089">
                  <c:v>538</c:v>
                </c:pt>
                <c:pt idx="19090">
                  <c:v>519</c:v>
                </c:pt>
                <c:pt idx="19091">
                  <c:v>526</c:v>
                </c:pt>
                <c:pt idx="19092">
                  <c:v>516</c:v>
                </c:pt>
                <c:pt idx="19093">
                  <c:v>489</c:v>
                </c:pt>
                <c:pt idx="19094">
                  <c:v>503</c:v>
                </c:pt>
                <c:pt idx="19095">
                  <c:v>483</c:v>
                </c:pt>
                <c:pt idx="19096">
                  <c:v>503</c:v>
                </c:pt>
                <c:pt idx="19097">
                  <c:v>484</c:v>
                </c:pt>
                <c:pt idx="19098">
                  <c:v>390</c:v>
                </c:pt>
                <c:pt idx="19099">
                  <c:v>365</c:v>
                </c:pt>
                <c:pt idx="19100">
                  <c:v>399</c:v>
                </c:pt>
                <c:pt idx="19101">
                  <c:v>380</c:v>
                </c:pt>
                <c:pt idx="19102">
                  <c:v>358</c:v>
                </c:pt>
                <c:pt idx="19103">
                  <c:v>345</c:v>
                </c:pt>
                <c:pt idx="19104">
                  <c:v>350</c:v>
                </c:pt>
                <c:pt idx="19105">
                  <c:v>314</c:v>
                </c:pt>
                <c:pt idx="19106">
                  <c:v>317</c:v>
                </c:pt>
                <c:pt idx="19107">
                  <c:v>324</c:v>
                </c:pt>
                <c:pt idx="19108">
                  <c:v>351</c:v>
                </c:pt>
                <c:pt idx="19109">
                  <c:v>327</c:v>
                </c:pt>
                <c:pt idx="19110">
                  <c:v>374</c:v>
                </c:pt>
                <c:pt idx="19111">
                  <c:v>329</c:v>
                </c:pt>
                <c:pt idx="19112">
                  <c:v>314</c:v>
                </c:pt>
                <c:pt idx="19113">
                  <c:v>342</c:v>
                </c:pt>
                <c:pt idx="19114">
                  <c:v>293</c:v>
                </c:pt>
                <c:pt idx="19115">
                  <c:v>346</c:v>
                </c:pt>
                <c:pt idx="19116">
                  <c:v>294</c:v>
                </c:pt>
                <c:pt idx="19117">
                  <c:v>297</c:v>
                </c:pt>
                <c:pt idx="19118">
                  <c:v>304</c:v>
                </c:pt>
                <c:pt idx="19119">
                  <c:v>313</c:v>
                </c:pt>
                <c:pt idx="19120">
                  <c:v>284</c:v>
                </c:pt>
                <c:pt idx="19121">
                  <c:v>302</c:v>
                </c:pt>
                <c:pt idx="19122">
                  <c:v>318</c:v>
                </c:pt>
                <c:pt idx="19123">
                  <c:v>334</c:v>
                </c:pt>
                <c:pt idx="19124">
                  <c:v>331</c:v>
                </c:pt>
                <c:pt idx="19125">
                  <c:v>316</c:v>
                </c:pt>
                <c:pt idx="19126">
                  <c:v>313</c:v>
                </c:pt>
                <c:pt idx="19127">
                  <c:v>304</c:v>
                </c:pt>
                <c:pt idx="19128">
                  <c:v>311</c:v>
                </c:pt>
                <c:pt idx="19129">
                  <c:v>282</c:v>
                </c:pt>
                <c:pt idx="19130">
                  <c:v>272</c:v>
                </c:pt>
                <c:pt idx="19131">
                  <c:v>292</c:v>
                </c:pt>
                <c:pt idx="19132">
                  <c:v>265</c:v>
                </c:pt>
                <c:pt idx="19133">
                  <c:v>275</c:v>
                </c:pt>
                <c:pt idx="19134">
                  <c:v>269</c:v>
                </c:pt>
                <c:pt idx="19135">
                  <c:v>256</c:v>
                </c:pt>
                <c:pt idx="19136">
                  <c:v>290</c:v>
                </c:pt>
                <c:pt idx="19137">
                  <c:v>279</c:v>
                </c:pt>
                <c:pt idx="19138">
                  <c:v>237</c:v>
                </c:pt>
                <c:pt idx="19139">
                  <c:v>261</c:v>
                </c:pt>
                <c:pt idx="19140">
                  <c:v>259</c:v>
                </c:pt>
                <c:pt idx="19141">
                  <c:v>300</c:v>
                </c:pt>
                <c:pt idx="19142">
                  <c:v>290</c:v>
                </c:pt>
                <c:pt idx="19143">
                  <c:v>301</c:v>
                </c:pt>
                <c:pt idx="19144">
                  <c:v>292</c:v>
                </c:pt>
                <c:pt idx="19145">
                  <c:v>281</c:v>
                </c:pt>
                <c:pt idx="19146">
                  <c:v>298</c:v>
                </c:pt>
                <c:pt idx="19147">
                  <c:v>286</c:v>
                </c:pt>
                <c:pt idx="19148">
                  <c:v>308</c:v>
                </c:pt>
                <c:pt idx="19149">
                  <c:v>290</c:v>
                </c:pt>
                <c:pt idx="19150">
                  <c:v>307</c:v>
                </c:pt>
                <c:pt idx="19151">
                  <c:v>342</c:v>
                </c:pt>
                <c:pt idx="19152">
                  <c:v>581</c:v>
                </c:pt>
                <c:pt idx="19153">
                  <c:v>411</c:v>
                </c:pt>
                <c:pt idx="19154">
                  <c:v>368</c:v>
                </c:pt>
                <c:pt idx="19155">
                  <c:v>412</c:v>
                </c:pt>
                <c:pt idx="19156">
                  <c:v>459</c:v>
                </c:pt>
                <c:pt idx="19157">
                  <c:v>436</c:v>
                </c:pt>
                <c:pt idx="19158">
                  <c:v>460</c:v>
                </c:pt>
                <c:pt idx="19159">
                  <c:v>488</c:v>
                </c:pt>
                <c:pt idx="19160">
                  <c:v>496</c:v>
                </c:pt>
                <c:pt idx="19161">
                  <c:v>486</c:v>
                </c:pt>
                <c:pt idx="19162">
                  <c:v>527</c:v>
                </c:pt>
                <c:pt idx="19163">
                  <c:v>545</c:v>
                </c:pt>
                <c:pt idx="19164">
                  <c:v>552</c:v>
                </c:pt>
                <c:pt idx="19165">
                  <c:v>560</c:v>
                </c:pt>
                <c:pt idx="19166">
                  <c:v>569</c:v>
                </c:pt>
                <c:pt idx="19167">
                  <c:v>594</c:v>
                </c:pt>
                <c:pt idx="19168">
                  <c:v>597</c:v>
                </c:pt>
                <c:pt idx="19169">
                  <c:v>610</c:v>
                </c:pt>
                <c:pt idx="19170">
                  <c:v>597</c:v>
                </c:pt>
                <c:pt idx="19171">
                  <c:v>616</c:v>
                </c:pt>
                <c:pt idx="19172">
                  <c:v>611</c:v>
                </c:pt>
                <c:pt idx="19173">
                  <c:v>628</c:v>
                </c:pt>
                <c:pt idx="19174">
                  <c:v>617</c:v>
                </c:pt>
                <c:pt idx="19175">
                  <c:v>602</c:v>
                </c:pt>
                <c:pt idx="19176">
                  <c:v>645</c:v>
                </c:pt>
                <c:pt idx="19177">
                  <c:v>616</c:v>
                </c:pt>
                <c:pt idx="19178">
                  <c:v>610</c:v>
                </c:pt>
                <c:pt idx="19179">
                  <c:v>610</c:v>
                </c:pt>
                <c:pt idx="19180">
                  <c:v>609</c:v>
                </c:pt>
                <c:pt idx="19181">
                  <c:v>590</c:v>
                </c:pt>
                <c:pt idx="19182">
                  <c:v>598</c:v>
                </c:pt>
                <c:pt idx="19183">
                  <c:v>624</c:v>
                </c:pt>
                <c:pt idx="19184">
                  <c:v>594</c:v>
                </c:pt>
                <c:pt idx="19185">
                  <c:v>599</c:v>
                </c:pt>
                <c:pt idx="19186">
                  <c:v>557</c:v>
                </c:pt>
                <c:pt idx="19187">
                  <c:v>510</c:v>
                </c:pt>
                <c:pt idx="19188">
                  <c:v>474</c:v>
                </c:pt>
                <c:pt idx="19189">
                  <c:v>486</c:v>
                </c:pt>
                <c:pt idx="19190">
                  <c:v>496</c:v>
                </c:pt>
                <c:pt idx="19191">
                  <c:v>467</c:v>
                </c:pt>
                <c:pt idx="19192">
                  <c:v>466</c:v>
                </c:pt>
                <c:pt idx="19193">
                  <c:v>429</c:v>
                </c:pt>
                <c:pt idx="19194">
                  <c:v>436</c:v>
                </c:pt>
                <c:pt idx="19195">
                  <c:v>402</c:v>
                </c:pt>
                <c:pt idx="19196">
                  <c:v>403</c:v>
                </c:pt>
                <c:pt idx="19197">
                  <c:v>377</c:v>
                </c:pt>
                <c:pt idx="19198">
                  <c:v>368</c:v>
                </c:pt>
                <c:pt idx="19199">
                  <c:v>344</c:v>
                </c:pt>
                <c:pt idx="19200">
                  <c:v>336</c:v>
                </c:pt>
                <c:pt idx="19201">
                  <c:v>322</c:v>
                </c:pt>
                <c:pt idx="19202">
                  <c:v>308</c:v>
                </c:pt>
                <c:pt idx="19203">
                  <c:v>301</c:v>
                </c:pt>
                <c:pt idx="19204">
                  <c:v>283</c:v>
                </c:pt>
                <c:pt idx="19205">
                  <c:v>289</c:v>
                </c:pt>
                <c:pt idx="19206">
                  <c:v>268</c:v>
                </c:pt>
                <c:pt idx="19207">
                  <c:v>271</c:v>
                </c:pt>
                <c:pt idx="19208">
                  <c:v>225</c:v>
                </c:pt>
                <c:pt idx="19209">
                  <c:v>266</c:v>
                </c:pt>
                <c:pt idx="19210">
                  <c:v>235</c:v>
                </c:pt>
                <c:pt idx="19211">
                  <c:v>170</c:v>
                </c:pt>
                <c:pt idx="19212">
                  <c:v>238</c:v>
                </c:pt>
                <c:pt idx="19213">
                  <c:v>240</c:v>
                </c:pt>
                <c:pt idx="19214">
                  <c:v>220</c:v>
                </c:pt>
                <c:pt idx="19215">
                  <c:v>179</c:v>
                </c:pt>
                <c:pt idx="19216">
                  <c:v>161</c:v>
                </c:pt>
                <c:pt idx="19217">
                  <c:v>184</c:v>
                </c:pt>
                <c:pt idx="19218">
                  <c:v>179</c:v>
                </c:pt>
                <c:pt idx="19219">
                  <c:v>152</c:v>
                </c:pt>
                <c:pt idx="19220">
                  <c:v>168</c:v>
                </c:pt>
                <c:pt idx="19221">
                  <c:v>176</c:v>
                </c:pt>
                <c:pt idx="19222">
                  <c:v>162</c:v>
                </c:pt>
                <c:pt idx="19223">
                  <c:v>158</c:v>
                </c:pt>
                <c:pt idx="19224">
                  <c:v>183</c:v>
                </c:pt>
                <c:pt idx="19225">
                  <c:v>175</c:v>
                </c:pt>
                <c:pt idx="19226">
                  <c:v>171</c:v>
                </c:pt>
                <c:pt idx="19227">
                  <c:v>170</c:v>
                </c:pt>
                <c:pt idx="19228">
                  <c:v>188</c:v>
                </c:pt>
                <c:pt idx="19229">
                  <c:v>155</c:v>
                </c:pt>
                <c:pt idx="19230">
                  <c:v>181</c:v>
                </c:pt>
                <c:pt idx="19231">
                  <c:v>167</c:v>
                </c:pt>
                <c:pt idx="19232">
                  <c:v>202</c:v>
                </c:pt>
                <c:pt idx="19233">
                  <c:v>215</c:v>
                </c:pt>
                <c:pt idx="19234">
                  <c:v>206</c:v>
                </c:pt>
                <c:pt idx="19235">
                  <c:v>211</c:v>
                </c:pt>
                <c:pt idx="19236">
                  <c:v>218</c:v>
                </c:pt>
                <c:pt idx="19237">
                  <c:v>221</c:v>
                </c:pt>
                <c:pt idx="19238">
                  <c:v>191</c:v>
                </c:pt>
                <c:pt idx="19239">
                  <c:v>400</c:v>
                </c:pt>
                <c:pt idx="19240">
                  <c:v>508</c:v>
                </c:pt>
                <c:pt idx="19241">
                  <c:v>710</c:v>
                </c:pt>
                <c:pt idx="19242">
                  <c:v>816</c:v>
                </c:pt>
                <c:pt idx="19243">
                  <c:v>673</c:v>
                </c:pt>
                <c:pt idx="19244">
                  <c:v>609</c:v>
                </c:pt>
                <c:pt idx="19245">
                  <c:v>558</c:v>
                </c:pt>
                <c:pt idx="19246">
                  <c:v>596</c:v>
                </c:pt>
                <c:pt idx="19247">
                  <c:v>569</c:v>
                </c:pt>
                <c:pt idx="19248">
                  <c:v>581</c:v>
                </c:pt>
                <c:pt idx="19249">
                  <c:v>587</c:v>
                </c:pt>
                <c:pt idx="19250">
                  <c:v>541</c:v>
                </c:pt>
                <c:pt idx="19251">
                  <c:v>577</c:v>
                </c:pt>
                <c:pt idx="19252">
                  <c:v>592</c:v>
                </c:pt>
                <c:pt idx="19253">
                  <c:v>598</c:v>
                </c:pt>
                <c:pt idx="19254">
                  <c:v>621</c:v>
                </c:pt>
                <c:pt idx="19255">
                  <c:v>592</c:v>
                </c:pt>
                <c:pt idx="19256">
                  <c:v>608</c:v>
                </c:pt>
                <c:pt idx="19257">
                  <c:v>650</c:v>
                </c:pt>
                <c:pt idx="19258">
                  <c:v>666</c:v>
                </c:pt>
                <c:pt idx="19259">
                  <c:v>656</c:v>
                </c:pt>
                <c:pt idx="19260">
                  <c:v>653</c:v>
                </c:pt>
                <c:pt idx="19261">
                  <c:v>706</c:v>
                </c:pt>
                <c:pt idx="19262">
                  <c:v>699</c:v>
                </c:pt>
                <c:pt idx="19263">
                  <c:v>688</c:v>
                </c:pt>
                <c:pt idx="19264">
                  <c:v>703</c:v>
                </c:pt>
                <c:pt idx="19265">
                  <c:v>687</c:v>
                </c:pt>
                <c:pt idx="19266">
                  <c:v>690</c:v>
                </c:pt>
                <c:pt idx="19267">
                  <c:v>669</c:v>
                </c:pt>
                <c:pt idx="19268">
                  <c:v>678</c:v>
                </c:pt>
                <c:pt idx="19269">
                  <c:v>668</c:v>
                </c:pt>
                <c:pt idx="19270">
                  <c:v>685</c:v>
                </c:pt>
                <c:pt idx="19271">
                  <c:v>555</c:v>
                </c:pt>
                <c:pt idx="19272">
                  <c:v>508</c:v>
                </c:pt>
                <c:pt idx="19273">
                  <c:v>393</c:v>
                </c:pt>
                <c:pt idx="19274">
                  <c:v>317</c:v>
                </c:pt>
                <c:pt idx="19275">
                  <c:v>317</c:v>
                </c:pt>
                <c:pt idx="19276">
                  <c:v>317</c:v>
                </c:pt>
                <c:pt idx="19277">
                  <c:v>317</c:v>
                </c:pt>
                <c:pt idx="19278">
                  <c:v>317</c:v>
                </c:pt>
                <c:pt idx="19279">
                  <c:v>317</c:v>
                </c:pt>
                <c:pt idx="19280">
                  <c:v>317</c:v>
                </c:pt>
                <c:pt idx="19281">
                  <c:v>317</c:v>
                </c:pt>
                <c:pt idx="19282">
                  <c:v>317</c:v>
                </c:pt>
                <c:pt idx="19283">
                  <c:v>317</c:v>
                </c:pt>
                <c:pt idx="19284">
                  <c:v>317</c:v>
                </c:pt>
                <c:pt idx="19285">
                  <c:v>317</c:v>
                </c:pt>
                <c:pt idx="19286">
                  <c:v>317</c:v>
                </c:pt>
                <c:pt idx="19287">
                  <c:v>317</c:v>
                </c:pt>
                <c:pt idx="19288">
                  <c:v>317</c:v>
                </c:pt>
                <c:pt idx="19289">
                  <c:v>317</c:v>
                </c:pt>
                <c:pt idx="19290">
                  <c:v>317</c:v>
                </c:pt>
                <c:pt idx="19291">
                  <c:v>317</c:v>
                </c:pt>
                <c:pt idx="19292">
                  <c:v>317</c:v>
                </c:pt>
                <c:pt idx="19293">
                  <c:v>317</c:v>
                </c:pt>
                <c:pt idx="19294">
                  <c:v>317</c:v>
                </c:pt>
                <c:pt idx="19295">
                  <c:v>317</c:v>
                </c:pt>
                <c:pt idx="19296">
                  <c:v>317</c:v>
                </c:pt>
                <c:pt idx="19297">
                  <c:v>317</c:v>
                </c:pt>
                <c:pt idx="19298">
                  <c:v>317</c:v>
                </c:pt>
                <c:pt idx="19299">
                  <c:v>317</c:v>
                </c:pt>
                <c:pt idx="19300">
                  <c:v>317</c:v>
                </c:pt>
                <c:pt idx="19301">
                  <c:v>317</c:v>
                </c:pt>
                <c:pt idx="19302">
                  <c:v>317</c:v>
                </c:pt>
                <c:pt idx="19303">
                  <c:v>317</c:v>
                </c:pt>
                <c:pt idx="19304">
                  <c:v>317</c:v>
                </c:pt>
                <c:pt idx="19305">
                  <c:v>317</c:v>
                </c:pt>
                <c:pt idx="19306">
                  <c:v>317</c:v>
                </c:pt>
                <c:pt idx="19307">
                  <c:v>317</c:v>
                </c:pt>
                <c:pt idx="19308">
                  <c:v>317</c:v>
                </c:pt>
                <c:pt idx="19309">
                  <c:v>317</c:v>
                </c:pt>
                <c:pt idx="19310">
                  <c:v>317</c:v>
                </c:pt>
                <c:pt idx="19311">
                  <c:v>317</c:v>
                </c:pt>
                <c:pt idx="19312">
                  <c:v>317</c:v>
                </c:pt>
                <c:pt idx="19313">
                  <c:v>317</c:v>
                </c:pt>
                <c:pt idx="19314">
                  <c:v>317</c:v>
                </c:pt>
                <c:pt idx="19315">
                  <c:v>317</c:v>
                </c:pt>
                <c:pt idx="19316">
                  <c:v>317</c:v>
                </c:pt>
                <c:pt idx="19317">
                  <c:v>317</c:v>
                </c:pt>
                <c:pt idx="19318">
                  <c:v>317</c:v>
                </c:pt>
                <c:pt idx="19319">
                  <c:v>317</c:v>
                </c:pt>
                <c:pt idx="19320">
                  <c:v>317</c:v>
                </c:pt>
                <c:pt idx="19321">
                  <c:v>317</c:v>
                </c:pt>
                <c:pt idx="19322">
                  <c:v>317</c:v>
                </c:pt>
                <c:pt idx="19323">
                  <c:v>443</c:v>
                </c:pt>
                <c:pt idx="19324">
                  <c:v>701</c:v>
                </c:pt>
                <c:pt idx="19325">
                  <c:v>560</c:v>
                </c:pt>
                <c:pt idx="19326">
                  <c:v>380</c:v>
                </c:pt>
                <c:pt idx="19327">
                  <c:v>369</c:v>
                </c:pt>
                <c:pt idx="19328">
                  <c:v>353</c:v>
                </c:pt>
                <c:pt idx="19329">
                  <c:v>413</c:v>
                </c:pt>
                <c:pt idx="19330">
                  <c:v>366</c:v>
                </c:pt>
                <c:pt idx="19331">
                  <c:v>446</c:v>
                </c:pt>
                <c:pt idx="19332">
                  <c:v>403</c:v>
                </c:pt>
                <c:pt idx="19333">
                  <c:v>454</c:v>
                </c:pt>
                <c:pt idx="19334">
                  <c:v>439</c:v>
                </c:pt>
                <c:pt idx="19335">
                  <c:v>435</c:v>
                </c:pt>
                <c:pt idx="19336">
                  <c:v>448</c:v>
                </c:pt>
                <c:pt idx="19337">
                  <c:v>425</c:v>
                </c:pt>
                <c:pt idx="19338">
                  <c:v>435</c:v>
                </c:pt>
                <c:pt idx="19339">
                  <c:v>471</c:v>
                </c:pt>
                <c:pt idx="19340">
                  <c:v>440</c:v>
                </c:pt>
                <c:pt idx="19341">
                  <c:v>416</c:v>
                </c:pt>
                <c:pt idx="19342">
                  <c:v>394</c:v>
                </c:pt>
                <c:pt idx="19343">
                  <c:v>393</c:v>
                </c:pt>
                <c:pt idx="19344">
                  <c:v>436</c:v>
                </c:pt>
                <c:pt idx="19345">
                  <c:v>395</c:v>
                </c:pt>
                <c:pt idx="19346">
                  <c:v>388</c:v>
                </c:pt>
                <c:pt idx="19347">
                  <c:v>358</c:v>
                </c:pt>
                <c:pt idx="19348">
                  <c:v>367</c:v>
                </c:pt>
                <c:pt idx="19349">
                  <c:v>354</c:v>
                </c:pt>
                <c:pt idx="19350">
                  <c:v>372</c:v>
                </c:pt>
                <c:pt idx="19351">
                  <c:v>378</c:v>
                </c:pt>
                <c:pt idx="19352">
                  <c:v>348</c:v>
                </c:pt>
                <c:pt idx="19353">
                  <c:v>373</c:v>
                </c:pt>
                <c:pt idx="19354">
                  <c:v>368</c:v>
                </c:pt>
                <c:pt idx="19355">
                  <c:v>374</c:v>
                </c:pt>
                <c:pt idx="19356">
                  <c:v>341</c:v>
                </c:pt>
                <c:pt idx="19357">
                  <c:v>341</c:v>
                </c:pt>
                <c:pt idx="19358">
                  <c:v>323</c:v>
                </c:pt>
                <c:pt idx="19359">
                  <c:v>280</c:v>
                </c:pt>
                <c:pt idx="19360">
                  <c:v>301</c:v>
                </c:pt>
                <c:pt idx="19361">
                  <c:v>307</c:v>
                </c:pt>
                <c:pt idx="19362">
                  <c:v>299</c:v>
                </c:pt>
                <c:pt idx="19363">
                  <c:v>314</c:v>
                </c:pt>
                <c:pt idx="19364">
                  <c:v>332</c:v>
                </c:pt>
                <c:pt idx="19365">
                  <c:v>245</c:v>
                </c:pt>
                <c:pt idx="19366">
                  <c:v>294</c:v>
                </c:pt>
                <c:pt idx="19367">
                  <c:v>271</c:v>
                </c:pt>
                <c:pt idx="19368">
                  <c:v>294</c:v>
                </c:pt>
                <c:pt idx="19369">
                  <c:v>218</c:v>
                </c:pt>
                <c:pt idx="19370">
                  <c:v>254</c:v>
                </c:pt>
                <c:pt idx="19371">
                  <c:v>224</c:v>
                </c:pt>
                <c:pt idx="19372">
                  <c:v>265</c:v>
                </c:pt>
                <c:pt idx="19373">
                  <c:v>228</c:v>
                </c:pt>
                <c:pt idx="19374">
                  <c:v>252</c:v>
                </c:pt>
                <c:pt idx="19375">
                  <c:v>219</c:v>
                </c:pt>
                <c:pt idx="19376">
                  <c:v>223</c:v>
                </c:pt>
                <c:pt idx="19377">
                  <c:v>248</c:v>
                </c:pt>
                <c:pt idx="19378">
                  <c:v>198</c:v>
                </c:pt>
                <c:pt idx="19379">
                  <c:v>240</c:v>
                </c:pt>
                <c:pt idx="19380">
                  <c:v>196</c:v>
                </c:pt>
                <c:pt idx="19381">
                  <c:v>229</c:v>
                </c:pt>
                <c:pt idx="19382">
                  <c:v>210</c:v>
                </c:pt>
                <c:pt idx="19383">
                  <c:v>202</c:v>
                </c:pt>
                <c:pt idx="19384">
                  <c:v>186</c:v>
                </c:pt>
                <c:pt idx="19385">
                  <c:v>145</c:v>
                </c:pt>
                <c:pt idx="19386">
                  <c:v>180</c:v>
                </c:pt>
                <c:pt idx="19387">
                  <c:v>180</c:v>
                </c:pt>
                <c:pt idx="19388">
                  <c:v>176</c:v>
                </c:pt>
                <c:pt idx="19389">
                  <c:v>165</c:v>
                </c:pt>
                <c:pt idx="19390">
                  <c:v>146</c:v>
                </c:pt>
                <c:pt idx="19391">
                  <c:v>160</c:v>
                </c:pt>
                <c:pt idx="19392">
                  <c:v>158</c:v>
                </c:pt>
                <c:pt idx="19393">
                  <c:v>181</c:v>
                </c:pt>
                <c:pt idx="19394">
                  <c:v>162</c:v>
                </c:pt>
                <c:pt idx="19395">
                  <c:v>183</c:v>
                </c:pt>
                <c:pt idx="19396">
                  <c:v>166</c:v>
                </c:pt>
                <c:pt idx="19397">
                  <c:v>148</c:v>
                </c:pt>
                <c:pt idx="19398">
                  <c:v>166</c:v>
                </c:pt>
                <c:pt idx="19399">
                  <c:v>135</c:v>
                </c:pt>
                <c:pt idx="19400">
                  <c:v>678</c:v>
                </c:pt>
                <c:pt idx="19401">
                  <c:v>751</c:v>
                </c:pt>
                <c:pt idx="19402">
                  <c:v>330</c:v>
                </c:pt>
                <c:pt idx="19403">
                  <c:v>396</c:v>
                </c:pt>
                <c:pt idx="19404">
                  <c:v>404</c:v>
                </c:pt>
                <c:pt idx="19405">
                  <c:v>545</c:v>
                </c:pt>
                <c:pt idx="19406">
                  <c:v>392</c:v>
                </c:pt>
                <c:pt idx="19407">
                  <c:v>421</c:v>
                </c:pt>
                <c:pt idx="19408">
                  <c:v>409</c:v>
                </c:pt>
                <c:pt idx="19409">
                  <c:v>400</c:v>
                </c:pt>
                <c:pt idx="19410">
                  <c:v>378</c:v>
                </c:pt>
                <c:pt idx="19411">
                  <c:v>424</c:v>
                </c:pt>
                <c:pt idx="19412">
                  <c:v>370</c:v>
                </c:pt>
                <c:pt idx="19413">
                  <c:v>387</c:v>
                </c:pt>
                <c:pt idx="19414">
                  <c:v>398</c:v>
                </c:pt>
                <c:pt idx="19415">
                  <c:v>405</c:v>
                </c:pt>
                <c:pt idx="19416">
                  <c:v>407</c:v>
                </c:pt>
                <c:pt idx="19417">
                  <c:v>400</c:v>
                </c:pt>
                <c:pt idx="19418">
                  <c:v>374</c:v>
                </c:pt>
                <c:pt idx="19419">
                  <c:v>445</c:v>
                </c:pt>
                <c:pt idx="19420">
                  <c:v>440</c:v>
                </c:pt>
                <c:pt idx="19421">
                  <c:v>463</c:v>
                </c:pt>
                <c:pt idx="19422">
                  <c:v>439</c:v>
                </c:pt>
                <c:pt idx="19423">
                  <c:v>462</c:v>
                </c:pt>
                <c:pt idx="19424">
                  <c:v>437</c:v>
                </c:pt>
                <c:pt idx="19425">
                  <c:v>425</c:v>
                </c:pt>
                <c:pt idx="19426">
                  <c:v>458</c:v>
                </c:pt>
                <c:pt idx="19427">
                  <c:v>432</c:v>
                </c:pt>
                <c:pt idx="19428">
                  <c:v>476</c:v>
                </c:pt>
                <c:pt idx="19429">
                  <c:v>421</c:v>
                </c:pt>
                <c:pt idx="19430">
                  <c:v>420</c:v>
                </c:pt>
                <c:pt idx="19431">
                  <c:v>440</c:v>
                </c:pt>
                <c:pt idx="19432">
                  <c:v>392</c:v>
                </c:pt>
                <c:pt idx="19433">
                  <c:v>389</c:v>
                </c:pt>
                <c:pt idx="19434">
                  <c:v>425</c:v>
                </c:pt>
                <c:pt idx="19435">
                  <c:v>345</c:v>
                </c:pt>
                <c:pt idx="19436">
                  <c:v>394</c:v>
                </c:pt>
                <c:pt idx="19437">
                  <c:v>379</c:v>
                </c:pt>
                <c:pt idx="19438">
                  <c:v>390</c:v>
                </c:pt>
                <c:pt idx="19439">
                  <c:v>371</c:v>
                </c:pt>
                <c:pt idx="19440">
                  <c:v>398</c:v>
                </c:pt>
                <c:pt idx="19441">
                  <c:v>310</c:v>
                </c:pt>
                <c:pt idx="19442">
                  <c:v>370</c:v>
                </c:pt>
                <c:pt idx="19443">
                  <c:v>377</c:v>
                </c:pt>
                <c:pt idx="19444">
                  <c:v>382</c:v>
                </c:pt>
                <c:pt idx="19445">
                  <c:v>316</c:v>
                </c:pt>
                <c:pt idx="19446">
                  <c:v>340</c:v>
                </c:pt>
                <c:pt idx="19447">
                  <c:v>309</c:v>
                </c:pt>
                <c:pt idx="19448">
                  <c:v>300</c:v>
                </c:pt>
                <c:pt idx="19449">
                  <c:v>239</c:v>
                </c:pt>
                <c:pt idx="19450">
                  <c:v>307</c:v>
                </c:pt>
                <c:pt idx="19451">
                  <c:v>244</c:v>
                </c:pt>
                <c:pt idx="19452">
                  <c:v>312</c:v>
                </c:pt>
                <c:pt idx="19453">
                  <c:v>225</c:v>
                </c:pt>
                <c:pt idx="19454">
                  <c:v>271</c:v>
                </c:pt>
                <c:pt idx="19455">
                  <c:v>207</c:v>
                </c:pt>
                <c:pt idx="19456">
                  <c:v>254</c:v>
                </c:pt>
                <c:pt idx="19457">
                  <c:v>291</c:v>
                </c:pt>
                <c:pt idx="19458">
                  <c:v>278</c:v>
                </c:pt>
                <c:pt idx="19459">
                  <c:v>272</c:v>
                </c:pt>
                <c:pt idx="19460">
                  <c:v>232</c:v>
                </c:pt>
                <c:pt idx="19461">
                  <c:v>216</c:v>
                </c:pt>
                <c:pt idx="19462">
                  <c:v>191</c:v>
                </c:pt>
                <c:pt idx="19463">
                  <c:v>204</c:v>
                </c:pt>
                <c:pt idx="19464">
                  <c:v>147</c:v>
                </c:pt>
                <c:pt idx="19465">
                  <c:v>163</c:v>
                </c:pt>
                <c:pt idx="19466">
                  <c:v>134</c:v>
                </c:pt>
                <c:pt idx="19467">
                  <c:v>159</c:v>
                </c:pt>
                <c:pt idx="19468">
                  <c:v>137</c:v>
                </c:pt>
                <c:pt idx="19469">
                  <c:v>145</c:v>
                </c:pt>
                <c:pt idx="19470">
                  <c:v>157</c:v>
                </c:pt>
                <c:pt idx="19471">
                  <c:v>129</c:v>
                </c:pt>
                <c:pt idx="19472">
                  <c:v>158</c:v>
                </c:pt>
                <c:pt idx="19473">
                  <c:v>729</c:v>
                </c:pt>
                <c:pt idx="19474">
                  <c:v>770</c:v>
                </c:pt>
                <c:pt idx="19475">
                  <c:v>700</c:v>
                </c:pt>
                <c:pt idx="19476">
                  <c:v>631</c:v>
                </c:pt>
                <c:pt idx="19477">
                  <c:v>609</c:v>
                </c:pt>
                <c:pt idx="19478">
                  <c:v>592</c:v>
                </c:pt>
                <c:pt idx="19479">
                  <c:v>561</c:v>
                </c:pt>
                <c:pt idx="19480">
                  <c:v>671</c:v>
                </c:pt>
                <c:pt idx="19481">
                  <c:v>666</c:v>
                </c:pt>
                <c:pt idx="19482">
                  <c:v>705</c:v>
                </c:pt>
                <c:pt idx="19483">
                  <c:v>683</c:v>
                </c:pt>
                <c:pt idx="19484">
                  <c:v>685</c:v>
                </c:pt>
                <c:pt idx="19485">
                  <c:v>688</c:v>
                </c:pt>
                <c:pt idx="19486">
                  <c:v>671</c:v>
                </c:pt>
                <c:pt idx="19487">
                  <c:v>686</c:v>
                </c:pt>
                <c:pt idx="19488">
                  <c:v>675</c:v>
                </c:pt>
                <c:pt idx="19489">
                  <c:v>707</c:v>
                </c:pt>
                <c:pt idx="19490">
                  <c:v>705</c:v>
                </c:pt>
                <c:pt idx="19491">
                  <c:v>733</c:v>
                </c:pt>
                <c:pt idx="19492">
                  <c:v>725</c:v>
                </c:pt>
                <c:pt idx="19493">
                  <c:v>689</c:v>
                </c:pt>
                <c:pt idx="19494">
                  <c:v>718</c:v>
                </c:pt>
                <c:pt idx="19495">
                  <c:v>703</c:v>
                </c:pt>
                <c:pt idx="19496">
                  <c:v>728</c:v>
                </c:pt>
                <c:pt idx="19497">
                  <c:v>711</c:v>
                </c:pt>
                <c:pt idx="19498">
                  <c:v>709</c:v>
                </c:pt>
                <c:pt idx="19499">
                  <c:v>729</c:v>
                </c:pt>
                <c:pt idx="19500">
                  <c:v>707</c:v>
                </c:pt>
                <c:pt idx="19501">
                  <c:v>730</c:v>
                </c:pt>
                <c:pt idx="19502">
                  <c:v>693</c:v>
                </c:pt>
                <c:pt idx="19503">
                  <c:v>720</c:v>
                </c:pt>
                <c:pt idx="19504">
                  <c:v>706</c:v>
                </c:pt>
                <c:pt idx="19505">
                  <c:v>707</c:v>
                </c:pt>
                <c:pt idx="19506">
                  <c:v>644</c:v>
                </c:pt>
                <c:pt idx="19507">
                  <c:v>618</c:v>
                </c:pt>
                <c:pt idx="19508">
                  <c:v>590</c:v>
                </c:pt>
                <c:pt idx="19509">
                  <c:v>544</c:v>
                </c:pt>
                <c:pt idx="19510">
                  <c:v>562</c:v>
                </c:pt>
                <c:pt idx="19511">
                  <c:v>577</c:v>
                </c:pt>
                <c:pt idx="19512">
                  <c:v>539</c:v>
                </c:pt>
                <c:pt idx="19513">
                  <c:v>560</c:v>
                </c:pt>
                <c:pt idx="19514">
                  <c:v>464</c:v>
                </c:pt>
                <c:pt idx="19515">
                  <c:v>443</c:v>
                </c:pt>
                <c:pt idx="19516">
                  <c:v>441</c:v>
                </c:pt>
                <c:pt idx="19517">
                  <c:v>428</c:v>
                </c:pt>
                <c:pt idx="19518">
                  <c:v>425</c:v>
                </c:pt>
                <c:pt idx="19519">
                  <c:v>419</c:v>
                </c:pt>
                <c:pt idx="19520">
                  <c:v>389</c:v>
                </c:pt>
                <c:pt idx="19521">
                  <c:v>351</c:v>
                </c:pt>
                <c:pt idx="19522">
                  <c:v>392</c:v>
                </c:pt>
                <c:pt idx="19523">
                  <c:v>324</c:v>
                </c:pt>
                <c:pt idx="19524">
                  <c:v>351</c:v>
                </c:pt>
                <c:pt idx="19525">
                  <c:v>330</c:v>
                </c:pt>
                <c:pt idx="19526">
                  <c:v>344</c:v>
                </c:pt>
                <c:pt idx="19527">
                  <c:v>289</c:v>
                </c:pt>
                <c:pt idx="19528">
                  <c:v>262</c:v>
                </c:pt>
                <c:pt idx="19529">
                  <c:v>243</c:v>
                </c:pt>
                <c:pt idx="19530">
                  <c:v>274</c:v>
                </c:pt>
                <c:pt idx="19531">
                  <c:v>256</c:v>
                </c:pt>
                <c:pt idx="19532">
                  <c:v>242</c:v>
                </c:pt>
                <c:pt idx="19533">
                  <c:v>257</c:v>
                </c:pt>
                <c:pt idx="19534">
                  <c:v>248</c:v>
                </c:pt>
                <c:pt idx="19535">
                  <c:v>272</c:v>
                </c:pt>
                <c:pt idx="19536">
                  <c:v>288</c:v>
                </c:pt>
                <c:pt idx="19537">
                  <c:v>296</c:v>
                </c:pt>
                <c:pt idx="19538">
                  <c:v>270</c:v>
                </c:pt>
                <c:pt idx="19539">
                  <c:v>262</c:v>
                </c:pt>
                <c:pt idx="19540">
                  <c:v>215</c:v>
                </c:pt>
                <c:pt idx="19541">
                  <c:v>200</c:v>
                </c:pt>
                <c:pt idx="19542">
                  <c:v>163</c:v>
                </c:pt>
                <c:pt idx="19543">
                  <c:v>200</c:v>
                </c:pt>
                <c:pt idx="19544">
                  <c:v>160</c:v>
                </c:pt>
                <c:pt idx="19545">
                  <c:v>212</c:v>
                </c:pt>
                <c:pt idx="19546">
                  <c:v>230</c:v>
                </c:pt>
                <c:pt idx="19547">
                  <c:v>287</c:v>
                </c:pt>
                <c:pt idx="19548">
                  <c:v>238</c:v>
                </c:pt>
                <c:pt idx="19549">
                  <c:v>217</c:v>
                </c:pt>
                <c:pt idx="19550">
                  <c:v>167</c:v>
                </c:pt>
                <c:pt idx="19551">
                  <c:v>160</c:v>
                </c:pt>
                <c:pt idx="19552">
                  <c:v>168</c:v>
                </c:pt>
                <c:pt idx="19553">
                  <c:v>191</c:v>
                </c:pt>
                <c:pt idx="19554">
                  <c:v>157</c:v>
                </c:pt>
                <c:pt idx="19555">
                  <c:v>222</c:v>
                </c:pt>
                <c:pt idx="19556">
                  <c:v>220</c:v>
                </c:pt>
                <c:pt idx="19557">
                  <c:v>234</c:v>
                </c:pt>
                <c:pt idx="19558">
                  <c:v>217</c:v>
                </c:pt>
                <c:pt idx="19559">
                  <c:v>211</c:v>
                </c:pt>
                <c:pt idx="19560">
                  <c:v>186</c:v>
                </c:pt>
                <c:pt idx="19561">
                  <c:v>199</c:v>
                </c:pt>
                <c:pt idx="19562">
                  <c:v>201</c:v>
                </c:pt>
                <c:pt idx="19563">
                  <c:v>209</c:v>
                </c:pt>
                <c:pt idx="19564">
                  <c:v>213</c:v>
                </c:pt>
                <c:pt idx="19565">
                  <c:v>190</c:v>
                </c:pt>
                <c:pt idx="19566">
                  <c:v>209</c:v>
                </c:pt>
                <c:pt idx="19567">
                  <c:v>203</c:v>
                </c:pt>
                <c:pt idx="19568">
                  <c:v>228</c:v>
                </c:pt>
                <c:pt idx="19569">
                  <c:v>697</c:v>
                </c:pt>
                <c:pt idx="19570">
                  <c:v>674</c:v>
                </c:pt>
                <c:pt idx="19571">
                  <c:v>426</c:v>
                </c:pt>
                <c:pt idx="19572">
                  <c:v>433</c:v>
                </c:pt>
                <c:pt idx="19573">
                  <c:v>461</c:v>
                </c:pt>
                <c:pt idx="19574">
                  <c:v>520</c:v>
                </c:pt>
                <c:pt idx="19575">
                  <c:v>505</c:v>
                </c:pt>
                <c:pt idx="19576">
                  <c:v>532</c:v>
                </c:pt>
                <c:pt idx="19577">
                  <c:v>533</c:v>
                </c:pt>
                <c:pt idx="19578">
                  <c:v>548</c:v>
                </c:pt>
                <c:pt idx="19579">
                  <c:v>597</c:v>
                </c:pt>
                <c:pt idx="19580">
                  <c:v>610</c:v>
                </c:pt>
                <c:pt idx="19581">
                  <c:v>649</c:v>
                </c:pt>
                <c:pt idx="19582">
                  <c:v>665</c:v>
                </c:pt>
                <c:pt idx="19583">
                  <c:v>663</c:v>
                </c:pt>
                <c:pt idx="19584">
                  <c:v>698</c:v>
                </c:pt>
                <c:pt idx="19585">
                  <c:v>667</c:v>
                </c:pt>
                <c:pt idx="19586">
                  <c:v>660</c:v>
                </c:pt>
                <c:pt idx="19587">
                  <c:v>672</c:v>
                </c:pt>
                <c:pt idx="19588">
                  <c:v>668</c:v>
                </c:pt>
                <c:pt idx="19589">
                  <c:v>671</c:v>
                </c:pt>
                <c:pt idx="19590">
                  <c:v>648</c:v>
                </c:pt>
                <c:pt idx="19591">
                  <c:v>671</c:v>
                </c:pt>
                <c:pt idx="19592">
                  <c:v>693</c:v>
                </c:pt>
                <c:pt idx="19593">
                  <c:v>702</c:v>
                </c:pt>
                <c:pt idx="19594">
                  <c:v>664</c:v>
                </c:pt>
                <c:pt idx="19595">
                  <c:v>649</c:v>
                </c:pt>
                <c:pt idx="19596">
                  <c:v>687</c:v>
                </c:pt>
                <c:pt idx="19597">
                  <c:v>651</c:v>
                </c:pt>
                <c:pt idx="19598">
                  <c:v>660</c:v>
                </c:pt>
                <c:pt idx="19599">
                  <c:v>616</c:v>
                </c:pt>
                <c:pt idx="19600">
                  <c:v>639</c:v>
                </c:pt>
                <c:pt idx="19601">
                  <c:v>610</c:v>
                </c:pt>
                <c:pt idx="19602">
                  <c:v>569</c:v>
                </c:pt>
                <c:pt idx="19603">
                  <c:v>580</c:v>
                </c:pt>
                <c:pt idx="19604">
                  <c:v>483</c:v>
                </c:pt>
                <c:pt idx="19605">
                  <c:v>529</c:v>
                </c:pt>
                <c:pt idx="19606">
                  <c:v>455</c:v>
                </c:pt>
                <c:pt idx="19607">
                  <c:v>492</c:v>
                </c:pt>
                <c:pt idx="19608">
                  <c:v>483</c:v>
                </c:pt>
                <c:pt idx="19609">
                  <c:v>458</c:v>
                </c:pt>
                <c:pt idx="19610">
                  <c:v>412</c:v>
                </c:pt>
                <c:pt idx="19611">
                  <c:v>421</c:v>
                </c:pt>
                <c:pt idx="19612">
                  <c:v>375</c:v>
                </c:pt>
                <c:pt idx="19613">
                  <c:v>436</c:v>
                </c:pt>
                <c:pt idx="19614">
                  <c:v>352</c:v>
                </c:pt>
                <c:pt idx="19615">
                  <c:v>371</c:v>
                </c:pt>
                <c:pt idx="19616">
                  <c:v>327</c:v>
                </c:pt>
                <c:pt idx="19617">
                  <c:v>310</c:v>
                </c:pt>
                <c:pt idx="19618">
                  <c:v>312</c:v>
                </c:pt>
                <c:pt idx="19619">
                  <c:v>292</c:v>
                </c:pt>
                <c:pt idx="19620">
                  <c:v>339</c:v>
                </c:pt>
                <c:pt idx="19621">
                  <c:v>270</c:v>
                </c:pt>
                <c:pt idx="19622">
                  <c:v>320</c:v>
                </c:pt>
                <c:pt idx="19623">
                  <c:v>287</c:v>
                </c:pt>
                <c:pt idx="19624">
                  <c:v>237</c:v>
                </c:pt>
                <c:pt idx="19625">
                  <c:v>248</c:v>
                </c:pt>
                <c:pt idx="19626">
                  <c:v>242</c:v>
                </c:pt>
                <c:pt idx="19627">
                  <c:v>292</c:v>
                </c:pt>
                <c:pt idx="19628">
                  <c:v>226</c:v>
                </c:pt>
                <c:pt idx="19629">
                  <c:v>289</c:v>
                </c:pt>
                <c:pt idx="19630">
                  <c:v>268</c:v>
                </c:pt>
                <c:pt idx="19631">
                  <c:v>248</c:v>
                </c:pt>
                <c:pt idx="19632">
                  <c:v>299</c:v>
                </c:pt>
                <c:pt idx="19633">
                  <c:v>303</c:v>
                </c:pt>
                <c:pt idx="19634">
                  <c:v>260</c:v>
                </c:pt>
                <c:pt idx="19635">
                  <c:v>327</c:v>
                </c:pt>
                <c:pt idx="19636">
                  <c:v>198</c:v>
                </c:pt>
                <c:pt idx="19637">
                  <c:v>214</c:v>
                </c:pt>
                <c:pt idx="19638">
                  <c:v>184</c:v>
                </c:pt>
                <c:pt idx="19639">
                  <c:v>158</c:v>
                </c:pt>
                <c:pt idx="19640">
                  <c:v>190</c:v>
                </c:pt>
                <c:pt idx="19641">
                  <c:v>209</c:v>
                </c:pt>
                <c:pt idx="19642">
                  <c:v>228</c:v>
                </c:pt>
                <c:pt idx="19643">
                  <c:v>283</c:v>
                </c:pt>
                <c:pt idx="19644">
                  <c:v>225</c:v>
                </c:pt>
                <c:pt idx="19645">
                  <c:v>213</c:v>
                </c:pt>
                <c:pt idx="19646">
                  <c:v>209</c:v>
                </c:pt>
                <c:pt idx="19647">
                  <c:v>229</c:v>
                </c:pt>
                <c:pt idx="19648">
                  <c:v>227</c:v>
                </c:pt>
                <c:pt idx="19649">
                  <c:v>224</c:v>
                </c:pt>
                <c:pt idx="19650">
                  <c:v>227</c:v>
                </c:pt>
                <c:pt idx="19651">
                  <c:v>262</c:v>
                </c:pt>
                <c:pt idx="19652">
                  <c:v>269</c:v>
                </c:pt>
                <c:pt idx="19653">
                  <c:v>277</c:v>
                </c:pt>
                <c:pt idx="19654">
                  <c:v>255</c:v>
                </c:pt>
                <c:pt idx="19655">
                  <c:v>284</c:v>
                </c:pt>
                <c:pt idx="19656">
                  <c:v>250</c:v>
                </c:pt>
                <c:pt idx="19657">
                  <c:v>244</c:v>
                </c:pt>
                <c:pt idx="19658">
                  <c:v>199</c:v>
                </c:pt>
                <c:pt idx="19659">
                  <c:v>204</c:v>
                </c:pt>
                <c:pt idx="19660">
                  <c:v>214</c:v>
                </c:pt>
                <c:pt idx="19661">
                  <c:v>216</c:v>
                </c:pt>
                <c:pt idx="19662">
                  <c:v>206</c:v>
                </c:pt>
                <c:pt idx="19663">
                  <c:v>562</c:v>
                </c:pt>
                <c:pt idx="19664">
                  <c:v>504</c:v>
                </c:pt>
                <c:pt idx="19665">
                  <c:v>483</c:v>
                </c:pt>
                <c:pt idx="19666">
                  <c:v>391</c:v>
                </c:pt>
                <c:pt idx="19667">
                  <c:v>356</c:v>
                </c:pt>
                <c:pt idx="19668">
                  <c:v>406</c:v>
                </c:pt>
                <c:pt idx="19669">
                  <c:v>454</c:v>
                </c:pt>
                <c:pt idx="19670">
                  <c:v>525</c:v>
                </c:pt>
                <c:pt idx="19671">
                  <c:v>503</c:v>
                </c:pt>
                <c:pt idx="19672">
                  <c:v>486</c:v>
                </c:pt>
                <c:pt idx="19673">
                  <c:v>520</c:v>
                </c:pt>
                <c:pt idx="19674">
                  <c:v>558</c:v>
                </c:pt>
                <c:pt idx="19675">
                  <c:v>548</c:v>
                </c:pt>
                <c:pt idx="19676">
                  <c:v>536</c:v>
                </c:pt>
                <c:pt idx="19677">
                  <c:v>574</c:v>
                </c:pt>
                <c:pt idx="19678">
                  <c:v>628</c:v>
                </c:pt>
                <c:pt idx="19679">
                  <c:v>633</c:v>
                </c:pt>
                <c:pt idx="19680">
                  <c:v>657</c:v>
                </c:pt>
                <c:pt idx="19681">
                  <c:v>629</c:v>
                </c:pt>
                <c:pt idx="19682">
                  <c:v>663</c:v>
                </c:pt>
                <c:pt idx="19683">
                  <c:v>667</c:v>
                </c:pt>
                <c:pt idx="19684">
                  <c:v>624</c:v>
                </c:pt>
                <c:pt idx="19685">
                  <c:v>663</c:v>
                </c:pt>
                <c:pt idx="19686">
                  <c:v>634</c:v>
                </c:pt>
                <c:pt idx="19687">
                  <c:v>662</c:v>
                </c:pt>
                <c:pt idx="19688">
                  <c:v>675</c:v>
                </c:pt>
                <c:pt idx="19689">
                  <c:v>672</c:v>
                </c:pt>
                <c:pt idx="19690">
                  <c:v>701</c:v>
                </c:pt>
                <c:pt idx="19691">
                  <c:v>643</c:v>
                </c:pt>
                <c:pt idx="19692">
                  <c:v>684</c:v>
                </c:pt>
                <c:pt idx="19693">
                  <c:v>656</c:v>
                </c:pt>
                <c:pt idx="19694">
                  <c:v>655</c:v>
                </c:pt>
                <c:pt idx="19695">
                  <c:v>665</c:v>
                </c:pt>
                <c:pt idx="19696">
                  <c:v>641</c:v>
                </c:pt>
                <c:pt idx="19697">
                  <c:v>655</c:v>
                </c:pt>
                <c:pt idx="19698">
                  <c:v>634</c:v>
                </c:pt>
                <c:pt idx="19699">
                  <c:v>638</c:v>
                </c:pt>
                <c:pt idx="19700">
                  <c:v>591</c:v>
                </c:pt>
                <c:pt idx="19701">
                  <c:v>570</c:v>
                </c:pt>
                <c:pt idx="19702">
                  <c:v>575</c:v>
                </c:pt>
                <c:pt idx="19703">
                  <c:v>627</c:v>
                </c:pt>
                <c:pt idx="19704">
                  <c:v>560</c:v>
                </c:pt>
                <c:pt idx="19705">
                  <c:v>609</c:v>
                </c:pt>
                <c:pt idx="19706">
                  <c:v>490</c:v>
                </c:pt>
                <c:pt idx="19707">
                  <c:v>475</c:v>
                </c:pt>
                <c:pt idx="19708">
                  <c:v>392</c:v>
                </c:pt>
                <c:pt idx="19709">
                  <c:v>441</c:v>
                </c:pt>
                <c:pt idx="19710">
                  <c:v>437</c:v>
                </c:pt>
                <c:pt idx="19711">
                  <c:v>425</c:v>
                </c:pt>
                <c:pt idx="19712">
                  <c:v>453</c:v>
                </c:pt>
                <c:pt idx="19713">
                  <c:v>386</c:v>
                </c:pt>
                <c:pt idx="19714">
                  <c:v>356</c:v>
                </c:pt>
                <c:pt idx="19715">
                  <c:v>397</c:v>
                </c:pt>
                <c:pt idx="19716">
                  <c:v>305</c:v>
                </c:pt>
                <c:pt idx="19717">
                  <c:v>337</c:v>
                </c:pt>
                <c:pt idx="19718">
                  <c:v>298</c:v>
                </c:pt>
                <c:pt idx="19719">
                  <c:v>300</c:v>
                </c:pt>
                <c:pt idx="19720">
                  <c:v>309</c:v>
                </c:pt>
                <c:pt idx="19721">
                  <c:v>320</c:v>
                </c:pt>
                <c:pt idx="19722">
                  <c:v>251</c:v>
                </c:pt>
                <c:pt idx="19723">
                  <c:v>322</c:v>
                </c:pt>
                <c:pt idx="19724">
                  <c:v>271</c:v>
                </c:pt>
                <c:pt idx="19725">
                  <c:v>292</c:v>
                </c:pt>
                <c:pt idx="19726">
                  <c:v>223</c:v>
                </c:pt>
                <c:pt idx="19727">
                  <c:v>270</c:v>
                </c:pt>
                <c:pt idx="19728">
                  <c:v>282</c:v>
                </c:pt>
                <c:pt idx="19729">
                  <c:v>345</c:v>
                </c:pt>
                <c:pt idx="19730">
                  <c:v>330</c:v>
                </c:pt>
                <c:pt idx="19731">
                  <c:v>304</c:v>
                </c:pt>
                <c:pt idx="19732">
                  <c:v>296</c:v>
                </c:pt>
                <c:pt idx="19733">
                  <c:v>250</c:v>
                </c:pt>
                <c:pt idx="19734">
                  <c:v>266</c:v>
                </c:pt>
                <c:pt idx="19735">
                  <c:v>266</c:v>
                </c:pt>
                <c:pt idx="19736">
                  <c:v>273</c:v>
                </c:pt>
                <c:pt idx="19737">
                  <c:v>270</c:v>
                </c:pt>
                <c:pt idx="19738">
                  <c:v>236</c:v>
                </c:pt>
                <c:pt idx="19739">
                  <c:v>237</c:v>
                </c:pt>
                <c:pt idx="19740">
                  <c:v>255</c:v>
                </c:pt>
                <c:pt idx="19741">
                  <c:v>241</c:v>
                </c:pt>
                <c:pt idx="19742">
                  <c:v>234</c:v>
                </c:pt>
                <c:pt idx="19743">
                  <c:v>239</c:v>
                </c:pt>
                <c:pt idx="19744">
                  <c:v>241</c:v>
                </c:pt>
                <c:pt idx="19745">
                  <c:v>244</c:v>
                </c:pt>
                <c:pt idx="19746">
                  <c:v>160</c:v>
                </c:pt>
                <c:pt idx="19747">
                  <c:v>215</c:v>
                </c:pt>
                <c:pt idx="19748">
                  <c:v>211</c:v>
                </c:pt>
                <c:pt idx="19749">
                  <c:v>232</c:v>
                </c:pt>
                <c:pt idx="19750">
                  <c:v>237</c:v>
                </c:pt>
                <c:pt idx="19751">
                  <c:v>205</c:v>
                </c:pt>
                <c:pt idx="19752">
                  <c:v>215</c:v>
                </c:pt>
                <c:pt idx="19753">
                  <c:v>230</c:v>
                </c:pt>
                <c:pt idx="19754">
                  <c:v>239</c:v>
                </c:pt>
                <c:pt idx="19755">
                  <c:v>233</c:v>
                </c:pt>
                <c:pt idx="19756">
                  <c:v>220</c:v>
                </c:pt>
                <c:pt idx="19757">
                  <c:v>247</c:v>
                </c:pt>
                <c:pt idx="19758">
                  <c:v>250</c:v>
                </c:pt>
                <c:pt idx="19759">
                  <c:v>247</c:v>
                </c:pt>
                <c:pt idx="19760">
                  <c:v>529</c:v>
                </c:pt>
                <c:pt idx="19761">
                  <c:v>511</c:v>
                </c:pt>
                <c:pt idx="19762">
                  <c:v>613</c:v>
                </c:pt>
                <c:pt idx="19763">
                  <c:v>433</c:v>
                </c:pt>
                <c:pt idx="19764">
                  <c:v>447</c:v>
                </c:pt>
                <c:pt idx="19765">
                  <c:v>486</c:v>
                </c:pt>
                <c:pt idx="19766">
                  <c:v>481</c:v>
                </c:pt>
                <c:pt idx="19767">
                  <c:v>486</c:v>
                </c:pt>
                <c:pt idx="19768">
                  <c:v>542</c:v>
                </c:pt>
                <c:pt idx="19769">
                  <c:v>546</c:v>
                </c:pt>
                <c:pt idx="19770">
                  <c:v>576</c:v>
                </c:pt>
                <c:pt idx="19771">
                  <c:v>617</c:v>
                </c:pt>
                <c:pt idx="19772">
                  <c:v>635</c:v>
                </c:pt>
                <c:pt idx="19773">
                  <c:v>628</c:v>
                </c:pt>
                <c:pt idx="19774">
                  <c:v>647</c:v>
                </c:pt>
                <c:pt idx="19775">
                  <c:v>666</c:v>
                </c:pt>
                <c:pt idx="19776">
                  <c:v>666</c:v>
                </c:pt>
                <c:pt idx="19777">
                  <c:v>671</c:v>
                </c:pt>
                <c:pt idx="19778">
                  <c:v>634</c:v>
                </c:pt>
                <c:pt idx="19779">
                  <c:v>654</c:v>
                </c:pt>
                <c:pt idx="19780">
                  <c:v>659</c:v>
                </c:pt>
                <c:pt idx="19781">
                  <c:v>645</c:v>
                </c:pt>
                <c:pt idx="19782">
                  <c:v>613</c:v>
                </c:pt>
                <c:pt idx="19783">
                  <c:v>639</c:v>
                </c:pt>
                <c:pt idx="19784">
                  <c:v>659</c:v>
                </c:pt>
                <c:pt idx="19785">
                  <c:v>625</c:v>
                </c:pt>
                <c:pt idx="19786">
                  <c:v>640</c:v>
                </c:pt>
                <c:pt idx="19787">
                  <c:v>649</c:v>
                </c:pt>
                <c:pt idx="19788">
                  <c:v>619</c:v>
                </c:pt>
                <c:pt idx="19789">
                  <c:v>627</c:v>
                </c:pt>
                <c:pt idx="19790">
                  <c:v>647</c:v>
                </c:pt>
                <c:pt idx="19791">
                  <c:v>605</c:v>
                </c:pt>
                <c:pt idx="19792">
                  <c:v>657</c:v>
                </c:pt>
                <c:pt idx="19793">
                  <c:v>619</c:v>
                </c:pt>
                <c:pt idx="19794">
                  <c:v>554</c:v>
                </c:pt>
                <c:pt idx="19795">
                  <c:v>575</c:v>
                </c:pt>
                <c:pt idx="19796">
                  <c:v>509</c:v>
                </c:pt>
                <c:pt idx="19797">
                  <c:v>533</c:v>
                </c:pt>
                <c:pt idx="19798">
                  <c:v>507</c:v>
                </c:pt>
                <c:pt idx="19799">
                  <c:v>491</c:v>
                </c:pt>
                <c:pt idx="19800">
                  <c:v>489</c:v>
                </c:pt>
                <c:pt idx="19801">
                  <c:v>427</c:v>
                </c:pt>
                <c:pt idx="19802">
                  <c:v>430</c:v>
                </c:pt>
                <c:pt idx="19803">
                  <c:v>426</c:v>
                </c:pt>
                <c:pt idx="19804">
                  <c:v>375</c:v>
                </c:pt>
                <c:pt idx="19805">
                  <c:v>387</c:v>
                </c:pt>
                <c:pt idx="19806">
                  <c:v>381</c:v>
                </c:pt>
                <c:pt idx="19807">
                  <c:v>369</c:v>
                </c:pt>
                <c:pt idx="19808">
                  <c:v>371</c:v>
                </c:pt>
                <c:pt idx="19809">
                  <c:v>324</c:v>
                </c:pt>
                <c:pt idx="19810">
                  <c:v>362</c:v>
                </c:pt>
                <c:pt idx="19811">
                  <c:v>316</c:v>
                </c:pt>
                <c:pt idx="19812">
                  <c:v>368</c:v>
                </c:pt>
                <c:pt idx="19813">
                  <c:v>297</c:v>
                </c:pt>
                <c:pt idx="19814">
                  <c:v>309</c:v>
                </c:pt>
                <c:pt idx="19815">
                  <c:v>281</c:v>
                </c:pt>
                <c:pt idx="19816">
                  <c:v>253</c:v>
                </c:pt>
                <c:pt idx="19817">
                  <c:v>302</c:v>
                </c:pt>
                <c:pt idx="19818">
                  <c:v>235</c:v>
                </c:pt>
                <c:pt idx="19819">
                  <c:v>259</c:v>
                </c:pt>
                <c:pt idx="19820">
                  <c:v>248</c:v>
                </c:pt>
                <c:pt idx="19821">
                  <c:v>247</c:v>
                </c:pt>
                <c:pt idx="19822">
                  <c:v>248</c:v>
                </c:pt>
                <c:pt idx="19823">
                  <c:v>217</c:v>
                </c:pt>
                <c:pt idx="19824">
                  <c:v>268</c:v>
                </c:pt>
                <c:pt idx="19825">
                  <c:v>252</c:v>
                </c:pt>
                <c:pt idx="19826">
                  <c:v>257</c:v>
                </c:pt>
                <c:pt idx="19827">
                  <c:v>254</c:v>
                </c:pt>
                <c:pt idx="19828">
                  <c:v>237</c:v>
                </c:pt>
                <c:pt idx="19829">
                  <c:v>237</c:v>
                </c:pt>
                <c:pt idx="19830">
                  <c:v>240</c:v>
                </c:pt>
                <c:pt idx="19831">
                  <c:v>235</c:v>
                </c:pt>
                <c:pt idx="19832">
                  <c:v>220</c:v>
                </c:pt>
                <c:pt idx="19833">
                  <c:v>282</c:v>
                </c:pt>
                <c:pt idx="19834">
                  <c:v>273</c:v>
                </c:pt>
                <c:pt idx="19835">
                  <c:v>322</c:v>
                </c:pt>
                <c:pt idx="19836">
                  <c:v>289</c:v>
                </c:pt>
                <c:pt idx="19837">
                  <c:v>281</c:v>
                </c:pt>
                <c:pt idx="19838">
                  <c:v>422</c:v>
                </c:pt>
                <c:pt idx="19839">
                  <c:v>346</c:v>
                </c:pt>
                <c:pt idx="19840">
                  <c:v>410</c:v>
                </c:pt>
                <c:pt idx="19841">
                  <c:v>310</c:v>
                </c:pt>
                <c:pt idx="19842">
                  <c:v>284</c:v>
                </c:pt>
                <c:pt idx="19843">
                  <c:v>366</c:v>
                </c:pt>
                <c:pt idx="19844">
                  <c:v>367</c:v>
                </c:pt>
                <c:pt idx="19845">
                  <c:v>425</c:v>
                </c:pt>
                <c:pt idx="19846">
                  <c:v>398</c:v>
                </c:pt>
                <c:pt idx="19847">
                  <c:v>472</c:v>
                </c:pt>
                <c:pt idx="19848">
                  <c:v>391</c:v>
                </c:pt>
                <c:pt idx="19849">
                  <c:v>390</c:v>
                </c:pt>
                <c:pt idx="19850">
                  <c:v>373</c:v>
                </c:pt>
                <c:pt idx="19851">
                  <c:v>482</c:v>
                </c:pt>
                <c:pt idx="19852">
                  <c:v>422</c:v>
                </c:pt>
                <c:pt idx="19853">
                  <c:v>376</c:v>
                </c:pt>
                <c:pt idx="19854">
                  <c:v>404</c:v>
                </c:pt>
                <c:pt idx="19855">
                  <c:v>407</c:v>
                </c:pt>
                <c:pt idx="19856">
                  <c:v>438</c:v>
                </c:pt>
                <c:pt idx="19857">
                  <c:v>470</c:v>
                </c:pt>
                <c:pt idx="19858">
                  <c:v>429</c:v>
                </c:pt>
                <c:pt idx="19859">
                  <c:v>451</c:v>
                </c:pt>
                <c:pt idx="19860">
                  <c:v>466</c:v>
                </c:pt>
                <c:pt idx="19861">
                  <c:v>401</c:v>
                </c:pt>
                <c:pt idx="19862">
                  <c:v>504</c:v>
                </c:pt>
                <c:pt idx="19863">
                  <c:v>479</c:v>
                </c:pt>
                <c:pt idx="19864">
                  <c:v>460</c:v>
                </c:pt>
                <c:pt idx="19865">
                  <c:v>462</c:v>
                </c:pt>
                <c:pt idx="19866">
                  <c:v>506</c:v>
                </c:pt>
                <c:pt idx="19867">
                  <c:v>533</c:v>
                </c:pt>
                <c:pt idx="19868">
                  <c:v>483</c:v>
                </c:pt>
                <c:pt idx="19869">
                  <c:v>520</c:v>
                </c:pt>
                <c:pt idx="19870">
                  <c:v>542</c:v>
                </c:pt>
                <c:pt idx="19871">
                  <c:v>531</c:v>
                </c:pt>
                <c:pt idx="19872">
                  <c:v>518</c:v>
                </c:pt>
                <c:pt idx="19873">
                  <c:v>542</c:v>
                </c:pt>
                <c:pt idx="19874">
                  <c:v>564</c:v>
                </c:pt>
                <c:pt idx="19875">
                  <c:v>528</c:v>
                </c:pt>
                <c:pt idx="19876">
                  <c:v>557</c:v>
                </c:pt>
                <c:pt idx="19877">
                  <c:v>538</c:v>
                </c:pt>
                <c:pt idx="19878">
                  <c:v>562</c:v>
                </c:pt>
                <c:pt idx="19879">
                  <c:v>529</c:v>
                </c:pt>
                <c:pt idx="19880">
                  <c:v>540</c:v>
                </c:pt>
                <c:pt idx="19881">
                  <c:v>554</c:v>
                </c:pt>
                <c:pt idx="19882">
                  <c:v>533</c:v>
                </c:pt>
                <c:pt idx="19883">
                  <c:v>542</c:v>
                </c:pt>
                <c:pt idx="19884">
                  <c:v>544</c:v>
                </c:pt>
                <c:pt idx="19885">
                  <c:v>517</c:v>
                </c:pt>
                <c:pt idx="19886">
                  <c:v>504</c:v>
                </c:pt>
                <c:pt idx="19887">
                  <c:v>514</c:v>
                </c:pt>
                <c:pt idx="19888">
                  <c:v>512</c:v>
                </c:pt>
                <c:pt idx="19889">
                  <c:v>515</c:v>
                </c:pt>
                <c:pt idx="19890">
                  <c:v>435</c:v>
                </c:pt>
                <c:pt idx="19891">
                  <c:v>374</c:v>
                </c:pt>
                <c:pt idx="19892">
                  <c:v>353</c:v>
                </c:pt>
                <c:pt idx="19893">
                  <c:v>271</c:v>
                </c:pt>
                <c:pt idx="19894">
                  <c:v>307</c:v>
                </c:pt>
                <c:pt idx="19895">
                  <c:v>262</c:v>
                </c:pt>
                <c:pt idx="19896">
                  <c:v>282</c:v>
                </c:pt>
                <c:pt idx="19897">
                  <c:v>252</c:v>
                </c:pt>
                <c:pt idx="19898">
                  <c:v>241</c:v>
                </c:pt>
                <c:pt idx="19899">
                  <c:v>240</c:v>
                </c:pt>
                <c:pt idx="19900">
                  <c:v>244</c:v>
                </c:pt>
                <c:pt idx="19901">
                  <c:v>227</c:v>
                </c:pt>
                <c:pt idx="19902">
                  <c:v>238</c:v>
                </c:pt>
                <c:pt idx="19903">
                  <c:v>250</c:v>
                </c:pt>
                <c:pt idx="19904">
                  <c:v>273</c:v>
                </c:pt>
                <c:pt idx="19905">
                  <c:v>227</c:v>
                </c:pt>
                <c:pt idx="19906">
                  <c:v>225</c:v>
                </c:pt>
                <c:pt idx="19907">
                  <c:v>199</c:v>
                </c:pt>
                <c:pt idx="19908">
                  <c:v>247</c:v>
                </c:pt>
                <c:pt idx="19909">
                  <c:v>171</c:v>
                </c:pt>
                <c:pt idx="19910">
                  <c:v>127</c:v>
                </c:pt>
                <c:pt idx="19911">
                  <c:v>144</c:v>
                </c:pt>
                <c:pt idx="19912">
                  <c:v>143</c:v>
                </c:pt>
                <c:pt idx="19913">
                  <c:v>131</c:v>
                </c:pt>
                <c:pt idx="19914">
                  <c:v>158</c:v>
                </c:pt>
                <c:pt idx="19915">
                  <c:v>151</c:v>
                </c:pt>
                <c:pt idx="19916">
                  <c:v>135</c:v>
                </c:pt>
                <c:pt idx="19917">
                  <c:v>767</c:v>
                </c:pt>
                <c:pt idx="19918">
                  <c:v>734</c:v>
                </c:pt>
                <c:pt idx="19919">
                  <c:v>594</c:v>
                </c:pt>
                <c:pt idx="19920">
                  <c:v>459</c:v>
                </c:pt>
                <c:pt idx="19921">
                  <c:v>390</c:v>
                </c:pt>
                <c:pt idx="19922">
                  <c:v>342</c:v>
                </c:pt>
                <c:pt idx="19923">
                  <c:v>335</c:v>
                </c:pt>
                <c:pt idx="19924">
                  <c:v>328</c:v>
                </c:pt>
                <c:pt idx="19925">
                  <c:v>320</c:v>
                </c:pt>
                <c:pt idx="19926">
                  <c:v>335</c:v>
                </c:pt>
                <c:pt idx="19927">
                  <c:v>348</c:v>
                </c:pt>
                <c:pt idx="19928">
                  <c:v>335</c:v>
                </c:pt>
                <c:pt idx="19929">
                  <c:v>335</c:v>
                </c:pt>
                <c:pt idx="19930">
                  <c:v>320</c:v>
                </c:pt>
                <c:pt idx="19931">
                  <c:v>334</c:v>
                </c:pt>
                <c:pt idx="19932">
                  <c:v>327</c:v>
                </c:pt>
                <c:pt idx="19933">
                  <c:v>320</c:v>
                </c:pt>
                <c:pt idx="19934">
                  <c:v>335</c:v>
                </c:pt>
                <c:pt idx="19935">
                  <c:v>320</c:v>
                </c:pt>
                <c:pt idx="19936">
                  <c:v>295</c:v>
                </c:pt>
                <c:pt idx="19937">
                  <c:v>290</c:v>
                </c:pt>
                <c:pt idx="19938">
                  <c:v>300</c:v>
                </c:pt>
                <c:pt idx="19939">
                  <c:v>299</c:v>
                </c:pt>
                <c:pt idx="19940">
                  <c:v>306</c:v>
                </c:pt>
                <c:pt idx="19941">
                  <c:v>311</c:v>
                </c:pt>
                <c:pt idx="19942">
                  <c:v>301</c:v>
                </c:pt>
                <c:pt idx="19943">
                  <c:v>289</c:v>
                </c:pt>
                <c:pt idx="19944">
                  <c:v>289</c:v>
                </c:pt>
                <c:pt idx="19945">
                  <c:v>288</c:v>
                </c:pt>
                <c:pt idx="19946">
                  <c:v>308</c:v>
                </c:pt>
                <c:pt idx="19947">
                  <c:v>274</c:v>
                </c:pt>
                <c:pt idx="19948">
                  <c:v>306</c:v>
                </c:pt>
                <c:pt idx="19949">
                  <c:v>301</c:v>
                </c:pt>
                <c:pt idx="19950">
                  <c:v>316</c:v>
                </c:pt>
                <c:pt idx="19951">
                  <c:v>261</c:v>
                </c:pt>
                <c:pt idx="19952">
                  <c:v>276</c:v>
                </c:pt>
                <c:pt idx="19953">
                  <c:v>315</c:v>
                </c:pt>
                <c:pt idx="19954">
                  <c:v>259</c:v>
                </c:pt>
                <c:pt idx="19955">
                  <c:v>279</c:v>
                </c:pt>
                <c:pt idx="19956">
                  <c:v>253</c:v>
                </c:pt>
                <c:pt idx="19957">
                  <c:v>256</c:v>
                </c:pt>
                <c:pt idx="19958">
                  <c:v>227</c:v>
                </c:pt>
                <c:pt idx="19959">
                  <c:v>257</c:v>
                </c:pt>
                <c:pt idx="19960">
                  <c:v>239</c:v>
                </c:pt>
                <c:pt idx="19961">
                  <c:v>228</c:v>
                </c:pt>
                <c:pt idx="19962">
                  <c:v>176</c:v>
                </c:pt>
                <c:pt idx="19963">
                  <c:v>160</c:v>
                </c:pt>
                <c:pt idx="19964">
                  <c:v>123</c:v>
                </c:pt>
                <c:pt idx="19965">
                  <c:v>124</c:v>
                </c:pt>
                <c:pt idx="19966">
                  <c:v>113</c:v>
                </c:pt>
                <c:pt idx="19967">
                  <c:v>110</c:v>
                </c:pt>
                <c:pt idx="19968">
                  <c:v>103</c:v>
                </c:pt>
                <c:pt idx="19969">
                  <c:v>108</c:v>
                </c:pt>
                <c:pt idx="19970">
                  <c:v>111</c:v>
                </c:pt>
                <c:pt idx="19971">
                  <c:v>70</c:v>
                </c:pt>
                <c:pt idx="19972">
                  <c:v>770</c:v>
                </c:pt>
                <c:pt idx="19973">
                  <c:v>647</c:v>
                </c:pt>
                <c:pt idx="19974">
                  <c:v>334</c:v>
                </c:pt>
                <c:pt idx="19975">
                  <c:v>301</c:v>
                </c:pt>
                <c:pt idx="19976">
                  <c:v>446</c:v>
                </c:pt>
                <c:pt idx="19977">
                  <c:v>395</c:v>
                </c:pt>
                <c:pt idx="19978">
                  <c:v>350</c:v>
                </c:pt>
                <c:pt idx="19979">
                  <c:v>315</c:v>
                </c:pt>
                <c:pt idx="19980">
                  <c:v>384</c:v>
                </c:pt>
                <c:pt idx="19981">
                  <c:v>285</c:v>
                </c:pt>
                <c:pt idx="19982">
                  <c:v>323</c:v>
                </c:pt>
                <c:pt idx="19983">
                  <c:v>277</c:v>
                </c:pt>
                <c:pt idx="19984">
                  <c:v>282</c:v>
                </c:pt>
                <c:pt idx="19985">
                  <c:v>302</c:v>
                </c:pt>
                <c:pt idx="19986">
                  <c:v>289</c:v>
                </c:pt>
                <c:pt idx="19987">
                  <c:v>282</c:v>
                </c:pt>
                <c:pt idx="19988">
                  <c:v>254</c:v>
                </c:pt>
                <c:pt idx="19989">
                  <c:v>320</c:v>
                </c:pt>
                <c:pt idx="19990">
                  <c:v>279</c:v>
                </c:pt>
                <c:pt idx="19991">
                  <c:v>325</c:v>
                </c:pt>
                <c:pt idx="19992">
                  <c:v>291</c:v>
                </c:pt>
                <c:pt idx="19993">
                  <c:v>341</c:v>
                </c:pt>
                <c:pt idx="19994">
                  <c:v>290</c:v>
                </c:pt>
                <c:pt idx="19995">
                  <c:v>332</c:v>
                </c:pt>
                <c:pt idx="19996">
                  <c:v>265</c:v>
                </c:pt>
                <c:pt idx="19997">
                  <c:v>519</c:v>
                </c:pt>
                <c:pt idx="19998">
                  <c:v>273</c:v>
                </c:pt>
                <c:pt idx="19999">
                  <c:v>350</c:v>
                </c:pt>
                <c:pt idx="20000">
                  <c:v>312</c:v>
                </c:pt>
                <c:pt idx="20001">
                  <c:v>318</c:v>
                </c:pt>
                <c:pt idx="20002">
                  <c:v>263</c:v>
                </c:pt>
                <c:pt idx="20003">
                  <c:v>281</c:v>
                </c:pt>
                <c:pt idx="20004">
                  <c:v>257</c:v>
                </c:pt>
                <c:pt idx="20005">
                  <c:v>254</c:v>
                </c:pt>
                <c:pt idx="20006">
                  <c:v>258</c:v>
                </c:pt>
                <c:pt idx="20007">
                  <c:v>257</c:v>
                </c:pt>
                <c:pt idx="20008">
                  <c:v>245</c:v>
                </c:pt>
                <c:pt idx="20009">
                  <c:v>202</c:v>
                </c:pt>
                <c:pt idx="20010">
                  <c:v>198</c:v>
                </c:pt>
                <c:pt idx="20011">
                  <c:v>157</c:v>
                </c:pt>
                <c:pt idx="20012">
                  <c:v>137</c:v>
                </c:pt>
                <c:pt idx="20013">
                  <c:v>80</c:v>
                </c:pt>
                <c:pt idx="20014">
                  <c:v>90</c:v>
                </c:pt>
                <c:pt idx="20015">
                  <c:v>84</c:v>
                </c:pt>
                <c:pt idx="20016">
                  <c:v>93</c:v>
                </c:pt>
                <c:pt idx="20017">
                  <c:v>80</c:v>
                </c:pt>
                <c:pt idx="20018">
                  <c:v>222</c:v>
                </c:pt>
                <c:pt idx="20019">
                  <c:v>909</c:v>
                </c:pt>
                <c:pt idx="20020">
                  <c:v>687</c:v>
                </c:pt>
                <c:pt idx="20021">
                  <c:v>684</c:v>
                </c:pt>
                <c:pt idx="20022">
                  <c:v>458</c:v>
                </c:pt>
                <c:pt idx="20023">
                  <c:v>488</c:v>
                </c:pt>
                <c:pt idx="20024">
                  <c:v>379</c:v>
                </c:pt>
                <c:pt idx="20025">
                  <c:v>304</c:v>
                </c:pt>
                <c:pt idx="20026">
                  <c:v>359</c:v>
                </c:pt>
                <c:pt idx="20027">
                  <c:v>398</c:v>
                </c:pt>
                <c:pt idx="20028">
                  <c:v>357</c:v>
                </c:pt>
                <c:pt idx="20029">
                  <c:v>464</c:v>
                </c:pt>
                <c:pt idx="20030">
                  <c:v>408</c:v>
                </c:pt>
                <c:pt idx="20031">
                  <c:v>382</c:v>
                </c:pt>
                <c:pt idx="20032">
                  <c:v>404</c:v>
                </c:pt>
                <c:pt idx="20033">
                  <c:v>447</c:v>
                </c:pt>
                <c:pt idx="20034">
                  <c:v>414</c:v>
                </c:pt>
                <c:pt idx="20035">
                  <c:v>435</c:v>
                </c:pt>
                <c:pt idx="20036">
                  <c:v>447</c:v>
                </c:pt>
                <c:pt idx="20037">
                  <c:v>356</c:v>
                </c:pt>
                <c:pt idx="20038">
                  <c:v>450</c:v>
                </c:pt>
                <c:pt idx="20039">
                  <c:v>475</c:v>
                </c:pt>
                <c:pt idx="20040">
                  <c:v>426</c:v>
                </c:pt>
                <c:pt idx="20041">
                  <c:v>433</c:v>
                </c:pt>
                <c:pt idx="20042">
                  <c:v>445</c:v>
                </c:pt>
                <c:pt idx="20043">
                  <c:v>405</c:v>
                </c:pt>
                <c:pt idx="20044">
                  <c:v>429</c:v>
                </c:pt>
                <c:pt idx="20045">
                  <c:v>434</c:v>
                </c:pt>
                <c:pt idx="20046">
                  <c:v>457</c:v>
                </c:pt>
                <c:pt idx="20047">
                  <c:v>444</c:v>
                </c:pt>
                <c:pt idx="20048">
                  <c:v>417</c:v>
                </c:pt>
                <c:pt idx="20049">
                  <c:v>453</c:v>
                </c:pt>
                <c:pt idx="20050">
                  <c:v>456</c:v>
                </c:pt>
                <c:pt idx="20051">
                  <c:v>398</c:v>
                </c:pt>
                <c:pt idx="20052">
                  <c:v>382</c:v>
                </c:pt>
                <c:pt idx="20053">
                  <c:v>424</c:v>
                </c:pt>
                <c:pt idx="20054">
                  <c:v>305</c:v>
                </c:pt>
                <c:pt idx="20055">
                  <c:v>295</c:v>
                </c:pt>
                <c:pt idx="20056">
                  <c:v>320</c:v>
                </c:pt>
                <c:pt idx="20057">
                  <c:v>312</c:v>
                </c:pt>
                <c:pt idx="20058">
                  <c:v>328</c:v>
                </c:pt>
                <c:pt idx="20059">
                  <c:v>269</c:v>
                </c:pt>
                <c:pt idx="20060">
                  <c:v>281</c:v>
                </c:pt>
                <c:pt idx="20061">
                  <c:v>262</c:v>
                </c:pt>
                <c:pt idx="20062">
                  <c:v>258</c:v>
                </c:pt>
                <c:pt idx="20063">
                  <c:v>224</c:v>
                </c:pt>
                <c:pt idx="20064">
                  <c:v>234</c:v>
                </c:pt>
                <c:pt idx="20065">
                  <c:v>229</c:v>
                </c:pt>
                <c:pt idx="20066">
                  <c:v>228</c:v>
                </c:pt>
                <c:pt idx="20067">
                  <c:v>215</c:v>
                </c:pt>
                <c:pt idx="20068">
                  <c:v>256</c:v>
                </c:pt>
                <c:pt idx="20069">
                  <c:v>217</c:v>
                </c:pt>
                <c:pt idx="20070">
                  <c:v>229</c:v>
                </c:pt>
                <c:pt idx="20071">
                  <c:v>243</c:v>
                </c:pt>
                <c:pt idx="20072">
                  <c:v>291</c:v>
                </c:pt>
                <c:pt idx="20073">
                  <c:v>204</c:v>
                </c:pt>
                <c:pt idx="20074">
                  <c:v>270</c:v>
                </c:pt>
                <c:pt idx="20075">
                  <c:v>225</c:v>
                </c:pt>
                <c:pt idx="20076">
                  <c:v>199</c:v>
                </c:pt>
                <c:pt idx="20077">
                  <c:v>221</c:v>
                </c:pt>
                <c:pt idx="20078">
                  <c:v>202</c:v>
                </c:pt>
                <c:pt idx="20079">
                  <c:v>198</c:v>
                </c:pt>
                <c:pt idx="20080">
                  <c:v>186</c:v>
                </c:pt>
                <c:pt idx="20081">
                  <c:v>193</c:v>
                </c:pt>
                <c:pt idx="20082">
                  <c:v>191</c:v>
                </c:pt>
                <c:pt idx="20083">
                  <c:v>202</c:v>
                </c:pt>
                <c:pt idx="20084">
                  <c:v>221</c:v>
                </c:pt>
                <c:pt idx="20085">
                  <c:v>210</c:v>
                </c:pt>
                <c:pt idx="20086">
                  <c:v>225</c:v>
                </c:pt>
                <c:pt idx="20087">
                  <c:v>185</c:v>
                </c:pt>
                <c:pt idx="20088">
                  <c:v>171</c:v>
                </c:pt>
                <c:pt idx="20089">
                  <c:v>190</c:v>
                </c:pt>
                <c:pt idx="20090">
                  <c:v>176</c:v>
                </c:pt>
                <c:pt idx="20091">
                  <c:v>183</c:v>
                </c:pt>
                <c:pt idx="20092">
                  <c:v>140</c:v>
                </c:pt>
                <c:pt idx="20093">
                  <c:v>197</c:v>
                </c:pt>
                <c:pt idx="20094">
                  <c:v>187</c:v>
                </c:pt>
                <c:pt idx="20095">
                  <c:v>221</c:v>
                </c:pt>
                <c:pt idx="20096">
                  <c:v>167</c:v>
                </c:pt>
                <c:pt idx="20097">
                  <c:v>173</c:v>
                </c:pt>
                <c:pt idx="20098">
                  <c:v>158</c:v>
                </c:pt>
                <c:pt idx="20099">
                  <c:v>163</c:v>
                </c:pt>
                <c:pt idx="20100">
                  <c:v>149</c:v>
                </c:pt>
                <c:pt idx="20101">
                  <c:v>179</c:v>
                </c:pt>
                <c:pt idx="20102">
                  <c:v>162</c:v>
                </c:pt>
                <c:pt idx="20103">
                  <c:v>145</c:v>
                </c:pt>
                <c:pt idx="20104">
                  <c:v>143</c:v>
                </c:pt>
                <c:pt idx="20105">
                  <c:v>132</c:v>
                </c:pt>
                <c:pt idx="20106">
                  <c:v>138</c:v>
                </c:pt>
                <c:pt idx="20107">
                  <c:v>160</c:v>
                </c:pt>
                <c:pt idx="20108">
                  <c:v>152</c:v>
                </c:pt>
                <c:pt idx="20109">
                  <c:v>168</c:v>
                </c:pt>
                <c:pt idx="20110">
                  <c:v>161</c:v>
                </c:pt>
                <c:pt idx="20111">
                  <c:v>141</c:v>
                </c:pt>
                <c:pt idx="20112">
                  <c:v>166</c:v>
                </c:pt>
                <c:pt idx="20113">
                  <c:v>169</c:v>
                </c:pt>
                <c:pt idx="20114">
                  <c:v>141</c:v>
                </c:pt>
                <c:pt idx="20115">
                  <c:v>160</c:v>
                </c:pt>
                <c:pt idx="20116">
                  <c:v>183</c:v>
                </c:pt>
                <c:pt idx="20117">
                  <c:v>156</c:v>
                </c:pt>
                <c:pt idx="20118">
                  <c:v>184</c:v>
                </c:pt>
                <c:pt idx="20119">
                  <c:v>173</c:v>
                </c:pt>
                <c:pt idx="20120">
                  <c:v>404</c:v>
                </c:pt>
                <c:pt idx="20121">
                  <c:v>291</c:v>
                </c:pt>
                <c:pt idx="20122">
                  <c:v>262</c:v>
                </c:pt>
                <c:pt idx="20123">
                  <c:v>394</c:v>
                </c:pt>
                <c:pt idx="20124">
                  <c:v>268</c:v>
                </c:pt>
                <c:pt idx="20125">
                  <c:v>326</c:v>
                </c:pt>
                <c:pt idx="20126">
                  <c:v>308</c:v>
                </c:pt>
                <c:pt idx="20127">
                  <c:v>296</c:v>
                </c:pt>
                <c:pt idx="20128">
                  <c:v>305</c:v>
                </c:pt>
                <c:pt idx="20129">
                  <c:v>363</c:v>
                </c:pt>
                <c:pt idx="20130">
                  <c:v>336</c:v>
                </c:pt>
                <c:pt idx="20131">
                  <c:v>356</c:v>
                </c:pt>
                <c:pt idx="20132">
                  <c:v>312</c:v>
                </c:pt>
                <c:pt idx="20133">
                  <c:v>336</c:v>
                </c:pt>
                <c:pt idx="20134">
                  <c:v>379</c:v>
                </c:pt>
                <c:pt idx="20135">
                  <c:v>387</c:v>
                </c:pt>
                <c:pt idx="20136">
                  <c:v>339</c:v>
                </c:pt>
                <c:pt idx="20137">
                  <c:v>359</c:v>
                </c:pt>
                <c:pt idx="20138">
                  <c:v>370</c:v>
                </c:pt>
                <c:pt idx="20139">
                  <c:v>401</c:v>
                </c:pt>
                <c:pt idx="20140">
                  <c:v>345</c:v>
                </c:pt>
                <c:pt idx="20141">
                  <c:v>337</c:v>
                </c:pt>
                <c:pt idx="20142">
                  <c:v>338</c:v>
                </c:pt>
                <c:pt idx="20143">
                  <c:v>342</c:v>
                </c:pt>
                <c:pt idx="20144">
                  <c:v>339</c:v>
                </c:pt>
                <c:pt idx="20145">
                  <c:v>325</c:v>
                </c:pt>
                <c:pt idx="20146">
                  <c:v>323</c:v>
                </c:pt>
                <c:pt idx="20147">
                  <c:v>329</c:v>
                </c:pt>
                <c:pt idx="20148">
                  <c:v>316</c:v>
                </c:pt>
                <c:pt idx="20149">
                  <c:v>273</c:v>
                </c:pt>
                <c:pt idx="20150">
                  <c:v>294</c:v>
                </c:pt>
                <c:pt idx="20151">
                  <c:v>268</c:v>
                </c:pt>
                <c:pt idx="20152">
                  <c:v>258</c:v>
                </c:pt>
                <c:pt idx="20153">
                  <c:v>227</c:v>
                </c:pt>
                <c:pt idx="20154">
                  <c:v>266</c:v>
                </c:pt>
                <c:pt idx="20155">
                  <c:v>258</c:v>
                </c:pt>
                <c:pt idx="20156">
                  <c:v>258</c:v>
                </c:pt>
                <c:pt idx="20157">
                  <c:v>223</c:v>
                </c:pt>
                <c:pt idx="20158">
                  <c:v>162</c:v>
                </c:pt>
                <c:pt idx="20159">
                  <c:v>122</c:v>
                </c:pt>
                <c:pt idx="20160">
                  <c:v>116</c:v>
                </c:pt>
                <c:pt idx="20161">
                  <c:v>284</c:v>
                </c:pt>
                <c:pt idx="20162">
                  <c:v>597</c:v>
                </c:pt>
                <c:pt idx="20163">
                  <c:v>597</c:v>
                </c:pt>
                <c:pt idx="20164">
                  <c:v>479</c:v>
                </c:pt>
                <c:pt idx="20165">
                  <c:v>484</c:v>
                </c:pt>
                <c:pt idx="20166">
                  <c:v>383</c:v>
                </c:pt>
                <c:pt idx="20167">
                  <c:v>405</c:v>
                </c:pt>
                <c:pt idx="20168">
                  <c:v>353</c:v>
                </c:pt>
                <c:pt idx="20169">
                  <c:v>393</c:v>
                </c:pt>
                <c:pt idx="20170">
                  <c:v>328</c:v>
                </c:pt>
                <c:pt idx="20171">
                  <c:v>341</c:v>
                </c:pt>
                <c:pt idx="20172">
                  <c:v>338</c:v>
                </c:pt>
                <c:pt idx="20173">
                  <c:v>324</c:v>
                </c:pt>
                <c:pt idx="20174">
                  <c:v>308</c:v>
                </c:pt>
                <c:pt idx="20175">
                  <c:v>338</c:v>
                </c:pt>
                <c:pt idx="20176">
                  <c:v>347</c:v>
                </c:pt>
                <c:pt idx="20177">
                  <c:v>349</c:v>
                </c:pt>
                <c:pt idx="20178">
                  <c:v>331</c:v>
                </c:pt>
                <c:pt idx="20179">
                  <c:v>331</c:v>
                </c:pt>
                <c:pt idx="20180">
                  <c:v>321</c:v>
                </c:pt>
                <c:pt idx="20181">
                  <c:v>351</c:v>
                </c:pt>
                <c:pt idx="20182">
                  <c:v>364</c:v>
                </c:pt>
                <c:pt idx="20183">
                  <c:v>251</c:v>
                </c:pt>
                <c:pt idx="20184">
                  <c:v>604</c:v>
                </c:pt>
                <c:pt idx="20185">
                  <c:v>400</c:v>
                </c:pt>
                <c:pt idx="20186">
                  <c:v>395</c:v>
                </c:pt>
                <c:pt idx="20187">
                  <c:v>369</c:v>
                </c:pt>
                <c:pt idx="20188">
                  <c:v>337</c:v>
                </c:pt>
                <c:pt idx="20189">
                  <c:v>325</c:v>
                </c:pt>
                <c:pt idx="20190">
                  <c:v>337</c:v>
                </c:pt>
                <c:pt idx="20191">
                  <c:v>283</c:v>
                </c:pt>
                <c:pt idx="20192">
                  <c:v>308</c:v>
                </c:pt>
                <c:pt idx="20193">
                  <c:v>273</c:v>
                </c:pt>
                <c:pt idx="20194">
                  <c:v>285</c:v>
                </c:pt>
                <c:pt idx="20195">
                  <c:v>228</c:v>
                </c:pt>
                <c:pt idx="20196">
                  <c:v>251</c:v>
                </c:pt>
                <c:pt idx="20197">
                  <c:v>201</c:v>
                </c:pt>
                <c:pt idx="20198">
                  <c:v>245</c:v>
                </c:pt>
                <c:pt idx="20199">
                  <c:v>227</c:v>
                </c:pt>
                <c:pt idx="20200">
                  <c:v>263</c:v>
                </c:pt>
                <c:pt idx="20201">
                  <c:v>220</c:v>
                </c:pt>
                <c:pt idx="20202">
                  <c:v>206</c:v>
                </c:pt>
                <c:pt idx="20203">
                  <c:v>150</c:v>
                </c:pt>
                <c:pt idx="20204">
                  <c:v>174</c:v>
                </c:pt>
                <c:pt idx="20205">
                  <c:v>199</c:v>
                </c:pt>
                <c:pt idx="20206">
                  <c:v>846</c:v>
                </c:pt>
                <c:pt idx="20207">
                  <c:v>722</c:v>
                </c:pt>
                <c:pt idx="20208">
                  <c:v>767</c:v>
                </c:pt>
                <c:pt idx="20209">
                  <c:v>569</c:v>
                </c:pt>
                <c:pt idx="20210">
                  <c:v>399</c:v>
                </c:pt>
                <c:pt idx="20211">
                  <c:v>381</c:v>
                </c:pt>
                <c:pt idx="20212">
                  <c:v>374</c:v>
                </c:pt>
                <c:pt idx="20213">
                  <c:v>379</c:v>
                </c:pt>
                <c:pt idx="20214">
                  <c:v>384</c:v>
                </c:pt>
                <c:pt idx="20215">
                  <c:v>359</c:v>
                </c:pt>
                <c:pt idx="20216">
                  <c:v>354</c:v>
                </c:pt>
                <c:pt idx="20217">
                  <c:v>349</c:v>
                </c:pt>
                <c:pt idx="20218">
                  <c:v>378</c:v>
                </c:pt>
                <c:pt idx="20219">
                  <c:v>402</c:v>
                </c:pt>
                <c:pt idx="20220">
                  <c:v>388</c:v>
                </c:pt>
                <c:pt idx="20221">
                  <c:v>336</c:v>
                </c:pt>
                <c:pt idx="20222">
                  <c:v>370</c:v>
                </c:pt>
                <c:pt idx="20223">
                  <c:v>323</c:v>
                </c:pt>
                <c:pt idx="20224">
                  <c:v>376</c:v>
                </c:pt>
                <c:pt idx="20225">
                  <c:v>346</c:v>
                </c:pt>
                <c:pt idx="20226">
                  <c:v>358</c:v>
                </c:pt>
                <c:pt idx="20227">
                  <c:v>320</c:v>
                </c:pt>
                <c:pt idx="20228">
                  <c:v>301</c:v>
                </c:pt>
                <c:pt idx="20229">
                  <c:v>300</c:v>
                </c:pt>
                <c:pt idx="20230">
                  <c:v>258</c:v>
                </c:pt>
                <c:pt idx="20231">
                  <c:v>248</c:v>
                </c:pt>
                <c:pt idx="20232">
                  <c:v>226</c:v>
                </c:pt>
                <c:pt idx="20233">
                  <c:v>202</c:v>
                </c:pt>
                <c:pt idx="20234">
                  <c:v>180</c:v>
                </c:pt>
                <c:pt idx="20235">
                  <c:v>667</c:v>
                </c:pt>
                <c:pt idx="20236">
                  <c:v>863</c:v>
                </c:pt>
                <c:pt idx="20237">
                  <c:v>818</c:v>
                </c:pt>
                <c:pt idx="20238">
                  <c:v>694</c:v>
                </c:pt>
                <c:pt idx="20239">
                  <c:v>455</c:v>
                </c:pt>
                <c:pt idx="20240">
                  <c:v>353</c:v>
                </c:pt>
                <c:pt idx="20241">
                  <c:v>291</c:v>
                </c:pt>
                <c:pt idx="20242">
                  <c:v>317</c:v>
                </c:pt>
                <c:pt idx="20243">
                  <c:v>365</c:v>
                </c:pt>
                <c:pt idx="20244">
                  <c:v>289</c:v>
                </c:pt>
                <c:pt idx="20245">
                  <c:v>300</c:v>
                </c:pt>
                <c:pt idx="20246">
                  <c:v>280</c:v>
                </c:pt>
                <c:pt idx="20247">
                  <c:v>283</c:v>
                </c:pt>
                <c:pt idx="20248">
                  <c:v>291</c:v>
                </c:pt>
                <c:pt idx="20249">
                  <c:v>312</c:v>
                </c:pt>
                <c:pt idx="20250">
                  <c:v>270</c:v>
                </c:pt>
                <c:pt idx="20251">
                  <c:v>288</c:v>
                </c:pt>
                <c:pt idx="20252">
                  <c:v>269</c:v>
                </c:pt>
                <c:pt idx="20253">
                  <c:v>292</c:v>
                </c:pt>
                <c:pt idx="20254">
                  <c:v>258</c:v>
                </c:pt>
                <c:pt idx="20255">
                  <c:v>318</c:v>
                </c:pt>
                <c:pt idx="20256">
                  <c:v>262</c:v>
                </c:pt>
                <c:pt idx="20257">
                  <c:v>289</c:v>
                </c:pt>
                <c:pt idx="20258">
                  <c:v>254</c:v>
                </c:pt>
                <c:pt idx="20259">
                  <c:v>294</c:v>
                </c:pt>
                <c:pt idx="20260">
                  <c:v>245</c:v>
                </c:pt>
                <c:pt idx="20261">
                  <c:v>290</c:v>
                </c:pt>
                <c:pt idx="20262">
                  <c:v>258</c:v>
                </c:pt>
                <c:pt idx="20263">
                  <c:v>247</c:v>
                </c:pt>
                <c:pt idx="20264">
                  <c:v>194</c:v>
                </c:pt>
                <c:pt idx="20265">
                  <c:v>259</c:v>
                </c:pt>
                <c:pt idx="20266">
                  <c:v>135</c:v>
                </c:pt>
                <c:pt idx="20267">
                  <c:v>125</c:v>
                </c:pt>
                <c:pt idx="20268">
                  <c:v>557</c:v>
                </c:pt>
                <c:pt idx="20269">
                  <c:v>707</c:v>
                </c:pt>
                <c:pt idx="20270">
                  <c:v>613</c:v>
                </c:pt>
                <c:pt idx="20271">
                  <c:v>548</c:v>
                </c:pt>
                <c:pt idx="20272">
                  <c:v>437</c:v>
                </c:pt>
                <c:pt idx="20273">
                  <c:v>338</c:v>
                </c:pt>
                <c:pt idx="20274">
                  <c:v>255</c:v>
                </c:pt>
                <c:pt idx="20275">
                  <c:v>300</c:v>
                </c:pt>
                <c:pt idx="20276">
                  <c:v>268</c:v>
                </c:pt>
                <c:pt idx="20277">
                  <c:v>285</c:v>
                </c:pt>
                <c:pt idx="20278">
                  <c:v>235</c:v>
                </c:pt>
                <c:pt idx="20279">
                  <c:v>246</c:v>
                </c:pt>
                <c:pt idx="20280">
                  <c:v>244</c:v>
                </c:pt>
                <c:pt idx="20281">
                  <c:v>248</c:v>
                </c:pt>
                <c:pt idx="20282">
                  <c:v>233</c:v>
                </c:pt>
                <c:pt idx="20283">
                  <c:v>240</c:v>
                </c:pt>
                <c:pt idx="20284">
                  <c:v>225</c:v>
                </c:pt>
                <c:pt idx="20285">
                  <c:v>225</c:v>
                </c:pt>
                <c:pt idx="20286">
                  <c:v>212</c:v>
                </c:pt>
                <c:pt idx="20287">
                  <c:v>234</c:v>
                </c:pt>
                <c:pt idx="20288">
                  <c:v>227</c:v>
                </c:pt>
                <c:pt idx="20289">
                  <c:v>226</c:v>
                </c:pt>
                <c:pt idx="20290">
                  <c:v>210</c:v>
                </c:pt>
                <c:pt idx="20291">
                  <c:v>211</c:v>
                </c:pt>
                <c:pt idx="20292">
                  <c:v>221</c:v>
                </c:pt>
                <c:pt idx="20293">
                  <c:v>212</c:v>
                </c:pt>
                <c:pt idx="20294">
                  <c:v>199</c:v>
                </c:pt>
                <c:pt idx="20295">
                  <c:v>190</c:v>
                </c:pt>
                <c:pt idx="20296">
                  <c:v>167</c:v>
                </c:pt>
                <c:pt idx="20297">
                  <c:v>101</c:v>
                </c:pt>
                <c:pt idx="20298">
                  <c:v>845</c:v>
                </c:pt>
                <c:pt idx="20299">
                  <c:v>606</c:v>
                </c:pt>
                <c:pt idx="20300">
                  <c:v>448</c:v>
                </c:pt>
                <c:pt idx="20301">
                  <c:v>354</c:v>
                </c:pt>
                <c:pt idx="20302">
                  <c:v>287</c:v>
                </c:pt>
                <c:pt idx="20303">
                  <c:v>318</c:v>
                </c:pt>
                <c:pt idx="20304">
                  <c:v>265</c:v>
                </c:pt>
                <c:pt idx="20305">
                  <c:v>355</c:v>
                </c:pt>
                <c:pt idx="20306">
                  <c:v>301</c:v>
                </c:pt>
                <c:pt idx="20307">
                  <c:v>269</c:v>
                </c:pt>
                <c:pt idx="20308">
                  <c:v>224</c:v>
                </c:pt>
                <c:pt idx="20309">
                  <c:v>247</c:v>
                </c:pt>
                <c:pt idx="20310">
                  <c:v>215</c:v>
                </c:pt>
                <c:pt idx="20311">
                  <c:v>234</c:v>
                </c:pt>
                <c:pt idx="20312">
                  <c:v>225</c:v>
                </c:pt>
                <c:pt idx="20313">
                  <c:v>224</c:v>
                </c:pt>
                <c:pt idx="20314">
                  <c:v>205</c:v>
                </c:pt>
                <c:pt idx="20315">
                  <c:v>238</c:v>
                </c:pt>
                <c:pt idx="20316">
                  <c:v>215</c:v>
                </c:pt>
                <c:pt idx="20317">
                  <c:v>303</c:v>
                </c:pt>
                <c:pt idx="20318">
                  <c:v>253</c:v>
                </c:pt>
                <c:pt idx="20319">
                  <c:v>245</c:v>
                </c:pt>
                <c:pt idx="20320">
                  <c:v>248</c:v>
                </c:pt>
                <c:pt idx="20321">
                  <c:v>254</c:v>
                </c:pt>
                <c:pt idx="20322">
                  <c:v>231</c:v>
                </c:pt>
                <c:pt idx="20323">
                  <c:v>218</c:v>
                </c:pt>
                <c:pt idx="20324">
                  <c:v>226</c:v>
                </c:pt>
                <c:pt idx="20325">
                  <c:v>1017</c:v>
                </c:pt>
                <c:pt idx="20326">
                  <c:v>901</c:v>
                </c:pt>
                <c:pt idx="20327">
                  <c:v>820</c:v>
                </c:pt>
                <c:pt idx="20328">
                  <c:v>767</c:v>
                </c:pt>
                <c:pt idx="20329">
                  <c:v>521</c:v>
                </c:pt>
                <c:pt idx="20330">
                  <c:v>488</c:v>
                </c:pt>
                <c:pt idx="20331">
                  <c:v>357</c:v>
                </c:pt>
                <c:pt idx="20332">
                  <c:v>330</c:v>
                </c:pt>
                <c:pt idx="20333">
                  <c:v>379</c:v>
                </c:pt>
                <c:pt idx="20334">
                  <c:v>380</c:v>
                </c:pt>
                <c:pt idx="20335">
                  <c:v>369</c:v>
                </c:pt>
                <c:pt idx="20336">
                  <c:v>327</c:v>
                </c:pt>
                <c:pt idx="20337">
                  <c:v>331</c:v>
                </c:pt>
                <c:pt idx="20338">
                  <c:v>318</c:v>
                </c:pt>
                <c:pt idx="20339">
                  <c:v>305</c:v>
                </c:pt>
                <c:pt idx="20340">
                  <c:v>310</c:v>
                </c:pt>
                <c:pt idx="20341">
                  <c:v>314</c:v>
                </c:pt>
                <c:pt idx="20342">
                  <c:v>304</c:v>
                </c:pt>
                <c:pt idx="20343">
                  <c:v>285</c:v>
                </c:pt>
                <c:pt idx="20344">
                  <c:v>340</c:v>
                </c:pt>
                <c:pt idx="20345">
                  <c:v>283</c:v>
                </c:pt>
                <c:pt idx="20346">
                  <c:v>344</c:v>
                </c:pt>
                <c:pt idx="20347">
                  <c:v>252</c:v>
                </c:pt>
                <c:pt idx="20348">
                  <c:v>303</c:v>
                </c:pt>
                <c:pt idx="20349">
                  <c:v>964</c:v>
                </c:pt>
                <c:pt idx="20350">
                  <c:v>838</c:v>
                </c:pt>
                <c:pt idx="20351">
                  <c:v>791</c:v>
                </c:pt>
                <c:pt idx="20352">
                  <c:v>482</c:v>
                </c:pt>
                <c:pt idx="20353">
                  <c:v>470</c:v>
                </c:pt>
                <c:pt idx="20354">
                  <c:v>321</c:v>
                </c:pt>
                <c:pt idx="20355">
                  <c:v>409</c:v>
                </c:pt>
                <c:pt idx="20356">
                  <c:v>299</c:v>
                </c:pt>
                <c:pt idx="20357">
                  <c:v>327</c:v>
                </c:pt>
                <c:pt idx="20358">
                  <c:v>300</c:v>
                </c:pt>
                <c:pt idx="20359">
                  <c:v>340</c:v>
                </c:pt>
                <c:pt idx="20360">
                  <c:v>359</c:v>
                </c:pt>
                <c:pt idx="20361">
                  <c:v>370</c:v>
                </c:pt>
                <c:pt idx="20362">
                  <c:v>353</c:v>
                </c:pt>
                <c:pt idx="20363">
                  <c:v>366</c:v>
                </c:pt>
                <c:pt idx="20364">
                  <c:v>335</c:v>
                </c:pt>
                <c:pt idx="20365">
                  <c:v>347</c:v>
                </c:pt>
                <c:pt idx="20366">
                  <c:v>312</c:v>
                </c:pt>
                <c:pt idx="20367">
                  <c:v>333</c:v>
                </c:pt>
                <c:pt idx="20368">
                  <c:v>291</c:v>
                </c:pt>
                <c:pt idx="20369">
                  <c:v>277</c:v>
                </c:pt>
                <c:pt idx="20370">
                  <c:v>243</c:v>
                </c:pt>
                <c:pt idx="20371">
                  <c:v>260</c:v>
                </c:pt>
                <c:pt idx="20372">
                  <c:v>238</c:v>
                </c:pt>
                <c:pt idx="20373">
                  <c:v>250</c:v>
                </c:pt>
                <c:pt idx="20374">
                  <c:v>929</c:v>
                </c:pt>
                <c:pt idx="20375">
                  <c:v>928</c:v>
                </c:pt>
                <c:pt idx="20376">
                  <c:v>437</c:v>
                </c:pt>
                <c:pt idx="20377">
                  <c:v>427</c:v>
                </c:pt>
                <c:pt idx="20378">
                  <c:v>393</c:v>
                </c:pt>
                <c:pt idx="20379">
                  <c:v>378</c:v>
                </c:pt>
                <c:pt idx="20380">
                  <c:v>385</c:v>
                </c:pt>
                <c:pt idx="20381">
                  <c:v>370</c:v>
                </c:pt>
                <c:pt idx="20382">
                  <c:v>386</c:v>
                </c:pt>
                <c:pt idx="20383">
                  <c:v>406</c:v>
                </c:pt>
                <c:pt idx="20384">
                  <c:v>391</c:v>
                </c:pt>
                <c:pt idx="20385">
                  <c:v>374</c:v>
                </c:pt>
                <c:pt idx="20386">
                  <c:v>389</c:v>
                </c:pt>
                <c:pt idx="20387">
                  <c:v>369</c:v>
                </c:pt>
                <c:pt idx="20388">
                  <c:v>380</c:v>
                </c:pt>
                <c:pt idx="20389">
                  <c:v>351</c:v>
                </c:pt>
                <c:pt idx="20390">
                  <c:v>362</c:v>
                </c:pt>
                <c:pt idx="20391">
                  <c:v>330</c:v>
                </c:pt>
                <c:pt idx="20392">
                  <c:v>340</c:v>
                </c:pt>
                <c:pt idx="20393">
                  <c:v>247</c:v>
                </c:pt>
                <c:pt idx="20394">
                  <c:v>249</c:v>
                </c:pt>
                <c:pt idx="20395">
                  <c:v>209</c:v>
                </c:pt>
                <c:pt idx="20396">
                  <c:v>231</c:v>
                </c:pt>
                <c:pt idx="20397">
                  <c:v>961</c:v>
                </c:pt>
                <c:pt idx="20398">
                  <c:v>781</c:v>
                </c:pt>
                <c:pt idx="20399">
                  <c:v>835</c:v>
                </c:pt>
                <c:pt idx="20400">
                  <c:v>817</c:v>
                </c:pt>
                <c:pt idx="20401">
                  <c:v>647</c:v>
                </c:pt>
                <c:pt idx="20402">
                  <c:v>469</c:v>
                </c:pt>
                <c:pt idx="20403">
                  <c:v>496</c:v>
                </c:pt>
                <c:pt idx="20404">
                  <c:v>465</c:v>
                </c:pt>
                <c:pt idx="20405">
                  <c:v>450</c:v>
                </c:pt>
                <c:pt idx="20406">
                  <c:v>470</c:v>
                </c:pt>
                <c:pt idx="20407">
                  <c:v>502</c:v>
                </c:pt>
                <c:pt idx="20408">
                  <c:v>461</c:v>
                </c:pt>
                <c:pt idx="20409">
                  <c:v>447</c:v>
                </c:pt>
                <c:pt idx="20410">
                  <c:v>436</c:v>
                </c:pt>
                <c:pt idx="20411">
                  <c:v>415</c:v>
                </c:pt>
                <c:pt idx="20412">
                  <c:v>433</c:v>
                </c:pt>
                <c:pt idx="20413">
                  <c:v>418</c:v>
                </c:pt>
                <c:pt idx="20414">
                  <c:v>373</c:v>
                </c:pt>
                <c:pt idx="20415">
                  <c:v>448</c:v>
                </c:pt>
                <c:pt idx="20416">
                  <c:v>413</c:v>
                </c:pt>
                <c:pt idx="20417">
                  <c:v>441</c:v>
                </c:pt>
                <c:pt idx="20418">
                  <c:v>388</c:v>
                </c:pt>
                <c:pt idx="20419">
                  <c:v>474</c:v>
                </c:pt>
                <c:pt idx="20420">
                  <c:v>352</c:v>
                </c:pt>
                <c:pt idx="20421">
                  <c:v>415</c:v>
                </c:pt>
                <c:pt idx="20422">
                  <c:v>372</c:v>
                </c:pt>
                <c:pt idx="20423">
                  <c:v>412</c:v>
                </c:pt>
                <c:pt idx="20424">
                  <c:v>380</c:v>
                </c:pt>
                <c:pt idx="20425">
                  <c:v>267</c:v>
                </c:pt>
                <c:pt idx="20426">
                  <c:v>301</c:v>
                </c:pt>
                <c:pt idx="20427">
                  <c:v>265</c:v>
                </c:pt>
                <c:pt idx="20428">
                  <c:v>276</c:v>
                </c:pt>
                <c:pt idx="20429">
                  <c:v>257</c:v>
                </c:pt>
                <c:pt idx="20430">
                  <c:v>249</c:v>
                </c:pt>
                <c:pt idx="20431">
                  <c:v>270</c:v>
                </c:pt>
                <c:pt idx="20432">
                  <c:v>989</c:v>
                </c:pt>
                <c:pt idx="20433">
                  <c:v>824</c:v>
                </c:pt>
                <c:pt idx="20434">
                  <c:v>913</c:v>
                </c:pt>
                <c:pt idx="20435">
                  <c:v>867</c:v>
                </c:pt>
                <c:pt idx="20436">
                  <c:v>726</c:v>
                </c:pt>
                <c:pt idx="20437">
                  <c:v>558</c:v>
                </c:pt>
                <c:pt idx="20438">
                  <c:v>503</c:v>
                </c:pt>
                <c:pt idx="20439">
                  <c:v>474</c:v>
                </c:pt>
                <c:pt idx="20440">
                  <c:v>548</c:v>
                </c:pt>
                <c:pt idx="20441">
                  <c:v>501</c:v>
                </c:pt>
                <c:pt idx="20442">
                  <c:v>491</c:v>
                </c:pt>
                <c:pt idx="20443">
                  <c:v>475</c:v>
                </c:pt>
                <c:pt idx="20444">
                  <c:v>492</c:v>
                </c:pt>
                <c:pt idx="20445">
                  <c:v>497</c:v>
                </c:pt>
                <c:pt idx="20446">
                  <c:v>413</c:v>
                </c:pt>
                <c:pt idx="20447">
                  <c:v>499</c:v>
                </c:pt>
                <c:pt idx="20448">
                  <c:v>402</c:v>
                </c:pt>
                <c:pt idx="20449">
                  <c:v>464</c:v>
                </c:pt>
                <c:pt idx="20450">
                  <c:v>417</c:v>
                </c:pt>
                <c:pt idx="20451">
                  <c:v>417</c:v>
                </c:pt>
                <c:pt idx="20452">
                  <c:v>469</c:v>
                </c:pt>
                <c:pt idx="20453">
                  <c:v>447</c:v>
                </c:pt>
                <c:pt idx="20454">
                  <c:v>393</c:v>
                </c:pt>
                <c:pt idx="20455">
                  <c:v>464</c:v>
                </c:pt>
                <c:pt idx="20456">
                  <c:v>363</c:v>
                </c:pt>
                <c:pt idx="20457">
                  <c:v>421</c:v>
                </c:pt>
                <c:pt idx="20458">
                  <c:v>405</c:v>
                </c:pt>
                <c:pt idx="20459">
                  <c:v>392</c:v>
                </c:pt>
                <c:pt idx="20460">
                  <c:v>270</c:v>
                </c:pt>
                <c:pt idx="20461">
                  <c:v>278</c:v>
                </c:pt>
                <c:pt idx="20462">
                  <c:v>216</c:v>
                </c:pt>
                <c:pt idx="20463">
                  <c:v>241</c:v>
                </c:pt>
                <c:pt idx="20464">
                  <c:v>252</c:v>
                </c:pt>
                <c:pt idx="20465">
                  <c:v>242</c:v>
                </c:pt>
                <c:pt idx="20466">
                  <c:v>201</c:v>
                </c:pt>
                <c:pt idx="20467">
                  <c:v>228</c:v>
                </c:pt>
                <c:pt idx="20468">
                  <c:v>238</c:v>
                </c:pt>
                <c:pt idx="20469">
                  <c:v>214</c:v>
                </c:pt>
                <c:pt idx="20470">
                  <c:v>259</c:v>
                </c:pt>
                <c:pt idx="20471">
                  <c:v>591</c:v>
                </c:pt>
                <c:pt idx="20472">
                  <c:v>337</c:v>
                </c:pt>
                <c:pt idx="20473">
                  <c:v>233</c:v>
                </c:pt>
                <c:pt idx="20474">
                  <c:v>245</c:v>
                </c:pt>
                <c:pt idx="20475">
                  <c:v>207</c:v>
                </c:pt>
                <c:pt idx="20476">
                  <c:v>227</c:v>
                </c:pt>
                <c:pt idx="20477">
                  <c:v>161</c:v>
                </c:pt>
                <c:pt idx="20478">
                  <c:v>187</c:v>
                </c:pt>
                <c:pt idx="20479">
                  <c:v>160</c:v>
                </c:pt>
                <c:pt idx="20480">
                  <c:v>346</c:v>
                </c:pt>
                <c:pt idx="20481">
                  <c:v>473</c:v>
                </c:pt>
                <c:pt idx="20482">
                  <c:v>241</c:v>
                </c:pt>
                <c:pt idx="20483">
                  <c:v>187</c:v>
                </c:pt>
                <c:pt idx="20484">
                  <c:v>215</c:v>
                </c:pt>
                <c:pt idx="20485">
                  <c:v>161</c:v>
                </c:pt>
                <c:pt idx="20486">
                  <c:v>173</c:v>
                </c:pt>
                <c:pt idx="20487">
                  <c:v>772</c:v>
                </c:pt>
                <c:pt idx="20488">
                  <c:v>388</c:v>
                </c:pt>
                <c:pt idx="20489">
                  <c:v>245</c:v>
                </c:pt>
                <c:pt idx="20490">
                  <c:v>310</c:v>
                </c:pt>
                <c:pt idx="20491">
                  <c:v>209</c:v>
                </c:pt>
                <c:pt idx="20492">
                  <c:v>604</c:v>
                </c:pt>
                <c:pt idx="20493">
                  <c:v>504</c:v>
                </c:pt>
                <c:pt idx="20494">
                  <c:v>433</c:v>
                </c:pt>
                <c:pt idx="20495">
                  <c:v>518</c:v>
                </c:pt>
                <c:pt idx="20496">
                  <c:v>386</c:v>
                </c:pt>
                <c:pt idx="20497">
                  <c:v>340</c:v>
                </c:pt>
                <c:pt idx="20498">
                  <c:v>373</c:v>
                </c:pt>
                <c:pt idx="20499">
                  <c:v>296</c:v>
                </c:pt>
                <c:pt idx="20500">
                  <c:v>281</c:v>
                </c:pt>
                <c:pt idx="20501">
                  <c:v>307</c:v>
                </c:pt>
                <c:pt idx="20502">
                  <c:v>277</c:v>
                </c:pt>
                <c:pt idx="20503">
                  <c:v>281</c:v>
                </c:pt>
                <c:pt idx="20504">
                  <c:v>345</c:v>
                </c:pt>
                <c:pt idx="20505">
                  <c:v>275</c:v>
                </c:pt>
                <c:pt idx="20506">
                  <c:v>161</c:v>
                </c:pt>
                <c:pt idx="20507">
                  <c:v>141</c:v>
                </c:pt>
                <c:pt idx="20508">
                  <c:v>428</c:v>
                </c:pt>
                <c:pt idx="20509">
                  <c:v>436</c:v>
                </c:pt>
                <c:pt idx="20510">
                  <c:v>327</c:v>
                </c:pt>
                <c:pt idx="20511">
                  <c:v>195</c:v>
                </c:pt>
                <c:pt idx="20512">
                  <c:v>715</c:v>
                </c:pt>
                <c:pt idx="20513">
                  <c:v>545</c:v>
                </c:pt>
                <c:pt idx="20514">
                  <c:v>610</c:v>
                </c:pt>
                <c:pt idx="20515">
                  <c:v>477</c:v>
                </c:pt>
                <c:pt idx="20516">
                  <c:v>362</c:v>
                </c:pt>
                <c:pt idx="20517">
                  <c:v>326</c:v>
                </c:pt>
                <c:pt idx="20518">
                  <c:v>211</c:v>
                </c:pt>
                <c:pt idx="20519">
                  <c:v>325</c:v>
                </c:pt>
                <c:pt idx="20520">
                  <c:v>308</c:v>
                </c:pt>
                <c:pt idx="20521">
                  <c:v>338</c:v>
                </c:pt>
                <c:pt idx="20522">
                  <c:v>290</c:v>
                </c:pt>
                <c:pt idx="20523">
                  <c:v>319</c:v>
                </c:pt>
                <c:pt idx="20524">
                  <c:v>337</c:v>
                </c:pt>
                <c:pt idx="20525">
                  <c:v>310</c:v>
                </c:pt>
                <c:pt idx="20526">
                  <c:v>291</c:v>
                </c:pt>
                <c:pt idx="20527">
                  <c:v>294</c:v>
                </c:pt>
                <c:pt idx="20528">
                  <c:v>290</c:v>
                </c:pt>
                <c:pt idx="20529">
                  <c:v>294</c:v>
                </c:pt>
                <c:pt idx="20530">
                  <c:v>271</c:v>
                </c:pt>
                <c:pt idx="20531">
                  <c:v>262</c:v>
                </c:pt>
                <c:pt idx="20532">
                  <c:v>230</c:v>
                </c:pt>
                <c:pt idx="20533">
                  <c:v>232</c:v>
                </c:pt>
                <c:pt idx="20534">
                  <c:v>215</c:v>
                </c:pt>
                <c:pt idx="20535">
                  <c:v>142</c:v>
                </c:pt>
                <c:pt idx="20536">
                  <c:v>134</c:v>
                </c:pt>
                <c:pt idx="20537">
                  <c:v>155</c:v>
                </c:pt>
                <c:pt idx="20538">
                  <c:v>116</c:v>
                </c:pt>
                <c:pt idx="20539">
                  <c:v>411</c:v>
                </c:pt>
                <c:pt idx="20540">
                  <c:v>743</c:v>
                </c:pt>
                <c:pt idx="20541">
                  <c:v>530</c:v>
                </c:pt>
                <c:pt idx="20542">
                  <c:v>684</c:v>
                </c:pt>
                <c:pt idx="20543">
                  <c:v>489</c:v>
                </c:pt>
                <c:pt idx="20544">
                  <c:v>349</c:v>
                </c:pt>
                <c:pt idx="20545">
                  <c:v>278</c:v>
                </c:pt>
                <c:pt idx="20546">
                  <c:v>292</c:v>
                </c:pt>
                <c:pt idx="20547">
                  <c:v>231</c:v>
                </c:pt>
                <c:pt idx="20548">
                  <c:v>236</c:v>
                </c:pt>
                <c:pt idx="20549">
                  <c:v>241</c:v>
                </c:pt>
                <c:pt idx="20550">
                  <c:v>225</c:v>
                </c:pt>
                <c:pt idx="20551">
                  <c:v>245</c:v>
                </c:pt>
                <c:pt idx="20552">
                  <c:v>246</c:v>
                </c:pt>
                <c:pt idx="20553">
                  <c:v>247</c:v>
                </c:pt>
                <c:pt idx="20554">
                  <c:v>233</c:v>
                </c:pt>
                <c:pt idx="20555">
                  <c:v>249</c:v>
                </c:pt>
                <c:pt idx="20556">
                  <c:v>245</c:v>
                </c:pt>
                <c:pt idx="20557">
                  <c:v>243</c:v>
                </c:pt>
                <c:pt idx="20558">
                  <c:v>237</c:v>
                </c:pt>
                <c:pt idx="20559">
                  <c:v>243</c:v>
                </c:pt>
                <c:pt idx="20560">
                  <c:v>232</c:v>
                </c:pt>
                <c:pt idx="20561">
                  <c:v>231</c:v>
                </c:pt>
                <c:pt idx="20562">
                  <c:v>231</c:v>
                </c:pt>
                <c:pt idx="20563">
                  <c:v>246</c:v>
                </c:pt>
                <c:pt idx="20564">
                  <c:v>238</c:v>
                </c:pt>
                <c:pt idx="20565">
                  <c:v>252</c:v>
                </c:pt>
                <c:pt idx="20566">
                  <c:v>223</c:v>
                </c:pt>
                <c:pt idx="20567">
                  <c:v>225</c:v>
                </c:pt>
                <c:pt idx="20568">
                  <c:v>225</c:v>
                </c:pt>
                <c:pt idx="20569">
                  <c:v>214</c:v>
                </c:pt>
                <c:pt idx="20570">
                  <c:v>217</c:v>
                </c:pt>
                <c:pt idx="20571">
                  <c:v>202</c:v>
                </c:pt>
                <c:pt idx="20572">
                  <c:v>185</c:v>
                </c:pt>
                <c:pt idx="20573">
                  <c:v>178</c:v>
                </c:pt>
                <c:pt idx="20574">
                  <c:v>202</c:v>
                </c:pt>
                <c:pt idx="20575">
                  <c:v>180</c:v>
                </c:pt>
                <c:pt idx="20576">
                  <c:v>196</c:v>
                </c:pt>
                <c:pt idx="20577">
                  <c:v>158</c:v>
                </c:pt>
                <c:pt idx="20578">
                  <c:v>162</c:v>
                </c:pt>
                <c:pt idx="20579">
                  <c:v>159</c:v>
                </c:pt>
                <c:pt idx="20580">
                  <c:v>175</c:v>
                </c:pt>
                <c:pt idx="20581">
                  <c:v>151</c:v>
                </c:pt>
                <c:pt idx="20582">
                  <c:v>143</c:v>
                </c:pt>
                <c:pt idx="20583">
                  <c:v>145</c:v>
                </c:pt>
                <c:pt idx="20584">
                  <c:v>180</c:v>
                </c:pt>
                <c:pt idx="20585">
                  <c:v>150</c:v>
                </c:pt>
                <c:pt idx="20586">
                  <c:v>170</c:v>
                </c:pt>
                <c:pt idx="20587">
                  <c:v>134</c:v>
                </c:pt>
                <c:pt idx="20588">
                  <c:v>156</c:v>
                </c:pt>
                <c:pt idx="20589">
                  <c:v>165</c:v>
                </c:pt>
                <c:pt idx="20590">
                  <c:v>146</c:v>
                </c:pt>
                <c:pt idx="20591">
                  <c:v>156</c:v>
                </c:pt>
                <c:pt idx="20592">
                  <c:v>144</c:v>
                </c:pt>
                <c:pt idx="20593">
                  <c:v>158</c:v>
                </c:pt>
                <c:pt idx="20594">
                  <c:v>160</c:v>
                </c:pt>
                <c:pt idx="20595">
                  <c:v>138</c:v>
                </c:pt>
                <c:pt idx="20596">
                  <c:v>161</c:v>
                </c:pt>
                <c:pt idx="20597">
                  <c:v>145</c:v>
                </c:pt>
                <c:pt idx="20598">
                  <c:v>166</c:v>
                </c:pt>
                <c:pt idx="20599">
                  <c:v>144</c:v>
                </c:pt>
                <c:pt idx="20600">
                  <c:v>174</c:v>
                </c:pt>
                <c:pt idx="20601">
                  <c:v>134</c:v>
                </c:pt>
                <c:pt idx="20602">
                  <c:v>142</c:v>
                </c:pt>
                <c:pt idx="20603">
                  <c:v>154</c:v>
                </c:pt>
                <c:pt idx="20604">
                  <c:v>128</c:v>
                </c:pt>
                <c:pt idx="20605">
                  <c:v>127</c:v>
                </c:pt>
                <c:pt idx="20606">
                  <c:v>149</c:v>
                </c:pt>
                <c:pt idx="20607">
                  <c:v>143</c:v>
                </c:pt>
                <c:pt idx="20608">
                  <c:v>142</c:v>
                </c:pt>
                <c:pt idx="20609">
                  <c:v>116</c:v>
                </c:pt>
                <c:pt idx="20610">
                  <c:v>102</c:v>
                </c:pt>
                <c:pt idx="20611">
                  <c:v>106</c:v>
                </c:pt>
                <c:pt idx="20612">
                  <c:v>93</c:v>
                </c:pt>
                <c:pt idx="20613">
                  <c:v>115</c:v>
                </c:pt>
                <c:pt idx="20614">
                  <c:v>109</c:v>
                </c:pt>
                <c:pt idx="20615">
                  <c:v>113</c:v>
                </c:pt>
                <c:pt idx="20616">
                  <c:v>112</c:v>
                </c:pt>
                <c:pt idx="20617">
                  <c:v>141</c:v>
                </c:pt>
                <c:pt idx="20618">
                  <c:v>108</c:v>
                </c:pt>
                <c:pt idx="20619">
                  <c:v>183</c:v>
                </c:pt>
                <c:pt idx="20620">
                  <c:v>128</c:v>
                </c:pt>
                <c:pt idx="20621">
                  <c:v>148</c:v>
                </c:pt>
                <c:pt idx="20622">
                  <c:v>137</c:v>
                </c:pt>
                <c:pt idx="20623">
                  <c:v>119</c:v>
                </c:pt>
                <c:pt idx="20624">
                  <c:v>123</c:v>
                </c:pt>
                <c:pt idx="20625">
                  <c:v>113</c:v>
                </c:pt>
                <c:pt idx="20626">
                  <c:v>118</c:v>
                </c:pt>
                <c:pt idx="20627">
                  <c:v>99</c:v>
                </c:pt>
                <c:pt idx="20628">
                  <c:v>109</c:v>
                </c:pt>
                <c:pt idx="20629">
                  <c:v>113</c:v>
                </c:pt>
                <c:pt idx="20630">
                  <c:v>124</c:v>
                </c:pt>
                <c:pt idx="20631">
                  <c:v>134</c:v>
                </c:pt>
                <c:pt idx="20632">
                  <c:v>131</c:v>
                </c:pt>
                <c:pt idx="20633">
                  <c:v>246</c:v>
                </c:pt>
                <c:pt idx="20634">
                  <c:v>216</c:v>
                </c:pt>
                <c:pt idx="20635">
                  <c:v>234</c:v>
                </c:pt>
                <c:pt idx="20636">
                  <c:v>207</c:v>
                </c:pt>
                <c:pt idx="20637">
                  <c:v>202</c:v>
                </c:pt>
                <c:pt idx="20638">
                  <c:v>198</c:v>
                </c:pt>
                <c:pt idx="20639">
                  <c:v>194</c:v>
                </c:pt>
                <c:pt idx="20640">
                  <c:v>211</c:v>
                </c:pt>
                <c:pt idx="20641">
                  <c:v>209</c:v>
                </c:pt>
                <c:pt idx="20642">
                  <c:v>214</c:v>
                </c:pt>
                <c:pt idx="20643">
                  <c:v>229</c:v>
                </c:pt>
                <c:pt idx="20644">
                  <c:v>219</c:v>
                </c:pt>
                <c:pt idx="20645">
                  <c:v>214</c:v>
                </c:pt>
                <c:pt idx="20646">
                  <c:v>211</c:v>
                </c:pt>
                <c:pt idx="20647">
                  <c:v>221</c:v>
                </c:pt>
                <c:pt idx="20648">
                  <c:v>225</c:v>
                </c:pt>
                <c:pt idx="20649">
                  <c:v>213</c:v>
                </c:pt>
                <c:pt idx="20650">
                  <c:v>213</c:v>
                </c:pt>
                <c:pt idx="20651">
                  <c:v>207</c:v>
                </c:pt>
                <c:pt idx="20652">
                  <c:v>222</c:v>
                </c:pt>
                <c:pt idx="20653">
                  <c:v>217</c:v>
                </c:pt>
                <c:pt idx="20654">
                  <c:v>232</c:v>
                </c:pt>
                <c:pt idx="20655">
                  <c:v>264</c:v>
                </c:pt>
                <c:pt idx="20656">
                  <c:v>210</c:v>
                </c:pt>
                <c:pt idx="20657">
                  <c:v>234</c:v>
                </c:pt>
                <c:pt idx="20658">
                  <c:v>219</c:v>
                </c:pt>
                <c:pt idx="20659">
                  <c:v>223</c:v>
                </c:pt>
                <c:pt idx="20660">
                  <c:v>225</c:v>
                </c:pt>
                <c:pt idx="20661">
                  <c:v>229</c:v>
                </c:pt>
                <c:pt idx="20662">
                  <c:v>232</c:v>
                </c:pt>
                <c:pt idx="20663">
                  <c:v>213</c:v>
                </c:pt>
                <c:pt idx="20664">
                  <c:v>220</c:v>
                </c:pt>
                <c:pt idx="20665">
                  <c:v>205</c:v>
                </c:pt>
                <c:pt idx="20666">
                  <c:v>208</c:v>
                </c:pt>
                <c:pt idx="20667">
                  <c:v>197</c:v>
                </c:pt>
                <c:pt idx="20668">
                  <c:v>188</c:v>
                </c:pt>
                <c:pt idx="20669">
                  <c:v>187</c:v>
                </c:pt>
                <c:pt idx="20670">
                  <c:v>191</c:v>
                </c:pt>
                <c:pt idx="20671">
                  <c:v>177</c:v>
                </c:pt>
                <c:pt idx="20672">
                  <c:v>163</c:v>
                </c:pt>
                <c:pt idx="20673">
                  <c:v>158</c:v>
                </c:pt>
                <c:pt idx="20674">
                  <c:v>152</c:v>
                </c:pt>
                <c:pt idx="20675">
                  <c:v>113</c:v>
                </c:pt>
                <c:pt idx="20676">
                  <c:v>104</c:v>
                </c:pt>
                <c:pt idx="20677">
                  <c:v>143</c:v>
                </c:pt>
                <c:pt idx="20678">
                  <c:v>124</c:v>
                </c:pt>
                <c:pt idx="20679">
                  <c:v>116</c:v>
                </c:pt>
                <c:pt idx="20680">
                  <c:v>131</c:v>
                </c:pt>
                <c:pt idx="20681">
                  <c:v>114</c:v>
                </c:pt>
                <c:pt idx="20682">
                  <c:v>479</c:v>
                </c:pt>
                <c:pt idx="20683">
                  <c:v>385</c:v>
                </c:pt>
                <c:pt idx="20684">
                  <c:v>232</c:v>
                </c:pt>
                <c:pt idx="20685">
                  <c:v>176</c:v>
                </c:pt>
                <c:pt idx="20686">
                  <c:v>184</c:v>
                </c:pt>
                <c:pt idx="20687">
                  <c:v>178</c:v>
                </c:pt>
                <c:pt idx="20688">
                  <c:v>235</c:v>
                </c:pt>
                <c:pt idx="20689">
                  <c:v>205</c:v>
                </c:pt>
                <c:pt idx="20690">
                  <c:v>171</c:v>
                </c:pt>
                <c:pt idx="20691">
                  <c:v>167</c:v>
                </c:pt>
                <c:pt idx="20692">
                  <c:v>139</c:v>
                </c:pt>
                <c:pt idx="20693">
                  <c:v>180</c:v>
                </c:pt>
                <c:pt idx="20694">
                  <c:v>150</c:v>
                </c:pt>
                <c:pt idx="20695">
                  <c:v>142</c:v>
                </c:pt>
                <c:pt idx="20696">
                  <c:v>165</c:v>
                </c:pt>
                <c:pt idx="20697">
                  <c:v>153</c:v>
                </c:pt>
                <c:pt idx="20698">
                  <c:v>160</c:v>
                </c:pt>
                <c:pt idx="20699">
                  <c:v>169</c:v>
                </c:pt>
                <c:pt idx="20700">
                  <c:v>136</c:v>
                </c:pt>
                <c:pt idx="20701">
                  <c:v>174</c:v>
                </c:pt>
                <c:pt idx="20702">
                  <c:v>156</c:v>
                </c:pt>
                <c:pt idx="20703">
                  <c:v>139</c:v>
                </c:pt>
                <c:pt idx="20704">
                  <c:v>128</c:v>
                </c:pt>
                <c:pt idx="20705">
                  <c:v>161</c:v>
                </c:pt>
                <c:pt idx="20706">
                  <c:v>137</c:v>
                </c:pt>
                <c:pt idx="20707">
                  <c:v>106</c:v>
                </c:pt>
                <c:pt idx="20708">
                  <c:v>133</c:v>
                </c:pt>
                <c:pt idx="20709">
                  <c:v>122</c:v>
                </c:pt>
                <c:pt idx="20710">
                  <c:v>113</c:v>
                </c:pt>
                <c:pt idx="20711">
                  <c:v>134</c:v>
                </c:pt>
                <c:pt idx="20712">
                  <c:v>113</c:v>
                </c:pt>
                <c:pt idx="20713">
                  <c:v>313</c:v>
                </c:pt>
                <c:pt idx="20714">
                  <c:v>593</c:v>
                </c:pt>
                <c:pt idx="20715">
                  <c:v>215</c:v>
                </c:pt>
                <c:pt idx="20716">
                  <c:v>201</c:v>
                </c:pt>
                <c:pt idx="20717">
                  <c:v>190</c:v>
                </c:pt>
                <c:pt idx="20718">
                  <c:v>177</c:v>
                </c:pt>
                <c:pt idx="20719">
                  <c:v>160</c:v>
                </c:pt>
                <c:pt idx="20720">
                  <c:v>287</c:v>
                </c:pt>
                <c:pt idx="20721">
                  <c:v>270</c:v>
                </c:pt>
                <c:pt idx="20722">
                  <c:v>319</c:v>
                </c:pt>
                <c:pt idx="20723">
                  <c:v>504</c:v>
                </c:pt>
                <c:pt idx="20724">
                  <c:v>375</c:v>
                </c:pt>
                <c:pt idx="20725">
                  <c:v>370</c:v>
                </c:pt>
                <c:pt idx="20726">
                  <c:v>280</c:v>
                </c:pt>
                <c:pt idx="20727">
                  <c:v>242</c:v>
                </c:pt>
                <c:pt idx="20728">
                  <c:v>266</c:v>
                </c:pt>
                <c:pt idx="20729">
                  <c:v>201</c:v>
                </c:pt>
                <c:pt idx="20730">
                  <c:v>128</c:v>
                </c:pt>
                <c:pt idx="20731">
                  <c:v>129</c:v>
                </c:pt>
                <c:pt idx="20732">
                  <c:v>130</c:v>
                </c:pt>
                <c:pt idx="20733">
                  <c:v>258</c:v>
                </c:pt>
                <c:pt idx="20734">
                  <c:v>490</c:v>
                </c:pt>
                <c:pt idx="20735">
                  <c:v>301</c:v>
                </c:pt>
                <c:pt idx="20736">
                  <c:v>156</c:v>
                </c:pt>
                <c:pt idx="20737">
                  <c:v>473</c:v>
                </c:pt>
                <c:pt idx="20738">
                  <c:v>357</c:v>
                </c:pt>
                <c:pt idx="20739">
                  <c:v>465</c:v>
                </c:pt>
                <c:pt idx="20740">
                  <c:v>395</c:v>
                </c:pt>
                <c:pt idx="20741">
                  <c:v>425</c:v>
                </c:pt>
                <c:pt idx="20742">
                  <c:v>320</c:v>
                </c:pt>
                <c:pt idx="20743">
                  <c:v>316</c:v>
                </c:pt>
                <c:pt idx="20744">
                  <c:v>270</c:v>
                </c:pt>
                <c:pt idx="20745">
                  <c:v>287</c:v>
                </c:pt>
                <c:pt idx="20746">
                  <c:v>319</c:v>
                </c:pt>
                <c:pt idx="20747">
                  <c:v>259</c:v>
                </c:pt>
                <c:pt idx="20748">
                  <c:v>246</c:v>
                </c:pt>
                <c:pt idx="20749">
                  <c:v>230</c:v>
                </c:pt>
                <c:pt idx="20750">
                  <c:v>232</c:v>
                </c:pt>
                <c:pt idx="20751">
                  <c:v>224</c:v>
                </c:pt>
                <c:pt idx="20752">
                  <c:v>211</c:v>
                </c:pt>
                <c:pt idx="20753">
                  <c:v>191</c:v>
                </c:pt>
                <c:pt idx="20754">
                  <c:v>192</c:v>
                </c:pt>
                <c:pt idx="20755">
                  <c:v>183</c:v>
                </c:pt>
                <c:pt idx="20756">
                  <c:v>159</c:v>
                </c:pt>
                <c:pt idx="20757">
                  <c:v>145</c:v>
                </c:pt>
                <c:pt idx="20758">
                  <c:v>124</c:v>
                </c:pt>
                <c:pt idx="20759">
                  <c:v>121</c:v>
                </c:pt>
                <c:pt idx="20760">
                  <c:v>117</c:v>
                </c:pt>
                <c:pt idx="20761">
                  <c:v>205</c:v>
                </c:pt>
                <c:pt idx="20762">
                  <c:v>537</c:v>
                </c:pt>
                <c:pt idx="20763">
                  <c:v>218</c:v>
                </c:pt>
                <c:pt idx="20764">
                  <c:v>224</c:v>
                </c:pt>
                <c:pt idx="20765">
                  <c:v>193</c:v>
                </c:pt>
                <c:pt idx="20766">
                  <c:v>537</c:v>
                </c:pt>
                <c:pt idx="20767">
                  <c:v>450</c:v>
                </c:pt>
                <c:pt idx="20768">
                  <c:v>398</c:v>
                </c:pt>
                <c:pt idx="20769">
                  <c:v>379</c:v>
                </c:pt>
                <c:pt idx="20770">
                  <c:v>404</c:v>
                </c:pt>
                <c:pt idx="20771">
                  <c:v>293</c:v>
                </c:pt>
                <c:pt idx="20772">
                  <c:v>440</c:v>
                </c:pt>
                <c:pt idx="20773">
                  <c:v>336</c:v>
                </c:pt>
                <c:pt idx="20774">
                  <c:v>345</c:v>
                </c:pt>
                <c:pt idx="20775">
                  <c:v>349</c:v>
                </c:pt>
                <c:pt idx="20776">
                  <c:v>327</c:v>
                </c:pt>
                <c:pt idx="20777">
                  <c:v>339</c:v>
                </c:pt>
                <c:pt idx="20778">
                  <c:v>399</c:v>
                </c:pt>
                <c:pt idx="20779">
                  <c:v>325</c:v>
                </c:pt>
                <c:pt idx="20780">
                  <c:v>353</c:v>
                </c:pt>
                <c:pt idx="20781">
                  <c:v>343</c:v>
                </c:pt>
                <c:pt idx="20782">
                  <c:v>338</c:v>
                </c:pt>
                <c:pt idx="20783">
                  <c:v>322</c:v>
                </c:pt>
                <c:pt idx="20784">
                  <c:v>346</c:v>
                </c:pt>
                <c:pt idx="20785">
                  <c:v>354</c:v>
                </c:pt>
                <c:pt idx="20786">
                  <c:v>313</c:v>
                </c:pt>
                <c:pt idx="20787">
                  <c:v>332</c:v>
                </c:pt>
                <c:pt idx="20788">
                  <c:v>354</c:v>
                </c:pt>
                <c:pt idx="20789">
                  <c:v>365</c:v>
                </c:pt>
                <c:pt idx="20790">
                  <c:v>323</c:v>
                </c:pt>
                <c:pt idx="20791">
                  <c:v>354</c:v>
                </c:pt>
                <c:pt idx="20792">
                  <c:v>350</c:v>
                </c:pt>
                <c:pt idx="20793">
                  <c:v>312</c:v>
                </c:pt>
                <c:pt idx="20794">
                  <c:v>391</c:v>
                </c:pt>
                <c:pt idx="20795">
                  <c:v>314</c:v>
                </c:pt>
                <c:pt idx="20796">
                  <c:v>376</c:v>
                </c:pt>
                <c:pt idx="20797">
                  <c:v>291</c:v>
                </c:pt>
                <c:pt idx="20798">
                  <c:v>329</c:v>
                </c:pt>
                <c:pt idx="20799">
                  <c:v>318</c:v>
                </c:pt>
                <c:pt idx="20800">
                  <c:v>272</c:v>
                </c:pt>
                <c:pt idx="20801">
                  <c:v>333</c:v>
                </c:pt>
                <c:pt idx="20802">
                  <c:v>329</c:v>
                </c:pt>
                <c:pt idx="20803">
                  <c:v>279</c:v>
                </c:pt>
                <c:pt idx="20804">
                  <c:v>294</c:v>
                </c:pt>
                <c:pt idx="20805">
                  <c:v>329</c:v>
                </c:pt>
                <c:pt idx="20806">
                  <c:v>261</c:v>
                </c:pt>
                <c:pt idx="20807">
                  <c:v>286</c:v>
                </c:pt>
                <c:pt idx="20808">
                  <c:v>148</c:v>
                </c:pt>
                <c:pt idx="20809">
                  <c:v>482</c:v>
                </c:pt>
                <c:pt idx="20810">
                  <c:v>409</c:v>
                </c:pt>
                <c:pt idx="20811">
                  <c:v>322</c:v>
                </c:pt>
                <c:pt idx="20812">
                  <c:v>24</c:v>
                </c:pt>
                <c:pt idx="20813">
                  <c:v>491</c:v>
                </c:pt>
                <c:pt idx="20814">
                  <c:v>377</c:v>
                </c:pt>
                <c:pt idx="20815">
                  <c:v>319</c:v>
                </c:pt>
                <c:pt idx="20816">
                  <c:v>47</c:v>
                </c:pt>
                <c:pt idx="20817">
                  <c:v>288</c:v>
                </c:pt>
                <c:pt idx="20818">
                  <c:v>261</c:v>
                </c:pt>
                <c:pt idx="20819">
                  <c:v>3</c:v>
                </c:pt>
                <c:pt idx="20820">
                  <c:v>3</c:v>
                </c:pt>
                <c:pt idx="20821">
                  <c:v>3</c:v>
                </c:pt>
                <c:pt idx="20822">
                  <c:v>3</c:v>
                </c:pt>
                <c:pt idx="20823">
                  <c:v>3</c:v>
                </c:pt>
                <c:pt idx="20824">
                  <c:v>2</c:v>
                </c:pt>
                <c:pt idx="20825">
                  <c:v>1</c:v>
                </c:pt>
                <c:pt idx="20826">
                  <c:v>1</c:v>
                </c:pt>
                <c:pt idx="20827">
                  <c:v>1</c:v>
                </c:pt>
                <c:pt idx="20828">
                  <c:v>1</c:v>
                </c:pt>
                <c:pt idx="20829">
                  <c:v>965</c:v>
                </c:pt>
                <c:pt idx="20830">
                  <c:v>840</c:v>
                </c:pt>
                <c:pt idx="20831">
                  <c:v>792</c:v>
                </c:pt>
                <c:pt idx="20832">
                  <c:v>561</c:v>
                </c:pt>
                <c:pt idx="20833">
                  <c:v>443</c:v>
                </c:pt>
                <c:pt idx="20834">
                  <c:v>528</c:v>
                </c:pt>
                <c:pt idx="20835">
                  <c:v>442</c:v>
                </c:pt>
                <c:pt idx="20836">
                  <c:v>364</c:v>
                </c:pt>
                <c:pt idx="20837">
                  <c:v>447</c:v>
                </c:pt>
                <c:pt idx="20838">
                  <c:v>420</c:v>
                </c:pt>
                <c:pt idx="20839">
                  <c:v>470</c:v>
                </c:pt>
                <c:pt idx="20840">
                  <c:v>413</c:v>
                </c:pt>
                <c:pt idx="20841">
                  <c:v>481</c:v>
                </c:pt>
                <c:pt idx="20842">
                  <c:v>442</c:v>
                </c:pt>
                <c:pt idx="20843">
                  <c:v>454</c:v>
                </c:pt>
                <c:pt idx="20844">
                  <c:v>476</c:v>
                </c:pt>
                <c:pt idx="20845">
                  <c:v>433</c:v>
                </c:pt>
                <c:pt idx="20846">
                  <c:v>416</c:v>
                </c:pt>
                <c:pt idx="20847">
                  <c:v>459</c:v>
                </c:pt>
                <c:pt idx="20848">
                  <c:v>413</c:v>
                </c:pt>
                <c:pt idx="20849">
                  <c:v>467</c:v>
                </c:pt>
                <c:pt idx="20850">
                  <c:v>439</c:v>
                </c:pt>
                <c:pt idx="20851">
                  <c:v>458</c:v>
                </c:pt>
                <c:pt idx="20852">
                  <c:v>452</c:v>
                </c:pt>
                <c:pt idx="20853">
                  <c:v>419</c:v>
                </c:pt>
                <c:pt idx="20854">
                  <c:v>446</c:v>
                </c:pt>
                <c:pt idx="20855">
                  <c:v>424</c:v>
                </c:pt>
                <c:pt idx="20856">
                  <c:v>392</c:v>
                </c:pt>
                <c:pt idx="20857">
                  <c:v>435</c:v>
                </c:pt>
                <c:pt idx="20858">
                  <c:v>381</c:v>
                </c:pt>
                <c:pt idx="20859">
                  <c:v>338</c:v>
                </c:pt>
                <c:pt idx="20860">
                  <c:v>326</c:v>
                </c:pt>
                <c:pt idx="20861">
                  <c:v>352</c:v>
                </c:pt>
                <c:pt idx="20862">
                  <c:v>374</c:v>
                </c:pt>
                <c:pt idx="20863">
                  <c:v>383</c:v>
                </c:pt>
                <c:pt idx="20864">
                  <c:v>413</c:v>
                </c:pt>
                <c:pt idx="20865">
                  <c:v>339</c:v>
                </c:pt>
                <c:pt idx="20866">
                  <c:v>378</c:v>
                </c:pt>
                <c:pt idx="20867">
                  <c:v>362</c:v>
                </c:pt>
                <c:pt idx="20868">
                  <c:v>369</c:v>
                </c:pt>
                <c:pt idx="20869">
                  <c:v>343</c:v>
                </c:pt>
                <c:pt idx="20870">
                  <c:v>357</c:v>
                </c:pt>
                <c:pt idx="20871">
                  <c:v>380</c:v>
                </c:pt>
                <c:pt idx="20872">
                  <c:v>374</c:v>
                </c:pt>
                <c:pt idx="20873">
                  <c:v>350</c:v>
                </c:pt>
                <c:pt idx="20874">
                  <c:v>356</c:v>
                </c:pt>
                <c:pt idx="20875">
                  <c:v>352</c:v>
                </c:pt>
                <c:pt idx="20876">
                  <c:v>311</c:v>
                </c:pt>
                <c:pt idx="20877">
                  <c:v>332</c:v>
                </c:pt>
                <c:pt idx="20878">
                  <c:v>339</c:v>
                </c:pt>
                <c:pt idx="20879">
                  <c:v>275</c:v>
                </c:pt>
                <c:pt idx="20880">
                  <c:v>331</c:v>
                </c:pt>
                <c:pt idx="20881">
                  <c:v>332</c:v>
                </c:pt>
                <c:pt idx="20882">
                  <c:v>331</c:v>
                </c:pt>
                <c:pt idx="20883">
                  <c:v>297</c:v>
                </c:pt>
                <c:pt idx="20884">
                  <c:v>303</c:v>
                </c:pt>
                <c:pt idx="20885">
                  <c:v>290</c:v>
                </c:pt>
                <c:pt idx="20886">
                  <c:v>259</c:v>
                </c:pt>
                <c:pt idx="20887">
                  <c:v>311</c:v>
                </c:pt>
                <c:pt idx="20888">
                  <c:v>309</c:v>
                </c:pt>
                <c:pt idx="20889">
                  <c:v>303</c:v>
                </c:pt>
                <c:pt idx="20890">
                  <c:v>317</c:v>
                </c:pt>
                <c:pt idx="20891">
                  <c:v>302</c:v>
                </c:pt>
                <c:pt idx="20892">
                  <c:v>254</c:v>
                </c:pt>
                <c:pt idx="20893">
                  <c:v>332</c:v>
                </c:pt>
                <c:pt idx="20894">
                  <c:v>230</c:v>
                </c:pt>
                <c:pt idx="20895">
                  <c:v>320</c:v>
                </c:pt>
                <c:pt idx="20896">
                  <c:v>255</c:v>
                </c:pt>
                <c:pt idx="20897">
                  <c:v>313</c:v>
                </c:pt>
                <c:pt idx="20898">
                  <c:v>324</c:v>
                </c:pt>
                <c:pt idx="20899">
                  <c:v>297</c:v>
                </c:pt>
                <c:pt idx="20900">
                  <c:v>346</c:v>
                </c:pt>
                <c:pt idx="20901">
                  <c:v>299</c:v>
                </c:pt>
                <c:pt idx="20902">
                  <c:v>312</c:v>
                </c:pt>
                <c:pt idx="20903">
                  <c:v>308</c:v>
                </c:pt>
                <c:pt idx="20904">
                  <c:v>351</c:v>
                </c:pt>
                <c:pt idx="20905">
                  <c:v>359</c:v>
                </c:pt>
                <c:pt idx="20906">
                  <c:v>320</c:v>
                </c:pt>
                <c:pt idx="20907">
                  <c:v>465</c:v>
                </c:pt>
                <c:pt idx="20908">
                  <c:v>476</c:v>
                </c:pt>
                <c:pt idx="20909">
                  <c:v>424</c:v>
                </c:pt>
                <c:pt idx="20910">
                  <c:v>414</c:v>
                </c:pt>
                <c:pt idx="20911">
                  <c:v>461</c:v>
                </c:pt>
                <c:pt idx="20912">
                  <c:v>413</c:v>
                </c:pt>
                <c:pt idx="20913">
                  <c:v>438</c:v>
                </c:pt>
                <c:pt idx="20914">
                  <c:v>482</c:v>
                </c:pt>
                <c:pt idx="20915">
                  <c:v>560</c:v>
                </c:pt>
                <c:pt idx="20916">
                  <c:v>510</c:v>
                </c:pt>
                <c:pt idx="20917">
                  <c:v>432</c:v>
                </c:pt>
                <c:pt idx="20918">
                  <c:v>497</c:v>
                </c:pt>
                <c:pt idx="20919">
                  <c:v>492</c:v>
                </c:pt>
                <c:pt idx="20920">
                  <c:v>501</c:v>
                </c:pt>
                <c:pt idx="20921">
                  <c:v>514</c:v>
                </c:pt>
                <c:pt idx="20922">
                  <c:v>512</c:v>
                </c:pt>
                <c:pt idx="20923">
                  <c:v>475</c:v>
                </c:pt>
                <c:pt idx="20924">
                  <c:v>511</c:v>
                </c:pt>
                <c:pt idx="20925">
                  <c:v>461</c:v>
                </c:pt>
                <c:pt idx="20926">
                  <c:v>395</c:v>
                </c:pt>
                <c:pt idx="20927">
                  <c:v>388</c:v>
                </c:pt>
                <c:pt idx="20928">
                  <c:v>358</c:v>
                </c:pt>
                <c:pt idx="20929">
                  <c:v>353</c:v>
                </c:pt>
                <c:pt idx="20930">
                  <c:v>385</c:v>
                </c:pt>
                <c:pt idx="20931">
                  <c:v>396</c:v>
                </c:pt>
                <c:pt idx="20932">
                  <c:v>442</c:v>
                </c:pt>
                <c:pt idx="20933">
                  <c:v>458</c:v>
                </c:pt>
                <c:pt idx="20934">
                  <c:v>436</c:v>
                </c:pt>
                <c:pt idx="20935">
                  <c:v>391</c:v>
                </c:pt>
                <c:pt idx="20936">
                  <c:v>398</c:v>
                </c:pt>
                <c:pt idx="20937">
                  <c:v>412</c:v>
                </c:pt>
                <c:pt idx="20938">
                  <c:v>356</c:v>
                </c:pt>
                <c:pt idx="20939">
                  <c:v>394</c:v>
                </c:pt>
                <c:pt idx="20940">
                  <c:v>354</c:v>
                </c:pt>
                <c:pt idx="20941">
                  <c:v>375</c:v>
                </c:pt>
                <c:pt idx="20942">
                  <c:v>370</c:v>
                </c:pt>
                <c:pt idx="20943">
                  <c:v>343</c:v>
                </c:pt>
                <c:pt idx="20944">
                  <c:v>392</c:v>
                </c:pt>
                <c:pt idx="20945">
                  <c:v>343</c:v>
                </c:pt>
                <c:pt idx="20946">
                  <c:v>343</c:v>
                </c:pt>
                <c:pt idx="20947">
                  <c:v>341</c:v>
                </c:pt>
                <c:pt idx="20948">
                  <c:v>381</c:v>
                </c:pt>
                <c:pt idx="20949">
                  <c:v>296</c:v>
                </c:pt>
                <c:pt idx="20950">
                  <c:v>318</c:v>
                </c:pt>
                <c:pt idx="20951">
                  <c:v>307</c:v>
                </c:pt>
                <c:pt idx="20952">
                  <c:v>349</c:v>
                </c:pt>
                <c:pt idx="20953">
                  <c:v>266</c:v>
                </c:pt>
                <c:pt idx="20954">
                  <c:v>319</c:v>
                </c:pt>
                <c:pt idx="20955">
                  <c:v>228</c:v>
                </c:pt>
                <c:pt idx="20956">
                  <c:v>239</c:v>
                </c:pt>
                <c:pt idx="20957">
                  <c:v>225</c:v>
                </c:pt>
                <c:pt idx="20958">
                  <c:v>184</c:v>
                </c:pt>
                <c:pt idx="20959">
                  <c:v>1059</c:v>
                </c:pt>
                <c:pt idx="20960">
                  <c:v>875</c:v>
                </c:pt>
                <c:pt idx="20961">
                  <c:v>866</c:v>
                </c:pt>
                <c:pt idx="20962">
                  <c:v>824</c:v>
                </c:pt>
                <c:pt idx="20963">
                  <c:v>795</c:v>
                </c:pt>
                <c:pt idx="20964">
                  <c:v>626</c:v>
                </c:pt>
                <c:pt idx="20965">
                  <c:v>530</c:v>
                </c:pt>
                <c:pt idx="20966">
                  <c:v>432</c:v>
                </c:pt>
                <c:pt idx="20967">
                  <c:v>400</c:v>
                </c:pt>
                <c:pt idx="20968">
                  <c:v>395</c:v>
                </c:pt>
                <c:pt idx="20969">
                  <c:v>375</c:v>
                </c:pt>
                <c:pt idx="20970">
                  <c:v>387</c:v>
                </c:pt>
                <c:pt idx="20971">
                  <c:v>351</c:v>
                </c:pt>
                <c:pt idx="20972">
                  <c:v>281</c:v>
                </c:pt>
                <c:pt idx="20973">
                  <c:v>319</c:v>
                </c:pt>
                <c:pt idx="20974">
                  <c:v>255</c:v>
                </c:pt>
                <c:pt idx="20975">
                  <c:v>267</c:v>
                </c:pt>
                <c:pt idx="20976">
                  <c:v>724</c:v>
                </c:pt>
                <c:pt idx="20977">
                  <c:v>770</c:v>
                </c:pt>
                <c:pt idx="20978">
                  <c:v>510</c:v>
                </c:pt>
                <c:pt idx="20979">
                  <c:v>443</c:v>
                </c:pt>
                <c:pt idx="20980">
                  <c:v>426</c:v>
                </c:pt>
                <c:pt idx="20981">
                  <c:v>377</c:v>
                </c:pt>
                <c:pt idx="20982">
                  <c:v>434</c:v>
                </c:pt>
                <c:pt idx="20983">
                  <c:v>322</c:v>
                </c:pt>
                <c:pt idx="20984">
                  <c:v>243</c:v>
                </c:pt>
                <c:pt idx="20985">
                  <c:v>172</c:v>
                </c:pt>
                <c:pt idx="20986">
                  <c:v>920</c:v>
                </c:pt>
                <c:pt idx="20987">
                  <c:v>772</c:v>
                </c:pt>
                <c:pt idx="20988">
                  <c:v>611</c:v>
                </c:pt>
                <c:pt idx="20989">
                  <c:v>455</c:v>
                </c:pt>
                <c:pt idx="20990">
                  <c:v>321</c:v>
                </c:pt>
                <c:pt idx="20991">
                  <c:v>312</c:v>
                </c:pt>
                <c:pt idx="20992">
                  <c:v>55</c:v>
                </c:pt>
                <c:pt idx="20993">
                  <c:v>92</c:v>
                </c:pt>
                <c:pt idx="20994">
                  <c:v>3</c:v>
                </c:pt>
                <c:pt idx="20995">
                  <c:v>13</c:v>
                </c:pt>
                <c:pt idx="20996">
                  <c:v>13</c:v>
                </c:pt>
                <c:pt idx="20997">
                  <c:v>1043</c:v>
                </c:pt>
                <c:pt idx="20998">
                  <c:v>922</c:v>
                </c:pt>
                <c:pt idx="20999">
                  <c:v>836</c:v>
                </c:pt>
                <c:pt idx="21000">
                  <c:v>793</c:v>
                </c:pt>
                <c:pt idx="21001">
                  <c:v>524</c:v>
                </c:pt>
                <c:pt idx="21002">
                  <c:v>422</c:v>
                </c:pt>
                <c:pt idx="21003">
                  <c:v>355</c:v>
                </c:pt>
                <c:pt idx="21004">
                  <c:v>310</c:v>
                </c:pt>
                <c:pt idx="21005">
                  <c:v>237</c:v>
                </c:pt>
                <c:pt idx="21006">
                  <c:v>227</c:v>
                </c:pt>
                <c:pt idx="21007">
                  <c:v>194</c:v>
                </c:pt>
                <c:pt idx="21008">
                  <c:v>205</c:v>
                </c:pt>
                <c:pt idx="21009">
                  <c:v>157</c:v>
                </c:pt>
                <c:pt idx="21010">
                  <c:v>149</c:v>
                </c:pt>
                <c:pt idx="21011">
                  <c:v>166</c:v>
                </c:pt>
                <c:pt idx="21012">
                  <c:v>159</c:v>
                </c:pt>
                <c:pt idx="21013">
                  <c:v>150</c:v>
                </c:pt>
                <c:pt idx="21014">
                  <c:v>141</c:v>
                </c:pt>
                <c:pt idx="21015">
                  <c:v>1040</c:v>
                </c:pt>
                <c:pt idx="21016">
                  <c:v>1016</c:v>
                </c:pt>
                <c:pt idx="21017">
                  <c:v>896</c:v>
                </c:pt>
                <c:pt idx="21018">
                  <c:v>784</c:v>
                </c:pt>
                <c:pt idx="21019">
                  <c:v>641</c:v>
                </c:pt>
                <c:pt idx="21020">
                  <c:v>458</c:v>
                </c:pt>
                <c:pt idx="21021">
                  <c:v>338</c:v>
                </c:pt>
                <c:pt idx="21022">
                  <c:v>315</c:v>
                </c:pt>
                <c:pt idx="21023">
                  <c:v>290</c:v>
                </c:pt>
                <c:pt idx="21024">
                  <c:v>318</c:v>
                </c:pt>
                <c:pt idx="21025">
                  <c:v>305</c:v>
                </c:pt>
                <c:pt idx="21026">
                  <c:v>289</c:v>
                </c:pt>
                <c:pt idx="21027">
                  <c:v>283</c:v>
                </c:pt>
                <c:pt idx="21028">
                  <c:v>262</c:v>
                </c:pt>
                <c:pt idx="21029">
                  <c:v>269</c:v>
                </c:pt>
                <c:pt idx="21030">
                  <c:v>209</c:v>
                </c:pt>
                <c:pt idx="21031">
                  <c:v>180</c:v>
                </c:pt>
                <c:pt idx="21032">
                  <c:v>176</c:v>
                </c:pt>
                <c:pt idx="21033">
                  <c:v>227</c:v>
                </c:pt>
                <c:pt idx="21034">
                  <c:v>191</c:v>
                </c:pt>
                <c:pt idx="21035">
                  <c:v>178</c:v>
                </c:pt>
                <c:pt idx="21036">
                  <c:v>200</c:v>
                </c:pt>
                <c:pt idx="21037">
                  <c:v>180</c:v>
                </c:pt>
                <c:pt idx="21038">
                  <c:v>221</c:v>
                </c:pt>
                <c:pt idx="21039">
                  <c:v>176</c:v>
                </c:pt>
                <c:pt idx="21040">
                  <c:v>203</c:v>
                </c:pt>
                <c:pt idx="21041">
                  <c:v>199</c:v>
                </c:pt>
                <c:pt idx="21042">
                  <c:v>181</c:v>
                </c:pt>
                <c:pt idx="21043">
                  <c:v>196</c:v>
                </c:pt>
                <c:pt idx="21044">
                  <c:v>188</c:v>
                </c:pt>
                <c:pt idx="21045">
                  <c:v>234</c:v>
                </c:pt>
                <c:pt idx="21046">
                  <c:v>184</c:v>
                </c:pt>
                <c:pt idx="21047">
                  <c:v>177</c:v>
                </c:pt>
                <c:pt idx="21048">
                  <c:v>201</c:v>
                </c:pt>
                <c:pt idx="21049">
                  <c:v>172</c:v>
                </c:pt>
                <c:pt idx="21050">
                  <c:v>195</c:v>
                </c:pt>
                <c:pt idx="21051">
                  <c:v>180</c:v>
                </c:pt>
                <c:pt idx="21052">
                  <c:v>226</c:v>
                </c:pt>
                <c:pt idx="21053">
                  <c:v>183</c:v>
                </c:pt>
                <c:pt idx="21054">
                  <c:v>227</c:v>
                </c:pt>
                <c:pt idx="21055">
                  <c:v>184</c:v>
                </c:pt>
                <c:pt idx="21056">
                  <c:v>180</c:v>
                </c:pt>
                <c:pt idx="21057">
                  <c:v>202</c:v>
                </c:pt>
                <c:pt idx="21058">
                  <c:v>167</c:v>
                </c:pt>
                <c:pt idx="21059">
                  <c:v>195</c:v>
                </c:pt>
                <c:pt idx="21060">
                  <c:v>182</c:v>
                </c:pt>
                <c:pt idx="21061">
                  <c:v>226</c:v>
                </c:pt>
                <c:pt idx="21062">
                  <c:v>180</c:v>
                </c:pt>
                <c:pt idx="21063">
                  <c:v>174</c:v>
                </c:pt>
                <c:pt idx="21064">
                  <c:v>198</c:v>
                </c:pt>
                <c:pt idx="21065">
                  <c:v>175</c:v>
                </c:pt>
                <c:pt idx="21066">
                  <c:v>194</c:v>
                </c:pt>
                <c:pt idx="21067">
                  <c:v>177</c:v>
                </c:pt>
                <c:pt idx="21068">
                  <c:v>179</c:v>
                </c:pt>
                <c:pt idx="21069">
                  <c:v>180</c:v>
                </c:pt>
                <c:pt idx="21070">
                  <c:v>220</c:v>
                </c:pt>
                <c:pt idx="21071">
                  <c:v>172</c:v>
                </c:pt>
                <c:pt idx="21072">
                  <c:v>177</c:v>
                </c:pt>
                <c:pt idx="21073">
                  <c:v>179</c:v>
                </c:pt>
                <c:pt idx="21074">
                  <c:v>172</c:v>
                </c:pt>
                <c:pt idx="21075">
                  <c:v>183</c:v>
                </c:pt>
                <c:pt idx="21076">
                  <c:v>172</c:v>
                </c:pt>
                <c:pt idx="21077">
                  <c:v>176</c:v>
                </c:pt>
                <c:pt idx="21078">
                  <c:v>160</c:v>
                </c:pt>
                <c:pt idx="21079">
                  <c:v>197</c:v>
                </c:pt>
                <c:pt idx="21080">
                  <c:v>184</c:v>
                </c:pt>
                <c:pt idx="21081">
                  <c:v>229</c:v>
                </c:pt>
                <c:pt idx="21082">
                  <c:v>944</c:v>
                </c:pt>
                <c:pt idx="21083">
                  <c:v>843</c:v>
                </c:pt>
                <c:pt idx="21084">
                  <c:v>757</c:v>
                </c:pt>
                <c:pt idx="21085">
                  <c:v>484</c:v>
                </c:pt>
                <c:pt idx="21086">
                  <c:v>441</c:v>
                </c:pt>
                <c:pt idx="21087">
                  <c:v>325</c:v>
                </c:pt>
                <c:pt idx="21088">
                  <c:v>312</c:v>
                </c:pt>
                <c:pt idx="21089">
                  <c:v>267</c:v>
                </c:pt>
                <c:pt idx="21090">
                  <c:v>255</c:v>
                </c:pt>
                <c:pt idx="21091">
                  <c:v>231</c:v>
                </c:pt>
                <c:pt idx="21092">
                  <c:v>184</c:v>
                </c:pt>
                <c:pt idx="21093">
                  <c:v>173</c:v>
                </c:pt>
                <c:pt idx="21094">
                  <c:v>154</c:v>
                </c:pt>
                <c:pt idx="21095">
                  <c:v>174</c:v>
                </c:pt>
                <c:pt idx="21096">
                  <c:v>909</c:v>
                </c:pt>
                <c:pt idx="21097">
                  <c:v>742</c:v>
                </c:pt>
                <c:pt idx="21098">
                  <c:v>437</c:v>
                </c:pt>
                <c:pt idx="21099">
                  <c:v>341</c:v>
                </c:pt>
                <c:pt idx="21100">
                  <c:v>310</c:v>
                </c:pt>
                <c:pt idx="21101">
                  <c:v>342</c:v>
                </c:pt>
                <c:pt idx="21102">
                  <c:v>268</c:v>
                </c:pt>
                <c:pt idx="21103">
                  <c:v>273</c:v>
                </c:pt>
                <c:pt idx="21104">
                  <c:v>255</c:v>
                </c:pt>
                <c:pt idx="21105">
                  <c:v>254</c:v>
                </c:pt>
                <c:pt idx="21106">
                  <c:v>262</c:v>
                </c:pt>
                <c:pt idx="21107">
                  <c:v>248</c:v>
                </c:pt>
                <c:pt idx="21108">
                  <c:v>249</c:v>
                </c:pt>
                <c:pt idx="21109">
                  <c:v>244</c:v>
                </c:pt>
                <c:pt idx="21110">
                  <c:v>235</c:v>
                </c:pt>
                <c:pt idx="21111">
                  <c:v>244</c:v>
                </c:pt>
                <c:pt idx="21112">
                  <c:v>225</c:v>
                </c:pt>
                <c:pt idx="21113">
                  <c:v>229</c:v>
                </c:pt>
                <c:pt idx="21114">
                  <c:v>248</c:v>
                </c:pt>
                <c:pt idx="21115">
                  <c:v>230</c:v>
                </c:pt>
                <c:pt idx="21116">
                  <c:v>220</c:v>
                </c:pt>
                <c:pt idx="21117">
                  <c:v>189</c:v>
                </c:pt>
                <c:pt idx="21118">
                  <c:v>164</c:v>
                </c:pt>
                <c:pt idx="21119">
                  <c:v>164</c:v>
                </c:pt>
                <c:pt idx="21120">
                  <c:v>190</c:v>
                </c:pt>
                <c:pt idx="21121">
                  <c:v>160</c:v>
                </c:pt>
                <c:pt idx="21122">
                  <c:v>156</c:v>
                </c:pt>
                <c:pt idx="21123">
                  <c:v>163</c:v>
                </c:pt>
                <c:pt idx="21124">
                  <c:v>134</c:v>
                </c:pt>
                <c:pt idx="21125">
                  <c:v>114</c:v>
                </c:pt>
                <c:pt idx="21126">
                  <c:v>929</c:v>
                </c:pt>
                <c:pt idx="21127">
                  <c:v>779</c:v>
                </c:pt>
                <c:pt idx="21128">
                  <c:v>519</c:v>
                </c:pt>
                <c:pt idx="21129">
                  <c:v>348</c:v>
                </c:pt>
                <c:pt idx="21130">
                  <c:v>320</c:v>
                </c:pt>
                <c:pt idx="21131">
                  <c:v>332</c:v>
                </c:pt>
                <c:pt idx="21132">
                  <c:v>323</c:v>
                </c:pt>
                <c:pt idx="21133">
                  <c:v>283</c:v>
                </c:pt>
                <c:pt idx="21134">
                  <c:v>313</c:v>
                </c:pt>
                <c:pt idx="21135">
                  <c:v>273</c:v>
                </c:pt>
                <c:pt idx="21136">
                  <c:v>296</c:v>
                </c:pt>
                <c:pt idx="21137">
                  <c:v>253</c:v>
                </c:pt>
                <c:pt idx="21138">
                  <c:v>290</c:v>
                </c:pt>
                <c:pt idx="21139">
                  <c:v>267</c:v>
                </c:pt>
                <c:pt idx="21140">
                  <c:v>253</c:v>
                </c:pt>
                <c:pt idx="21141">
                  <c:v>286</c:v>
                </c:pt>
                <c:pt idx="21142">
                  <c:v>248</c:v>
                </c:pt>
                <c:pt idx="21143">
                  <c:v>235</c:v>
                </c:pt>
                <c:pt idx="21144">
                  <c:v>249</c:v>
                </c:pt>
                <c:pt idx="21145">
                  <c:v>264</c:v>
                </c:pt>
                <c:pt idx="21146">
                  <c:v>234</c:v>
                </c:pt>
                <c:pt idx="21147">
                  <c:v>271</c:v>
                </c:pt>
                <c:pt idx="21148">
                  <c:v>236</c:v>
                </c:pt>
                <c:pt idx="21149">
                  <c:v>201</c:v>
                </c:pt>
                <c:pt idx="21150">
                  <c:v>174</c:v>
                </c:pt>
                <c:pt idx="21151">
                  <c:v>159</c:v>
                </c:pt>
                <c:pt idx="21152">
                  <c:v>166</c:v>
                </c:pt>
                <c:pt idx="21153">
                  <c:v>205</c:v>
                </c:pt>
                <c:pt idx="21154">
                  <c:v>150</c:v>
                </c:pt>
                <c:pt idx="21155">
                  <c:v>161</c:v>
                </c:pt>
                <c:pt idx="21156">
                  <c:v>169</c:v>
                </c:pt>
                <c:pt idx="21157">
                  <c:v>141</c:v>
                </c:pt>
                <c:pt idx="21158">
                  <c:v>139</c:v>
                </c:pt>
                <c:pt idx="21159">
                  <c:v>160</c:v>
                </c:pt>
                <c:pt idx="21160">
                  <c:v>156</c:v>
                </c:pt>
                <c:pt idx="21161">
                  <c:v>154</c:v>
                </c:pt>
                <c:pt idx="21162">
                  <c:v>168</c:v>
                </c:pt>
                <c:pt idx="21163">
                  <c:v>260</c:v>
                </c:pt>
                <c:pt idx="21164">
                  <c:v>281</c:v>
                </c:pt>
                <c:pt idx="21165">
                  <c:v>186</c:v>
                </c:pt>
                <c:pt idx="21166">
                  <c:v>174</c:v>
                </c:pt>
                <c:pt idx="21167">
                  <c:v>144</c:v>
                </c:pt>
                <c:pt idx="21168">
                  <c:v>158</c:v>
                </c:pt>
                <c:pt idx="21169">
                  <c:v>184</c:v>
                </c:pt>
                <c:pt idx="21170">
                  <c:v>150</c:v>
                </c:pt>
                <c:pt idx="21171">
                  <c:v>151</c:v>
                </c:pt>
                <c:pt idx="21172">
                  <c:v>149</c:v>
                </c:pt>
                <c:pt idx="21173">
                  <c:v>164</c:v>
                </c:pt>
                <c:pt idx="21174">
                  <c:v>160</c:v>
                </c:pt>
                <c:pt idx="21175">
                  <c:v>123</c:v>
                </c:pt>
                <c:pt idx="21176">
                  <c:v>131</c:v>
                </c:pt>
                <c:pt idx="21177">
                  <c:v>129</c:v>
                </c:pt>
                <c:pt idx="21178">
                  <c:v>156</c:v>
                </c:pt>
                <c:pt idx="21179">
                  <c:v>144</c:v>
                </c:pt>
                <c:pt idx="21180">
                  <c:v>127</c:v>
                </c:pt>
                <c:pt idx="21181">
                  <c:v>139</c:v>
                </c:pt>
                <c:pt idx="21182">
                  <c:v>121</c:v>
                </c:pt>
                <c:pt idx="21183">
                  <c:v>149</c:v>
                </c:pt>
                <c:pt idx="21184">
                  <c:v>120</c:v>
                </c:pt>
                <c:pt idx="21185">
                  <c:v>417</c:v>
                </c:pt>
                <c:pt idx="21186">
                  <c:v>480</c:v>
                </c:pt>
                <c:pt idx="21187">
                  <c:v>248</c:v>
                </c:pt>
                <c:pt idx="21188">
                  <c:v>246</c:v>
                </c:pt>
                <c:pt idx="21189">
                  <c:v>202</c:v>
                </c:pt>
                <c:pt idx="21190">
                  <c:v>282</c:v>
                </c:pt>
                <c:pt idx="21191">
                  <c:v>206</c:v>
                </c:pt>
                <c:pt idx="21192">
                  <c:v>241</c:v>
                </c:pt>
                <c:pt idx="21193">
                  <c:v>165</c:v>
                </c:pt>
                <c:pt idx="21194">
                  <c:v>215</c:v>
                </c:pt>
                <c:pt idx="21195">
                  <c:v>172</c:v>
                </c:pt>
                <c:pt idx="21196">
                  <c:v>223</c:v>
                </c:pt>
                <c:pt idx="21197">
                  <c:v>176</c:v>
                </c:pt>
                <c:pt idx="21198">
                  <c:v>200</c:v>
                </c:pt>
                <c:pt idx="21199">
                  <c:v>212</c:v>
                </c:pt>
                <c:pt idx="21200">
                  <c:v>241</c:v>
                </c:pt>
                <c:pt idx="21201">
                  <c:v>224</c:v>
                </c:pt>
                <c:pt idx="21202">
                  <c:v>252</c:v>
                </c:pt>
                <c:pt idx="21203">
                  <c:v>290</c:v>
                </c:pt>
                <c:pt idx="21204">
                  <c:v>242</c:v>
                </c:pt>
                <c:pt idx="21205">
                  <c:v>272</c:v>
                </c:pt>
                <c:pt idx="21206">
                  <c:v>274</c:v>
                </c:pt>
                <c:pt idx="21207">
                  <c:v>265</c:v>
                </c:pt>
                <c:pt idx="21208">
                  <c:v>236</c:v>
                </c:pt>
                <c:pt idx="21209">
                  <c:v>253</c:v>
                </c:pt>
                <c:pt idx="21210">
                  <c:v>272</c:v>
                </c:pt>
                <c:pt idx="21211">
                  <c:v>274</c:v>
                </c:pt>
                <c:pt idx="21212">
                  <c:v>263</c:v>
                </c:pt>
                <c:pt idx="21213">
                  <c:v>267</c:v>
                </c:pt>
                <c:pt idx="21214">
                  <c:v>267</c:v>
                </c:pt>
                <c:pt idx="21215">
                  <c:v>268</c:v>
                </c:pt>
                <c:pt idx="21216">
                  <c:v>269</c:v>
                </c:pt>
                <c:pt idx="21217">
                  <c:v>266</c:v>
                </c:pt>
                <c:pt idx="21218">
                  <c:v>257</c:v>
                </c:pt>
                <c:pt idx="21219">
                  <c:v>248</c:v>
                </c:pt>
                <c:pt idx="21220">
                  <c:v>248</c:v>
                </c:pt>
                <c:pt idx="21221">
                  <c:v>258</c:v>
                </c:pt>
                <c:pt idx="21222">
                  <c:v>249</c:v>
                </c:pt>
                <c:pt idx="21223">
                  <c:v>260</c:v>
                </c:pt>
                <c:pt idx="21224">
                  <c:v>223</c:v>
                </c:pt>
                <c:pt idx="21225">
                  <c:v>185</c:v>
                </c:pt>
                <c:pt idx="21226">
                  <c:v>165</c:v>
                </c:pt>
                <c:pt idx="21227">
                  <c:v>158</c:v>
                </c:pt>
                <c:pt idx="21228">
                  <c:v>183</c:v>
                </c:pt>
                <c:pt idx="21229">
                  <c:v>177</c:v>
                </c:pt>
                <c:pt idx="21230">
                  <c:v>202</c:v>
                </c:pt>
                <c:pt idx="21231">
                  <c:v>158</c:v>
                </c:pt>
                <c:pt idx="21232">
                  <c:v>179</c:v>
                </c:pt>
                <c:pt idx="21233">
                  <c:v>164</c:v>
                </c:pt>
                <c:pt idx="21234">
                  <c:v>166</c:v>
                </c:pt>
                <c:pt idx="21235">
                  <c:v>166</c:v>
                </c:pt>
                <c:pt idx="21236">
                  <c:v>160</c:v>
                </c:pt>
                <c:pt idx="21237">
                  <c:v>164</c:v>
                </c:pt>
                <c:pt idx="21238">
                  <c:v>160</c:v>
                </c:pt>
                <c:pt idx="21239">
                  <c:v>176</c:v>
                </c:pt>
                <c:pt idx="21240">
                  <c:v>148</c:v>
                </c:pt>
                <c:pt idx="21241">
                  <c:v>110</c:v>
                </c:pt>
                <c:pt idx="21242">
                  <c:v>842</c:v>
                </c:pt>
                <c:pt idx="21243">
                  <c:v>776</c:v>
                </c:pt>
                <c:pt idx="21244">
                  <c:v>583</c:v>
                </c:pt>
                <c:pt idx="21245">
                  <c:v>362</c:v>
                </c:pt>
                <c:pt idx="21246">
                  <c:v>265</c:v>
                </c:pt>
                <c:pt idx="21247">
                  <c:v>342</c:v>
                </c:pt>
                <c:pt idx="21248">
                  <c:v>387</c:v>
                </c:pt>
                <c:pt idx="21249">
                  <c:v>328</c:v>
                </c:pt>
                <c:pt idx="21250">
                  <c:v>300</c:v>
                </c:pt>
                <c:pt idx="21251">
                  <c:v>301</c:v>
                </c:pt>
                <c:pt idx="21252">
                  <c:v>298</c:v>
                </c:pt>
                <c:pt idx="21253">
                  <c:v>289</c:v>
                </c:pt>
                <c:pt idx="21254">
                  <c:v>292</c:v>
                </c:pt>
                <c:pt idx="21255">
                  <c:v>297</c:v>
                </c:pt>
                <c:pt idx="21256">
                  <c:v>279</c:v>
                </c:pt>
                <c:pt idx="21257">
                  <c:v>297</c:v>
                </c:pt>
                <c:pt idx="21258">
                  <c:v>289</c:v>
                </c:pt>
                <c:pt idx="21259">
                  <c:v>281</c:v>
                </c:pt>
                <c:pt idx="21260">
                  <c:v>275</c:v>
                </c:pt>
                <c:pt idx="21261">
                  <c:v>278</c:v>
                </c:pt>
                <c:pt idx="21262">
                  <c:v>277</c:v>
                </c:pt>
                <c:pt idx="21263">
                  <c:v>274</c:v>
                </c:pt>
                <c:pt idx="21264">
                  <c:v>262</c:v>
                </c:pt>
                <c:pt idx="21265">
                  <c:v>270</c:v>
                </c:pt>
                <c:pt idx="21266">
                  <c:v>258</c:v>
                </c:pt>
                <c:pt idx="21267">
                  <c:v>247</c:v>
                </c:pt>
                <c:pt idx="21268">
                  <c:v>260</c:v>
                </c:pt>
                <c:pt idx="21269">
                  <c:v>252</c:v>
                </c:pt>
                <c:pt idx="21270">
                  <c:v>206</c:v>
                </c:pt>
                <c:pt idx="21271">
                  <c:v>179</c:v>
                </c:pt>
                <c:pt idx="21272">
                  <c:v>175</c:v>
                </c:pt>
                <c:pt idx="21273">
                  <c:v>185</c:v>
                </c:pt>
                <c:pt idx="21274">
                  <c:v>185</c:v>
                </c:pt>
                <c:pt idx="21275">
                  <c:v>216</c:v>
                </c:pt>
                <c:pt idx="21276">
                  <c:v>164</c:v>
                </c:pt>
                <c:pt idx="21277">
                  <c:v>175</c:v>
                </c:pt>
                <c:pt idx="21278">
                  <c:v>936</c:v>
                </c:pt>
                <c:pt idx="21279">
                  <c:v>781</c:v>
                </c:pt>
                <c:pt idx="21280">
                  <c:v>477</c:v>
                </c:pt>
                <c:pt idx="21281">
                  <c:v>416</c:v>
                </c:pt>
                <c:pt idx="21282">
                  <c:v>303</c:v>
                </c:pt>
                <c:pt idx="21283">
                  <c:v>316</c:v>
                </c:pt>
                <c:pt idx="21284">
                  <c:v>342</c:v>
                </c:pt>
                <c:pt idx="21285">
                  <c:v>245</c:v>
                </c:pt>
                <c:pt idx="21286">
                  <c:v>223</c:v>
                </c:pt>
                <c:pt idx="21287">
                  <c:v>200</c:v>
                </c:pt>
                <c:pt idx="21288">
                  <c:v>192</c:v>
                </c:pt>
                <c:pt idx="21289">
                  <c:v>202</c:v>
                </c:pt>
                <c:pt idx="21290">
                  <c:v>191</c:v>
                </c:pt>
                <c:pt idx="21291">
                  <c:v>207</c:v>
                </c:pt>
                <c:pt idx="21292">
                  <c:v>184</c:v>
                </c:pt>
                <c:pt idx="21293">
                  <c:v>218</c:v>
                </c:pt>
                <c:pt idx="21294">
                  <c:v>181</c:v>
                </c:pt>
                <c:pt idx="21295">
                  <c:v>235</c:v>
                </c:pt>
                <c:pt idx="21296">
                  <c:v>180</c:v>
                </c:pt>
                <c:pt idx="21297">
                  <c:v>215</c:v>
                </c:pt>
                <c:pt idx="21298">
                  <c:v>181</c:v>
                </c:pt>
                <c:pt idx="21299">
                  <c:v>177</c:v>
                </c:pt>
                <c:pt idx="21300">
                  <c:v>183</c:v>
                </c:pt>
                <c:pt idx="21301">
                  <c:v>186</c:v>
                </c:pt>
                <c:pt idx="21302">
                  <c:v>183</c:v>
                </c:pt>
                <c:pt idx="21303">
                  <c:v>170</c:v>
                </c:pt>
                <c:pt idx="21304">
                  <c:v>182</c:v>
                </c:pt>
                <c:pt idx="21305">
                  <c:v>165</c:v>
                </c:pt>
                <c:pt idx="21306">
                  <c:v>177</c:v>
                </c:pt>
                <c:pt idx="21307">
                  <c:v>187</c:v>
                </c:pt>
                <c:pt idx="21308">
                  <c:v>185</c:v>
                </c:pt>
                <c:pt idx="21309">
                  <c:v>157</c:v>
                </c:pt>
                <c:pt idx="21310">
                  <c:v>181</c:v>
                </c:pt>
                <c:pt idx="21311">
                  <c:v>167</c:v>
                </c:pt>
                <c:pt idx="21312">
                  <c:v>176</c:v>
                </c:pt>
                <c:pt idx="21313">
                  <c:v>188</c:v>
                </c:pt>
                <c:pt idx="21314">
                  <c:v>202</c:v>
                </c:pt>
                <c:pt idx="21315">
                  <c:v>196</c:v>
                </c:pt>
                <c:pt idx="21316">
                  <c:v>201</c:v>
                </c:pt>
                <c:pt idx="21317">
                  <c:v>181</c:v>
                </c:pt>
                <c:pt idx="21318">
                  <c:v>199</c:v>
                </c:pt>
                <c:pt idx="21319">
                  <c:v>205</c:v>
                </c:pt>
                <c:pt idx="21320">
                  <c:v>200</c:v>
                </c:pt>
                <c:pt idx="21321">
                  <c:v>200</c:v>
                </c:pt>
                <c:pt idx="21322">
                  <c:v>201</c:v>
                </c:pt>
                <c:pt idx="21323">
                  <c:v>204</c:v>
                </c:pt>
                <c:pt idx="21324">
                  <c:v>185</c:v>
                </c:pt>
                <c:pt idx="21325">
                  <c:v>200</c:v>
                </c:pt>
                <c:pt idx="21326">
                  <c:v>173</c:v>
                </c:pt>
                <c:pt idx="21327">
                  <c:v>189</c:v>
                </c:pt>
                <c:pt idx="21328">
                  <c:v>181</c:v>
                </c:pt>
                <c:pt idx="21329">
                  <c:v>186</c:v>
                </c:pt>
                <c:pt idx="21330">
                  <c:v>180</c:v>
                </c:pt>
                <c:pt idx="21331">
                  <c:v>191</c:v>
                </c:pt>
                <c:pt idx="21332">
                  <c:v>167</c:v>
                </c:pt>
                <c:pt idx="21333">
                  <c:v>196</c:v>
                </c:pt>
                <c:pt idx="21334">
                  <c:v>165</c:v>
                </c:pt>
                <c:pt idx="21335">
                  <c:v>221</c:v>
                </c:pt>
                <c:pt idx="21336">
                  <c:v>180</c:v>
                </c:pt>
                <c:pt idx="21337">
                  <c:v>183</c:v>
                </c:pt>
                <c:pt idx="21338">
                  <c:v>179</c:v>
                </c:pt>
                <c:pt idx="21339">
                  <c:v>192</c:v>
                </c:pt>
                <c:pt idx="21340">
                  <c:v>177</c:v>
                </c:pt>
              </c:numCache>
            </c:numRef>
          </c:yVal>
          <c:smooth val="0"/>
          <c:extLst>
            <c:ext xmlns:c16="http://schemas.microsoft.com/office/drawing/2014/chart" uri="{C3380CC4-5D6E-409C-BE32-E72D297353CC}">
              <c16:uniqueId val="{00000001-C915-496D-900E-82DCCC7CFA10}"/>
            </c:ext>
          </c:extLst>
        </c:ser>
        <c:dLbls>
          <c:showLegendKey val="0"/>
          <c:showVal val="0"/>
          <c:showCatName val="0"/>
          <c:showSerName val="0"/>
          <c:showPercent val="0"/>
          <c:showBubbleSize val="0"/>
        </c:dLbls>
        <c:axId val="838975680"/>
        <c:axId val="839369024"/>
      </c:scatterChart>
      <c:valAx>
        <c:axId val="838975680"/>
        <c:scaling>
          <c:orientation val="minMax"/>
          <c:min val="40"/>
        </c:scaling>
        <c:delete val="0"/>
        <c:axPos val="b"/>
        <c:majorGridlines/>
        <c:numFmt formatCode="General" sourceLinked="1"/>
        <c:majorTickMark val="none"/>
        <c:minorTickMark val="none"/>
        <c:tickLblPos val="nextTo"/>
        <c:crossAx val="839369024"/>
        <c:crosses val="autoZero"/>
        <c:crossBetween val="midCat"/>
        <c:minorUnit val="5"/>
      </c:valAx>
      <c:valAx>
        <c:axId val="839369024"/>
        <c:scaling>
          <c:orientation val="minMax"/>
          <c:min val="0"/>
        </c:scaling>
        <c:delete val="0"/>
        <c:axPos val="l"/>
        <c:majorGridlines/>
        <c:numFmt formatCode="General" sourceLinked="0"/>
        <c:majorTickMark val="none"/>
        <c:minorTickMark val="none"/>
        <c:tickLblPos val="nextTo"/>
        <c:crossAx val="838975680"/>
        <c:crosses val="autoZero"/>
        <c:crossBetween val="midCat"/>
        <c:minorUnit val="25"/>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dirty="0">
                <a:latin typeface="Segoe UI Light" panose="020B0502040204020203" pitchFamily="34" charset="0"/>
                <a:cs typeface="Segoe UI Light" panose="020B0502040204020203" pitchFamily="34" charset="0"/>
              </a:rPr>
              <a:t>internal building</a:t>
            </a:r>
            <a:r>
              <a:rPr lang="en-US" sz="1800" baseline="0" dirty="0">
                <a:latin typeface="Segoe UI Light" panose="020B0502040204020203" pitchFamily="34" charset="0"/>
                <a:cs typeface="Segoe UI Light" panose="020B0502040204020203" pitchFamily="34" charset="0"/>
              </a:rPr>
              <a:t> heat generation by hour (body heat is a big par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876120123392403E-2"/>
          <c:y val="8.3100968114980106E-2"/>
          <c:w val="0.93128508129537502"/>
          <c:h val="0.90274213782795298"/>
        </c:manualLayout>
      </c:layout>
      <c:scatterChart>
        <c:scatterStyle val="lineMarker"/>
        <c:varyColors val="0"/>
        <c:ser>
          <c:idx val="0"/>
          <c:order val="0"/>
          <c:spPr>
            <a:ln w="31750" cap="rnd">
              <a:solidFill>
                <a:schemeClr val="accent1"/>
              </a:solidFill>
              <a:round/>
            </a:ln>
            <a:effectLst/>
          </c:spPr>
          <c:marker>
            <c:symbol val="circle"/>
            <c:size val="5"/>
            <c:spPr>
              <a:solidFill>
                <a:schemeClr val="accent1"/>
              </a:solidFill>
              <a:ln w="9525">
                <a:solidFill>
                  <a:schemeClr val="accent1"/>
                </a:solidFill>
              </a:ln>
              <a:effectLst/>
            </c:spPr>
          </c:marker>
          <c:xVal>
            <c:numRef>
              <c:f>model!$B$1:$B$168</c:f>
              <c:numCache>
                <c:formatCode>General</c:formatCode>
                <c:ptCount val="168"/>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numCache>
            </c:numRef>
          </c:xVal>
          <c:yVal>
            <c:numRef>
              <c:f>model!$C$1:$C$168</c:f>
              <c:numCache>
                <c:formatCode>General</c:formatCode>
                <c:ptCount val="168"/>
                <c:pt idx="0">
                  <c:v>-0.16632861163694099</c:v>
                </c:pt>
                <c:pt idx="1">
                  <c:v>-0.14218479935773701</c:v>
                </c:pt>
                <c:pt idx="2">
                  <c:v>-9.8333769314532096E-2</c:v>
                </c:pt>
                <c:pt idx="3">
                  <c:v>-0.15099043742950799</c:v>
                </c:pt>
                <c:pt idx="4">
                  <c:v>-0.11363095496664601</c:v>
                </c:pt>
                <c:pt idx="5">
                  <c:v>2.0677781253868498E-2</c:v>
                </c:pt>
                <c:pt idx="6">
                  <c:v>0.106561078330771</c:v>
                </c:pt>
                <c:pt idx="7">
                  <c:v>-9.5948546377122496E-2</c:v>
                </c:pt>
                <c:pt idx="8">
                  <c:v>-0.27957329360226402</c:v>
                </c:pt>
                <c:pt idx="9">
                  <c:v>-0.103393391546848</c:v>
                </c:pt>
                <c:pt idx="10">
                  <c:v>3.4470795555246403E-2</c:v>
                </c:pt>
                <c:pt idx="11">
                  <c:v>-0.13039033403374001</c:v>
                </c:pt>
                <c:pt idx="12">
                  <c:v>-0.21146845338774001</c:v>
                </c:pt>
                <c:pt idx="13">
                  <c:v>-0.347813196115835</c:v>
                </c:pt>
                <c:pt idx="14">
                  <c:v>-0.44828416247977398</c:v>
                </c:pt>
                <c:pt idx="15">
                  <c:v>-0.392412507571199</c:v>
                </c:pt>
                <c:pt idx="16">
                  <c:v>-0.38333950546340101</c:v>
                </c:pt>
                <c:pt idx="17">
                  <c:v>-0.33109542146770499</c:v>
                </c:pt>
                <c:pt idx="18">
                  <c:v>-0.21369786099716701</c:v>
                </c:pt>
                <c:pt idx="19">
                  <c:v>-0.118528238682604</c:v>
                </c:pt>
                <c:pt idx="20">
                  <c:v>-7.9075471531529296E-4</c:v>
                </c:pt>
                <c:pt idx="21">
                  <c:v>1.6601264061423301E-3</c:v>
                </c:pt>
                <c:pt idx="22">
                  <c:v>-1.46489240137235E-2</c:v>
                </c:pt>
                <c:pt idx="23">
                  <c:v>7.19768758728469E-3</c:v>
                </c:pt>
                <c:pt idx="24">
                  <c:v>2.3439855766179501E-2</c:v>
                </c:pt>
                <c:pt idx="25">
                  <c:v>8.1182445494707697E-2</c:v>
                </c:pt>
                <c:pt idx="26">
                  <c:v>0.13536304513358799</c:v>
                </c:pt>
                <c:pt idx="27">
                  <c:v>0.22276744471889201</c:v>
                </c:pt>
                <c:pt idx="28">
                  <c:v>0.49026098297232401</c:v>
                </c:pt>
                <c:pt idx="29">
                  <c:v>0.73917176678394703</c:v>
                </c:pt>
                <c:pt idx="30">
                  <c:v>1.0031003974564461</c:v>
                </c:pt>
                <c:pt idx="31">
                  <c:v>0.90393074487025504</c:v>
                </c:pt>
                <c:pt idx="32">
                  <c:v>0.88232824906692797</c:v>
                </c:pt>
                <c:pt idx="33">
                  <c:v>0.96518208235312097</c:v>
                </c:pt>
                <c:pt idx="34">
                  <c:v>0.75028198165335103</c:v>
                </c:pt>
                <c:pt idx="35">
                  <c:v>0.56926338828922995</c:v>
                </c:pt>
                <c:pt idx="36">
                  <c:v>0.34165169416849001</c:v>
                </c:pt>
                <c:pt idx="37">
                  <c:v>0.35384362991968898</c:v>
                </c:pt>
                <c:pt idx="38">
                  <c:v>0.20670997551449599</c:v>
                </c:pt>
                <c:pt idx="39">
                  <c:v>0.19326539442368201</c:v>
                </c:pt>
                <c:pt idx="40">
                  <c:v>0.115946738121447</c:v>
                </c:pt>
                <c:pt idx="41">
                  <c:v>-8.0922917845358003E-2</c:v>
                </c:pt>
                <c:pt idx="42">
                  <c:v>6.3218648583771297E-2</c:v>
                </c:pt>
                <c:pt idx="43">
                  <c:v>0.10310642412846199</c:v>
                </c:pt>
                <c:pt idx="44">
                  <c:v>4.7066596193587197E-2</c:v>
                </c:pt>
                <c:pt idx="45">
                  <c:v>3.3776185613957503E-2</c:v>
                </c:pt>
                <c:pt idx="46">
                  <c:v>6.5591828346306696E-2</c:v>
                </c:pt>
                <c:pt idx="47">
                  <c:v>2.16379409142929E-2</c:v>
                </c:pt>
                <c:pt idx="48">
                  <c:v>1.4850126278952099E-2</c:v>
                </c:pt>
                <c:pt idx="49">
                  <c:v>4.7531825809542502E-2</c:v>
                </c:pt>
                <c:pt idx="50">
                  <c:v>8.1914742693870599E-2</c:v>
                </c:pt>
                <c:pt idx="51">
                  <c:v>0.14530779089878099</c:v>
                </c:pt>
                <c:pt idx="52">
                  <c:v>0.28289886089375499</c:v>
                </c:pt>
                <c:pt idx="53">
                  <c:v>0.59965405625568702</c:v>
                </c:pt>
                <c:pt idx="54">
                  <c:v>0.81058600513842005</c:v>
                </c:pt>
                <c:pt idx="55">
                  <c:v>0.84321086606783702</c:v>
                </c:pt>
                <c:pt idx="56">
                  <c:v>0.787811054523052</c:v>
                </c:pt>
                <c:pt idx="57">
                  <c:v>0.85686994907926795</c:v>
                </c:pt>
                <c:pt idx="58">
                  <c:v>0.84205893602922099</c:v>
                </c:pt>
                <c:pt idx="59">
                  <c:v>0.54715742234263398</c:v>
                </c:pt>
                <c:pt idx="60">
                  <c:v>0.47795262811492401</c:v>
                </c:pt>
                <c:pt idx="61">
                  <c:v>0.34292536957097403</c:v>
                </c:pt>
                <c:pt idx="62">
                  <c:v>0.221567543305318</c:v>
                </c:pt>
                <c:pt idx="63">
                  <c:v>0.280546249999435</c:v>
                </c:pt>
                <c:pt idx="64">
                  <c:v>0.29360211513411799</c:v>
                </c:pt>
                <c:pt idx="65">
                  <c:v>-3.5878259770941001E-2</c:v>
                </c:pt>
                <c:pt idx="66">
                  <c:v>8.25921202210146E-2</c:v>
                </c:pt>
                <c:pt idx="67">
                  <c:v>7.8480390691778298E-2</c:v>
                </c:pt>
                <c:pt idx="68">
                  <c:v>6.8220354207205198E-3</c:v>
                </c:pt>
                <c:pt idx="69">
                  <c:v>-1.0351800412208401E-2</c:v>
                </c:pt>
                <c:pt idx="70">
                  <c:v>-6.1568889193337299E-2</c:v>
                </c:pt>
                <c:pt idx="71">
                  <c:v>-8.5288333547060405E-2</c:v>
                </c:pt>
                <c:pt idx="72">
                  <c:v>-8.7781125826341996E-2</c:v>
                </c:pt>
                <c:pt idx="73">
                  <c:v>-5.1902984462377101E-2</c:v>
                </c:pt>
                <c:pt idx="74">
                  <c:v>5.6046709949602598E-2</c:v>
                </c:pt>
                <c:pt idx="75">
                  <c:v>0.141717612302734</c:v>
                </c:pt>
                <c:pt idx="76">
                  <c:v>0.27479015087766001</c:v>
                </c:pt>
                <c:pt idx="77">
                  <c:v>0.60182303087003797</c:v>
                </c:pt>
                <c:pt idx="78">
                  <c:v>0.85360043210994196</c:v>
                </c:pt>
                <c:pt idx="79">
                  <c:v>0.90868583596693497</c:v>
                </c:pt>
                <c:pt idx="80">
                  <c:v>0.78244086470514596</c:v>
                </c:pt>
                <c:pt idx="81">
                  <c:v>0.93958224169876403</c:v>
                </c:pt>
                <c:pt idx="82">
                  <c:v>0.92445605178367996</c:v>
                </c:pt>
                <c:pt idx="83">
                  <c:v>0.64294013995780297</c:v>
                </c:pt>
                <c:pt idx="84">
                  <c:v>0.43841436185302901</c:v>
                </c:pt>
                <c:pt idx="85">
                  <c:v>0.26296636144013202</c:v>
                </c:pt>
                <c:pt idx="86">
                  <c:v>0.20825192285376401</c:v>
                </c:pt>
                <c:pt idx="87">
                  <c:v>0.1456769822756</c:v>
                </c:pt>
                <c:pt idx="88">
                  <c:v>0.114848455385488</c:v>
                </c:pt>
                <c:pt idx="89">
                  <c:v>-0.133942863111391</c:v>
                </c:pt>
                <c:pt idx="90">
                  <c:v>-5.83961657392447E-2</c:v>
                </c:pt>
                <c:pt idx="91">
                  <c:v>-1.7924487432835999E-2</c:v>
                </c:pt>
                <c:pt idx="92">
                  <c:v>-7.1569450142505098E-2</c:v>
                </c:pt>
                <c:pt idx="93">
                  <c:v>-9.0888178812827999E-2</c:v>
                </c:pt>
                <c:pt idx="94">
                  <c:v>-0.117661873451623</c:v>
                </c:pt>
                <c:pt idx="95">
                  <c:v>-0.13598505328876001</c:v>
                </c:pt>
                <c:pt idx="96">
                  <c:v>-0.12350531842293599</c:v>
                </c:pt>
                <c:pt idx="97">
                  <c:v>1.8561750962959499E-2</c:v>
                </c:pt>
                <c:pt idx="98">
                  <c:v>0.119106569670618</c:v>
                </c:pt>
                <c:pt idx="99">
                  <c:v>0.12752651280074401</c:v>
                </c:pt>
                <c:pt idx="100">
                  <c:v>0.28722332671454298</c:v>
                </c:pt>
                <c:pt idx="101">
                  <c:v>0.576937265092348</c:v>
                </c:pt>
                <c:pt idx="102">
                  <c:v>0.808970438932203</c:v>
                </c:pt>
                <c:pt idx="103">
                  <c:v>0.82843530329330095</c:v>
                </c:pt>
                <c:pt idx="104">
                  <c:v>0.82106148177781901</c:v>
                </c:pt>
                <c:pt idx="105">
                  <c:v>0.82584473574499595</c:v>
                </c:pt>
                <c:pt idx="106">
                  <c:v>0.82664581991341002</c:v>
                </c:pt>
                <c:pt idx="107">
                  <c:v>0.67372477663309005</c:v>
                </c:pt>
                <c:pt idx="108">
                  <c:v>0.42966840882642299</c:v>
                </c:pt>
                <c:pt idx="109">
                  <c:v>0.36846730420469198</c:v>
                </c:pt>
                <c:pt idx="110">
                  <c:v>0.28808595773706103</c:v>
                </c:pt>
                <c:pt idx="111">
                  <c:v>0.23606963046607199</c:v>
                </c:pt>
                <c:pt idx="112">
                  <c:v>0.16964550406309101</c:v>
                </c:pt>
                <c:pt idx="113">
                  <c:v>-0.21956646795770299</c:v>
                </c:pt>
                <c:pt idx="114">
                  <c:v>-0.144844111916098</c:v>
                </c:pt>
                <c:pt idx="115">
                  <c:v>-5.0145096379462302E-2</c:v>
                </c:pt>
                <c:pt idx="116">
                  <c:v>-2.54731075442459E-2</c:v>
                </c:pt>
                <c:pt idx="117">
                  <c:v>-5.5136547428417199E-2</c:v>
                </c:pt>
                <c:pt idx="118">
                  <c:v>-6.6256699365689106E-2</c:v>
                </c:pt>
                <c:pt idx="119">
                  <c:v>-9.3392528092758206E-2</c:v>
                </c:pt>
                <c:pt idx="120">
                  <c:v>-8.2274421162434996E-2</c:v>
                </c:pt>
                <c:pt idx="121">
                  <c:v>2.1253741638587401E-2</c:v>
                </c:pt>
                <c:pt idx="122">
                  <c:v>0.141523135695001</c:v>
                </c:pt>
                <c:pt idx="123">
                  <c:v>0.19510352672293499</c:v>
                </c:pt>
                <c:pt idx="124">
                  <c:v>0.32288363302672701</c:v>
                </c:pt>
                <c:pt idx="125">
                  <c:v>0.59014664443474396</c:v>
                </c:pt>
                <c:pt idx="126">
                  <c:v>0.89337504276306301</c:v>
                </c:pt>
                <c:pt idx="127">
                  <c:v>0.86980209581580403</c:v>
                </c:pt>
                <c:pt idx="128">
                  <c:v>0.70198105881853401</c:v>
                </c:pt>
                <c:pt idx="129">
                  <c:v>0.84112365262611999</c:v>
                </c:pt>
                <c:pt idx="130">
                  <c:v>0.76067144950852705</c:v>
                </c:pt>
                <c:pt idx="131">
                  <c:v>0.63164161516692396</c:v>
                </c:pt>
                <c:pt idx="132">
                  <c:v>0.45086341065056501</c:v>
                </c:pt>
                <c:pt idx="133">
                  <c:v>0.26831040659605698</c:v>
                </c:pt>
                <c:pt idx="134">
                  <c:v>0.264278048464268</c:v>
                </c:pt>
                <c:pt idx="135">
                  <c:v>0.19083386216850701</c:v>
                </c:pt>
                <c:pt idx="136">
                  <c:v>0.12878411520438601</c:v>
                </c:pt>
                <c:pt idx="137">
                  <c:v>-0.35890564025247601</c:v>
                </c:pt>
                <c:pt idx="138">
                  <c:v>-0.327683422656949</c:v>
                </c:pt>
                <c:pt idx="139">
                  <c:v>-0.11323243225791201</c:v>
                </c:pt>
                <c:pt idx="140">
                  <c:v>-3.1902075090130502E-2</c:v>
                </c:pt>
                <c:pt idx="141">
                  <c:v>-3.0501991499350099E-2</c:v>
                </c:pt>
                <c:pt idx="142">
                  <c:v>-2.0487594311882101E-2</c:v>
                </c:pt>
                <c:pt idx="143">
                  <c:v>1.5316414281190001E-2</c:v>
                </c:pt>
                <c:pt idx="144">
                  <c:v>-3.2369290072530303E-2</c:v>
                </c:pt>
                <c:pt idx="145">
                  <c:v>-1.0344162377752099E-2</c:v>
                </c:pt>
                <c:pt idx="146">
                  <c:v>-1.0726314795415999E-2</c:v>
                </c:pt>
                <c:pt idx="147">
                  <c:v>3.1945750693110299E-3</c:v>
                </c:pt>
                <c:pt idx="148">
                  <c:v>4.3464042697313E-2</c:v>
                </c:pt>
                <c:pt idx="149">
                  <c:v>0.216004136204895</c:v>
                </c:pt>
                <c:pt idx="150">
                  <c:v>0.27416918159603898</c:v>
                </c:pt>
                <c:pt idx="151">
                  <c:v>9.6260915923683396E-2</c:v>
                </c:pt>
                <c:pt idx="152">
                  <c:v>0.239328113565621</c:v>
                </c:pt>
                <c:pt idx="153">
                  <c:v>0.266588624225778</c:v>
                </c:pt>
                <c:pt idx="154">
                  <c:v>6.2307047664234401E-2</c:v>
                </c:pt>
                <c:pt idx="155">
                  <c:v>0.101711660216124</c:v>
                </c:pt>
                <c:pt idx="156">
                  <c:v>-4.8282981850070704E-3</c:v>
                </c:pt>
                <c:pt idx="157">
                  <c:v>-9.7643182311468305E-2</c:v>
                </c:pt>
                <c:pt idx="158">
                  <c:v>-0.384019384746627</c:v>
                </c:pt>
                <c:pt idx="159">
                  <c:v>-0.40585355573413601</c:v>
                </c:pt>
                <c:pt idx="160">
                  <c:v>-0.37271509452689799</c:v>
                </c:pt>
                <c:pt idx="161">
                  <c:v>-0.42211730336495901</c:v>
                </c:pt>
                <c:pt idx="162">
                  <c:v>-0.37630705487782301</c:v>
                </c:pt>
                <c:pt idx="163">
                  <c:v>-0.22302005859584001</c:v>
                </c:pt>
                <c:pt idx="164">
                  <c:v>-0.117572079243473</c:v>
                </c:pt>
                <c:pt idx="165">
                  <c:v>-0.113486006289682</c:v>
                </c:pt>
                <c:pt idx="166">
                  <c:v>-0.150122449253588</c:v>
                </c:pt>
                <c:pt idx="167">
                  <c:v>-0.14373634706643501</c:v>
                </c:pt>
              </c:numCache>
            </c:numRef>
          </c:yVal>
          <c:smooth val="0"/>
          <c:extLst>
            <c:ext xmlns:c16="http://schemas.microsoft.com/office/drawing/2014/chart" uri="{C3380CC4-5D6E-409C-BE32-E72D297353CC}">
              <c16:uniqueId val="{00000000-0A3C-410E-841F-F02777605792}"/>
            </c:ext>
          </c:extLst>
        </c:ser>
        <c:dLbls>
          <c:showLegendKey val="0"/>
          <c:showVal val="0"/>
          <c:showCatName val="0"/>
          <c:showSerName val="0"/>
          <c:showPercent val="0"/>
          <c:showBubbleSize val="0"/>
        </c:dLbls>
        <c:axId val="824888432"/>
        <c:axId val="824890496"/>
      </c:scatterChart>
      <c:valAx>
        <c:axId val="824888432"/>
        <c:scaling>
          <c:orientation val="minMax"/>
          <c:max val="168"/>
        </c:scaling>
        <c:delete val="0"/>
        <c:axPos val="b"/>
        <c:majorGridlines>
          <c:spPr>
            <a:ln w="15875" cap="flat" cmpd="sng" algn="ctr">
              <a:solidFill>
                <a:schemeClr val="accent5"/>
              </a:solidFill>
              <a:round/>
            </a:ln>
            <a:effectLst/>
          </c:spPr>
        </c:majorGridlines>
        <c:minorGridlines>
          <c:spPr>
            <a:ln w="9525" cap="flat" cmpd="sng" algn="ctr">
              <a:solidFill>
                <a:srgbClr val="FF0000">
                  <a:alpha val="50196"/>
                </a:srgbClr>
              </a:solidFill>
              <a:prstDash val="dash"/>
              <a:round/>
            </a:ln>
            <a:effectLst/>
          </c:spPr>
        </c:minorGridlines>
        <c:numFmt formatCode="General" sourceLinked="1"/>
        <c:majorTickMark val="none"/>
        <c:minorTickMark val="cross"/>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4890496"/>
        <c:crosses val="autoZero"/>
        <c:crossBetween val="midCat"/>
        <c:majorUnit val="24"/>
        <c:minorUnit val="8"/>
      </c:valAx>
      <c:valAx>
        <c:axId val="824890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488843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Segoe UI Light" panose="020B0502040204020203" pitchFamily="34" charset="0"/>
                <a:cs typeface="Segoe UI Light" panose="020B0502040204020203" pitchFamily="34" charset="0"/>
              </a:rPr>
              <a:t>predicted</a:t>
            </a:r>
            <a:r>
              <a:rPr lang="en-US" baseline="0" dirty="0">
                <a:latin typeface="Segoe UI Light" panose="020B0502040204020203" pitchFamily="34" charset="0"/>
                <a:cs typeface="Segoe UI Light" panose="020B0502040204020203" pitchFamily="34" charset="0"/>
              </a:rPr>
              <a:t> load vs actual load</a:t>
            </a:r>
            <a:endParaRPr lang="en-US" dirty="0">
              <a:latin typeface="Segoe UI Light" panose="020B0502040204020203" pitchFamily="34" charset="0"/>
              <a:cs typeface="Segoe UI Light" panose="020B0502040204020203" pitchFamily="34" charset="0"/>
            </a:endParaRPr>
          </a:p>
        </c:rich>
      </c:tx>
      <c:overlay val="0"/>
    </c:title>
    <c:autoTitleDeleted val="0"/>
    <c:plotArea>
      <c:layout>
        <c:manualLayout>
          <c:layoutTarget val="inner"/>
          <c:xMode val="edge"/>
          <c:yMode val="edge"/>
          <c:x val="4.0175113517457506E-2"/>
          <c:y val="0.14112834181523867"/>
          <c:w val="0.94273574195350773"/>
          <c:h val="0.83711775354192497"/>
        </c:manualLayout>
      </c:layout>
      <c:scatterChart>
        <c:scatterStyle val="lineMarker"/>
        <c:varyColors val="0"/>
        <c:ser>
          <c:idx val="0"/>
          <c:order val="0"/>
          <c:tx>
            <c:strRef>
              <c:f>working!$X$3</c:f>
              <c:strCache>
                <c:ptCount val="1"/>
                <c:pt idx="0">
                  <c:v>loadpred</c:v>
                </c:pt>
              </c:strCache>
            </c:strRef>
          </c:tx>
          <c:spPr>
            <a:ln w="31750">
              <a:noFill/>
            </a:ln>
          </c:spPr>
          <c:marker>
            <c:symbol val="circle"/>
            <c:size val="2"/>
          </c:marker>
          <c:trendline>
            <c:trendlineType val="linear"/>
            <c:dispRSqr val="1"/>
            <c:dispEq val="1"/>
            <c:trendlineLbl>
              <c:layout>
                <c:manualLayout>
                  <c:x val="-0.53969212927234522"/>
                  <c:y val="1.1649387576552931E-2"/>
                </c:manualLayout>
              </c:layout>
              <c:tx>
                <c:rich>
                  <a:bodyPr/>
                  <a:lstStyle/>
                  <a:p>
                    <a:pPr>
                      <a:defRPr/>
                    </a:pPr>
                    <a:r>
                      <a:rPr lang="en-US" sz="3600" baseline="0" dirty="0">
                        <a:latin typeface="Segoe UI Light" panose="020B0502040204020203" pitchFamily="34" charset="0"/>
                        <a:cs typeface="Segoe UI Light" panose="020B0502040204020203" pitchFamily="34" charset="0"/>
                      </a:rPr>
                      <a:t>y = 0.62x</a:t>
                    </a:r>
                    <a:br>
                      <a:rPr lang="en-US" sz="3600" baseline="0" dirty="0">
                        <a:latin typeface="Segoe UI Light" panose="020B0502040204020203" pitchFamily="34" charset="0"/>
                        <a:cs typeface="Segoe UI Light" panose="020B0502040204020203" pitchFamily="34" charset="0"/>
                      </a:rPr>
                    </a:br>
                    <a:r>
                      <a:rPr lang="en-US" sz="3600" baseline="0" dirty="0">
                        <a:latin typeface="Segoe UI Light" panose="020B0502040204020203" pitchFamily="34" charset="0"/>
                        <a:cs typeface="Segoe UI Light" panose="020B0502040204020203" pitchFamily="34" charset="0"/>
                      </a:rPr>
                      <a:t>R² = 0.6203</a:t>
                    </a:r>
                    <a:endParaRPr lang="en-US" sz="3600" dirty="0">
                      <a:latin typeface="Segoe UI Light" panose="020B0502040204020203" pitchFamily="34" charset="0"/>
                      <a:cs typeface="Segoe UI Light" panose="020B0502040204020203" pitchFamily="34" charset="0"/>
                    </a:endParaRPr>
                  </a:p>
                </c:rich>
              </c:tx>
              <c:numFmt formatCode="General" sourceLinked="0"/>
            </c:trendlineLbl>
          </c:trendline>
          <c:xVal>
            <c:numRef>
              <c:f>working!$W$4:$W$21344</c:f>
              <c:numCache>
                <c:formatCode>General</c:formatCode>
                <c:ptCount val="21341"/>
                <c:pt idx="0">
                  <c:v>-0.97122366556078299</c:v>
                </c:pt>
                <c:pt idx="1">
                  <c:v>0.95783300717327002</c:v>
                </c:pt>
                <c:pt idx="2">
                  <c:v>0.59276421749456698</c:v>
                </c:pt>
                <c:pt idx="3">
                  <c:v>0.32311113420916199</c:v>
                </c:pt>
                <c:pt idx="4">
                  <c:v>-0.49414513359429701</c:v>
                </c:pt>
                <c:pt idx="5">
                  <c:v>-1.0210057732442399</c:v>
                </c:pt>
                <c:pt idx="6">
                  <c:v>-1.18279762321549</c:v>
                </c:pt>
                <c:pt idx="7">
                  <c:v>-1.1703520962946199</c:v>
                </c:pt>
                <c:pt idx="8">
                  <c:v>-1.2574707847406801</c:v>
                </c:pt>
                <c:pt idx="9">
                  <c:v>-1.24502525781981</c:v>
                </c:pt>
                <c:pt idx="10">
                  <c:v>-1.2989558744768901</c:v>
                </c:pt>
                <c:pt idx="11">
                  <c:v>-1.3196984193450001</c:v>
                </c:pt>
                <c:pt idx="12">
                  <c:v>-1.3570350001075899</c:v>
                </c:pt>
                <c:pt idx="13">
                  <c:v>-1.52297535905246</c:v>
                </c:pt>
                <c:pt idx="14">
                  <c:v>-1.36948052702846</c:v>
                </c:pt>
                <c:pt idx="15">
                  <c:v>-0.20374950544078399</c:v>
                </c:pt>
                <c:pt idx="16">
                  <c:v>-0.92144155787732396</c:v>
                </c:pt>
                <c:pt idx="17">
                  <c:v>-1.1910946411627299</c:v>
                </c:pt>
                <c:pt idx="18">
                  <c:v>-1.30725289242413</c:v>
                </c:pt>
                <c:pt idx="19">
                  <c:v>-1.33214394626586</c:v>
                </c:pt>
                <c:pt idx="20">
                  <c:v>-1.4483021975272701</c:v>
                </c:pt>
                <c:pt idx="21">
                  <c:v>-1.3570350001075899</c:v>
                </c:pt>
                <c:pt idx="22">
                  <c:v>-1.51467834110522</c:v>
                </c:pt>
                <c:pt idx="23">
                  <c:v>-1.5063813231579699</c:v>
                </c:pt>
                <c:pt idx="24">
                  <c:v>-1.5312723769997001</c:v>
                </c:pt>
                <c:pt idx="25">
                  <c:v>-1.4358566706064</c:v>
                </c:pt>
                <c:pt idx="26">
                  <c:v>-1.51467834110522</c:v>
                </c:pt>
                <c:pt idx="27">
                  <c:v>-0.187155469546297</c:v>
                </c:pt>
                <c:pt idx="28">
                  <c:v>-1.13716402450565</c:v>
                </c:pt>
                <c:pt idx="29">
                  <c:v>-1.427559652659159</c:v>
                </c:pt>
                <c:pt idx="30">
                  <c:v>-1.1330155155320301</c:v>
                </c:pt>
                <c:pt idx="31">
                  <c:v>-1.2948073655032699</c:v>
                </c:pt>
                <c:pt idx="32">
                  <c:v>-1.07908489887495</c:v>
                </c:pt>
                <c:pt idx="33">
                  <c:v>-0.92973857582456698</c:v>
                </c:pt>
                <c:pt idx="34">
                  <c:v>-0.95048112069267499</c:v>
                </c:pt>
                <c:pt idx="35">
                  <c:v>-1.14131253347927</c:v>
                </c:pt>
                <c:pt idx="36">
                  <c:v>-0.95877813863991801</c:v>
                </c:pt>
                <c:pt idx="37">
                  <c:v>-1.2574707847406801</c:v>
                </c:pt>
                <c:pt idx="38">
                  <c:v>-1.18279762321549</c:v>
                </c:pt>
                <c:pt idx="39">
                  <c:v>-1.215985695004459</c:v>
                </c:pt>
                <c:pt idx="40">
                  <c:v>-1.3445894731867301</c:v>
                </c:pt>
                <c:pt idx="41">
                  <c:v>-1.5561634308414301</c:v>
                </c:pt>
                <c:pt idx="42">
                  <c:v>-0.26182863107148602</c:v>
                </c:pt>
                <c:pt idx="43">
                  <c:v>0.269180517552081</c:v>
                </c:pt>
                <c:pt idx="44">
                  <c:v>0.53883360083748599</c:v>
                </c:pt>
                <c:pt idx="45">
                  <c:v>-0.158115906730946</c:v>
                </c:pt>
                <c:pt idx="46">
                  <c:v>-0.96292664761353997</c:v>
                </c:pt>
                <c:pt idx="47">
                  <c:v>-1.1910946411627299</c:v>
                </c:pt>
                <c:pt idx="48">
                  <c:v>-1.2325797308989499</c:v>
                </c:pt>
                <c:pt idx="49">
                  <c:v>-1.2118371860308399</c:v>
                </c:pt>
                <c:pt idx="50">
                  <c:v>-1.215985695004459</c:v>
                </c:pt>
                <c:pt idx="51">
                  <c:v>-1.19939165910997</c:v>
                </c:pt>
                <c:pt idx="52">
                  <c:v>-1.3196984193450001</c:v>
                </c:pt>
                <c:pt idx="53">
                  <c:v>-1.3404409642131101</c:v>
                </c:pt>
                <c:pt idx="54">
                  <c:v>-1.2574707847406801</c:v>
                </c:pt>
                <c:pt idx="55">
                  <c:v>-1.37362903600208</c:v>
                </c:pt>
                <c:pt idx="56">
                  <c:v>-1.3404409642131101</c:v>
                </c:pt>
                <c:pt idx="57">
                  <c:v>-1.4400051795800299</c:v>
                </c:pt>
                <c:pt idx="58">
                  <c:v>-1.45659921547451</c:v>
                </c:pt>
                <c:pt idx="59">
                  <c:v>-1.4234111436855399</c:v>
                </c:pt>
                <c:pt idx="60">
                  <c:v>-1.3777775449756999</c:v>
                </c:pt>
                <c:pt idx="61">
                  <c:v>-1.3570350001075899</c:v>
                </c:pt>
                <c:pt idx="62">
                  <c:v>-1.3777775449756999</c:v>
                </c:pt>
                <c:pt idx="63">
                  <c:v>-1.3985200898438099</c:v>
                </c:pt>
                <c:pt idx="64">
                  <c:v>-1.4068171077910501</c:v>
                </c:pt>
                <c:pt idx="65">
                  <c:v>-1.4151141257383</c:v>
                </c:pt>
                <c:pt idx="66">
                  <c:v>-1.4441536885536499</c:v>
                </c:pt>
                <c:pt idx="67">
                  <c:v>-1.4192626347119199</c:v>
                </c:pt>
                <c:pt idx="68">
                  <c:v>-1.41096561676467</c:v>
                </c:pt>
                <c:pt idx="69">
                  <c:v>-1.45659921547451</c:v>
                </c:pt>
                <c:pt idx="70">
                  <c:v>-1.45245070650089</c:v>
                </c:pt>
                <c:pt idx="71">
                  <c:v>-1.7179552808126699</c:v>
                </c:pt>
                <c:pt idx="72">
                  <c:v>-0.68912505535451296</c:v>
                </c:pt>
                <c:pt idx="73">
                  <c:v>0.22354691884224301</c:v>
                </c:pt>
                <c:pt idx="74">
                  <c:v>-0.13737336186283799</c:v>
                </c:pt>
                <c:pt idx="75">
                  <c:v>-0.31161073875494599</c:v>
                </c:pt>
                <c:pt idx="76">
                  <c:v>-0.71816461816986399</c:v>
                </c:pt>
                <c:pt idx="77">
                  <c:v>-1.0044117373497601</c:v>
                </c:pt>
                <c:pt idx="78">
                  <c:v>-0.86336243224662101</c:v>
                </c:pt>
                <c:pt idx="79">
                  <c:v>-1.0417483181123499</c:v>
                </c:pt>
                <c:pt idx="80">
                  <c:v>-1.1537580604001301</c:v>
                </c:pt>
                <c:pt idx="81">
                  <c:v>-1.07908489887495</c:v>
                </c:pt>
                <c:pt idx="82">
                  <c:v>-1.0044117373497601</c:v>
                </c:pt>
                <c:pt idx="83">
                  <c:v>-1.03759980913873</c:v>
                </c:pt>
                <c:pt idx="84">
                  <c:v>-1.00856024632338</c:v>
                </c:pt>
                <c:pt idx="85">
                  <c:v>-1.24917376679343</c:v>
                </c:pt>
                <c:pt idx="86">
                  <c:v>-0.97952068350802701</c:v>
                </c:pt>
                <c:pt idx="87">
                  <c:v>-1.1703520962946199</c:v>
                </c:pt>
                <c:pt idx="88">
                  <c:v>-1.1454610424528899</c:v>
                </c:pt>
                <c:pt idx="89">
                  <c:v>-0.78454076174780996</c:v>
                </c:pt>
                <c:pt idx="90">
                  <c:v>-0.96707515658716203</c:v>
                </c:pt>
                <c:pt idx="91">
                  <c:v>-1.0210057732442399</c:v>
                </c:pt>
                <c:pt idx="92">
                  <c:v>-1.2242827129517</c:v>
                </c:pt>
                <c:pt idx="93">
                  <c:v>-1.1288670065584001</c:v>
                </c:pt>
                <c:pt idx="94">
                  <c:v>-1.2118371860308399</c:v>
                </c:pt>
                <c:pt idx="95">
                  <c:v>-0.99196621042889099</c:v>
                </c:pt>
                <c:pt idx="96">
                  <c:v>-1.1247184975847799</c:v>
                </c:pt>
                <c:pt idx="97">
                  <c:v>-1.0666393719540801</c:v>
                </c:pt>
                <c:pt idx="98">
                  <c:v>-1.11642147963754</c:v>
                </c:pt>
                <c:pt idx="99">
                  <c:v>-0.94633261171905403</c:v>
                </c:pt>
                <c:pt idx="100">
                  <c:v>-1.1288670065584001</c:v>
                </c:pt>
                <c:pt idx="101">
                  <c:v>-1.2325797308989499</c:v>
                </c:pt>
                <c:pt idx="102">
                  <c:v>-1.1952431501363501</c:v>
                </c:pt>
                <c:pt idx="103">
                  <c:v>-0.98781770145527004</c:v>
                </c:pt>
                <c:pt idx="104">
                  <c:v>-1.1745006052682401</c:v>
                </c:pt>
                <c:pt idx="105">
                  <c:v>-1.16205507834738</c:v>
                </c:pt>
                <c:pt idx="106">
                  <c:v>-1.1247184975847799</c:v>
                </c:pt>
                <c:pt idx="107">
                  <c:v>-1.19939165910997</c:v>
                </c:pt>
                <c:pt idx="108">
                  <c:v>-1.11642147963754</c:v>
                </c:pt>
                <c:pt idx="109">
                  <c:v>-0.97952068350802701</c:v>
                </c:pt>
                <c:pt idx="110">
                  <c:v>-1.1081244616903001</c:v>
                </c:pt>
                <c:pt idx="111">
                  <c:v>-1.26576780268792</c:v>
                </c:pt>
                <c:pt idx="112">
                  <c:v>-1.1454610424528899</c:v>
                </c:pt>
                <c:pt idx="113">
                  <c:v>-1.0666393719540801</c:v>
                </c:pt>
                <c:pt idx="114">
                  <c:v>-1.20354016808359</c:v>
                </c:pt>
                <c:pt idx="115">
                  <c:v>-1.3611835090812201</c:v>
                </c:pt>
                <c:pt idx="116">
                  <c:v>-1.3404409642131101</c:v>
                </c:pt>
                <c:pt idx="117">
                  <c:v>-1.1247184975847799</c:v>
                </c:pt>
                <c:pt idx="118">
                  <c:v>-1.1662035873209999</c:v>
                </c:pt>
                <c:pt idx="119">
                  <c:v>-1.3362924552394899</c:v>
                </c:pt>
                <c:pt idx="120">
                  <c:v>-1.26991631166154</c:v>
                </c:pt>
                <c:pt idx="121">
                  <c:v>-1.0417483181123499</c:v>
                </c:pt>
                <c:pt idx="122">
                  <c:v>-1.03759980913873</c:v>
                </c:pt>
                <c:pt idx="123">
                  <c:v>-1.15790656937376</c:v>
                </c:pt>
                <c:pt idx="124">
                  <c:v>-1.24087674884619</c:v>
                </c:pt>
                <c:pt idx="125">
                  <c:v>-1.2533222757670499</c:v>
                </c:pt>
                <c:pt idx="126">
                  <c:v>-1.24917376679343</c:v>
                </c:pt>
                <c:pt idx="127">
                  <c:v>-1.2325797308989499</c:v>
                </c:pt>
                <c:pt idx="128">
                  <c:v>-1.34873798216035</c:v>
                </c:pt>
                <c:pt idx="129">
                  <c:v>-1.33214394626586</c:v>
                </c:pt>
                <c:pt idx="130">
                  <c:v>-1.2284312219253199</c:v>
                </c:pt>
                <c:pt idx="131">
                  <c:v>-1.2533222757670499</c:v>
                </c:pt>
                <c:pt idx="132">
                  <c:v>-1.4358566706064</c:v>
                </c:pt>
                <c:pt idx="133">
                  <c:v>-1.4856387782898599</c:v>
                </c:pt>
                <c:pt idx="134">
                  <c:v>-1.3031043834505101</c:v>
                </c:pt>
                <c:pt idx="135">
                  <c:v>-1.3031043834505101</c:v>
                </c:pt>
                <c:pt idx="136">
                  <c:v>-1.31140140139776</c:v>
                </c:pt>
                <c:pt idx="137">
                  <c:v>-1.45245070650089</c:v>
                </c:pt>
                <c:pt idx="138">
                  <c:v>-1.4151141257383</c:v>
                </c:pt>
                <c:pt idx="139">
                  <c:v>-1.26576780268792</c:v>
                </c:pt>
                <c:pt idx="140">
                  <c:v>-1.3404409642131101</c:v>
                </c:pt>
                <c:pt idx="141">
                  <c:v>-1.31140140139776</c:v>
                </c:pt>
                <c:pt idx="142">
                  <c:v>-1.28651034755603</c:v>
                </c:pt>
                <c:pt idx="143">
                  <c:v>-1.2948073655032699</c:v>
                </c:pt>
                <c:pt idx="144">
                  <c:v>-1.4690447423953801</c:v>
                </c:pt>
                <c:pt idx="145">
                  <c:v>-1.51882685007884</c:v>
                </c:pt>
                <c:pt idx="146">
                  <c:v>-1.2284312219253199</c:v>
                </c:pt>
                <c:pt idx="147">
                  <c:v>-1.1952431501363501</c:v>
                </c:pt>
                <c:pt idx="148">
                  <c:v>-1.1745006052682401</c:v>
                </c:pt>
                <c:pt idx="149">
                  <c:v>-1.1662035873209999</c:v>
                </c:pt>
                <c:pt idx="150">
                  <c:v>-1.1122729706639201</c:v>
                </c:pt>
                <c:pt idx="151">
                  <c:v>-0.92144155787732396</c:v>
                </c:pt>
                <c:pt idx="152">
                  <c:v>-1.05834235400684</c:v>
                </c:pt>
                <c:pt idx="153">
                  <c:v>-0.97122366556078299</c:v>
                </c:pt>
                <c:pt idx="154">
                  <c:v>-1.0458968270859701</c:v>
                </c:pt>
                <c:pt idx="155">
                  <c:v>-1.0417483181123499</c:v>
                </c:pt>
                <c:pt idx="156">
                  <c:v>-1.03345130016511</c:v>
                </c:pt>
                <c:pt idx="157">
                  <c:v>-1.1745006052682401</c:v>
                </c:pt>
                <c:pt idx="158">
                  <c:v>-0.95048112069267499</c:v>
                </c:pt>
                <c:pt idx="159">
                  <c:v>-0.84676839635213497</c:v>
                </c:pt>
                <c:pt idx="160">
                  <c:v>-0.90899603095645898</c:v>
                </c:pt>
                <c:pt idx="161">
                  <c:v>-1.1122729706639201</c:v>
                </c:pt>
                <c:pt idx="162">
                  <c:v>-1.0251542822178601</c:v>
                </c:pt>
                <c:pt idx="163">
                  <c:v>-0.82602585148402696</c:v>
                </c:pt>
                <c:pt idx="164">
                  <c:v>-0.82602585148402696</c:v>
                </c:pt>
                <c:pt idx="165">
                  <c:v>-0.87580795916748599</c:v>
                </c:pt>
                <c:pt idx="166">
                  <c:v>-0.87580795916748599</c:v>
                </c:pt>
                <c:pt idx="167">
                  <c:v>-0.81358032456316198</c:v>
                </c:pt>
                <c:pt idx="168">
                  <c:v>-1.00856024632338</c:v>
                </c:pt>
                <c:pt idx="169">
                  <c:v>-1.3860745629229501</c:v>
                </c:pt>
                <c:pt idx="170">
                  <c:v>-0.95462962966629705</c:v>
                </c:pt>
                <c:pt idx="171">
                  <c:v>-0.87165945019386404</c:v>
                </c:pt>
                <c:pt idx="172">
                  <c:v>-0.70571909124900001</c:v>
                </c:pt>
                <c:pt idx="173">
                  <c:v>-0.76794672585332402</c:v>
                </c:pt>
                <c:pt idx="174">
                  <c:v>-0.82602585148402696</c:v>
                </c:pt>
                <c:pt idx="175">
                  <c:v>-0.75135268995883697</c:v>
                </c:pt>
                <c:pt idx="176">
                  <c:v>-0.80943181558954003</c:v>
                </c:pt>
                <c:pt idx="177">
                  <c:v>-0.71401610919624303</c:v>
                </c:pt>
                <c:pt idx="178">
                  <c:v>-0.60200636690845899</c:v>
                </c:pt>
                <c:pt idx="179">
                  <c:v>-0.67253101946002702</c:v>
                </c:pt>
                <c:pt idx="180">
                  <c:v>-0.68912505535451296</c:v>
                </c:pt>
                <c:pt idx="181">
                  <c:v>-0.69742207330175598</c:v>
                </c:pt>
                <c:pt idx="182">
                  <c:v>-0.664234001512783</c:v>
                </c:pt>
                <c:pt idx="183">
                  <c:v>-0.62274891177656699</c:v>
                </c:pt>
                <c:pt idx="184">
                  <c:v>-0.684976546380892</c:v>
                </c:pt>
                <c:pt idx="185">
                  <c:v>-0.60615487588208095</c:v>
                </c:pt>
                <c:pt idx="186">
                  <c:v>-0.88410497711472902</c:v>
                </c:pt>
                <c:pt idx="187">
                  <c:v>-0.80943181558954003</c:v>
                </c:pt>
                <c:pt idx="188">
                  <c:v>-0.58126382204035099</c:v>
                </c:pt>
                <c:pt idx="189">
                  <c:v>-0.52318469640964804</c:v>
                </c:pt>
                <c:pt idx="190">
                  <c:v>-0.77209523482694598</c:v>
                </c:pt>
                <c:pt idx="191">
                  <c:v>-0.49829364256791903</c:v>
                </c:pt>
                <c:pt idx="192">
                  <c:v>-0.58126382204035099</c:v>
                </c:pt>
                <c:pt idx="193">
                  <c:v>-0.16226441570456701</c:v>
                </c:pt>
                <c:pt idx="194">
                  <c:v>-0.27012564901872999</c:v>
                </c:pt>
                <c:pt idx="195">
                  <c:v>-0.17056143365181101</c:v>
                </c:pt>
                <c:pt idx="196">
                  <c:v>-0.83847137840489205</c:v>
                </c:pt>
                <c:pt idx="197">
                  <c:v>-0.80943181558954003</c:v>
                </c:pt>
                <c:pt idx="198">
                  <c:v>-0.469254079752567</c:v>
                </c:pt>
                <c:pt idx="199">
                  <c:v>-0.47340258872618901</c:v>
                </c:pt>
                <c:pt idx="200">
                  <c:v>-0.69742207330175598</c:v>
                </c:pt>
                <c:pt idx="201">
                  <c:v>-0.73890716303797299</c:v>
                </c:pt>
                <c:pt idx="202">
                  <c:v>-0.86336243224662101</c:v>
                </c:pt>
                <c:pt idx="203">
                  <c:v>-0.85921392327299995</c:v>
                </c:pt>
                <c:pt idx="204">
                  <c:v>-0.70157058227537805</c:v>
                </c:pt>
                <c:pt idx="205">
                  <c:v>-0.67253101946002702</c:v>
                </c:pt>
                <c:pt idx="206">
                  <c:v>-0.83847137840489205</c:v>
                </c:pt>
                <c:pt idx="207">
                  <c:v>-0.80943181558954003</c:v>
                </c:pt>
                <c:pt idx="208">
                  <c:v>-0.93388708479818905</c:v>
                </c:pt>
                <c:pt idx="209">
                  <c:v>-0.92144155787732396</c:v>
                </c:pt>
                <c:pt idx="210">
                  <c:v>-1.09982744374305</c:v>
                </c:pt>
                <c:pt idx="211">
                  <c:v>-1.0873819168221901</c:v>
                </c:pt>
                <c:pt idx="212">
                  <c:v>-0.97952068350802701</c:v>
                </c:pt>
                <c:pt idx="213">
                  <c:v>-1.01685726427062</c:v>
                </c:pt>
                <c:pt idx="214">
                  <c:v>-1.22013420397808</c:v>
                </c:pt>
                <c:pt idx="215">
                  <c:v>-1.3155499103713799</c:v>
                </c:pt>
                <c:pt idx="216">
                  <c:v>-1.1869461321891099</c:v>
                </c:pt>
                <c:pt idx="217">
                  <c:v>-1.2076886770572199</c:v>
                </c:pt>
                <c:pt idx="218">
                  <c:v>-1.2118371860308399</c:v>
                </c:pt>
                <c:pt idx="219">
                  <c:v>-1.2118371860308399</c:v>
                </c:pt>
                <c:pt idx="220">
                  <c:v>-1.7594403705488899</c:v>
                </c:pt>
                <c:pt idx="221">
                  <c:v>-0.104185290073865</c:v>
                </c:pt>
                <c:pt idx="222">
                  <c:v>-2.95121285486756E-2</c:v>
                </c:pt>
                <c:pt idx="223">
                  <c:v>-0.411174954121865</c:v>
                </c:pt>
                <c:pt idx="224">
                  <c:v>-1.2948073655032699</c:v>
                </c:pt>
                <c:pt idx="225">
                  <c:v>-1.4151141257383</c:v>
                </c:pt>
                <c:pt idx="226">
                  <c:v>-1.45245070650089</c:v>
                </c:pt>
                <c:pt idx="227">
                  <c:v>-1.4690447423953801</c:v>
                </c:pt>
                <c:pt idx="228">
                  <c:v>-1.49808430521073</c:v>
                </c:pt>
                <c:pt idx="229">
                  <c:v>-1.4358566706064</c:v>
                </c:pt>
                <c:pt idx="230">
                  <c:v>-1.43170816163278</c:v>
                </c:pt>
                <c:pt idx="231">
                  <c:v>-1.4400051795800299</c:v>
                </c:pt>
                <c:pt idx="232">
                  <c:v>-1.49808430521073</c:v>
                </c:pt>
                <c:pt idx="233">
                  <c:v>-1.4856387782898599</c:v>
                </c:pt>
                <c:pt idx="234">
                  <c:v>-1.49808430521073</c:v>
                </c:pt>
                <c:pt idx="235">
                  <c:v>-1.45659921547451</c:v>
                </c:pt>
                <c:pt idx="236">
                  <c:v>-1.49808430521073</c:v>
                </c:pt>
                <c:pt idx="237">
                  <c:v>-1.4192626347119199</c:v>
                </c:pt>
                <c:pt idx="238">
                  <c:v>-1.34873798216035</c:v>
                </c:pt>
                <c:pt idx="239">
                  <c:v>-1.24502525781981</c:v>
                </c:pt>
                <c:pt idx="240">
                  <c:v>-1.07908489887495</c:v>
                </c:pt>
                <c:pt idx="241">
                  <c:v>-1.00856024632338</c:v>
                </c:pt>
                <c:pt idx="242">
                  <c:v>-0.57296680409310796</c:v>
                </c:pt>
                <c:pt idx="243">
                  <c:v>-0.89240199506197204</c:v>
                </c:pt>
                <c:pt idx="244">
                  <c:v>-0.88410497711472902</c:v>
                </c:pt>
                <c:pt idx="245">
                  <c:v>-1.0002632283761299</c:v>
                </c:pt>
                <c:pt idx="246">
                  <c:v>-1.0624908629804599</c:v>
                </c:pt>
                <c:pt idx="247">
                  <c:v>-0.97537217453440495</c:v>
                </c:pt>
                <c:pt idx="248">
                  <c:v>-1.0873819168221901</c:v>
                </c:pt>
                <c:pt idx="249">
                  <c:v>-1.0417483181123499</c:v>
                </c:pt>
                <c:pt idx="250">
                  <c:v>-0.97952068350802701</c:v>
                </c:pt>
                <c:pt idx="251">
                  <c:v>-1.0002632283761299</c:v>
                </c:pt>
                <c:pt idx="252">
                  <c:v>-0.86336243224662101</c:v>
                </c:pt>
                <c:pt idx="253">
                  <c:v>-0.92559006685094503</c:v>
                </c:pt>
                <c:pt idx="254">
                  <c:v>-0.90069901300921595</c:v>
                </c:pt>
                <c:pt idx="255">
                  <c:v>-0.81772883353678305</c:v>
                </c:pt>
                <c:pt idx="256">
                  <c:v>-0.85506541429937799</c:v>
                </c:pt>
                <c:pt idx="257">
                  <c:v>-0.780392252774189</c:v>
                </c:pt>
                <c:pt idx="258">
                  <c:v>-0.85921392327299995</c:v>
                </c:pt>
                <c:pt idx="259">
                  <c:v>-1.07908489887495</c:v>
                </c:pt>
                <c:pt idx="260">
                  <c:v>-1.1081244616903001</c:v>
                </c:pt>
                <c:pt idx="261">
                  <c:v>-1.012708755297</c:v>
                </c:pt>
                <c:pt idx="262">
                  <c:v>-1.1288670065584001</c:v>
                </c:pt>
                <c:pt idx="263">
                  <c:v>-1.1454610424528899</c:v>
                </c:pt>
                <c:pt idx="264">
                  <c:v>-1.1247184975847799</c:v>
                </c:pt>
                <c:pt idx="265">
                  <c:v>-1.1122729706639201</c:v>
                </c:pt>
                <c:pt idx="266">
                  <c:v>-0.90899603095645898</c:v>
                </c:pt>
                <c:pt idx="267">
                  <c:v>-0.76794672585332402</c:v>
                </c:pt>
                <c:pt idx="268">
                  <c:v>-0.59785785793483703</c:v>
                </c:pt>
                <c:pt idx="269">
                  <c:v>-0.78454076174780996</c:v>
                </c:pt>
                <c:pt idx="270">
                  <c:v>-0.78868927072143202</c:v>
                </c:pt>
                <c:pt idx="271">
                  <c:v>-0.63519443869743197</c:v>
                </c:pt>
                <c:pt idx="272">
                  <c:v>-0.53977873230413498</c:v>
                </c:pt>
                <c:pt idx="273">
                  <c:v>-0.759649707906081</c:v>
                </c:pt>
                <c:pt idx="274">
                  <c:v>-0.70986760022262096</c:v>
                </c:pt>
                <c:pt idx="275">
                  <c:v>-0.71816461816986399</c:v>
                </c:pt>
                <c:pt idx="276">
                  <c:v>-0.57711531306672903</c:v>
                </c:pt>
                <c:pt idx="277">
                  <c:v>-0.61030338485570201</c:v>
                </c:pt>
                <c:pt idx="278">
                  <c:v>-0.684976546380892</c:v>
                </c:pt>
                <c:pt idx="279">
                  <c:v>-0.54392724127775605</c:v>
                </c:pt>
                <c:pt idx="280">
                  <c:v>-0.54392724127775605</c:v>
                </c:pt>
                <c:pt idx="281">
                  <c:v>-0.51073916948878395</c:v>
                </c:pt>
                <c:pt idx="282">
                  <c:v>-0.29916521183408101</c:v>
                </c:pt>
                <c:pt idx="283">
                  <c:v>-0.32820477464943199</c:v>
                </c:pt>
                <c:pt idx="284">
                  <c:v>-0.58541233101397305</c:v>
                </c:pt>
                <c:pt idx="285">
                  <c:v>-0.42362048104272898</c:v>
                </c:pt>
                <c:pt idx="286">
                  <c:v>-0.64763996561829695</c:v>
                </c:pt>
                <c:pt idx="287">
                  <c:v>-0.120779325968351</c:v>
                </c:pt>
                <c:pt idx="288">
                  <c:v>-0.16226441570456701</c:v>
                </c:pt>
                <c:pt idx="289">
                  <c:v>-8.3442745205756702E-2</c:v>
                </c:pt>
                <c:pt idx="290">
                  <c:v>-4.62107470694591E-3</c:v>
                </c:pt>
                <c:pt idx="291">
                  <c:v>-0.13737336186283799</c:v>
                </c:pt>
                <c:pt idx="292">
                  <c:v>-4.6106164443162102E-2</c:v>
                </c:pt>
                <c:pt idx="293">
                  <c:v>-0.27842266696597301</c:v>
                </c:pt>
                <c:pt idx="294">
                  <c:v>-0.18300696057267599</c:v>
                </c:pt>
                <c:pt idx="295">
                  <c:v>-0.15396739775732399</c:v>
                </c:pt>
                <c:pt idx="296">
                  <c:v>-0.14567037981008099</c:v>
                </c:pt>
                <c:pt idx="297">
                  <c:v>-0.13737336186283799</c:v>
                </c:pt>
                <c:pt idx="298">
                  <c:v>-0.20374950544078399</c:v>
                </c:pt>
                <c:pt idx="299">
                  <c:v>-0.353095828491162</c:v>
                </c:pt>
                <c:pt idx="300">
                  <c:v>-0.295016702860459</c:v>
                </c:pt>
                <c:pt idx="301">
                  <c:v>-0.32405626567581097</c:v>
                </c:pt>
                <c:pt idx="302">
                  <c:v>-0.33650179259667501</c:v>
                </c:pt>
                <c:pt idx="303">
                  <c:v>-0.42362048104272898</c:v>
                </c:pt>
                <c:pt idx="304">
                  <c:v>-0.45266004385808101</c:v>
                </c:pt>
                <c:pt idx="305">
                  <c:v>-0.52733320538327</c:v>
                </c:pt>
                <c:pt idx="306">
                  <c:v>-0.53563022333051302</c:v>
                </c:pt>
                <c:pt idx="307">
                  <c:v>-0.49829364256791903</c:v>
                </c:pt>
                <c:pt idx="308">
                  <c:v>-0.52318469640964804</c:v>
                </c:pt>
                <c:pt idx="309">
                  <c:v>-0.60615487588208095</c:v>
                </c:pt>
                <c:pt idx="310">
                  <c:v>-0.63934294767105404</c:v>
                </c:pt>
                <c:pt idx="311">
                  <c:v>-0.65593698356553998</c:v>
                </c:pt>
                <c:pt idx="312">
                  <c:v>-0.57296680409310796</c:v>
                </c:pt>
                <c:pt idx="313">
                  <c:v>-0.53563022333051302</c:v>
                </c:pt>
                <c:pt idx="314">
                  <c:v>-0.57711531306672903</c:v>
                </c:pt>
                <c:pt idx="315">
                  <c:v>-0.57296680409310796</c:v>
                </c:pt>
                <c:pt idx="316">
                  <c:v>-0.56466978614586505</c:v>
                </c:pt>
                <c:pt idx="317">
                  <c:v>-0.48584811564705399</c:v>
                </c:pt>
                <c:pt idx="318">
                  <c:v>-0.56881829511948601</c:v>
                </c:pt>
                <c:pt idx="319">
                  <c:v>-0.469254079752567</c:v>
                </c:pt>
                <c:pt idx="320">
                  <c:v>-1.215985695004459</c:v>
                </c:pt>
                <c:pt idx="321">
                  <c:v>-1.2948073655032699</c:v>
                </c:pt>
                <c:pt idx="322">
                  <c:v>-8.7695836805675303E-3</c:v>
                </c:pt>
                <c:pt idx="323">
                  <c:v>-1.29180926541891E-2</c:v>
                </c:pt>
                <c:pt idx="324">
                  <c:v>-0.149818888783703</c:v>
                </c:pt>
                <c:pt idx="325">
                  <c:v>-0.74720418098521602</c:v>
                </c:pt>
                <c:pt idx="326">
                  <c:v>-0.42362048104272898</c:v>
                </c:pt>
                <c:pt idx="327">
                  <c:v>-0.21204652338802699</c:v>
                </c:pt>
                <c:pt idx="328">
                  <c:v>-0.187155469546297</c:v>
                </c:pt>
                <c:pt idx="329">
                  <c:v>-0.489996624620675</c:v>
                </c:pt>
                <c:pt idx="330">
                  <c:v>-0.62274891177656699</c:v>
                </c:pt>
                <c:pt idx="331">
                  <c:v>-0.67253101946002702</c:v>
                </c:pt>
                <c:pt idx="332">
                  <c:v>-0.78868927072143202</c:v>
                </c:pt>
                <c:pt idx="333">
                  <c:v>-0.76379821687970195</c:v>
                </c:pt>
                <c:pt idx="334">
                  <c:v>-0.98781770145527004</c:v>
                </c:pt>
                <c:pt idx="335">
                  <c:v>-0.87165945019386404</c:v>
                </c:pt>
                <c:pt idx="336">
                  <c:v>-0.68912505535451296</c:v>
                </c:pt>
                <c:pt idx="337">
                  <c:v>-0.70571909124900001</c:v>
                </c:pt>
                <c:pt idx="338">
                  <c:v>-0.80943181558954003</c:v>
                </c:pt>
                <c:pt idx="339">
                  <c:v>-0.68082803740727005</c:v>
                </c:pt>
                <c:pt idx="340">
                  <c:v>-0.92973857582456698</c:v>
                </c:pt>
                <c:pt idx="341">
                  <c:v>-1.00856024632338</c:v>
                </c:pt>
                <c:pt idx="342">
                  <c:v>-0.82602585148402696</c:v>
                </c:pt>
                <c:pt idx="343">
                  <c:v>-0.86336243224662101</c:v>
                </c:pt>
                <c:pt idx="344">
                  <c:v>-0.86336243224662101</c:v>
                </c:pt>
                <c:pt idx="345">
                  <c:v>-0.84261988737851301</c:v>
                </c:pt>
                <c:pt idx="346">
                  <c:v>-0.93803559377181001</c:v>
                </c:pt>
                <c:pt idx="347">
                  <c:v>-1.0002632283761299</c:v>
                </c:pt>
                <c:pt idx="348">
                  <c:v>-1.2325797308989499</c:v>
                </c:pt>
                <c:pt idx="349">
                  <c:v>-1.1703520962946199</c:v>
                </c:pt>
                <c:pt idx="350">
                  <c:v>-1.2574707847406801</c:v>
                </c:pt>
                <c:pt idx="351">
                  <c:v>-1.32799543729224</c:v>
                </c:pt>
                <c:pt idx="352">
                  <c:v>-1.22013420397808</c:v>
                </c:pt>
                <c:pt idx="353">
                  <c:v>0.93294195333153995</c:v>
                </c:pt>
                <c:pt idx="354">
                  <c:v>0.80848668412289104</c:v>
                </c:pt>
                <c:pt idx="355">
                  <c:v>0.77529861233391895</c:v>
                </c:pt>
                <c:pt idx="356">
                  <c:v>0.327259643182784</c:v>
                </c:pt>
                <c:pt idx="357">
                  <c:v>0.182061829106027</c:v>
                </c:pt>
                <c:pt idx="358">
                  <c:v>-0.52733320538327</c:v>
                </c:pt>
                <c:pt idx="359">
                  <c:v>-0.99196621042889099</c:v>
                </c:pt>
                <c:pt idx="360">
                  <c:v>-0.74305567201159395</c:v>
                </c:pt>
                <c:pt idx="361">
                  <c:v>-1.0251542822178601</c:v>
                </c:pt>
                <c:pt idx="362">
                  <c:v>-0.93388708479818905</c:v>
                </c:pt>
                <c:pt idx="363">
                  <c:v>-1.0666393719540801</c:v>
                </c:pt>
                <c:pt idx="364">
                  <c:v>-1.0002632283761299</c:v>
                </c:pt>
                <c:pt idx="365">
                  <c:v>-1.13716402450565</c:v>
                </c:pt>
                <c:pt idx="366">
                  <c:v>-1.09567893476943</c:v>
                </c:pt>
                <c:pt idx="367">
                  <c:v>-1.1247184975847799</c:v>
                </c:pt>
                <c:pt idx="368">
                  <c:v>-1.1081244616903001</c:v>
                </c:pt>
                <c:pt idx="369">
                  <c:v>-1.0915304257958101</c:v>
                </c:pt>
                <c:pt idx="370">
                  <c:v>-1.1952431501363501</c:v>
                </c:pt>
                <c:pt idx="371">
                  <c:v>-1.24087674884619</c:v>
                </c:pt>
                <c:pt idx="372">
                  <c:v>-1.2284312219253199</c:v>
                </c:pt>
                <c:pt idx="373">
                  <c:v>-1.3238469283186201</c:v>
                </c:pt>
                <c:pt idx="374">
                  <c:v>-1.53956939494695</c:v>
                </c:pt>
                <c:pt idx="375">
                  <c:v>-1.5063813231579699</c:v>
                </c:pt>
                <c:pt idx="376">
                  <c:v>-1.52297535905246</c:v>
                </c:pt>
                <c:pt idx="377">
                  <c:v>-1.62253957441938</c:v>
                </c:pt>
                <c:pt idx="378">
                  <c:v>-1.68891571799732</c:v>
                </c:pt>
                <c:pt idx="379">
                  <c:v>-1.53542088597332</c:v>
                </c:pt>
                <c:pt idx="380">
                  <c:v>-0.207898014414405</c:v>
                </c:pt>
                <c:pt idx="381">
                  <c:v>-0.51488767846240502</c:v>
                </c:pt>
                <c:pt idx="382">
                  <c:v>5.34580509237568E-2</c:v>
                </c:pt>
                <c:pt idx="383">
                  <c:v>-0.37383837335927</c:v>
                </c:pt>
                <c:pt idx="384">
                  <c:v>-0.58126382204035099</c:v>
                </c:pt>
                <c:pt idx="385">
                  <c:v>-9.1739763152999906E-2</c:v>
                </c:pt>
                <c:pt idx="386">
                  <c:v>-0.27012564901872999</c:v>
                </c:pt>
                <c:pt idx="387">
                  <c:v>-0.19960099646716201</c:v>
                </c:pt>
                <c:pt idx="388">
                  <c:v>-0.22864055928251301</c:v>
                </c:pt>
                <c:pt idx="389">
                  <c:v>-0.448511534884459</c:v>
                </c:pt>
                <c:pt idx="390">
                  <c:v>-0.65593698356553998</c:v>
                </c:pt>
                <c:pt idx="391">
                  <c:v>-1.0251542822178601</c:v>
                </c:pt>
                <c:pt idx="392">
                  <c:v>-0.97122366556078299</c:v>
                </c:pt>
                <c:pt idx="393">
                  <c:v>-1.09567893476943</c:v>
                </c:pt>
                <c:pt idx="394">
                  <c:v>-1.2823618385824</c:v>
                </c:pt>
                <c:pt idx="395">
                  <c:v>-1.2948073655032699</c:v>
                </c:pt>
                <c:pt idx="396">
                  <c:v>-1.31140140139776</c:v>
                </c:pt>
                <c:pt idx="397">
                  <c:v>-1.31140140139776</c:v>
                </c:pt>
                <c:pt idx="398">
                  <c:v>-1.36948052702846</c:v>
                </c:pt>
                <c:pt idx="399">
                  <c:v>-1.2616192937143</c:v>
                </c:pt>
                <c:pt idx="400">
                  <c:v>-1.4192626347119199</c:v>
                </c:pt>
                <c:pt idx="401">
                  <c:v>-1.3985200898438099</c:v>
                </c:pt>
                <c:pt idx="402">
                  <c:v>-1.45245070650089</c:v>
                </c:pt>
                <c:pt idx="403">
                  <c:v>-1.9087866935992699</c:v>
                </c:pt>
                <c:pt idx="404">
                  <c:v>-0.34479881054391898</c:v>
                </c:pt>
                <c:pt idx="405">
                  <c:v>-0.16226441570456701</c:v>
                </c:pt>
                <c:pt idx="406">
                  <c:v>-4.62107470694591E-3</c:v>
                </c:pt>
                <c:pt idx="407">
                  <c:v>-0.39872942720100002</c:v>
                </c:pt>
                <c:pt idx="408">
                  <c:v>-0.431917498989973</c:v>
                </c:pt>
                <c:pt idx="409">
                  <c:v>-0.187155469546297</c:v>
                </c:pt>
                <c:pt idx="410">
                  <c:v>-9.1739763152999906E-2</c:v>
                </c:pt>
                <c:pt idx="411">
                  <c:v>-0.129076343915595</c:v>
                </c:pt>
                <c:pt idx="412">
                  <c:v>-0.353095828491162</c:v>
                </c:pt>
                <c:pt idx="413">
                  <c:v>-0.70986760022262096</c:v>
                </c:pt>
                <c:pt idx="414">
                  <c:v>-0.92559006685094503</c:v>
                </c:pt>
                <c:pt idx="415">
                  <c:v>-0.97122366556078299</c:v>
                </c:pt>
                <c:pt idx="416">
                  <c:v>-0.99196621042889099</c:v>
                </c:pt>
                <c:pt idx="417">
                  <c:v>-1.1247184975847799</c:v>
                </c:pt>
                <c:pt idx="418">
                  <c:v>-1.0500453360595901</c:v>
                </c:pt>
                <c:pt idx="419">
                  <c:v>-1.1454610424528899</c:v>
                </c:pt>
                <c:pt idx="420">
                  <c:v>-1.1952431501363501</c:v>
                </c:pt>
                <c:pt idx="421">
                  <c:v>-1.2574707847406801</c:v>
                </c:pt>
                <c:pt idx="422">
                  <c:v>-1.3445894731867301</c:v>
                </c:pt>
                <c:pt idx="423">
                  <c:v>-1.30725289242413</c:v>
                </c:pt>
                <c:pt idx="424">
                  <c:v>-1.4068171077910501</c:v>
                </c:pt>
                <c:pt idx="425">
                  <c:v>-0.94218410274543196</c:v>
                </c:pt>
                <c:pt idx="426">
                  <c:v>-8.3442745205756702E-2</c:v>
                </c:pt>
                <c:pt idx="427">
                  <c:v>-5.44031823904053E-2</c:v>
                </c:pt>
                <c:pt idx="428">
                  <c:v>-0.16226441570456701</c:v>
                </c:pt>
                <c:pt idx="429">
                  <c:v>2.4418488108405401E-2</c:v>
                </c:pt>
                <c:pt idx="430">
                  <c:v>-0.22864055928251301</c:v>
                </c:pt>
                <c:pt idx="431">
                  <c:v>-0.24938310415062101</c:v>
                </c:pt>
                <c:pt idx="432">
                  <c:v>-0.62689742075018895</c:v>
                </c:pt>
                <c:pt idx="433">
                  <c:v>-0.90484752198283702</c:v>
                </c:pt>
                <c:pt idx="434">
                  <c:v>-0.93388708479818905</c:v>
                </c:pt>
                <c:pt idx="435">
                  <c:v>-1.05834235400684</c:v>
                </c:pt>
                <c:pt idx="436">
                  <c:v>-1.0458968270859701</c:v>
                </c:pt>
                <c:pt idx="437">
                  <c:v>-1.0707878809277001</c:v>
                </c:pt>
                <c:pt idx="438">
                  <c:v>-1.09982744374305</c:v>
                </c:pt>
                <c:pt idx="439">
                  <c:v>-1.0624908629804599</c:v>
                </c:pt>
                <c:pt idx="440">
                  <c:v>-1.0915304257958101</c:v>
                </c:pt>
                <c:pt idx="441">
                  <c:v>-1.09567893476943</c:v>
                </c:pt>
                <c:pt idx="442">
                  <c:v>-1.0832334078485699</c:v>
                </c:pt>
                <c:pt idx="443">
                  <c:v>-1.0500453360595901</c:v>
                </c:pt>
                <c:pt idx="444">
                  <c:v>-1.0666393719540801</c:v>
                </c:pt>
                <c:pt idx="445">
                  <c:v>-1.0458968270859701</c:v>
                </c:pt>
                <c:pt idx="446">
                  <c:v>-1.1662035873209999</c:v>
                </c:pt>
                <c:pt idx="447">
                  <c:v>-1.0458968270859701</c:v>
                </c:pt>
                <c:pt idx="448">
                  <c:v>-1.1537580604001301</c:v>
                </c:pt>
                <c:pt idx="449">
                  <c:v>-1.3196984193450001</c:v>
                </c:pt>
                <c:pt idx="450">
                  <c:v>-1.41096561676467</c:v>
                </c:pt>
                <c:pt idx="451">
                  <c:v>-1.3985200898438099</c:v>
                </c:pt>
                <c:pt idx="452">
                  <c:v>-1.4151141257383</c:v>
                </c:pt>
                <c:pt idx="453">
                  <c:v>-1.39437158087019</c:v>
                </c:pt>
                <c:pt idx="454">
                  <c:v>-1.47734176034262</c:v>
                </c:pt>
                <c:pt idx="455">
                  <c:v>-1.45659921547451</c:v>
                </c:pt>
                <c:pt idx="456">
                  <c:v>-1.49808430521073</c:v>
                </c:pt>
                <c:pt idx="457">
                  <c:v>-1.4151141257383</c:v>
                </c:pt>
                <c:pt idx="458">
                  <c:v>-1.58105448468316</c:v>
                </c:pt>
                <c:pt idx="459">
                  <c:v>-1.51467834110522</c:v>
                </c:pt>
                <c:pt idx="460">
                  <c:v>-1.5769059757095401</c:v>
                </c:pt>
                <c:pt idx="461">
                  <c:v>-1.6183910654457601</c:v>
                </c:pt>
                <c:pt idx="462">
                  <c:v>-1.6100940474985099</c:v>
                </c:pt>
                <c:pt idx="463">
                  <c:v>-1.64743062826111</c:v>
                </c:pt>
                <c:pt idx="464">
                  <c:v>-1.6142425564721301</c:v>
                </c:pt>
                <c:pt idx="465">
                  <c:v>-1.58105448468316</c:v>
                </c:pt>
                <c:pt idx="466">
                  <c:v>-1.5935000116040301</c:v>
                </c:pt>
                <c:pt idx="467">
                  <c:v>-1.75114335260165</c:v>
                </c:pt>
                <c:pt idx="468">
                  <c:v>-1.12056998861116</c:v>
                </c:pt>
                <c:pt idx="469">
                  <c:v>-0.295016702860459</c:v>
                </c:pt>
                <c:pt idx="470">
                  <c:v>-0.47340258872618901</c:v>
                </c:pt>
                <c:pt idx="471">
                  <c:v>-0.81358032456316198</c:v>
                </c:pt>
                <c:pt idx="472">
                  <c:v>-1.1081244616903001</c:v>
                </c:pt>
                <c:pt idx="473">
                  <c:v>-1.09982744374305</c:v>
                </c:pt>
                <c:pt idx="474">
                  <c:v>-1.24917376679343</c:v>
                </c:pt>
                <c:pt idx="475">
                  <c:v>-1.24917376679343</c:v>
                </c:pt>
                <c:pt idx="476">
                  <c:v>-1.24502525781981</c:v>
                </c:pt>
                <c:pt idx="477">
                  <c:v>-1.03345130016511</c:v>
                </c:pt>
                <c:pt idx="478">
                  <c:v>-1.07908489887495</c:v>
                </c:pt>
                <c:pt idx="479">
                  <c:v>-1.2574707847406801</c:v>
                </c:pt>
                <c:pt idx="480">
                  <c:v>-1.26576780268792</c:v>
                </c:pt>
                <c:pt idx="481">
                  <c:v>-1.1952431501363501</c:v>
                </c:pt>
                <c:pt idx="482">
                  <c:v>-1.12056998861116</c:v>
                </c:pt>
                <c:pt idx="483">
                  <c:v>-1.215985695004459</c:v>
                </c:pt>
                <c:pt idx="484">
                  <c:v>-1.2242827129517</c:v>
                </c:pt>
                <c:pt idx="485">
                  <c:v>-1.17864911424186</c:v>
                </c:pt>
                <c:pt idx="486">
                  <c:v>-1.1703520962946199</c:v>
                </c:pt>
                <c:pt idx="487">
                  <c:v>-1.2948073655032699</c:v>
                </c:pt>
                <c:pt idx="488">
                  <c:v>-1.19939165910997</c:v>
                </c:pt>
                <c:pt idx="489">
                  <c:v>-1.1745006052682401</c:v>
                </c:pt>
                <c:pt idx="490">
                  <c:v>-1.34873798216035</c:v>
                </c:pt>
                <c:pt idx="491">
                  <c:v>-1.32799543729224</c:v>
                </c:pt>
                <c:pt idx="492">
                  <c:v>-1.3860745629229501</c:v>
                </c:pt>
                <c:pt idx="493">
                  <c:v>-1.2989558744768901</c:v>
                </c:pt>
                <c:pt idx="494">
                  <c:v>-1.19939165910997</c:v>
                </c:pt>
                <c:pt idx="495">
                  <c:v>-1.427559652659159</c:v>
                </c:pt>
                <c:pt idx="496">
                  <c:v>-1.28651034755603</c:v>
                </c:pt>
                <c:pt idx="497">
                  <c:v>-1.3445894731867301</c:v>
                </c:pt>
                <c:pt idx="498">
                  <c:v>-1.36948052702846</c:v>
                </c:pt>
                <c:pt idx="499">
                  <c:v>-1.4068171077910501</c:v>
                </c:pt>
                <c:pt idx="500">
                  <c:v>-1.41096561676467</c:v>
                </c:pt>
                <c:pt idx="501">
                  <c:v>-1.45659921547451</c:v>
                </c:pt>
                <c:pt idx="502">
                  <c:v>-1.5105298321315901</c:v>
                </c:pt>
                <c:pt idx="503">
                  <c:v>-1.5976485205776501</c:v>
                </c:pt>
                <c:pt idx="504">
                  <c:v>-1.4358566706064</c:v>
                </c:pt>
                <c:pt idx="505">
                  <c:v>-1.49808430521073</c:v>
                </c:pt>
                <c:pt idx="506">
                  <c:v>-1.51467834110522</c:v>
                </c:pt>
                <c:pt idx="507">
                  <c:v>-1.53542088597332</c:v>
                </c:pt>
                <c:pt idx="508">
                  <c:v>-1.51882685007884</c:v>
                </c:pt>
                <c:pt idx="509">
                  <c:v>-1.5520149218678101</c:v>
                </c:pt>
                <c:pt idx="510">
                  <c:v>-1.5520149218678101</c:v>
                </c:pt>
                <c:pt idx="511">
                  <c:v>-1.5686089577622999</c:v>
                </c:pt>
                <c:pt idx="512">
                  <c:v>-1.5561634308414301</c:v>
                </c:pt>
                <c:pt idx="513">
                  <c:v>-1.60179702955127</c:v>
                </c:pt>
                <c:pt idx="514">
                  <c:v>-1.5976485205776501</c:v>
                </c:pt>
                <c:pt idx="515">
                  <c:v>-1.68891571799732</c:v>
                </c:pt>
                <c:pt idx="516">
                  <c:v>-1.7179552808126699</c:v>
                </c:pt>
                <c:pt idx="517">
                  <c:v>-1.7179552808126699</c:v>
                </c:pt>
                <c:pt idx="518">
                  <c:v>-1.7428463346544001</c:v>
                </c:pt>
                <c:pt idx="519">
                  <c:v>-1.7013612449181901</c:v>
                </c:pt>
                <c:pt idx="520">
                  <c:v>-1.77603440644338</c:v>
                </c:pt>
                <c:pt idx="521">
                  <c:v>-1.73040080773354</c:v>
                </c:pt>
                <c:pt idx="522">
                  <c:v>-1.7345493167071599</c:v>
                </c:pt>
                <c:pt idx="523">
                  <c:v>-1.427559652659159</c:v>
                </c:pt>
                <c:pt idx="524">
                  <c:v>-1.547866412894189</c:v>
                </c:pt>
                <c:pt idx="525">
                  <c:v>-1.626688083393</c:v>
                </c:pt>
                <c:pt idx="526">
                  <c:v>-1.5769059757095401</c:v>
                </c:pt>
                <c:pt idx="527">
                  <c:v>-1.51882685007884</c:v>
                </c:pt>
                <c:pt idx="528">
                  <c:v>-1.626688083393</c:v>
                </c:pt>
                <c:pt idx="529">
                  <c:v>-1.53542088597332</c:v>
                </c:pt>
                <c:pt idx="530">
                  <c:v>-1.60594553852489</c:v>
                </c:pt>
                <c:pt idx="531">
                  <c:v>-1.5727574667359201</c:v>
                </c:pt>
                <c:pt idx="532">
                  <c:v>-1.5935000116040301</c:v>
                </c:pt>
                <c:pt idx="533">
                  <c:v>-1.6349851013402401</c:v>
                </c:pt>
                <c:pt idx="534">
                  <c:v>-1.64328211928749</c:v>
                </c:pt>
                <c:pt idx="535">
                  <c:v>-1.64328211928749</c:v>
                </c:pt>
                <c:pt idx="536">
                  <c:v>-1.6100940474985099</c:v>
                </c:pt>
                <c:pt idx="537">
                  <c:v>-1.4234111436855399</c:v>
                </c:pt>
                <c:pt idx="538">
                  <c:v>-1.4897872872634901</c:v>
                </c:pt>
                <c:pt idx="539">
                  <c:v>-1.5769059757095401</c:v>
                </c:pt>
                <c:pt idx="540">
                  <c:v>-1.626688083393</c:v>
                </c:pt>
                <c:pt idx="541">
                  <c:v>-1.54371790392057</c:v>
                </c:pt>
                <c:pt idx="542">
                  <c:v>-1.5520149218678101</c:v>
                </c:pt>
                <c:pt idx="543">
                  <c:v>-1.56031193981505</c:v>
                </c:pt>
                <c:pt idx="544">
                  <c:v>-1.56446044878867</c:v>
                </c:pt>
                <c:pt idx="545">
                  <c:v>-1.49393579623711</c:v>
                </c:pt>
                <c:pt idx="546">
                  <c:v>-1.53542088597332</c:v>
                </c:pt>
                <c:pt idx="547">
                  <c:v>-1.56446044878867</c:v>
                </c:pt>
                <c:pt idx="548">
                  <c:v>-1.6515791372347299</c:v>
                </c:pt>
                <c:pt idx="549">
                  <c:v>-1.53956939494695</c:v>
                </c:pt>
                <c:pt idx="550">
                  <c:v>-1.58520299365678</c:v>
                </c:pt>
                <c:pt idx="551">
                  <c:v>-1.5105298321315901</c:v>
                </c:pt>
                <c:pt idx="552">
                  <c:v>-1.51882685007884</c:v>
                </c:pt>
                <c:pt idx="553">
                  <c:v>-1.5520149218678101</c:v>
                </c:pt>
                <c:pt idx="554">
                  <c:v>-1.5105298321315901</c:v>
                </c:pt>
                <c:pt idx="555">
                  <c:v>-1.6598761551819701</c:v>
                </c:pt>
                <c:pt idx="556">
                  <c:v>-1.43170816163278</c:v>
                </c:pt>
                <c:pt idx="557">
                  <c:v>-1.4358566706064</c:v>
                </c:pt>
                <c:pt idx="558">
                  <c:v>-0.93388708479818905</c:v>
                </c:pt>
                <c:pt idx="559">
                  <c:v>-1.0832334078485699</c:v>
                </c:pt>
                <c:pt idx="560">
                  <c:v>-1.0210057732442399</c:v>
                </c:pt>
                <c:pt idx="561">
                  <c:v>-1.05834235400684</c:v>
                </c:pt>
                <c:pt idx="562">
                  <c:v>-1.1537580604001301</c:v>
                </c:pt>
                <c:pt idx="563">
                  <c:v>-1.3238469283186201</c:v>
                </c:pt>
                <c:pt idx="564">
                  <c:v>-0.89240199506197204</c:v>
                </c:pt>
                <c:pt idx="565">
                  <c:v>-0.78868927072143202</c:v>
                </c:pt>
                <c:pt idx="566">
                  <c:v>-1.0832334078485699</c:v>
                </c:pt>
                <c:pt idx="567">
                  <c:v>-1.1039759527166799</c:v>
                </c:pt>
                <c:pt idx="568">
                  <c:v>-0.92559006685094503</c:v>
                </c:pt>
                <c:pt idx="569">
                  <c:v>-0.79698628866867505</c:v>
                </c:pt>
                <c:pt idx="570">
                  <c:v>-0.81358032456316198</c:v>
                </c:pt>
                <c:pt idx="571">
                  <c:v>-0.95877813863991801</c:v>
                </c:pt>
                <c:pt idx="572">
                  <c:v>-0.81358032456316198</c:v>
                </c:pt>
                <c:pt idx="573">
                  <c:v>-0.95877813863991801</c:v>
                </c:pt>
                <c:pt idx="574">
                  <c:v>-0.82187734251040501</c:v>
                </c:pt>
                <c:pt idx="575">
                  <c:v>-1.0458968270859701</c:v>
                </c:pt>
                <c:pt idx="576">
                  <c:v>-1.0458968270859701</c:v>
                </c:pt>
                <c:pt idx="577">
                  <c:v>-0.69327356432813503</c:v>
                </c:pt>
                <c:pt idx="578">
                  <c:v>-0.73890716303797299</c:v>
                </c:pt>
                <c:pt idx="579">
                  <c:v>-0.82602585148402696</c:v>
                </c:pt>
                <c:pt idx="580">
                  <c:v>-1.0210057732442399</c:v>
                </c:pt>
                <c:pt idx="581">
                  <c:v>-1.12056998861116</c:v>
                </c:pt>
                <c:pt idx="582">
                  <c:v>-1.1122729706639201</c:v>
                </c:pt>
                <c:pt idx="583">
                  <c:v>-1.2076886770572199</c:v>
                </c:pt>
                <c:pt idx="584">
                  <c:v>-1.1330155155320301</c:v>
                </c:pt>
                <c:pt idx="585">
                  <c:v>-1.2076886770572199</c:v>
                </c:pt>
                <c:pt idx="586">
                  <c:v>-1.0624908629804599</c:v>
                </c:pt>
                <c:pt idx="587">
                  <c:v>-1.215985695004459</c:v>
                </c:pt>
                <c:pt idx="588">
                  <c:v>-1.19939165910997</c:v>
                </c:pt>
                <c:pt idx="589">
                  <c:v>-1.1745006052682401</c:v>
                </c:pt>
                <c:pt idx="590">
                  <c:v>-1.1454610424528899</c:v>
                </c:pt>
                <c:pt idx="591">
                  <c:v>-1.1869461321891099</c:v>
                </c:pt>
                <c:pt idx="592">
                  <c:v>-1.24087674884619</c:v>
                </c:pt>
                <c:pt idx="593">
                  <c:v>-1.24087674884619</c:v>
                </c:pt>
                <c:pt idx="594">
                  <c:v>-1.20354016808359</c:v>
                </c:pt>
                <c:pt idx="595">
                  <c:v>-1.24917376679343</c:v>
                </c:pt>
                <c:pt idx="596">
                  <c:v>-1.2823618385824</c:v>
                </c:pt>
                <c:pt idx="597">
                  <c:v>-1.2823618385824</c:v>
                </c:pt>
                <c:pt idx="598">
                  <c:v>-1.2533222757670499</c:v>
                </c:pt>
                <c:pt idx="599">
                  <c:v>-1.39022307189657</c:v>
                </c:pt>
                <c:pt idx="600">
                  <c:v>-1.4026685988174299</c:v>
                </c:pt>
                <c:pt idx="601">
                  <c:v>-1.4358566706064</c:v>
                </c:pt>
                <c:pt idx="602">
                  <c:v>-1.3570350001075899</c:v>
                </c:pt>
                <c:pt idx="603">
                  <c:v>-1.3860745629229501</c:v>
                </c:pt>
                <c:pt idx="604">
                  <c:v>-1.3653320180548401</c:v>
                </c:pt>
                <c:pt idx="605">
                  <c:v>-1.3777775449756999</c:v>
                </c:pt>
                <c:pt idx="606">
                  <c:v>-1.3570350001075899</c:v>
                </c:pt>
                <c:pt idx="607">
                  <c:v>-1.3570350001075899</c:v>
                </c:pt>
                <c:pt idx="608">
                  <c:v>-1.3611835090812201</c:v>
                </c:pt>
                <c:pt idx="609">
                  <c:v>-1.39022307189657</c:v>
                </c:pt>
                <c:pt idx="610">
                  <c:v>-1.4068171077910501</c:v>
                </c:pt>
                <c:pt idx="611">
                  <c:v>-1.45659921547451</c:v>
                </c:pt>
                <c:pt idx="612">
                  <c:v>-1.4483021975272701</c:v>
                </c:pt>
                <c:pt idx="613">
                  <c:v>-1.4234111436855399</c:v>
                </c:pt>
                <c:pt idx="614">
                  <c:v>-1.4358566706064</c:v>
                </c:pt>
                <c:pt idx="615">
                  <c:v>-1.3777775449756999</c:v>
                </c:pt>
                <c:pt idx="616">
                  <c:v>-1.5312723769997001</c:v>
                </c:pt>
                <c:pt idx="617">
                  <c:v>-1.6847672090237</c:v>
                </c:pt>
                <c:pt idx="618">
                  <c:v>-1.7428463346544001</c:v>
                </c:pt>
                <c:pt idx="619">
                  <c:v>-1.70550975389181</c:v>
                </c:pt>
                <c:pt idx="620">
                  <c:v>-1.79262844233786</c:v>
                </c:pt>
                <c:pt idx="621">
                  <c:v>-1.8009254602851099</c:v>
                </c:pt>
                <c:pt idx="622">
                  <c:v>-1.77188589746976</c:v>
                </c:pt>
                <c:pt idx="623">
                  <c:v>-1.79677695131149</c:v>
                </c:pt>
                <c:pt idx="624">
                  <c:v>-1.7635888795225101</c:v>
                </c:pt>
                <c:pt idx="625">
                  <c:v>-1.77603440644338</c:v>
                </c:pt>
                <c:pt idx="626">
                  <c:v>-1.77188589746976</c:v>
                </c:pt>
                <c:pt idx="627">
                  <c:v>-1.7843314243906201</c:v>
                </c:pt>
                <c:pt idx="628">
                  <c:v>-1.7013612449181901</c:v>
                </c:pt>
                <c:pt idx="629">
                  <c:v>-1.7843314243906201</c:v>
                </c:pt>
                <c:pt idx="630">
                  <c:v>-1.7013612449181901</c:v>
                </c:pt>
                <c:pt idx="631">
                  <c:v>-1.75114335260165</c:v>
                </c:pt>
                <c:pt idx="632">
                  <c:v>-1.5105298321315901</c:v>
                </c:pt>
                <c:pt idx="633">
                  <c:v>-1.4151141257383</c:v>
                </c:pt>
                <c:pt idx="634">
                  <c:v>-1.0044117373497601</c:v>
                </c:pt>
                <c:pt idx="635">
                  <c:v>-1.0915304257958101</c:v>
                </c:pt>
                <c:pt idx="636">
                  <c:v>-1.2284312219253199</c:v>
                </c:pt>
                <c:pt idx="637">
                  <c:v>-1.2782133296087801</c:v>
                </c:pt>
                <c:pt idx="638">
                  <c:v>-1.3031043834505101</c:v>
                </c:pt>
                <c:pt idx="639">
                  <c:v>-1.12056998861116</c:v>
                </c:pt>
                <c:pt idx="640">
                  <c:v>-1.1496095514265099</c:v>
                </c:pt>
                <c:pt idx="641">
                  <c:v>-1.16205507834738</c:v>
                </c:pt>
                <c:pt idx="642">
                  <c:v>-1.1537580604001301</c:v>
                </c:pt>
                <c:pt idx="643">
                  <c:v>-1.19939165910997</c:v>
                </c:pt>
                <c:pt idx="644">
                  <c:v>-1.2076886770572199</c:v>
                </c:pt>
                <c:pt idx="645">
                  <c:v>-1.0458968270859701</c:v>
                </c:pt>
                <c:pt idx="646">
                  <c:v>-1.2118371860308399</c:v>
                </c:pt>
                <c:pt idx="647">
                  <c:v>-1.1247184975847799</c:v>
                </c:pt>
                <c:pt idx="648">
                  <c:v>-1.0002632283761299</c:v>
                </c:pt>
                <c:pt idx="649">
                  <c:v>-1.09982744374305</c:v>
                </c:pt>
                <c:pt idx="650">
                  <c:v>-1.1247184975847799</c:v>
                </c:pt>
                <c:pt idx="651">
                  <c:v>-1.05834235400684</c:v>
                </c:pt>
                <c:pt idx="652">
                  <c:v>-1.0873819168221901</c:v>
                </c:pt>
                <c:pt idx="653">
                  <c:v>-1.0458968270859701</c:v>
                </c:pt>
                <c:pt idx="654">
                  <c:v>-0.86336243224662101</c:v>
                </c:pt>
                <c:pt idx="655">
                  <c:v>-0.69327356432813503</c:v>
                </c:pt>
                <c:pt idx="656">
                  <c:v>-0.69327356432813503</c:v>
                </c:pt>
                <c:pt idx="657">
                  <c:v>-0.70157058227537805</c:v>
                </c:pt>
                <c:pt idx="658">
                  <c:v>-0.65593698356553998</c:v>
                </c:pt>
                <c:pt idx="659">
                  <c:v>-0.71401610919624303</c:v>
                </c:pt>
                <c:pt idx="660">
                  <c:v>-0.780392252774189</c:v>
                </c:pt>
                <c:pt idx="661">
                  <c:v>-0.70157058227537805</c:v>
                </c:pt>
                <c:pt idx="662">
                  <c:v>-0.82602585148402696</c:v>
                </c:pt>
                <c:pt idx="663">
                  <c:v>-0.75550119893245904</c:v>
                </c:pt>
                <c:pt idx="664">
                  <c:v>-0.75550119893245904</c:v>
                </c:pt>
                <c:pt idx="665">
                  <c:v>-0.62689742075018895</c:v>
                </c:pt>
                <c:pt idx="666">
                  <c:v>-0.67253101946002702</c:v>
                </c:pt>
                <c:pt idx="667">
                  <c:v>-0.66008549253916204</c:v>
                </c:pt>
                <c:pt idx="668">
                  <c:v>-0.69327356432813503</c:v>
                </c:pt>
                <c:pt idx="669">
                  <c:v>-0.74720418098521602</c:v>
                </c:pt>
                <c:pt idx="670">
                  <c:v>-0.73475865406435104</c:v>
                </c:pt>
                <c:pt idx="671">
                  <c:v>-1.0044117373497601</c:v>
                </c:pt>
                <c:pt idx="672">
                  <c:v>-0.58956083998759401</c:v>
                </c:pt>
                <c:pt idx="673">
                  <c:v>-0.61860040280294604</c:v>
                </c:pt>
                <c:pt idx="674">
                  <c:v>-0.66008549253916204</c:v>
                </c:pt>
                <c:pt idx="675">
                  <c:v>-0.72646163611710801</c:v>
                </c:pt>
                <c:pt idx="676">
                  <c:v>-0.94218410274543196</c:v>
                </c:pt>
                <c:pt idx="677">
                  <c:v>-1.0915304257958101</c:v>
                </c:pt>
                <c:pt idx="678">
                  <c:v>-1.0666393719540801</c:v>
                </c:pt>
                <c:pt idx="679">
                  <c:v>-1.2616192937143</c:v>
                </c:pt>
                <c:pt idx="680">
                  <c:v>-1.26576780268792</c:v>
                </c:pt>
                <c:pt idx="681">
                  <c:v>-1.2823618385824</c:v>
                </c:pt>
                <c:pt idx="682">
                  <c:v>-1.29065885652965</c:v>
                </c:pt>
                <c:pt idx="683">
                  <c:v>-1.28651034755603</c:v>
                </c:pt>
                <c:pt idx="684">
                  <c:v>-1.29065885652965</c:v>
                </c:pt>
                <c:pt idx="685">
                  <c:v>-1.4026685988174299</c:v>
                </c:pt>
                <c:pt idx="686">
                  <c:v>-1.28651034755603</c:v>
                </c:pt>
                <c:pt idx="687">
                  <c:v>-1.39022307189657</c:v>
                </c:pt>
                <c:pt idx="688">
                  <c:v>-1.3860745629229501</c:v>
                </c:pt>
                <c:pt idx="689">
                  <c:v>-1.41096561676467</c:v>
                </c:pt>
                <c:pt idx="690">
                  <c:v>-1.4192626347119199</c:v>
                </c:pt>
                <c:pt idx="691">
                  <c:v>-1.4607477244481299</c:v>
                </c:pt>
                <c:pt idx="692">
                  <c:v>-1.2284312219253199</c:v>
                </c:pt>
                <c:pt idx="693">
                  <c:v>-1.24502525781981</c:v>
                </c:pt>
                <c:pt idx="694">
                  <c:v>-1.29065885652965</c:v>
                </c:pt>
                <c:pt idx="695">
                  <c:v>-1.2782133296087801</c:v>
                </c:pt>
                <c:pt idx="696">
                  <c:v>-1.3611835090812201</c:v>
                </c:pt>
                <c:pt idx="697">
                  <c:v>-1.3570350001075899</c:v>
                </c:pt>
                <c:pt idx="698">
                  <c:v>-1.34873798216035</c:v>
                </c:pt>
                <c:pt idx="699">
                  <c:v>-1.3362924552394899</c:v>
                </c:pt>
                <c:pt idx="700">
                  <c:v>-1.2823618385824</c:v>
                </c:pt>
                <c:pt idx="701">
                  <c:v>-1.2989558744768901</c:v>
                </c:pt>
                <c:pt idx="702">
                  <c:v>-1.29065885652965</c:v>
                </c:pt>
                <c:pt idx="703">
                  <c:v>-1.28651034755603</c:v>
                </c:pt>
                <c:pt idx="704">
                  <c:v>-1.28651034755603</c:v>
                </c:pt>
                <c:pt idx="705">
                  <c:v>-1.3031043834505101</c:v>
                </c:pt>
                <c:pt idx="706">
                  <c:v>-1.2284312219253199</c:v>
                </c:pt>
                <c:pt idx="707">
                  <c:v>-1.37362903600208</c:v>
                </c:pt>
                <c:pt idx="708">
                  <c:v>-1.32799543729224</c:v>
                </c:pt>
                <c:pt idx="709">
                  <c:v>-1.2574707847406801</c:v>
                </c:pt>
                <c:pt idx="710">
                  <c:v>-1.31140140139776</c:v>
                </c:pt>
                <c:pt idx="711">
                  <c:v>-1.3238469283186201</c:v>
                </c:pt>
                <c:pt idx="712">
                  <c:v>-1.4690447423953801</c:v>
                </c:pt>
                <c:pt idx="713">
                  <c:v>-1.64743062826111</c:v>
                </c:pt>
                <c:pt idx="714">
                  <c:v>-1.5935000116040301</c:v>
                </c:pt>
                <c:pt idx="715">
                  <c:v>-1.5935000116040301</c:v>
                </c:pt>
                <c:pt idx="716">
                  <c:v>-1.6764701910764599</c:v>
                </c:pt>
                <c:pt idx="717">
                  <c:v>-1.5561634308414301</c:v>
                </c:pt>
                <c:pt idx="718">
                  <c:v>-1.53956939494695</c:v>
                </c:pt>
                <c:pt idx="719">
                  <c:v>-1.58520299365678</c:v>
                </c:pt>
                <c:pt idx="720">
                  <c:v>-1.5520149218678101</c:v>
                </c:pt>
                <c:pt idx="721">
                  <c:v>-1.6391336103138601</c:v>
                </c:pt>
                <c:pt idx="722">
                  <c:v>-1.5105298321315901</c:v>
                </c:pt>
                <c:pt idx="723">
                  <c:v>-1.5935000116040301</c:v>
                </c:pt>
                <c:pt idx="724">
                  <c:v>-1.58520299365678</c:v>
                </c:pt>
                <c:pt idx="725">
                  <c:v>-1.52297535905246</c:v>
                </c:pt>
                <c:pt idx="726">
                  <c:v>-1.5893515026303999</c:v>
                </c:pt>
                <c:pt idx="727">
                  <c:v>-1.626688083393</c:v>
                </c:pt>
                <c:pt idx="728">
                  <c:v>-1.3860745629229501</c:v>
                </c:pt>
                <c:pt idx="729">
                  <c:v>-1.33214394626586</c:v>
                </c:pt>
                <c:pt idx="730">
                  <c:v>-1.0915304257958101</c:v>
                </c:pt>
                <c:pt idx="731">
                  <c:v>-0.92144155787732396</c:v>
                </c:pt>
                <c:pt idx="732">
                  <c:v>-1.1496095514265099</c:v>
                </c:pt>
                <c:pt idx="733">
                  <c:v>-1.1952431501363501</c:v>
                </c:pt>
                <c:pt idx="734">
                  <c:v>-1.2948073655032699</c:v>
                </c:pt>
                <c:pt idx="735">
                  <c:v>-1.22013420397808</c:v>
                </c:pt>
                <c:pt idx="736">
                  <c:v>-1.14131253347927</c:v>
                </c:pt>
                <c:pt idx="737">
                  <c:v>-1.17864911424186</c:v>
                </c:pt>
                <c:pt idx="738">
                  <c:v>-1.1952431501363501</c:v>
                </c:pt>
                <c:pt idx="739">
                  <c:v>-1.2242827129517</c:v>
                </c:pt>
                <c:pt idx="740">
                  <c:v>-1.0251542822178601</c:v>
                </c:pt>
                <c:pt idx="741">
                  <c:v>-1.03345130016511</c:v>
                </c:pt>
                <c:pt idx="742">
                  <c:v>-1.2242827129517</c:v>
                </c:pt>
                <c:pt idx="743">
                  <c:v>-1.2118371860308399</c:v>
                </c:pt>
                <c:pt idx="744">
                  <c:v>-1.16205507834738</c:v>
                </c:pt>
                <c:pt idx="745">
                  <c:v>-0.80528330661591896</c:v>
                </c:pt>
                <c:pt idx="746">
                  <c:v>-1.01685726427062</c:v>
                </c:pt>
                <c:pt idx="747">
                  <c:v>-1.1039759527166799</c:v>
                </c:pt>
                <c:pt idx="748">
                  <c:v>-0.97537217453440495</c:v>
                </c:pt>
                <c:pt idx="749">
                  <c:v>-1.09567893476943</c:v>
                </c:pt>
                <c:pt idx="750">
                  <c:v>-0.74720418098521602</c:v>
                </c:pt>
                <c:pt idx="751">
                  <c:v>-0.63934294767105404</c:v>
                </c:pt>
                <c:pt idx="752">
                  <c:v>-0.63519443869743197</c:v>
                </c:pt>
                <c:pt idx="753">
                  <c:v>-0.59370934896121597</c:v>
                </c:pt>
                <c:pt idx="754">
                  <c:v>-0.643491456644675</c:v>
                </c:pt>
                <c:pt idx="755">
                  <c:v>-0.63934294767105404</c:v>
                </c:pt>
                <c:pt idx="756">
                  <c:v>-0.59785785793483703</c:v>
                </c:pt>
                <c:pt idx="757">
                  <c:v>-0.60615487588208095</c:v>
                </c:pt>
                <c:pt idx="758">
                  <c:v>-0.72231312714348594</c:v>
                </c:pt>
                <c:pt idx="759">
                  <c:v>-0.64763996561829695</c:v>
                </c:pt>
                <c:pt idx="760">
                  <c:v>-0.81772883353678305</c:v>
                </c:pt>
                <c:pt idx="761">
                  <c:v>-0.58126382204035099</c:v>
                </c:pt>
                <c:pt idx="762">
                  <c:v>-0.83847137840489205</c:v>
                </c:pt>
                <c:pt idx="763">
                  <c:v>-0.70157058227537805</c:v>
                </c:pt>
                <c:pt idx="764">
                  <c:v>-0.62274891177656699</c:v>
                </c:pt>
                <c:pt idx="765">
                  <c:v>-0.86336243224662101</c:v>
                </c:pt>
                <c:pt idx="766">
                  <c:v>-0.55222425922499996</c:v>
                </c:pt>
                <c:pt idx="767">
                  <c:v>-0.71816461816986399</c:v>
                </c:pt>
                <c:pt idx="768">
                  <c:v>-0.97537217453440495</c:v>
                </c:pt>
                <c:pt idx="769">
                  <c:v>-0.801134797642297</c:v>
                </c:pt>
                <c:pt idx="770">
                  <c:v>-0.78868927072143202</c:v>
                </c:pt>
                <c:pt idx="771">
                  <c:v>-0.71816461816986399</c:v>
                </c:pt>
                <c:pt idx="772">
                  <c:v>-0.94633261171905403</c:v>
                </c:pt>
                <c:pt idx="773">
                  <c:v>-0.94633261171905403</c:v>
                </c:pt>
                <c:pt idx="774">
                  <c:v>-1.1952431501363501</c:v>
                </c:pt>
                <c:pt idx="775">
                  <c:v>-1.1496095514265099</c:v>
                </c:pt>
                <c:pt idx="776">
                  <c:v>-1.215985695004459</c:v>
                </c:pt>
                <c:pt idx="777">
                  <c:v>-0.90899603095645898</c:v>
                </c:pt>
                <c:pt idx="778">
                  <c:v>-1.02930279119149</c:v>
                </c:pt>
                <c:pt idx="779">
                  <c:v>-0.99611471940251295</c:v>
                </c:pt>
                <c:pt idx="780">
                  <c:v>-0.99196621042889099</c:v>
                </c:pt>
                <c:pt idx="781">
                  <c:v>-0.97122366556078299</c:v>
                </c:pt>
                <c:pt idx="782">
                  <c:v>-1.0915304257958101</c:v>
                </c:pt>
                <c:pt idx="783">
                  <c:v>-1.0458968270859701</c:v>
                </c:pt>
                <c:pt idx="784">
                  <c:v>-1.09982744374305</c:v>
                </c:pt>
                <c:pt idx="785">
                  <c:v>-1.1039759527166799</c:v>
                </c:pt>
                <c:pt idx="786">
                  <c:v>-1.0624908629804599</c:v>
                </c:pt>
                <c:pt idx="787">
                  <c:v>-1.2076886770572199</c:v>
                </c:pt>
                <c:pt idx="788">
                  <c:v>-1.215985695004459</c:v>
                </c:pt>
                <c:pt idx="789">
                  <c:v>-1.1703520962946199</c:v>
                </c:pt>
                <c:pt idx="790">
                  <c:v>-1.2823618385824</c:v>
                </c:pt>
                <c:pt idx="791">
                  <c:v>-1.2325797308989499</c:v>
                </c:pt>
                <c:pt idx="792">
                  <c:v>-1.56446044878867</c:v>
                </c:pt>
                <c:pt idx="793">
                  <c:v>-1.2948073655032699</c:v>
                </c:pt>
                <c:pt idx="794">
                  <c:v>-1.3362924552394899</c:v>
                </c:pt>
                <c:pt idx="795">
                  <c:v>-1.3362924552394899</c:v>
                </c:pt>
                <c:pt idx="796">
                  <c:v>-1.32799543729224</c:v>
                </c:pt>
                <c:pt idx="797">
                  <c:v>-1.33214394626586</c:v>
                </c:pt>
                <c:pt idx="798">
                  <c:v>-1.3653320180548401</c:v>
                </c:pt>
                <c:pt idx="799">
                  <c:v>-1.37362903600208</c:v>
                </c:pt>
                <c:pt idx="800">
                  <c:v>-1.32799543729224</c:v>
                </c:pt>
                <c:pt idx="801">
                  <c:v>-1.4151141257383</c:v>
                </c:pt>
                <c:pt idx="802">
                  <c:v>-1.41096561676467</c:v>
                </c:pt>
                <c:pt idx="803">
                  <c:v>-1.4151141257383</c:v>
                </c:pt>
                <c:pt idx="804">
                  <c:v>-1.51467834110522</c:v>
                </c:pt>
                <c:pt idx="805">
                  <c:v>-1.51467834110522</c:v>
                </c:pt>
                <c:pt idx="806">
                  <c:v>-1.4234111436855399</c:v>
                </c:pt>
                <c:pt idx="807">
                  <c:v>-1.4234111436855399</c:v>
                </c:pt>
                <c:pt idx="808">
                  <c:v>-1.473193251369</c:v>
                </c:pt>
                <c:pt idx="809">
                  <c:v>-1.52297535905246</c:v>
                </c:pt>
                <c:pt idx="810">
                  <c:v>-1.58520299365678</c:v>
                </c:pt>
                <c:pt idx="811">
                  <c:v>-1.7594403705488899</c:v>
                </c:pt>
                <c:pt idx="812">
                  <c:v>-1.37362903600208</c:v>
                </c:pt>
                <c:pt idx="813">
                  <c:v>-0.11663081699473</c:v>
                </c:pt>
                <c:pt idx="814">
                  <c:v>-0.31575924772856701</c:v>
                </c:pt>
                <c:pt idx="815">
                  <c:v>-0.36139284643840502</c:v>
                </c:pt>
                <c:pt idx="816">
                  <c:v>-0.38628390028013498</c:v>
                </c:pt>
                <c:pt idx="817">
                  <c:v>-0.30331372080770302</c:v>
                </c:pt>
                <c:pt idx="818">
                  <c:v>-0.37798688233289202</c:v>
                </c:pt>
                <c:pt idx="819">
                  <c:v>-0.85091690532575603</c:v>
                </c:pt>
                <c:pt idx="820">
                  <c:v>-1.16205507834738</c:v>
                </c:pt>
                <c:pt idx="821">
                  <c:v>-1.1330155155320301</c:v>
                </c:pt>
                <c:pt idx="822">
                  <c:v>-1.5271238680260799</c:v>
                </c:pt>
                <c:pt idx="823">
                  <c:v>-1.2325797308989499</c:v>
                </c:pt>
                <c:pt idx="824">
                  <c:v>-0.50244215154154004</c:v>
                </c:pt>
                <c:pt idx="825">
                  <c:v>-0.431917498989973</c:v>
                </c:pt>
                <c:pt idx="826">
                  <c:v>-0.49829364256791903</c:v>
                </c:pt>
                <c:pt idx="827">
                  <c:v>-0.53563022333051302</c:v>
                </c:pt>
                <c:pt idx="828">
                  <c:v>-0.85091690532575603</c:v>
                </c:pt>
                <c:pt idx="829">
                  <c:v>-1.14131253347927</c:v>
                </c:pt>
                <c:pt idx="830">
                  <c:v>-1.11642147963754</c:v>
                </c:pt>
                <c:pt idx="831">
                  <c:v>-1.12056998861116</c:v>
                </c:pt>
                <c:pt idx="832">
                  <c:v>-1.20354016808359</c:v>
                </c:pt>
                <c:pt idx="833">
                  <c:v>-1.30725289242413</c:v>
                </c:pt>
                <c:pt idx="834">
                  <c:v>-1.3570350001075899</c:v>
                </c:pt>
                <c:pt idx="835">
                  <c:v>-1.3404409642131101</c:v>
                </c:pt>
                <c:pt idx="836">
                  <c:v>-1.4068171077910501</c:v>
                </c:pt>
                <c:pt idx="837">
                  <c:v>-1.2948073655032699</c:v>
                </c:pt>
                <c:pt idx="838">
                  <c:v>-1.43170816163278</c:v>
                </c:pt>
                <c:pt idx="839">
                  <c:v>-1.3819260539493201</c:v>
                </c:pt>
                <c:pt idx="840">
                  <c:v>-1.3611835090812201</c:v>
                </c:pt>
                <c:pt idx="841">
                  <c:v>-1.32799543729224</c:v>
                </c:pt>
                <c:pt idx="842">
                  <c:v>-1.3155499103713799</c:v>
                </c:pt>
                <c:pt idx="843">
                  <c:v>-1.4234111436855399</c:v>
                </c:pt>
                <c:pt idx="844">
                  <c:v>-1.45245070650089</c:v>
                </c:pt>
                <c:pt idx="845">
                  <c:v>-1.4400051795800299</c:v>
                </c:pt>
                <c:pt idx="846">
                  <c:v>-1.4068171077910501</c:v>
                </c:pt>
                <c:pt idx="847">
                  <c:v>-1.3819260539493201</c:v>
                </c:pt>
                <c:pt idx="848">
                  <c:v>-1.49393579623711</c:v>
                </c:pt>
                <c:pt idx="849">
                  <c:v>-1.4607477244481299</c:v>
                </c:pt>
                <c:pt idx="850">
                  <c:v>-1.5105298321315901</c:v>
                </c:pt>
                <c:pt idx="851">
                  <c:v>-1.547866412894189</c:v>
                </c:pt>
                <c:pt idx="852">
                  <c:v>-1.4897872872634901</c:v>
                </c:pt>
                <c:pt idx="853">
                  <c:v>-1.5935000116040301</c:v>
                </c:pt>
                <c:pt idx="854">
                  <c:v>-1.5727574667359201</c:v>
                </c:pt>
                <c:pt idx="855">
                  <c:v>-1.5935000116040301</c:v>
                </c:pt>
                <c:pt idx="856">
                  <c:v>-1.60179702955127</c:v>
                </c:pt>
                <c:pt idx="857">
                  <c:v>-1.8755986218103</c:v>
                </c:pt>
                <c:pt idx="858">
                  <c:v>-1.83411353207408</c:v>
                </c:pt>
                <c:pt idx="859">
                  <c:v>-1.8424105500213199</c:v>
                </c:pt>
                <c:pt idx="860">
                  <c:v>-1.8465590589949501</c:v>
                </c:pt>
                <c:pt idx="861">
                  <c:v>-0.97122366556078299</c:v>
                </c:pt>
                <c:pt idx="862">
                  <c:v>-0.13737336186283799</c:v>
                </c:pt>
                <c:pt idx="863">
                  <c:v>-0.50659066051516199</c:v>
                </c:pt>
                <c:pt idx="864">
                  <c:v>-0.207898014414405</c:v>
                </c:pt>
                <c:pt idx="865">
                  <c:v>-0.178858451599054</c:v>
                </c:pt>
                <c:pt idx="866">
                  <c:v>-0.129076343915595</c:v>
                </c:pt>
                <c:pt idx="867">
                  <c:v>-0.28671968491321598</c:v>
                </c:pt>
                <c:pt idx="868">
                  <c:v>-0.36968986438564799</c:v>
                </c:pt>
                <c:pt idx="869">
                  <c:v>-0.83432286943126999</c:v>
                </c:pt>
                <c:pt idx="870">
                  <c:v>-0.72231312714348594</c:v>
                </c:pt>
                <c:pt idx="871">
                  <c:v>-1.0002632283761299</c:v>
                </c:pt>
                <c:pt idx="872">
                  <c:v>-0.83847137840489205</c:v>
                </c:pt>
                <c:pt idx="873">
                  <c:v>-0.74720418098521602</c:v>
                </c:pt>
                <c:pt idx="874">
                  <c:v>-0.83432286943126999</c:v>
                </c:pt>
                <c:pt idx="875">
                  <c:v>-0.78454076174780996</c:v>
                </c:pt>
                <c:pt idx="876">
                  <c:v>-0.71816461816986399</c:v>
                </c:pt>
                <c:pt idx="877">
                  <c:v>-0.86336243224662101</c:v>
                </c:pt>
                <c:pt idx="878">
                  <c:v>-0.90484752198283702</c:v>
                </c:pt>
                <c:pt idx="879">
                  <c:v>-0.73061014509072897</c:v>
                </c:pt>
                <c:pt idx="880">
                  <c:v>-0.99611471940251295</c:v>
                </c:pt>
                <c:pt idx="881">
                  <c:v>-0.80943181558954003</c:v>
                </c:pt>
                <c:pt idx="882">
                  <c:v>-0.82602585148402696</c:v>
                </c:pt>
                <c:pt idx="883">
                  <c:v>-0.82187734251040501</c:v>
                </c:pt>
                <c:pt idx="884">
                  <c:v>-0.74720418098521602</c:v>
                </c:pt>
                <c:pt idx="885">
                  <c:v>-0.86336243224662101</c:v>
                </c:pt>
                <c:pt idx="886">
                  <c:v>-0.85921392327299995</c:v>
                </c:pt>
                <c:pt idx="887">
                  <c:v>-0.83847137840489205</c:v>
                </c:pt>
                <c:pt idx="888">
                  <c:v>-0.98781770145527004</c:v>
                </c:pt>
                <c:pt idx="889">
                  <c:v>-0.94218410274543196</c:v>
                </c:pt>
                <c:pt idx="890">
                  <c:v>-0.96707515658716203</c:v>
                </c:pt>
                <c:pt idx="891">
                  <c:v>-0.99196621042889099</c:v>
                </c:pt>
                <c:pt idx="892">
                  <c:v>-1.0417483181123499</c:v>
                </c:pt>
                <c:pt idx="893">
                  <c:v>-1.2076886770572199</c:v>
                </c:pt>
                <c:pt idx="894">
                  <c:v>-1.20354016808359</c:v>
                </c:pt>
                <c:pt idx="895">
                  <c:v>-1.19939165910997</c:v>
                </c:pt>
                <c:pt idx="896">
                  <c:v>-1.3777775449756999</c:v>
                </c:pt>
                <c:pt idx="897">
                  <c:v>-1.4026685988174299</c:v>
                </c:pt>
                <c:pt idx="898">
                  <c:v>-1.45245070650089</c:v>
                </c:pt>
                <c:pt idx="899">
                  <c:v>-1.39437158087019</c:v>
                </c:pt>
                <c:pt idx="900">
                  <c:v>-1.4026685988174299</c:v>
                </c:pt>
                <c:pt idx="901">
                  <c:v>-1.473193251369</c:v>
                </c:pt>
                <c:pt idx="902">
                  <c:v>-1.49808430521073</c:v>
                </c:pt>
                <c:pt idx="903">
                  <c:v>-0.33650179259667501</c:v>
                </c:pt>
                <c:pt idx="904">
                  <c:v>-0.67253101946002702</c:v>
                </c:pt>
                <c:pt idx="905">
                  <c:v>0.19035884705327</c:v>
                </c:pt>
                <c:pt idx="906">
                  <c:v>-0.178858451599054</c:v>
                </c:pt>
                <c:pt idx="907">
                  <c:v>-0.25353161312424299</c:v>
                </c:pt>
                <c:pt idx="908">
                  <c:v>-0.46510557077894599</c:v>
                </c:pt>
                <c:pt idx="909">
                  <c:v>-0.61860040280294604</c:v>
                </c:pt>
                <c:pt idx="910">
                  <c:v>-0.86751094122024297</c:v>
                </c:pt>
                <c:pt idx="911">
                  <c:v>-0.83847137840489205</c:v>
                </c:pt>
                <c:pt idx="912">
                  <c:v>-1.0624908629804599</c:v>
                </c:pt>
                <c:pt idx="913">
                  <c:v>-1.0873819168221901</c:v>
                </c:pt>
                <c:pt idx="914">
                  <c:v>-0.81358032456316198</c:v>
                </c:pt>
                <c:pt idx="915">
                  <c:v>-0.72231312714348594</c:v>
                </c:pt>
                <c:pt idx="916">
                  <c:v>-0.643491456644675</c:v>
                </c:pt>
                <c:pt idx="917">
                  <c:v>-0.63104592972381002</c:v>
                </c:pt>
                <c:pt idx="918">
                  <c:v>-0.68082803740727005</c:v>
                </c:pt>
                <c:pt idx="919">
                  <c:v>-0.65593698356553998</c:v>
                </c:pt>
                <c:pt idx="920">
                  <c:v>-0.71816461816986399</c:v>
                </c:pt>
                <c:pt idx="921">
                  <c:v>-0.664234001512783</c:v>
                </c:pt>
                <c:pt idx="922">
                  <c:v>-0.53563022333051302</c:v>
                </c:pt>
                <c:pt idx="923">
                  <c:v>-0.53977873230413498</c:v>
                </c:pt>
                <c:pt idx="924">
                  <c:v>-0.801134797642297</c:v>
                </c:pt>
                <c:pt idx="925">
                  <c:v>-0.87165945019386404</c:v>
                </c:pt>
                <c:pt idx="926">
                  <c:v>-0.643491456644675</c:v>
                </c:pt>
                <c:pt idx="927">
                  <c:v>-0.56881829511948601</c:v>
                </c:pt>
                <c:pt idx="928">
                  <c:v>-0.56466978614586505</c:v>
                </c:pt>
                <c:pt idx="929">
                  <c:v>-0.684976546380892</c:v>
                </c:pt>
                <c:pt idx="930">
                  <c:v>-0.68912505535451296</c:v>
                </c:pt>
                <c:pt idx="931">
                  <c:v>-0.68912505535451296</c:v>
                </c:pt>
                <c:pt idx="932">
                  <c:v>-0.56881829511948601</c:v>
                </c:pt>
                <c:pt idx="933">
                  <c:v>-0.643491456644675</c:v>
                </c:pt>
                <c:pt idx="934">
                  <c:v>-0.70157058227537805</c:v>
                </c:pt>
                <c:pt idx="935">
                  <c:v>-0.68912505535451296</c:v>
                </c:pt>
                <c:pt idx="936">
                  <c:v>-0.88410497711472902</c:v>
                </c:pt>
                <c:pt idx="937">
                  <c:v>-0.99611471940251295</c:v>
                </c:pt>
                <c:pt idx="938">
                  <c:v>-0.96707515658716203</c:v>
                </c:pt>
                <c:pt idx="939">
                  <c:v>-1.0707878809277001</c:v>
                </c:pt>
                <c:pt idx="940">
                  <c:v>-1.0873819168221901</c:v>
                </c:pt>
                <c:pt idx="941">
                  <c:v>3.6759432402973299E-3</c:v>
                </c:pt>
                <c:pt idx="942">
                  <c:v>-6.2700200337648601E-2</c:v>
                </c:pt>
                <c:pt idx="943">
                  <c:v>3.2715506055648699E-2</c:v>
                </c:pt>
                <c:pt idx="944">
                  <c:v>-0.31161073875494599</c:v>
                </c:pt>
                <c:pt idx="945">
                  <c:v>-5.8551691364026999E-2</c:v>
                </c:pt>
                <c:pt idx="946">
                  <c:v>-0.178858451599054</c:v>
                </c:pt>
                <c:pt idx="947">
                  <c:v>-0.469254079752567</c:v>
                </c:pt>
                <c:pt idx="948">
                  <c:v>-0.73061014509072897</c:v>
                </c:pt>
                <c:pt idx="949">
                  <c:v>-1.012708755297</c:v>
                </c:pt>
                <c:pt idx="950">
                  <c:v>-0.95048112069267499</c:v>
                </c:pt>
                <c:pt idx="951">
                  <c:v>-1.09567893476943</c:v>
                </c:pt>
                <c:pt idx="952">
                  <c:v>-1.20354016808359</c:v>
                </c:pt>
                <c:pt idx="953">
                  <c:v>-1.2325797308989499</c:v>
                </c:pt>
                <c:pt idx="954">
                  <c:v>-1.1122729706639201</c:v>
                </c:pt>
                <c:pt idx="955">
                  <c:v>-1.24917376679343</c:v>
                </c:pt>
                <c:pt idx="956">
                  <c:v>-1.2118371860308399</c:v>
                </c:pt>
                <c:pt idx="957">
                  <c:v>-1.2782133296087801</c:v>
                </c:pt>
                <c:pt idx="958">
                  <c:v>-1.05834235400684</c:v>
                </c:pt>
                <c:pt idx="959">
                  <c:v>-1.2989558744768901</c:v>
                </c:pt>
                <c:pt idx="960">
                  <c:v>-1.1745006052682401</c:v>
                </c:pt>
                <c:pt idx="961">
                  <c:v>-1.35288649113397</c:v>
                </c:pt>
                <c:pt idx="962">
                  <c:v>-1.41096561676467</c:v>
                </c:pt>
                <c:pt idx="963">
                  <c:v>-1.49393579623711</c:v>
                </c:pt>
                <c:pt idx="964">
                  <c:v>-0.19545248749353999</c:v>
                </c:pt>
                <c:pt idx="965">
                  <c:v>-0.73061014509072897</c:v>
                </c:pt>
                <c:pt idx="966">
                  <c:v>3.6759432402973299E-3</c:v>
                </c:pt>
                <c:pt idx="967">
                  <c:v>1.61214701611622E-2</c:v>
                </c:pt>
                <c:pt idx="968">
                  <c:v>-0.236937577229757</c:v>
                </c:pt>
                <c:pt idx="969">
                  <c:v>-0.11248230802110799</c:v>
                </c:pt>
                <c:pt idx="970">
                  <c:v>-0.62274891177656699</c:v>
                </c:pt>
                <c:pt idx="971">
                  <c:v>-0.58541233101397305</c:v>
                </c:pt>
                <c:pt idx="972">
                  <c:v>-0.78454076174780996</c:v>
                </c:pt>
                <c:pt idx="973">
                  <c:v>-0.81358032456316198</c:v>
                </c:pt>
                <c:pt idx="974">
                  <c:v>-0.780392252774189</c:v>
                </c:pt>
                <c:pt idx="975">
                  <c:v>-0.78454076174780996</c:v>
                </c:pt>
                <c:pt idx="976">
                  <c:v>-0.94633261171905403</c:v>
                </c:pt>
                <c:pt idx="977">
                  <c:v>-0.917293048903702</c:v>
                </c:pt>
                <c:pt idx="978">
                  <c:v>-0.84676839635213497</c:v>
                </c:pt>
                <c:pt idx="979">
                  <c:v>-0.84676839635213497</c:v>
                </c:pt>
                <c:pt idx="980">
                  <c:v>-0.82602585148402696</c:v>
                </c:pt>
                <c:pt idx="981">
                  <c:v>-0.84676839635213497</c:v>
                </c:pt>
                <c:pt idx="982">
                  <c:v>-0.77209523482694598</c:v>
                </c:pt>
                <c:pt idx="983">
                  <c:v>-0.896550504035594</c:v>
                </c:pt>
                <c:pt idx="984">
                  <c:v>-0.71816461816986399</c:v>
                </c:pt>
                <c:pt idx="985">
                  <c:v>-0.85091690532575603</c:v>
                </c:pt>
                <c:pt idx="986">
                  <c:v>-0.65178847459191902</c:v>
                </c:pt>
                <c:pt idx="987">
                  <c:v>-0.86336243224662101</c:v>
                </c:pt>
                <c:pt idx="988">
                  <c:v>-0.68912505535451296</c:v>
                </c:pt>
                <c:pt idx="989">
                  <c:v>-0.84261988737851301</c:v>
                </c:pt>
                <c:pt idx="990">
                  <c:v>-0.73061014509072897</c:v>
                </c:pt>
                <c:pt idx="991">
                  <c:v>-0.87995646814110795</c:v>
                </c:pt>
                <c:pt idx="992">
                  <c:v>-0.78454076174780996</c:v>
                </c:pt>
                <c:pt idx="993">
                  <c:v>-1.0002632283761299</c:v>
                </c:pt>
                <c:pt idx="994">
                  <c:v>-1.0500453360595901</c:v>
                </c:pt>
                <c:pt idx="995">
                  <c:v>-1.1039759527166799</c:v>
                </c:pt>
                <c:pt idx="996">
                  <c:v>-1.1081244616903001</c:v>
                </c:pt>
                <c:pt idx="997">
                  <c:v>-1.1910946411627299</c:v>
                </c:pt>
                <c:pt idx="998">
                  <c:v>-1.1288670065584001</c:v>
                </c:pt>
                <c:pt idx="999">
                  <c:v>-1.24502525781981</c:v>
                </c:pt>
                <c:pt idx="1000">
                  <c:v>-1.3031043834505101</c:v>
                </c:pt>
                <c:pt idx="1001">
                  <c:v>-1.3031043834505101</c:v>
                </c:pt>
                <c:pt idx="1002">
                  <c:v>-1.2948073655032699</c:v>
                </c:pt>
                <c:pt idx="1003">
                  <c:v>-1.32799543729224</c:v>
                </c:pt>
                <c:pt idx="1004">
                  <c:v>-1.4234111436855399</c:v>
                </c:pt>
                <c:pt idx="1005">
                  <c:v>-1.4814902693162399</c:v>
                </c:pt>
                <c:pt idx="1006">
                  <c:v>-1.4690447423953801</c:v>
                </c:pt>
                <c:pt idx="1007">
                  <c:v>-1.47734176034262</c:v>
                </c:pt>
                <c:pt idx="1008">
                  <c:v>-1.32799543729224</c:v>
                </c:pt>
                <c:pt idx="1009">
                  <c:v>-1.39022307189657</c:v>
                </c:pt>
                <c:pt idx="1010">
                  <c:v>-1.1745006052682401</c:v>
                </c:pt>
                <c:pt idx="1011">
                  <c:v>0.35629920599813503</c:v>
                </c:pt>
                <c:pt idx="1012">
                  <c:v>-2.1215110601432399E-2</c:v>
                </c:pt>
                <c:pt idx="1013">
                  <c:v>-3.7809146495918898E-2</c:v>
                </c:pt>
                <c:pt idx="1014">
                  <c:v>-2.1215110601432399E-2</c:v>
                </c:pt>
                <c:pt idx="1015">
                  <c:v>-0.42362048104272898</c:v>
                </c:pt>
                <c:pt idx="1016">
                  <c:v>-0.41947197206910802</c:v>
                </c:pt>
                <c:pt idx="1017">
                  <c:v>-0.53977873230413498</c:v>
                </c:pt>
                <c:pt idx="1018">
                  <c:v>-0.50244215154154004</c:v>
                </c:pt>
                <c:pt idx="1019">
                  <c:v>-0.684976546380892</c:v>
                </c:pt>
                <c:pt idx="1020">
                  <c:v>-0.66008549253916204</c:v>
                </c:pt>
                <c:pt idx="1021">
                  <c:v>-0.58956083998759401</c:v>
                </c:pt>
                <c:pt idx="1022">
                  <c:v>-0.82602585148402696</c:v>
                </c:pt>
                <c:pt idx="1023">
                  <c:v>-0.75550119893245904</c:v>
                </c:pt>
                <c:pt idx="1024">
                  <c:v>-1.0707878809277001</c:v>
                </c:pt>
                <c:pt idx="1025">
                  <c:v>-0.41532346309548601</c:v>
                </c:pt>
                <c:pt idx="1026">
                  <c:v>-0.54392724127775605</c:v>
                </c:pt>
                <c:pt idx="1027">
                  <c:v>-0.39458091822737801</c:v>
                </c:pt>
                <c:pt idx="1028">
                  <c:v>-0.43606600796359402</c:v>
                </c:pt>
                <c:pt idx="1029">
                  <c:v>-0.73890716303797299</c:v>
                </c:pt>
                <c:pt idx="1030">
                  <c:v>-0.42776899001635099</c:v>
                </c:pt>
                <c:pt idx="1031">
                  <c:v>-0.47755109769981102</c:v>
                </c:pt>
                <c:pt idx="1032">
                  <c:v>-0.61030338485570201</c:v>
                </c:pt>
                <c:pt idx="1033">
                  <c:v>-0.52733320538327</c:v>
                </c:pt>
                <c:pt idx="1034">
                  <c:v>-0.60200636690845899</c:v>
                </c:pt>
                <c:pt idx="1035">
                  <c:v>-0.51488767846240502</c:v>
                </c:pt>
                <c:pt idx="1036">
                  <c:v>-0.411174954121865</c:v>
                </c:pt>
                <c:pt idx="1037">
                  <c:v>-0.245234595177</c:v>
                </c:pt>
                <c:pt idx="1038">
                  <c:v>-0.50659066051516199</c:v>
                </c:pt>
                <c:pt idx="1039">
                  <c:v>-0.63934294767105404</c:v>
                </c:pt>
                <c:pt idx="1040">
                  <c:v>-0.74720418098521602</c:v>
                </c:pt>
                <c:pt idx="1041">
                  <c:v>-0.75550119893245904</c:v>
                </c:pt>
                <c:pt idx="1042">
                  <c:v>-0.77209523482694598</c:v>
                </c:pt>
                <c:pt idx="1043">
                  <c:v>-0.78868927072143202</c:v>
                </c:pt>
                <c:pt idx="1044">
                  <c:v>-0.95462962966629705</c:v>
                </c:pt>
                <c:pt idx="1045">
                  <c:v>-0.63519443869743197</c:v>
                </c:pt>
                <c:pt idx="1046">
                  <c:v>-0.48584811564705399</c:v>
                </c:pt>
                <c:pt idx="1047">
                  <c:v>-0.58126382204035099</c:v>
                </c:pt>
                <c:pt idx="1048">
                  <c:v>-0.70986760022262096</c:v>
                </c:pt>
                <c:pt idx="1049">
                  <c:v>-0.801134797642297</c:v>
                </c:pt>
                <c:pt idx="1050">
                  <c:v>-0.83017436045764803</c:v>
                </c:pt>
                <c:pt idx="1051">
                  <c:v>-0.87995646814110795</c:v>
                </c:pt>
                <c:pt idx="1052">
                  <c:v>-0.99611471940251295</c:v>
                </c:pt>
                <c:pt idx="1053">
                  <c:v>-1.1039759527166799</c:v>
                </c:pt>
                <c:pt idx="1054">
                  <c:v>-1.1247184975847799</c:v>
                </c:pt>
                <c:pt idx="1055">
                  <c:v>-1.1039759527166799</c:v>
                </c:pt>
                <c:pt idx="1056">
                  <c:v>-1.1081244616903001</c:v>
                </c:pt>
                <c:pt idx="1057">
                  <c:v>-1.2782133296087801</c:v>
                </c:pt>
                <c:pt idx="1058">
                  <c:v>-1.36948052702846</c:v>
                </c:pt>
                <c:pt idx="1059">
                  <c:v>-1.3238469283186201</c:v>
                </c:pt>
                <c:pt idx="1060">
                  <c:v>-1.2948073655032699</c:v>
                </c:pt>
                <c:pt idx="1061">
                  <c:v>-1.3653320180548401</c:v>
                </c:pt>
                <c:pt idx="1062">
                  <c:v>-1.0458968270859701</c:v>
                </c:pt>
                <c:pt idx="1063">
                  <c:v>-1.0251542822178601</c:v>
                </c:pt>
                <c:pt idx="1064">
                  <c:v>-1.1910946411627299</c:v>
                </c:pt>
                <c:pt idx="1065">
                  <c:v>-1.14131253347927</c:v>
                </c:pt>
                <c:pt idx="1066">
                  <c:v>-1.17864911424186</c:v>
                </c:pt>
                <c:pt idx="1067">
                  <c:v>-1.1910946411627299</c:v>
                </c:pt>
                <c:pt idx="1068">
                  <c:v>-1.2242827129517</c:v>
                </c:pt>
                <c:pt idx="1069">
                  <c:v>-1.2367282398725701</c:v>
                </c:pt>
                <c:pt idx="1070">
                  <c:v>-1.24087674884619</c:v>
                </c:pt>
                <c:pt idx="1071">
                  <c:v>-1.4026685988174299</c:v>
                </c:pt>
                <c:pt idx="1072">
                  <c:v>-1.66817317312922</c:v>
                </c:pt>
                <c:pt idx="1073">
                  <c:v>-0.41532346309548601</c:v>
                </c:pt>
                <c:pt idx="1074">
                  <c:v>-7.5145727258513401E-2</c:v>
                </c:pt>
                <c:pt idx="1075">
                  <c:v>-2.1215110601432399E-2</c:v>
                </c:pt>
                <c:pt idx="1076">
                  <c:v>-5.8551691364026999E-2</c:v>
                </c:pt>
                <c:pt idx="1077">
                  <c:v>-0.19130397851991901</c:v>
                </c:pt>
                <c:pt idx="1078">
                  <c:v>-0.42776899001635099</c:v>
                </c:pt>
                <c:pt idx="1079">
                  <c:v>-0.61445189382932397</c:v>
                </c:pt>
                <c:pt idx="1080">
                  <c:v>-0.57296680409310796</c:v>
                </c:pt>
                <c:pt idx="1081">
                  <c:v>-0.53563022333051302</c:v>
                </c:pt>
                <c:pt idx="1082">
                  <c:v>-0.448511534884459</c:v>
                </c:pt>
                <c:pt idx="1083">
                  <c:v>-0.51073916948878395</c:v>
                </c:pt>
                <c:pt idx="1084">
                  <c:v>-0.65593698356553998</c:v>
                </c:pt>
                <c:pt idx="1085">
                  <c:v>-0.63104592972381002</c:v>
                </c:pt>
                <c:pt idx="1086">
                  <c:v>-0.79283777969505398</c:v>
                </c:pt>
                <c:pt idx="1087">
                  <c:v>-0.58956083998759401</c:v>
                </c:pt>
                <c:pt idx="1088">
                  <c:v>-1.0210057732442399</c:v>
                </c:pt>
                <c:pt idx="1089">
                  <c:v>-0.85506541429937799</c:v>
                </c:pt>
                <c:pt idx="1090">
                  <c:v>-0.73061014509072897</c:v>
                </c:pt>
                <c:pt idx="1091">
                  <c:v>-0.643491456644675</c:v>
                </c:pt>
                <c:pt idx="1092">
                  <c:v>-0.59370934896121597</c:v>
                </c:pt>
                <c:pt idx="1093">
                  <c:v>-0.32820477464943199</c:v>
                </c:pt>
                <c:pt idx="1094">
                  <c:v>-0.34065030157029702</c:v>
                </c:pt>
                <c:pt idx="1095">
                  <c:v>-0.411174954121865</c:v>
                </c:pt>
                <c:pt idx="1096">
                  <c:v>-0.60615487588208095</c:v>
                </c:pt>
                <c:pt idx="1097">
                  <c:v>-0.26182863107148602</c:v>
                </c:pt>
                <c:pt idx="1098">
                  <c:v>-0.41532346309548601</c:v>
                </c:pt>
                <c:pt idx="1099">
                  <c:v>-0.20374950544078399</c:v>
                </c:pt>
                <c:pt idx="1100">
                  <c:v>-0.36139284643840502</c:v>
                </c:pt>
                <c:pt idx="1101">
                  <c:v>-0.24108608620337801</c:v>
                </c:pt>
                <c:pt idx="1102">
                  <c:v>-0.63519443869743197</c:v>
                </c:pt>
                <c:pt idx="1103">
                  <c:v>-0.38213539130651297</c:v>
                </c:pt>
                <c:pt idx="1104">
                  <c:v>-0.45680855283170202</c:v>
                </c:pt>
                <c:pt idx="1105">
                  <c:v>-0.35724433746478401</c:v>
                </c:pt>
                <c:pt idx="1106">
                  <c:v>-0.66008549253916204</c:v>
                </c:pt>
                <c:pt idx="1107">
                  <c:v>-0.38628390028013498</c:v>
                </c:pt>
                <c:pt idx="1108">
                  <c:v>-0.72231312714348594</c:v>
                </c:pt>
                <c:pt idx="1109">
                  <c:v>-0.448511534884459</c:v>
                </c:pt>
                <c:pt idx="1110">
                  <c:v>-5.44031823904053E-2</c:v>
                </c:pt>
                <c:pt idx="1111">
                  <c:v>3.6759432402973299E-3</c:v>
                </c:pt>
                <c:pt idx="1112">
                  <c:v>-0.100036781100243</c:v>
                </c:pt>
                <c:pt idx="1113">
                  <c:v>-0.22864055928251301</c:v>
                </c:pt>
                <c:pt idx="1114">
                  <c:v>-0.34894731951753999</c:v>
                </c:pt>
                <c:pt idx="1115">
                  <c:v>-0.53148171435689195</c:v>
                </c:pt>
                <c:pt idx="1116">
                  <c:v>-0.58126382204035099</c:v>
                </c:pt>
                <c:pt idx="1117">
                  <c:v>-0.66838251048640496</c:v>
                </c:pt>
                <c:pt idx="1118">
                  <c:v>-0.67667952843364798</c:v>
                </c:pt>
                <c:pt idx="1119">
                  <c:v>-0.684976546380892</c:v>
                </c:pt>
                <c:pt idx="1120">
                  <c:v>-0.68082803740727005</c:v>
                </c:pt>
                <c:pt idx="1121">
                  <c:v>-0.65178847459191902</c:v>
                </c:pt>
                <c:pt idx="1122">
                  <c:v>-0.74305567201159395</c:v>
                </c:pt>
                <c:pt idx="1123">
                  <c:v>-0.69327356432813503</c:v>
                </c:pt>
                <c:pt idx="1124">
                  <c:v>-0.84676839635213497</c:v>
                </c:pt>
                <c:pt idx="1125">
                  <c:v>-0.90899603095645898</c:v>
                </c:pt>
                <c:pt idx="1126">
                  <c:v>-0.92559006685094503</c:v>
                </c:pt>
                <c:pt idx="1127">
                  <c:v>-0.95048112069267499</c:v>
                </c:pt>
                <c:pt idx="1128">
                  <c:v>-0.83847137840489205</c:v>
                </c:pt>
                <c:pt idx="1129">
                  <c:v>-0.90899603095645898</c:v>
                </c:pt>
                <c:pt idx="1130">
                  <c:v>-0.917293048903702</c:v>
                </c:pt>
                <c:pt idx="1131">
                  <c:v>-0.917293048903702</c:v>
                </c:pt>
                <c:pt idx="1132">
                  <c:v>-1.01685726427062</c:v>
                </c:pt>
                <c:pt idx="1133">
                  <c:v>-1.02930279119149</c:v>
                </c:pt>
                <c:pt idx="1134">
                  <c:v>-1.0210057732442399</c:v>
                </c:pt>
                <c:pt idx="1135">
                  <c:v>-0.95048112069267499</c:v>
                </c:pt>
                <c:pt idx="1136">
                  <c:v>-0.95462962966629705</c:v>
                </c:pt>
                <c:pt idx="1137">
                  <c:v>-1.0210057732442399</c:v>
                </c:pt>
                <c:pt idx="1138">
                  <c:v>-1.2284312219253199</c:v>
                </c:pt>
                <c:pt idx="1139">
                  <c:v>-1.1869461321891099</c:v>
                </c:pt>
                <c:pt idx="1140">
                  <c:v>-1.2533222757670499</c:v>
                </c:pt>
                <c:pt idx="1141">
                  <c:v>-1.17864911424186</c:v>
                </c:pt>
                <c:pt idx="1142">
                  <c:v>-1.2284312219253199</c:v>
                </c:pt>
                <c:pt idx="1143">
                  <c:v>-1.28651034755603</c:v>
                </c:pt>
                <c:pt idx="1144">
                  <c:v>-1.2533222757670499</c:v>
                </c:pt>
                <c:pt idx="1145">
                  <c:v>-1.2118371860308399</c:v>
                </c:pt>
                <c:pt idx="1146">
                  <c:v>-1.24917376679343</c:v>
                </c:pt>
                <c:pt idx="1147">
                  <c:v>-1.2367282398725701</c:v>
                </c:pt>
                <c:pt idx="1148">
                  <c:v>-1.24087674884619</c:v>
                </c:pt>
                <c:pt idx="1149">
                  <c:v>-1.2367282398725701</c:v>
                </c:pt>
                <c:pt idx="1150">
                  <c:v>-1.2118371860308399</c:v>
                </c:pt>
                <c:pt idx="1151">
                  <c:v>-1.2284312219253199</c:v>
                </c:pt>
                <c:pt idx="1152">
                  <c:v>-1.215985695004459</c:v>
                </c:pt>
                <c:pt idx="1153">
                  <c:v>-1.2740648206351599</c:v>
                </c:pt>
                <c:pt idx="1154">
                  <c:v>-1.26576780268792</c:v>
                </c:pt>
                <c:pt idx="1155">
                  <c:v>-1.2533222757670499</c:v>
                </c:pt>
                <c:pt idx="1156">
                  <c:v>-1.3155499103713799</c:v>
                </c:pt>
                <c:pt idx="1157">
                  <c:v>-1.2367282398725701</c:v>
                </c:pt>
                <c:pt idx="1158">
                  <c:v>-1.19939165910997</c:v>
                </c:pt>
                <c:pt idx="1159">
                  <c:v>-1.33214394626586</c:v>
                </c:pt>
                <c:pt idx="1160">
                  <c:v>-1.3404409642131101</c:v>
                </c:pt>
                <c:pt idx="1161">
                  <c:v>-1.3155499103713799</c:v>
                </c:pt>
                <c:pt idx="1162">
                  <c:v>-1.02930279119149</c:v>
                </c:pt>
                <c:pt idx="1163">
                  <c:v>-0.86336243224662101</c:v>
                </c:pt>
                <c:pt idx="1164">
                  <c:v>-0.70986760022262096</c:v>
                </c:pt>
                <c:pt idx="1165">
                  <c:v>-0.94218410274543196</c:v>
                </c:pt>
                <c:pt idx="1166">
                  <c:v>-0.99196621042889099</c:v>
                </c:pt>
                <c:pt idx="1167">
                  <c:v>-1.0251542822178601</c:v>
                </c:pt>
                <c:pt idx="1168">
                  <c:v>-1.012708755297</c:v>
                </c:pt>
                <c:pt idx="1169">
                  <c:v>-0.78454076174780996</c:v>
                </c:pt>
                <c:pt idx="1170">
                  <c:v>-0.73890716303797299</c:v>
                </c:pt>
                <c:pt idx="1171">
                  <c:v>-0.77624374380056704</c:v>
                </c:pt>
                <c:pt idx="1172">
                  <c:v>-0.83432286943126999</c:v>
                </c:pt>
                <c:pt idx="1173">
                  <c:v>-0.76379821687970195</c:v>
                </c:pt>
                <c:pt idx="1174">
                  <c:v>-0.66838251048640496</c:v>
                </c:pt>
                <c:pt idx="1175">
                  <c:v>-0.70157058227537805</c:v>
                </c:pt>
                <c:pt idx="1176">
                  <c:v>-0.58541233101397305</c:v>
                </c:pt>
                <c:pt idx="1177">
                  <c:v>-0.51488767846240502</c:v>
                </c:pt>
                <c:pt idx="1178">
                  <c:v>-0.68082803740727005</c:v>
                </c:pt>
                <c:pt idx="1179">
                  <c:v>-0.99196621042889099</c:v>
                </c:pt>
                <c:pt idx="1180">
                  <c:v>-0.84261988737851301</c:v>
                </c:pt>
                <c:pt idx="1181">
                  <c:v>-0.84676839635213497</c:v>
                </c:pt>
                <c:pt idx="1182">
                  <c:v>-0.97537217453440495</c:v>
                </c:pt>
                <c:pt idx="1183">
                  <c:v>-0.61030338485570201</c:v>
                </c:pt>
                <c:pt idx="1184">
                  <c:v>-0.643491456644675</c:v>
                </c:pt>
                <c:pt idx="1185">
                  <c:v>-0.52318469640964804</c:v>
                </c:pt>
                <c:pt idx="1186">
                  <c:v>-0.69327356432813503</c:v>
                </c:pt>
                <c:pt idx="1187">
                  <c:v>-0.70986760022262096</c:v>
                </c:pt>
                <c:pt idx="1188">
                  <c:v>-0.66838251048640496</c:v>
                </c:pt>
                <c:pt idx="1189">
                  <c:v>-0.643491456644675</c:v>
                </c:pt>
                <c:pt idx="1190">
                  <c:v>-0.56052127717224298</c:v>
                </c:pt>
                <c:pt idx="1191">
                  <c:v>-0.78454076174780996</c:v>
                </c:pt>
                <c:pt idx="1192">
                  <c:v>-0.79283777969505398</c:v>
                </c:pt>
                <c:pt idx="1193">
                  <c:v>-0.75550119893245904</c:v>
                </c:pt>
                <c:pt idx="1194">
                  <c:v>-0.94633261171905403</c:v>
                </c:pt>
                <c:pt idx="1195">
                  <c:v>-0.77209523482694598</c:v>
                </c:pt>
                <c:pt idx="1196">
                  <c:v>-0.75550119893245904</c:v>
                </c:pt>
                <c:pt idx="1197">
                  <c:v>-0.75550119893245904</c:v>
                </c:pt>
                <c:pt idx="1198">
                  <c:v>-0.72646163611710801</c:v>
                </c:pt>
                <c:pt idx="1199">
                  <c:v>-0.76794672585332402</c:v>
                </c:pt>
                <c:pt idx="1200">
                  <c:v>-0.73475865406435104</c:v>
                </c:pt>
                <c:pt idx="1201">
                  <c:v>-0.72231312714348594</c:v>
                </c:pt>
                <c:pt idx="1202">
                  <c:v>-0.59785785793483703</c:v>
                </c:pt>
                <c:pt idx="1203">
                  <c:v>-0.63104592972381002</c:v>
                </c:pt>
                <c:pt idx="1204">
                  <c:v>-0.58126382204035099</c:v>
                </c:pt>
                <c:pt idx="1205">
                  <c:v>-0.56466978614586505</c:v>
                </c:pt>
                <c:pt idx="1206">
                  <c:v>-0.68082803740727005</c:v>
                </c:pt>
                <c:pt idx="1207">
                  <c:v>-0.70986760022262096</c:v>
                </c:pt>
                <c:pt idx="1208">
                  <c:v>-0.76379821687970195</c:v>
                </c:pt>
                <c:pt idx="1209">
                  <c:v>-0.46510557077894599</c:v>
                </c:pt>
                <c:pt idx="1210">
                  <c:v>-7.5145727258513401E-2</c:v>
                </c:pt>
                <c:pt idx="1211">
                  <c:v>-1.7066601627810801E-2</c:v>
                </c:pt>
                <c:pt idx="1212">
                  <c:v>3.2715506055648699E-2</c:v>
                </c:pt>
                <c:pt idx="1213">
                  <c:v>-3.3660637522297199E-2</c:v>
                </c:pt>
                <c:pt idx="1214">
                  <c:v>-0.21204652338802699</c:v>
                </c:pt>
                <c:pt idx="1215">
                  <c:v>-0.24108608620337801</c:v>
                </c:pt>
                <c:pt idx="1216">
                  <c:v>-0.40702644514824299</c:v>
                </c:pt>
                <c:pt idx="1217">
                  <c:v>-0.48584811564705399</c:v>
                </c:pt>
                <c:pt idx="1218">
                  <c:v>-0.489996624620675</c:v>
                </c:pt>
                <c:pt idx="1219">
                  <c:v>-0.51488767846240502</c:v>
                </c:pt>
                <c:pt idx="1220">
                  <c:v>-0.71401610919624303</c:v>
                </c:pt>
                <c:pt idx="1221">
                  <c:v>-0.71401610919624303</c:v>
                </c:pt>
                <c:pt idx="1222">
                  <c:v>-0.82602585148402696</c:v>
                </c:pt>
                <c:pt idx="1223">
                  <c:v>-0.917293048903702</c:v>
                </c:pt>
                <c:pt idx="1224">
                  <c:v>-0.664234001512783</c:v>
                </c:pt>
                <c:pt idx="1225">
                  <c:v>-0.684976546380892</c:v>
                </c:pt>
                <c:pt idx="1226">
                  <c:v>-0.73890716303797299</c:v>
                </c:pt>
                <c:pt idx="1227">
                  <c:v>-0.65593698356553998</c:v>
                </c:pt>
                <c:pt idx="1228">
                  <c:v>-0.73890716303797299</c:v>
                </c:pt>
                <c:pt idx="1229">
                  <c:v>-0.69327356432813503</c:v>
                </c:pt>
                <c:pt idx="1230">
                  <c:v>-0.70571909124900001</c:v>
                </c:pt>
                <c:pt idx="1231">
                  <c:v>-0.68912505535451296</c:v>
                </c:pt>
                <c:pt idx="1232">
                  <c:v>-0.79698628866867505</c:v>
                </c:pt>
                <c:pt idx="1233">
                  <c:v>-0.69327356432813503</c:v>
                </c:pt>
                <c:pt idx="1234">
                  <c:v>-0.99196621042889099</c:v>
                </c:pt>
                <c:pt idx="1235">
                  <c:v>-1.012708755297</c:v>
                </c:pt>
                <c:pt idx="1236">
                  <c:v>-1.00856024632338</c:v>
                </c:pt>
                <c:pt idx="1237">
                  <c:v>-1.012708755297</c:v>
                </c:pt>
                <c:pt idx="1238">
                  <c:v>-1.0002632283761299</c:v>
                </c:pt>
                <c:pt idx="1239">
                  <c:v>-0.93803559377181001</c:v>
                </c:pt>
                <c:pt idx="1240">
                  <c:v>-0.91314453993008105</c:v>
                </c:pt>
                <c:pt idx="1241">
                  <c:v>-0.97122366556078299</c:v>
                </c:pt>
                <c:pt idx="1242">
                  <c:v>-1.0251542822178601</c:v>
                </c:pt>
                <c:pt idx="1243">
                  <c:v>-1.00856024632338</c:v>
                </c:pt>
                <c:pt idx="1244">
                  <c:v>-1.0002632283761299</c:v>
                </c:pt>
                <c:pt idx="1245">
                  <c:v>-0.99611471940251295</c:v>
                </c:pt>
                <c:pt idx="1246">
                  <c:v>-1.0417483181123499</c:v>
                </c:pt>
                <c:pt idx="1247">
                  <c:v>-0.92144155787732396</c:v>
                </c:pt>
                <c:pt idx="1248">
                  <c:v>-0.97122366556078299</c:v>
                </c:pt>
                <c:pt idx="1249">
                  <c:v>-0.94633261171905403</c:v>
                </c:pt>
                <c:pt idx="1250">
                  <c:v>-1.05834235400684</c:v>
                </c:pt>
                <c:pt idx="1251">
                  <c:v>-1.03759980913873</c:v>
                </c:pt>
                <c:pt idx="1252">
                  <c:v>-1.05834235400684</c:v>
                </c:pt>
                <c:pt idx="1253">
                  <c:v>-1.02930279119149</c:v>
                </c:pt>
                <c:pt idx="1254">
                  <c:v>-0.92973857582456698</c:v>
                </c:pt>
                <c:pt idx="1255">
                  <c:v>-1.0044117373497601</c:v>
                </c:pt>
                <c:pt idx="1256">
                  <c:v>-1.03759980913873</c:v>
                </c:pt>
                <c:pt idx="1257">
                  <c:v>-1.0624908629804599</c:v>
                </c:pt>
                <c:pt idx="1258">
                  <c:v>-0.79283777969505398</c:v>
                </c:pt>
                <c:pt idx="1259">
                  <c:v>-1.0210057732442399</c:v>
                </c:pt>
                <c:pt idx="1260">
                  <c:v>-1.0002632283761299</c:v>
                </c:pt>
                <c:pt idx="1261">
                  <c:v>-0.76794672585332402</c:v>
                </c:pt>
                <c:pt idx="1262">
                  <c:v>-0.42362048104272898</c:v>
                </c:pt>
                <c:pt idx="1263">
                  <c:v>-0.64763996561829695</c:v>
                </c:pt>
                <c:pt idx="1264">
                  <c:v>-0.77209523482694598</c:v>
                </c:pt>
                <c:pt idx="1265">
                  <c:v>-0.85506541429937799</c:v>
                </c:pt>
                <c:pt idx="1266">
                  <c:v>-0.96292664761353997</c:v>
                </c:pt>
                <c:pt idx="1267">
                  <c:v>-0.58126382204035099</c:v>
                </c:pt>
                <c:pt idx="1268">
                  <c:v>-0.69742207330175598</c:v>
                </c:pt>
                <c:pt idx="1269">
                  <c:v>-0.78868927072143202</c:v>
                </c:pt>
                <c:pt idx="1270">
                  <c:v>-0.64763996561829695</c:v>
                </c:pt>
                <c:pt idx="1271">
                  <c:v>-0.84261988737851301</c:v>
                </c:pt>
                <c:pt idx="1272">
                  <c:v>-0.80943181558954003</c:v>
                </c:pt>
                <c:pt idx="1273">
                  <c:v>-0.36139284643840502</c:v>
                </c:pt>
                <c:pt idx="1274">
                  <c:v>-0.38213539130651297</c:v>
                </c:pt>
                <c:pt idx="1275">
                  <c:v>-0.63519443869743197</c:v>
                </c:pt>
                <c:pt idx="1276">
                  <c:v>-0.39458091822737801</c:v>
                </c:pt>
                <c:pt idx="1277">
                  <c:v>-0.51073916948878395</c:v>
                </c:pt>
                <c:pt idx="1278">
                  <c:v>-0.43606600796359402</c:v>
                </c:pt>
                <c:pt idx="1279">
                  <c:v>-0.63934294767105404</c:v>
                </c:pt>
                <c:pt idx="1280">
                  <c:v>-0.73475865406435104</c:v>
                </c:pt>
                <c:pt idx="1281">
                  <c:v>-0.72646163611710801</c:v>
                </c:pt>
                <c:pt idx="1282">
                  <c:v>-0.75135268995883697</c:v>
                </c:pt>
                <c:pt idx="1283">
                  <c:v>-0.76379821687970195</c:v>
                </c:pt>
                <c:pt idx="1284">
                  <c:v>-0.60615487588208095</c:v>
                </c:pt>
                <c:pt idx="1285">
                  <c:v>-0.295016702860459</c:v>
                </c:pt>
                <c:pt idx="1286">
                  <c:v>-3.3660637522297199E-2</c:v>
                </c:pt>
                <c:pt idx="1287">
                  <c:v>-0.44436302591083798</c:v>
                </c:pt>
                <c:pt idx="1288">
                  <c:v>-0.47340258872618901</c:v>
                </c:pt>
                <c:pt idx="1289">
                  <c:v>-0.48584811564705399</c:v>
                </c:pt>
                <c:pt idx="1290">
                  <c:v>-0.42776899001635099</c:v>
                </c:pt>
                <c:pt idx="1291">
                  <c:v>-0.58126382204035099</c:v>
                </c:pt>
                <c:pt idx="1292">
                  <c:v>-0.59785785793483703</c:v>
                </c:pt>
                <c:pt idx="1293">
                  <c:v>-2.95121285486756E-2</c:v>
                </c:pt>
                <c:pt idx="1294">
                  <c:v>-1.7066601627810801E-2</c:v>
                </c:pt>
                <c:pt idx="1295">
                  <c:v>-0.17056143365181101</c:v>
                </c:pt>
                <c:pt idx="1296">
                  <c:v>0.123982703475324</c:v>
                </c:pt>
                <c:pt idx="1297">
                  <c:v>-0.16226441570456701</c:v>
                </c:pt>
                <c:pt idx="1298">
                  <c:v>6.1755068870999998E-2</c:v>
                </c:pt>
                <c:pt idx="1299">
                  <c:v>-2.1215110601432399E-2</c:v>
                </c:pt>
                <c:pt idx="1300">
                  <c:v>2.4418488108405401E-2</c:v>
                </c:pt>
                <c:pt idx="1301">
                  <c:v>-8.7695836805675303E-3</c:v>
                </c:pt>
                <c:pt idx="1302">
                  <c:v>-8.7591254179378297E-2</c:v>
                </c:pt>
                <c:pt idx="1303">
                  <c:v>-2.5363619575054001E-2</c:v>
                </c:pt>
                <c:pt idx="1304">
                  <c:v>-0.13737336186283799</c:v>
                </c:pt>
                <c:pt idx="1305">
                  <c:v>-0.40702644514824299</c:v>
                </c:pt>
                <c:pt idx="1306">
                  <c:v>-0.57711531306672903</c:v>
                </c:pt>
                <c:pt idx="1307">
                  <c:v>-0.59785785793483703</c:v>
                </c:pt>
                <c:pt idx="1308">
                  <c:v>-0.67667952843364798</c:v>
                </c:pt>
                <c:pt idx="1309">
                  <c:v>-0.57711531306672903</c:v>
                </c:pt>
                <c:pt idx="1310">
                  <c:v>-0.67253101946002702</c:v>
                </c:pt>
                <c:pt idx="1311">
                  <c:v>-0.77624374380056704</c:v>
                </c:pt>
                <c:pt idx="1312">
                  <c:v>-0.759649707906081</c:v>
                </c:pt>
                <c:pt idx="1313">
                  <c:v>-0.664234001512783</c:v>
                </c:pt>
                <c:pt idx="1314">
                  <c:v>-0.664234001512783</c:v>
                </c:pt>
                <c:pt idx="1315">
                  <c:v>-0.82187734251040501</c:v>
                </c:pt>
                <c:pt idx="1316">
                  <c:v>-0.84261988737851301</c:v>
                </c:pt>
                <c:pt idx="1317">
                  <c:v>-0.83847137840489205</c:v>
                </c:pt>
                <c:pt idx="1318">
                  <c:v>-0.759649707906081</c:v>
                </c:pt>
                <c:pt idx="1319">
                  <c:v>-0.84261988737851301</c:v>
                </c:pt>
                <c:pt idx="1320">
                  <c:v>-0.90069901300921595</c:v>
                </c:pt>
                <c:pt idx="1321">
                  <c:v>-0.88410497711472902</c:v>
                </c:pt>
                <c:pt idx="1322">
                  <c:v>-1.0002632283761299</c:v>
                </c:pt>
                <c:pt idx="1323">
                  <c:v>-1.00856024632338</c:v>
                </c:pt>
                <c:pt idx="1324">
                  <c:v>-0.92559006685094503</c:v>
                </c:pt>
                <c:pt idx="1325">
                  <c:v>-1.0500453360595901</c:v>
                </c:pt>
                <c:pt idx="1326">
                  <c:v>-1.012708755297</c:v>
                </c:pt>
                <c:pt idx="1327">
                  <c:v>-1.0044117373497601</c:v>
                </c:pt>
                <c:pt idx="1328">
                  <c:v>-1.0044117373497601</c:v>
                </c:pt>
                <c:pt idx="1329">
                  <c:v>-1.03759980913873</c:v>
                </c:pt>
                <c:pt idx="1330">
                  <c:v>-1.012708755297</c:v>
                </c:pt>
                <c:pt idx="1331">
                  <c:v>-1.03759980913873</c:v>
                </c:pt>
                <c:pt idx="1332">
                  <c:v>-1.03759980913873</c:v>
                </c:pt>
                <c:pt idx="1333">
                  <c:v>-1.012708755297</c:v>
                </c:pt>
                <c:pt idx="1334">
                  <c:v>-0.99611471940251295</c:v>
                </c:pt>
                <c:pt idx="1335">
                  <c:v>-0.99611471940251295</c:v>
                </c:pt>
                <c:pt idx="1336">
                  <c:v>-1.03345130016511</c:v>
                </c:pt>
                <c:pt idx="1337">
                  <c:v>-1.0458968270859701</c:v>
                </c:pt>
                <c:pt idx="1338">
                  <c:v>-0.99196621042889099</c:v>
                </c:pt>
                <c:pt idx="1339">
                  <c:v>-1.00856024632338</c:v>
                </c:pt>
                <c:pt idx="1340">
                  <c:v>-1.05419384503322</c:v>
                </c:pt>
                <c:pt idx="1341">
                  <c:v>-1.03759980913873</c:v>
                </c:pt>
                <c:pt idx="1342">
                  <c:v>-0.97122366556078299</c:v>
                </c:pt>
                <c:pt idx="1343">
                  <c:v>-1.0666393719540801</c:v>
                </c:pt>
                <c:pt idx="1344">
                  <c:v>-1.0417483181123499</c:v>
                </c:pt>
                <c:pt idx="1345">
                  <c:v>-1.05419384503322</c:v>
                </c:pt>
                <c:pt idx="1346">
                  <c:v>-1.03759980913873</c:v>
                </c:pt>
                <c:pt idx="1347">
                  <c:v>-1.02930279119149</c:v>
                </c:pt>
                <c:pt idx="1348">
                  <c:v>-1.0210057732442399</c:v>
                </c:pt>
                <c:pt idx="1349">
                  <c:v>-1.01685726427062</c:v>
                </c:pt>
                <c:pt idx="1350">
                  <c:v>-1.0500453360595901</c:v>
                </c:pt>
                <c:pt idx="1351">
                  <c:v>-1.0624908629804599</c:v>
                </c:pt>
                <c:pt idx="1352">
                  <c:v>-1.01685726427062</c:v>
                </c:pt>
                <c:pt idx="1353">
                  <c:v>-0.92559006685094503</c:v>
                </c:pt>
                <c:pt idx="1354">
                  <c:v>-0.82187734251040501</c:v>
                </c:pt>
                <c:pt idx="1355">
                  <c:v>-0.62274891177656699</c:v>
                </c:pt>
                <c:pt idx="1356">
                  <c:v>-0.66008549253916204</c:v>
                </c:pt>
                <c:pt idx="1357">
                  <c:v>-0.90069901300921595</c:v>
                </c:pt>
                <c:pt idx="1358">
                  <c:v>-0.93388708479818905</c:v>
                </c:pt>
                <c:pt idx="1359">
                  <c:v>-0.86336243224662101</c:v>
                </c:pt>
                <c:pt idx="1360">
                  <c:v>-1.0500453360595901</c:v>
                </c:pt>
                <c:pt idx="1361">
                  <c:v>-0.801134797642297</c:v>
                </c:pt>
                <c:pt idx="1362">
                  <c:v>-0.87995646814110795</c:v>
                </c:pt>
                <c:pt idx="1363">
                  <c:v>-0.780392252774189</c:v>
                </c:pt>
                <c:pt idx="1364">
                  <c:v>-0.85091690532575603</c:v>
                </c:pt>
                <c:pt idx="1365">
                  <c:v>-0.81358032456316198</c:v>
                </c:pt>
                <c:pt idx="1366">
                  <c:v>-0.108333799047486</c:v>
                </c:pt>
                <c:pt idx="1367">
                  <c:v>-0.411174954121865</c:v>
                </c:pt>
                <c:pt idx="1368">
                  <c:v>-0.178858451599054</c:v>
                </c:pt>
                <c:pt idx="1369">
                  <c:v>-0.39458091822737801</c:v>
                </c:pt>
                <c:pt idx="1370">
                  <c:v>-0.44021451693721603</c:v>
                </c:pt>
                <c:pt idx="1371">
                  <c:v>-0.55222425922499996</c:v>
                </c:pt>
                <c:pt idx="1372">
                  <c:v>-0.45266004385808101</c:v>
                </c:pt>
                <c:pt idx="1373">
                  <c:v>-0.36968986438564799</c:v>
                </c:pt>
                <c:pt idx="1374">
                  <c:v>-0.16641292467818899</c:v>
                </c:pt>
                <c:pt idx="1375">
                  <c:v>-0.207898014414405</c:v>
                </c:pt>
                <c:pt idx="1376">
                  <c:v>-0.11248230802110799</c:v>
                </c:pt>
                <c:pt idx="1377">
                  <c:v>-4.6106164443162102E-2</c:v>
                </c:pt>
                <c:pt idx="1378">
                  <c:v>-0.30331372080770302</c:v>
                </c:pt>
                <c:pt idx="1379">
                  <c:v>-0.26182863107148602</c:v>
                </c:pt>
                <c:pt idx="1380">
                  <c:v>-0.40287793617462098</c:v>
                </c:pt>
                <c:pt idx="1381">
                  <c:v>-0.27842266696597301</c:v>
                </c:pt>
                <c:pt idx="1382">
                  <c:v>-0.19545248749353999</c:v>
                </c:pt>
                <c:pt idx="1383">
                  <c:v>-0.22864055928251301</c:v>
                </c:pt>
                <c:pt idx="1384">
                  <c:v>-0.23278906825613499</c:v>
                </c:pt>
                <c:pt idx="1385">
                  <c:v>-0.17056143365181101</c:v>
                </c:pt>
                <c:pt idx="1386">
                  <c:v>-0.31161073875494599</c:v>
                </c:pt>
                <c:pt idx="1387">
                  <c:v>-0.36968986438564799</c:v>
                </c:pt>
                <c:pt idx="1388">
                  <c:v>-0.149818888783703</c:v>
                </c:pt>
                <c:pt idx="1389">
                  <c:v>-0.26182863107148602</c:v>
                </c:pt>
                <c:pt idx="1390">
                  <c:v>-0.69742207330175598</c:v>
                </c:pt>
                <c:pt idx="1391">
                  <c:v>-0.69742207330175598</c:v>
                </c:pt>
                <c:pt idx="1392">
                  <c:v>-0.67253101946002702</c:v>
                </c:pt>
                <c:pt idx="1393">
                  <c:v>-0.70986760022262096</c:v>
                </c:pt>
                <c:pt idx="1394">
                  <c:v>-0.57711531306672903</c:v>
                </c:pt>
                <c:pt idx="1395">
                  <c:v>-0.63934294767105404</c:v>
                </c:pt>
                <c:pt idx="1396">
                  <c:v>-0.76379821687970195</c:v>
                </c:pt>
                <c:pt idx="1397">
                  <c:v>-0.77624374380056704</c:v>
                </c:pt>
                <c:pt idx="1398">
                  <c:v>-0.87165945019386404</c:v>
                </c:pt>
                <c:pt idx="1399">
                  <c:v>-0.87165945019386404</c:v>
                </c:pt>
                <c:pt idx="1400">
                  <c:v>-0.87995646814110795</c:v>
                </c:pt>
                <c:pt idx="1401">
                  <c:v>-0.97537217453440495</c:v>
                </c:pt>
                <c:pt idx="1402">
                  <c:v>-0.99611471940251295</c:v>
                </c:pt>
                <c:pt idx="1403">
                  <c:v>-0.97952068350802701</c:v>
                </c:pt>
                <c:pt idx="1404">
                  <c:v>-0.95462962966629705</c:v>
                </c:pt>
                <c:pt idx="1405">
                  <c:v>-0.98781770145527004</c:v>
                </c:pt>
                <c:pt idx="1406">
                  <c:v>-0.96292664761353997</c:v>
                </c:pt>
                <c:pt idx="1407">
                  <c:v>-1.12056998861116</c:v>
                </c:pt>
                <c:pt idx="1408">
                  <c:v>-1.0417483181123499</c:v>
                </c:pt>
                <c:pt idx="1409">
                  <c:v>-1.22013420397808</c:v>
                </c:pt>
                <c:pt idx="1410">
                  <c:v>-1.2076886770572199</c:v>
                </c:pt>
                <c:pt idx="1411">
                  <c:v>-1.1910946411627299</c:v>
                </c:pt>
                <c:pt idx="1412">
                  <c:v>-1.1869461321891099</c:v>
                </c:pt>
                <c:pt idx="1413">
                  <c:v>-1.2367282398725701</c:v>
                </c:pt>
                <c:pt idx="1414">
                  <c:v>-1.17864911424186</c:v>
                </c:pt>
                <c:pt idx="1415">
                  <c:v>-1.18279762321549</c:v>
                </c:pt>
                <c:pt idx="1416">
                  <c:v>-1.24502525781981</c:v>
                </c:pt>
                <c:pt idx="1417">
                  <c:v>-1.24917376679343</c:v>
                </c:pt>
                <c:pt idx="1418">
                  <c:v>-1.15790656937376</c:v>
                </c:pt>
                <c:pt idx="1419">
                  <c:v>-1.24502525781981</c:v>
                </c:pt>
                <c:pt idx="1420">
                  <c:v>-1.2616192937143</c:v>
                </c:pt>
                <c:pt idx="1421">
                  <c:v>-1.24917376679343</c:v>
                </c:pt>
                <c:pt idx="1422">
                  <c:v>-1.2823618385824</c:v>
                </c:pt>
                <c:pt idx="1423">
                  <c:v>-1.215985695004459</c:v>
                </c:pt>
                <c:pt idx="1424">
                  <c:v>-1.30725289242413</c:v>
                </c:pt>
                <c:pt idx="1425">
                  <c:v>-1.30725289242413</c:v>
                </c:pt>
                <c:pt idx="1426">
                  <c:v>-1.34873798216035</c:v>
                </c:pt>
                <c:pt idx="1427">
                  <c:v>-1.30725289242413</c:v>
                </c:pt>
                <c:pt idx="1428">
                  <c:v>-1.3653320180548401</c:v>
                </c:pt>
                <c:pt idx="1429">
                  <c:v>-1.35288649113397</c:v>
                </c:pt>
                <c:pt idx="1430">
                  <c:v>-1.3819260539493201</c:v>
                </c:pt>
                <c:pt idx="1431">
                  <c:v>-1.34873798216035</c:v>
                </c:pt>
                <c:pt idx="1432">
                  <c:v>-1.3155499103713799</c:v>
                </c:pt>
                <c:pt idx="1433">
                  <c:v>-1.3155499103713799</c:v>
                </c:pt>
                <c:pt idx="1434">
                  <c:v>-1.35288649113397</c:v>
                </c:pt>
                <c:pt idx="1435">
                  <c:v>-1.3570350001075899</c:v>
                </c:pt>
                <c:pt idx="1436">
                  <c:v>-1.37362903600208</c:v>
                </c:pt>
                <c:pt idx="1437">
                  <c:v>-1.3570350001075899</c:v>
                </c:pt>
                <c:pt idx="1438">
                  <c:v>-1.3570350001075899</c:v>
                </c:pt>
                <c:pt idx="1439">
                  <c:v>-1.3196984193450001</c:v>
                </c:pt>
                <c:pt idx="1440">
                  <c:v>-1.3404409642131101</c:v>
                </c:pt>
                <c:pt idx="1441">
                  <c:v>-1.2740648206351599</c:v>
                </c:pt>
                <c:pt idx="1442">
                  <c:v>-1.17864911424186</c:v>
                </c:pt>
                <c:pt idx="1443">
                  <c:v>-1.2616192937143</c:v>
                </c:pt>
                <c:pt idx="1444">
                  <c:v>-1.3653320180548401</c:v>
                </c:pt>
                <c:pt idx="1445">
                  <c:v>-1.3404409642131101</c:v>
                </c:pt>
                <c:pt idx="1446">
                  <c:v>-1.3570350001075899</c:v>
                </c:pt>
                <c:pt idx="1447">
                  <c:v>-1.30725289242413</c:v>
                </c:pt>
                <c:pt idx="1448">
                  <c:v>-1.3155499103713799</c:v>
                </c:pt>
                <c:pt idx="1449">
                  <c:v>-1.2367282398725701</c:v>
                </c:pt>
                <c:pt idx="1450">
                  <c:v>-1.24502525781981</c:v>
                </c:pt>
                <c:pt idx="1451">
                  <c:v>-1.26991631166154</c:v>
                </c:pt>
                <c:pt idx="1452">
                  <c:v>-1.33214394626586</c:v>
                </c:pt>
                <c:pt idx="1453">
                  <c:v>-1.30725289242413</c:v>
                </c:pt>
                <c:pt idx="1454">
                  <c:v>-1.3611835090812201</c:v>
                </c:pt>
                <c:pt idx="1455">
                  <c:v>-1.29065885652965</c:v>
                </c:pt>
                <c:pt idx="1456">
                  <c:v>-1.29065885652965</c:v>
                </c:pt>
                <c:pt idx="1457">
                  <c:v>-1.2823618385824</c:v>
                </c:pt>
                <c:pt idx="1458">
                  <c:v>-1.1869461321891099</c:v>
                </c:pt>
                <c:pt idx="1459">
                  <c:v>-1.2948073655032699</c:v>
                </c:pt>
                <c:pt idx="1460">
                  <c:v>-1.215985695004459</c:v>
                </c:pt>
                <c:pt idx="1461">
                  <c:v>-1.1081244616903001</c:v>
                </c:pt>
                <c:pt idx="1462">
                  <c:v>-1.0707878809277001</c:v>
                </c:pt>
                <c:pt idx="1463">
                  <c:v>-1.09982744374305</c:v>
                </c:pt>
                <c:pt idx="1464">
                  <c:v>-1.07908489887495</c:v>
                </c:pt>
                <c:pt idx="1465">
                  <c:v>-1.0044117373497601</c:v>
                </c:pt>
                <c:pt idx="1466">
                  <c:v>-1.0210057732442399</c:v>
                </c:pt>
                <c:pt idx="1467">
                  <c:v>-0.97952068350802701</c:v>
                </c:pt>
                <c:pt idx="1468">
                  <c:v>-0.92144155787732396</c:v>
                </c:pt>
                <c:pt idx="1469">
                  <c:v>-0.95877813863991801</c:v>
                </c:pt>
                <c:pt idx="1470">
                  <c:v>-0.93803559377181001</c:v>
                </c:pt>
                <c:pt idx="1471">
                  <c:v>-0.97952068350802701</c:v>
                </c:pt>
                <c:pt idx="1472">
                  <c:v>-0.93803559377181001</c:v>
                </c:pt>
                <c:pt idx="1473">
                  <c:v>-1.05834235400684</c:v>
                </c:pt>
                <c:pt idx="1474">
                  <c:v>-1.03345130016511</c:v>
                </c:pt>
                <c:pt idx="1475">
                  <c:v>-1.0873819168221901</c:v>
                </c:pt>
                <c:pt idx="1476">
                  <c:v>-1.0915304257958101</c:v>
                </c:pt>
                <c:pt idx="1477">
                  <c:v>-0.95048112069267499</c:v>
                </c:pt>
                <c:pt idx="1478">
                  <c:v>-0.98781770145527004</c:v>
                </c:pt>
                <c:pt idx="1479">
                  <c:v>-0.98781770145527004</c:v>
                </c:pt>
                <c:pt idx="1480">
                  <c:v>-0.94218410274543196</c:v>
                </c:pt>
                <c:pt idx="1481">
                  <c:v>-0.85506541429937799</c:v>
                </c:pt>
                <c:pt idx="1482">
                  <c:v>-1.0044117373497601</c:v>
                </c:pt>
                <c:pt idx="1483">
                  <c:v>-0.99196621042889099</c:v>
                </c:pt>
                <c:pt idx="1484">
                  <c:v>-1.15790656937376</c:v>
                </c:pt>
                <c:pt idx="1485">
                  <c:v>-1.16205507834738</c:v>
                </c:pt>
                <c:pt idx="1486">
                  <c:v>-1.1537580604001301</c:v>
                </c:pt>
                <c:pt idx="1487">
                  <c:v>-1.15790656937376</c:v>
                </c:pt>
                <c:pt idx="1488">
                  <c:v>-1.09567893476943</c:v>
                </c:pt>
                <c:pt idx="1489">
                  <c:v>-1.01685726427062</c:v>
                </c:pt>
                <c:pt idx="1490">
                  <c:v>-1.0832334078485699</c:v>
                </c:pt>
                <c:pt idx="1491">
                  <c:v>-1.1537580604001301</c:v>
                </c:pt>
                <c:pt idx="1492">
                  <c:v>-1.15790656937376</c:v>
                </c:pt>
                <c:pt idx="1493">
                  <c:v>-1.1122729706639201</c:v>
                </c:pt>
                <c:pt idx="1494">
                  <c:v>-1.19939165910997</c:v>
                </c:pt>
                <c:pt idx="1495">
                  <c:v>-1.1910946411627299</c:v>
                </c:pt>
                <c:pt idx="1496">
                  <c:v>-1.2118371860308399</c:v>
                </c:pt>
                <c:pt idx="1497">
                  <c:v>-1.34873798216035</c:v>
                </c:pt>
                <c:pt idx="1498">
                  <c:v>-1.37362903600208</c:v>
                </c:pt>
                <c:pt idx="1499">
                  <c:v>-1.3570350001075899</c:v>
                </c:pt>
                <c:pt idx="1500">
                  <c:v>-1.35288649113397</c:v>
                </c:pt>
                <c:pt idx="1501">
                  <c:v>-1.3196984193450001</c:v>
                </c:pt>
                <c:pt idx="1502">
                  <c:v>-1.3570350001075899</c:v>
                </c:pt>
                <c:pt idx="1503">
                  <c:v>-1.3570350001075899</c:v>
                </c:pt>
                <c:pt idx="1504">
                  <c:v>-1.31140140139776</c:v>
                </c:pt>
                <c:pt idx="1505">
                  <c:v>-1.2242827129517</c:v>
                </c:pt>
                <c:pt idx="1506">
                  <c:v>-1.3238469283186201</c:v>
                </c:pt>
                <c:pt idx="1507">
                  <c:v>-1.2740648206351599</c:v>
                </c:pt>
                <c:pt idx="1508">
                  <c:v>-1.2616192937143</c:v>
                </c:pt>
                <c:pt idx="1509">
                  <c:v>-1.24087674884619</c:v>
                </c:pt>
                <c:pt idx="1510">
                  <c:v>-1.24917376679343</c:v>
                </c:pt>
                <c:pt idx="1511">
                  <c:v>-1.34873798216035</c:v>
                </c:pt>
                <c:pt idx="1512">
                  <c:v>-1.427559652659159</c:v>
                </c:pt>
                <c:pt idx="1513">
                  <c:v>-1.49808430521073</c:v>
                </c:pt>
                <c:pt idx="1514">
                  <c:v>-0.83017436045764803</c:v>
                </c:pt>
                <c:pt idx="1515">
                  <c:v>-1.1869461321891099</c:v>
                </c:pt>
                <c:pt idx="1516">
                  <c:v>-1.29065885652965</c:v>
                </c:pt>
                <c:pt idx="1517">
                  <c:v>-1.3611835090812201</c:v>
                </c:pt>
                <c:pt idx="1518">
                  <c:v>-1.3155499103713799</c:v>
                </c:pt>
                <c:pt idx="1519">
                  <c:v>-1.3404409642131101</c:v>
                </c:pt>
                <c:pt idx="1520">
                  <c:v>-1.3362924552394899</c:v>
                </c:pt>
                <c:pt idx="1521">
                  <c:v>-1.3653320180548401</c:v>
                </c:pt>
                <c:pt idx="1522">
                  <c:v>-1.26576780268792</c:v>
                </c:pt>
                <c:pt idx="1523">
                  <c:v>-1.2823618385824</c:v>
                </c:pt>
                <c:pt idx="1524">
                  <c:v>-1.12056998861116</c:v>
                </c:pt>
                <c:pt idx="1525">
                  <c:v>-1.16205507834738</c:v>
                </c:pt>
                <c:pt idx="1526">
                  <c:v>-1.09567893476943</c:v>
                </c:pt>
                <c:pt idx="1527">
                  <c:v>-0.57296680409310796</c:v>
                </c:pt>
                <c:pt idx="1528">
                  <c:v>-0.63519443869743197</c:v>
                </c:pt>
                <c:pt idx="1529">
                  <c:v>-0.71401610919624303</c:v>
                </c:pt>
                <c:pt idx="1530">
                  <c:v>-0.92144155787732396</c:v>
                </c:pt>
                <c:pt idx="1531">
                  <c:v>-0.88825348608835097</c:v>
                </c:pt>
                <c:pt idx="1532">
                  <c:v>-0.87165945019386404</c:v>
                </c:pt>
                <c:pt idx="1533">
                  <c:v>-0.90484752198283702</c:v>
                </c:pt>
                <c:pt idx="1534">
                  <c:v>-0.95462962966629705</c:v>
                </c:pt>
                <c:pt idx="1535">
                  <c:v>-0.79283777969505398</c:v>
                </c:pt>
                <c:pt idx="1536">
                  <c:v>-0.62274891177656699</c:v>
                </c:pt>
                <c:pt idx="1537">
                  <c:v>-0.62274891177656699</c:v>
                </c:pt>
                <c:pt idx="1538">
                  <c:v>-0.63519443869743197</c:v>
                </c:pt>
                <c:pt idx="1539">
                  <c:v>-0.70157058227537805</c:v>
                </c:pt>
                <c:pt idx="1540">
                  <c:v>-0.73475865406435104</c:v>
                </c:pt>
                <c:pt idx="1541">
                  <c:v>-0.664234001512783</c:v>
                </c:pt>
                <c:pt idx="1542">
                  <c:v>-0.61860040280294604</c:v>
                </c:pt>
                <c:pt idx="1543">
                  <c:v>-0.67253101946002702</c:v>
                </c:pt>
                <c:pt idx="1544">
                  <c:v>-0.55637276819862103</c:v>
                </c:pt>
                <c:pt idx="1545">
                  <c:v>-0.60200636690845899</c:v>
                </c:pt>
                <c:pt idx="1546">
                  <c:v>-0.56466978614586505</c:v>
                </c:pt>
                <c:pt idx="1547">
                  <c:v>-0.40702644514824299</c:v>
                </c:pt>
                <c:pt idx="1548">
                  <c:v>-0.22864055928251301</c:v>
                </c:pt>
                <c:pt idx="1549">
                  <c:v>-0.51903618743602697</c:v>
                </c:pt>
                <c:pt idx="1550">
                  <c:v>-0.97537217453440495</c:v>
                </c:pt>
                <c:pt idx="1551">
                  <c:v>-0.45266004385808101</c:v>
                </c:pt>
                <c:pt idx="1552">
                  <c:v>-1.0251542822178601</c:v>
                </c:pt>
                <c:pt idx="1553">
                  <c:v>-0.469254079752567</c:v>
                </c:pt>
                <c:pt idx="1554">
                  <c:v>-0.92559006685094503</c:v>
                </c:pt>
                <c:pt idx="1555">
                  <c:v>-0.23278906825613499</c:v>
                </c:pt>
                <c:pt idx="1556">
                  <c:v>-0.80528330661591896</c:v>
                </c:pt>
                <c:pt idx="1557">
                  <c:v>-0.95462962966629705</c:v>
                </c:pt>
                <c:pt idx="1558">
                  <c:v>-0.33650179259667501</c:v>
                </c:pt>
                <c:pt idx="1559">
                  <c:v>-0.93803559377181001</c:v>
                </c:pt>
                <c:pt idx="1560">
                  <c:v>-1.03759980913873</c:v>
                </c:pt>
                <c:pt idx="1561">
                  <c:v>-0.78868927072143202</c:v>
                </c:pt>
                <c:pt idx="1562">
                  <c:v>-0.73061014509072897</c:v>
                </c:pt>
                <c:pt idx="1563">
                  <c:v>-0.70571909124900001</c:v>
                </c:pt>
                <c:pt idx="1564">
                  <c:v>-0.75135268995883697</c:v>
                </c:pt>
                <c:pt idx="1565">
                  <c:v>-0.332353283623054</c:v>
                </c:pt>
                <c:pt idx="1566">
                  <c:v>-0.45266004385808101</c:v>
                </c:pt>
                <c:pt idx="1567">
                  <c:v>-0.50659066051516199</c:v>
                </c:pt>
                <c:pt idx="1568">
                  <c:v>-0.58126382204035099</c:v>
                </c:pt>
                <c:pt idx="1569">
                  <c:v>-0.59370934896121597</c:v>
                </c:pt>
                <c:pt idx="1570">
                  <c:v>-0.30746222978132398</c:v>
                </c:pt>
                <c:pt idx="1571">
                  <c:v>-0.36554135541202698</c:v>
                </c:pt>
                <c:pt idx="1572">
                  <c:v>-0.71816461816986399</c:v>
                </c:pt>
                <c:pt idx="1573">
                  <c:v>-0.29086819388683799</c:v>
                </c:pt>
                <c:pt idx="1574">
                  <c:v>-0.178858451599054</c:v>
                </c:pt>
                <c:pt idx="1575">
                  <c:v>-8.7591254179378297E-2</c:v>
                </c:pt>
                <c:pt idx="1576">
                  <c:v>-2.1215110601432399E-2</c:v>
                </c:pt>
                <c:pt idx="1577">
                  <c:v>3.2715506055648699E-2</c:v>
                </c:pt>
                <c:pt idx="1578">
                  <c:v>-6.6848709311270196E-2</c:v>
                </c:pt>
                <c:pt idx="1579">
                  <c:v>-0.11663081699473</c:v>
                </c:pt>
                <c:pt idx="1580">
                  <c:v>-7.5145727258513401E-2</c:v>
                </c:pt>
                <c:pt idx="1581">
                  <c:v>-0.216195032361649</c:v>
                </c:pt>
                <c:pt idx="1582">
                  <c:v>-0.24938310415062101</c:v>
                </c:pt>
                <c:pt idx="1583">
                  <c:v>-0.30331372080770302</c:v>
                </c:pt>
                <c:pt idx="1584">
                  <c:v>-0.70157058227537805</c:v>
                </c:pt>
                <c:pt idx="1585">
                  <c:v>-0.70571909124900001</c:v>
                </c:pt>
                <c:pt idx="1586">
                  <c:v>-0.90899603095645898</c:v>
                </c:pt>
                <c:pt idx="1587">
                  <c:v>-0.93388708479818905</c:v>
                </c:pt>
                <c:pt idx="1588">
                  <c:v>-1.12056998861116</c:v>
                </c:pt>
                <c:pt idx="1589">
                  <c:v>-1.1039759527166799</c:v>
                </c:pt>
                <c:pt idx="1590">
                  <c:v>-1.13716402450565</c:v>
                </c:pt>
                <c:pt idx="1591">
                  <c:v>-1.1288670065584001</c:v>
                </c:pt>
                <c:pt idx="1592">
                  <c:v>-1.1330155155320301</c:v>
                </c:pt>
                <c:pt idx="1593">
                  <c:v>-1.1288670065584001</c:v>
                </c:pt>
                <c:pt idx="1594">
                  <c:v>-1.1454610424528899</c:v>
                </c:pt>
                <c:pt idx="1595">
                  <c:v>-1.1288670065584001</c:v>
                </c:pt>
                <c:pt idx="1596">
                  <c:v>-1.3196984193450001</c:v>
                </c:pt>
                <c:pt idx="1597">
                  <c:v>-1.02930279119149</c:v>
                </c:pt>
                <c:pt idx="1598">
                  <c:v>-1.1330155155320301</c:v>
                </c:pt>
                <c:pt idx="1599">
                  <c:v>-1.1496095514265099</c:v>
                </c:pt>
                <c:pt idx="1600">
                  <c:v>-1.1703520962946199</c:v>
                </c:pt>
                <c:pt idx="1601">
                  <c:v>-1.2367282398725701</c:v>
                </c:pt>
                <c:pt idx="1602">
                  <c:v>-1.2782133296087801</c:v>
                </c:pt>
                <c:pt idx="1603">
                  <c:v>-0.52733320538327</c:v>
                </c:pt>
                <c:pt idx="1604">
                  <c:v>-0.17056143365181101</c:v>
                </c:pt>
                <c:pt idx="1605">
                  <c:v>-0.124927834941973</c:v>
                </c:pt>
                <c:pt idx="1606">
                  <c:v>-0.158115906730946</c:v>
                </c:pt>
                <c:pt idx="1607">
                  <c:v>-0.17056143365181101</c:v>
                </c:pt>
                <c:pt idx="1608">
                  <c:v>0.12813121244894601</c:v>
                </c:pt>
                <c:pt idx="1609">
                  <c:v>-0.158115906730946</c:v>
                </c:pt>
                <c:pt idx="1610">
                  <c:v>-0.17056143365181101</c:v>
                </c:pt>
                <c:pt idx="1611">
                  <c:v>0.12813121244894601</c:v>
                </c:pt>
                <c:pt idx="1612">
                  <c:v>-0.15396739775732399</c:v>
                </c:pt>
                <c:pt idx="1613">
                  <c:v>-0.216195032361649</c:v>
                </c:pt>
                <c:pt idx="1614">
                  <c:v>-0.20374950544078399</c:v>
                </c:pt>
                <c:pt idx="1615">
                  <c:v>-0.35724433746478401</c:v>
                </c:pt>
                <c:pt idx="1616">
                  <c:v>-0.33650179259667501</c:v>
                </c:pt>
                <c:pt idx="1617">
                  <c:v>-0.489996624620675</c:v>
                </c:pt>
                <c:pt idx="1618">
                  <c:v>-0.44021451693721603</c:v>
                </c:pt>
                <c:pt idx="1619">
                  <c:v>-0.29916521183408101</c:v>
                </c:pt>
                <c:pt idx="1620">
                  <c:v>-0.353095828491162</c:v>
                </c:pt>
                <c:pt idx="1621">
                  <c:v>-0.43606600796359402</c:v>
                </c:pt>
                <c:pt idx="1622">
                  <c:v>-0.40287793617462098</c:v>
                </c:pt>
                <c:pt idx="1623">
                  <c:v>-0.390432409253757</c:v>
                </c:pt>
                <c:pt idx="1624">
                  <c:v>-0.431917498989973</c:v>
                </c:pt>
                <c:pt idx="1625">
                  <c:v>-0.42776899001635099</c:v>
                </c:pt>
                <c:pt idx="1626">
                  <c:v>-0.34479881054391898</c:v>
                </c:pt>
                <c:pt idx="1627">
                  <c:v>-0.332353283623054</c:v>
                </c:pt>
                <c:pt idx="1628">
                  <c:v>-0.45680855283170202</c:v>
                </c:pt>
                <c:pt idx="1629">
                  <c:v>-0.73061014509072897</c:v>
                </c:pt>
                <c:pt idx="1630">
                  <c:v>-0.77209523482694598</c:v>
                </c:pt>
                <c:pt idx="1631">
                  <c:v>-0.28257117593959402</c:v>
                </c:pt>
                <c:pt idx="1632">
                  <c:v>-0.62274891177656699</c:v>
                </c:pt>
                <c:pt idx="1633">
                  <c:v>-0.52733320538327</c:v>
                </c:pt>
                <c:pt idx="1634">
                  <c:v>-0.30331372080770302</c:v>
                </c:pt>
                <c:pt idx="1635">
                  <c:v>-0.47755109769981102</c:v>
                </c:pt>
                <c:pt idx="1636">
                  <c:v>-0.59370934896121597</c:v>
                </c:pt>
                <c:pt idx="1637">
                  <c:v>-0.62689742075018895</c:v>
                </c:pt>
                <c:pt idx="1638">
                  <c:v>-0.45680855283170202</c:v>
                </c:pt>
                <c:pt idx="1639">
                  <c:v>-0.41947197206910802</c:v>
                </c:pt>
                <c:pt idx="1640">
                  <c:v>-0.43606600796359402</c:v>
                </c:pt>
                <c:pt idx="1641">
                  <c:v>-0.74305567201159395</c:v>
                </c:pt>
                <c:pt idx="1642">
                  <c:v>-0.79698628866867505</c:v>
                </c:pt>
                <c:pt idx="1643">
                  <c:v>-0.78454076174780996</c:v>
                </c:pt>
                <c:pt idx="1644">
                  <c:v>-0.99196621042889099</c:v>
                </c:pt>
                <c:pt idx="1645">
                  <c:v>-1.05419384503322</c:v>
                </c:pt>
                <c:pt idx="1646">
                  <c:v>-1.12056998861116</c:v>
                </c:pt>
                <c:pt idx="1647">
                  <c:v>-1.2118371860308399</c:v>
                </c:pt>
                <c:pt idx="1648">
                  <c:v>-1.24087674884619</c:v>
                </c:pt>
                <c:pt idx="1649">
                  <c:v>-1.3238469283186201</c:v>
                </c:pt>
                <c:pt idx="1650">
                  <c:v>-1.36948052702846</c:v>
                </c:pt>
                <c:pt idx="1651">
                  <c:v>-1.2118371860308399</c:v>
                </c:pt>
                <c:pt idx="1652">
                  <c:v>-1.30725289242413</c:v>
                </c:pt>
                <c:pt idx="1653">
                  <c:v>-1.1952431501363501</c:v>
                </c:pt>
                <c:pt idx="1654">
                  <c:v>-1.3404409642131101</c:v>
                </c:pt>
                <c:pt idx="1655">
                  <c:v>-1.58105448468316</c:v>
                </c:pt>
                <c:pt idx="1656">
                  <c:v>-1.5312723769997001</c:v>
                </c:pt>
                <c:pt idx="1657">
                  <c:v>-1.53542088597332</c:v>
                </c:pt>
                <c:pt idx="1658">
                  <c:v>-1.0251542822178601</c:v>
                </c:pt>
                <c:pt idx="1659">
                  <c:v>-0.207898014414405</c:v>
                </c:pt>
                <c:pt idx="1660">
                  <c:v>-0.120779325968351</c:v>
                </c:pt>
                <c:pt idx="1661">
                  <c:v>-9.1739763152999906E-2</c:v>
                </c:pt>
                <c:pt idx="1662">
                  <c:v>-0.29916521183408101</c:v>
                </c:pt>
                <c:pt idx="1663">
                  <c:v>-0.43606600796359402</c:v>
                </c:pt>
                <c:pt idx="1664">
                  <c:v>-0.74720418098521602</c:v>
                </c:pt>
                <c:pt idx="1665">
                  <c:v>-0.56881829511948601</c:v>
                </c:pt>
                <c:pt idx="1666">
                  <c:v>-0.70986760022262096</c:v>
                </c:pt>
                <c:pt idx="1667">
                  <c:v>-0.63519443869743197</c:v>
                </c:pt>
                <c:pt idx="1668">
                  <c:v>-0.83847137840489205</c:v>
                </c:pt>
                <c:pt idx="1669">
                  <c:v>-0.87580795916748599</c:v>
                </c:pt>
                <c:pt idx="1670">
                  <c:v>-0.83017436045764803</c:v>
                </c:pt>
                <c:pt idx="1671">
                  <c:v>-0.68912505535451296</c:v>
                </c:pt>
                <c:pt idx="1672">
                  <c:v>-0.72231312714348594</c:v>
                </c:pt>
                <c:pt idx="1673">
                  <c:v>-0.896550504035594</c:v>
                </c:pt>
                <c:pt idx="1674">
                  <c:v>-0.82602585148402696</c:v>
                </c:pt>
                <c:pt idx="1675">
                  <c:v>-0.77624374380056704</c:v>
                </c:pt>
                <c:pt idx="1676">
                  <c:v>-0.83432286943126999</c:v>
                </c:pt>
                <c:pt idx="1677">
                  <c:v>-0.80943181558954003</c:v>
                </c:pt>
                <c:pt idx="1678">
                  <c:v>-0.89240199506197204</c:v>
                </c:pt>
                <c:pt idx="1679">
                  <c:v>-0.684976546380892</c:v>
                </c:pt>
                <c:pt idx="1680">
                  <c:v>-0.69327356432813503</c:v>
                </c:pt>
                <c:pt idx="1681">
                  <c:v>-0.70571909124900001</c:v>
                </c:pt>
                <c:pt idx="1682">
                  <c:v>-0.73890716303797299</c:v>
                </c:pt>
                <c:pt idx="1683">
                  <c:v>-0.70157058227537805</c:v>
                </c:pt>
                <c:pt idx="1684">
                  <c:v>-0.68082803740727005</c:v>
                </c:pt>
                <c:pt idx="1685">
                  <c:v>-0.59370934896121597</c:v>
                </c:pt>
                <c:pt idx="1686">
                  <c:v>-0.66008549253916204</c:v>
                </c:pt>
                <c:pt idx="1687">
                  <c:v>-0.684976546380892</c:v>
                </c:pt>
                <c:pt idx="1688">
                  <c:v>-0.80943181558954003</c:v>
                </c:pt>
                <c:pt idx="1689">
                  <c:v>-0.96292664761353997</c:v>
                </c:pt>
                <c:pt idx="1690">
                  <c:v>-0.85921392327299995</c:v>
                </c:pt>
                <c:pt idx="1691">
                  <c:v>-0.67253101946002702</c:v>
                </c:pt>
                <c:pt idx="1692">
                  <c:v>-0.65593698356553998</c:v>
                </c:pt>
                <c:pt idx="1693">
                  <c:v>-0.68912505535451296</c:v>
                </c:pt>
                <c:pt idx="1694">
                  <c:v>-0.67253101946002702</c:v>
                </c:pt>
                <c:pt idx="1695">
                  <c:v>-0.72646163611710801</c:v>
                </c:pt>
                <c:pt idx="1696">
                  <c:v>-0.73890716303797299</c:v>
                </c:pt>
                <c:pt idx="1697">
                  <c:v>-0.72646163611710801</c:v>
                </c:pt>
                <c:pt idx="1698">
                  <c:v>-0.87580795916748599</c:v>
                </c:pt>
                <c:pt idx="1699">
                  <c:v>-1.02930279119149</c:v>
                </c:pt>
                <c:pt idx="1700">
                  <c:v>-1.0873819168221901</c:v>
                </c:pt>
                <c:pt idx="1701">
                  <c:v>-1.1330155155320301</c:v>
                </c:pt>
                <c:pt idx="1702">
                  <c:v>-1.3985200898438099</c:v>
                </c:pt>
                <c:pt idx="1703">
                  <c:v>-1.626688083393</c:v>
                </c:pt>
                <c:pt idx="1704">
                  <c:v>-1.56446044878867</c:v>
                </c:pt>
                <c:pt idx="1705">
                  <c:v>-1.66817317312922</c:v>
                </c:pt>
                <c:pt idx="1706">
                  <c:v>-0.98781770145527004</c:v>
                </c:pt>
                <c:pt idx="1707">
                  <c:v>4.5161032976513499E-2</c:v>
                </c:pt>
                <c:pt idx="1708">
                  <c:v>3.6864015029270301E-2</c:v>
                </c:pt>
                <c:pt idx="1709">
                  <c:v>-0.81358032456316198</c:v>
                </c:pt>
                <c:pt idx="1710">
                  <c:v>-0.75135268995883697</c:v>
                </c:pt>
                <c:pt idx="1711">
                  <c:v>-0.129076343915595</c:v>
                </c:pt>
                <c:pt idx="1712">
                  <c:v>-0.37383837335927</c:v>
                </c:pt>
                <c:pt idx="1713">
                  <c:v>-0.16226441570456701</c:v>
                </c:pt>
                <c:pt idx="1714">
                  <c:v>-0.431917498989973</c:v>
                </c:pt>
                <c:pt idx="1715">
                  <c:v>-0.59785785793483703</c:v>
                </c:pt>
                <c:pt idx="1716">
                  <c:v>-0.61030338485570201</c:v>
                </c:pt>
                <c:pt idx="1717">
                  <c:v>-0.56052127717224298</c:v>
                </c:pt>
                <c:pt idx="1718">
                  <c:v>-0.51488767846240502</c:v>
                </c:pt>
                <c:pt idx="1719">
                  <c:v>-0.49414513359429701</c:v>
                </c:pt>
                <c:pt idx="1720">
                  <c:v>-0.75135268995883697</c:v>
                </c:pt>
                <c:pt idx="1721">
                  <c:v>-0.780392252774189</c:v>
                </c:pt>
                <c:pt idx="1722">
                  <c:v>-0.780392252774189</c:v>
                </c:pt>
                <c:pt idx="1723">
                  <c:v>-0.65593698356553998</c:v>
                </c:pt>
                <c:pt idx="1724">
                  <c:v>-0.67667952843364798</c:v>
                </c:pt>
                <c:pt idx="1725">
                  <c:v>-0.643491456644675</c:v>
                </c:pt>
                <c:pt idx="1726">
                  <c:v>-0.68082803740727005</c:v>
                </c:pt>
                <c:pt idx="1727">
                  <c:v>-0.66008549253916204</c:v>
                </c:pt>
                <c:pt idx="1728">
                  <c:v>-0.55637276819862103</c:v>
                </c:pt>
                <c:pt idx="1729">
                  <c:v>-0.54392724127775605</c:v>
                </c:pt>
                <c:pt idx="1730">
                  <c:v>-0.58541233101397305</c:v>
                </c:pt>
                <c:pt idx="1731">
                  <c:v>-0.63104592972381002</c:v>
                </c:pt>
                <c:pt idx="1732">
                  <c:v>-0.780392252774189</c:v>
                </c:pt>
                <c:pt idx="1733">
                  <c:v>-0.68912505535451296</c:v>
                </c:pt>
                <c:pt idx="1734">
                  <c:v>-0.73475865406435104</c:v>
                </c:pt>
                <c:pt idx="1735">
                  <c:v>-0.72646163611710801</c:v>
                </c:pt>
                <c:pt idx="1736">
                  <c:v>-0.87580795916748599</c:v>
                </c:pt>
                <c:pt idx="1737">
                  <c:v>-0.90069901300921595</c:v>
                </c:pt>
                <c:pt idx="1738">
                  <c:v>-0.96292664761353997</c:v>
                </c:pt>
                <c:pt idx="1739">
                  <c:v>-0.96707515658716203</c:v>
                </c:pt>
                <c:pt idx="1740">
                  <c:v>-0.94218410274543196</c:v>
                </c:pt>
                <c:pt idx="1741">
                  <c:v>-0.95877813863991801</c:v>
                </c:pt>
                <c:pt idx="1742">
                  <c:v>-0.95877813863991801</c:v>
                </c:pt>
                <c:pt idx="1743">
                  <c:v>-1.0210057732442399</c:v>
                </c:pt>
                <c:pt idx="1744">
                  <c:v>-1.0417483181123499</c:v>
                </c:pt>
                <c:pt idx="1745">
                  <c:v>-1.0832334078485699</c:v>
                </c:pt>
                <c:pt idx="1746">
                  <c:v>-1.0666393719540801</c:v>
                </c:pt>
                <c:pt idx="1747">
                  <c:v>-1.1745006052682401</c:v>
                </c:pt>
                <c:pt idx="1748">
                  <c:v>-1.1869461321891099</c:v>
                </c:pt>
                <c:pt idx="1749">
                  <c:v>-1.26991631166154</c:v>
                </c:pt>
                <c:pt idx="1750">
                  <c:v>-1.05834235400684</c:v>
                </c:pt>
                <c:pt idx="1751">
                  <c:v>-1.626688083393</c:v>
                </c:pt>
                <c:pt idx="1752">
                  <c:v>-0.448511534884459</c:v>
                </c:pt>
                <c:pt idx="1753">
                  <c:v>-0.87580795916748599</c:v>
                </c:pt>
                <c:pt idx="1754">
                  <c:v>-0.58956083998759401</c:v>
                </c:pt>
                <c:pt idx="1755">
                  <c:v>-0.129076343915595</c:v>
                </c:pt>
                <c:pt idx="1756">
                  <c:v>6.1755068870999998E-2</c:v>
                </c:pt>
                <c:pt idx="1757">
                  <c:v>0.161319284237919</c:v>
                </c:pt>
                <c:pt idx="1758">
                  <c:v>5.7606559897378402E-2</c:v>
                </c:pt>
                <c:pt idx="1759">
                  <c:v>-0.21204652338802699</c:v>
                </c:pt>
                <c:pt idx="1760">
                  <c:v>-0.28257117593959402</c:v>
                </c:pt>
                <c:pt idx="1761">
                  <c:v>-0.178858451599054</c:v>
                </c:pt>
                <c:pt idx="1762">
                  <c:v>-0.53148171435689195</c:v>
                </c:pt>
                <c:pt idx="1763">
                  <c:v>-0.95877813863991801</c:v>
                </c:pt>
                <c:pt idx="1764">
                  <c:v>-0.48584811564705399</c:v>
                </c:pt>
                <c:pt idx="1765">
                  <c:v>-0.53977873230413498</c:v>
                </c:pt>
                <c:pt idx="1766">
                  <c:v>-0.63519443869743197</c:v>
                </c:pt>
                <c:pt idx="1767">
                  <c:v>-0.55637276819862103</c:v>
                </c:pt>
                <c:pt idx="1768">
                  <c:v>-0.51903618743602697</c:v>
                </c:pt>
                <c:pt idx="1769">
                  <c:v>-0.49829364256791903</c:v>
                </c:pt>
                <c:pt idx="1770">
                  <c:v>-0.46095706180532398</c:v>
                </c:pt>
                <c:pt idx="1771">
                  <c:v>-0.56052127717224298</c:v>
                </c:pt>
                <c:pt idx="1772">
                  <c:v>-0.53148171435689195</c:v>
                </c:pt>
                <c:pt idx="1773">
                  <c:v>-0.46095706180532398</c:v>
                </c:pt>
                <c:pt idx="1774">
                  <c:v>-0.489996624620675</c:v>
                </c:pt>
                <c:pt idx="1775">
                  <c:v>-0.48169960667343198</c:v>
                </c:pt>
                <c:pt idx="1776">
                  <c:v>-0.50659066051516199</c:v>
                </c:pt>
                <c:pt idx="1777">
                  <c:v>-0.95048112069267499</c:v>
                </c:pt>
                <c:pt idx="1778">
                  <c:v>-0.61860040280294604</c:v>
                </c:pt>
                <c:pt idx="1779">
                  <c:v>-0.46510557077894599</c:v>
                </c:pt>
                <c:pt idx="1780">
                  <c:v>-0.57296680409310796</c:v>
                </c:pt>
                <c:pt idx="1781">
                  <c:v>-0.60200636690845899</c:v>
                </c:pt>
                <c:pt idx="1782">
                  <c:v>-0.68082803740727005</c:v>
                </c:pt>
                <c:pt idx="1783">
                  <c:v>-0.83847137840489205</c:v>
                </c:pt>
                <c:pt idx="1784">
                  <c:v>-0.801134797642297</c:v>
                </c:pt>
                <c:pt idx="1785">
                  <c:v>-0.88410497711472902</c:v>
                </c:pt>
                <c:pt idx="1786">
                  <c:v>-0.83017436045764803</c:v>
                </c:pt>
                <c:pt idx="1787">
                  <c:v>-1.0002632283761299</c:v>
                </c:pt>
                <c:pt idx="1788">
                  <c:v>-1.03759980913873</c:v>
                </c:pt>
                <c:pt idx="1789">
                  <c:v>-0.94633261171905403</c:v>
                </c:pt>
                <c:pt idx="1790">
                  <c:v>-1.0873819168221901</c:v>
                </c:pt>
                <c:pt idx="1791">
                  <c:v>-1.20354016808359</c:v>
                </c:pt>
                <c:pt idx="1792">
                  <c:v>-1.33214394626586</c:v>
                </c:pt>
                <c:pt idx="1793">
                  <c:v>-1.29065885652965</c:v>
                </c:pt>
                <c:pt idx="1794">
                  <c:v>-1.2242827129517</c:v>
                </c:pt>
                <c:pt idx="1795">
                  <c:v>-1.07908489887495</c:v>
                </c:pt>
                <c:pt idx="1796">
                  <c:v>-1.1081244616903001</c:v>
                </c:pt>
                <c:pt idx="1797">
                  <c:v>-1.1039759527166799</c:v>
                </c:pt>
                <c:pt idx="1798">
                  <c:v>-1.0458968270859701</c:v>
                </c:pt>
                <c:pt idx="1799">
                  <c:v>-1.2242827129517</c:v>
                </c:pt>
                <c:pt idx="1800">
                  <c:v>-1.2076886770572199</c:v>
                </c:pt>
                <c:pt idx="1801">
                  <c:v>-1.22013420397808</c:v>
                </c:pt>
                <c:pt idx="1802">
                  <c:v>-1.22013420397808</c:v>
                </c:pt>
                <c:pt idx="1803">
                  <c:v>-1.1454610424528899</c:v>
                </c:pt>
                <c:pt idx="1804">
                  <c:v>-1.1496095514265099</c:v>
                </c:pt>
                <c:pt idx="1805">
                  <c:v>-1.3155499103713799</c:v>
                </c:pt>
                <c:pt idx="1806">
                  <c:v>-1.3777775449756999</c:v>
                </c:pt>
                <c:pt idx="1807">
                  <c:v>-1.5063813231579699</c:v>
                </c:pt>
                <c:pt idx="1808">
                  <c:v>-1.49808430521073</c:v>
                </c:pt>
                <c:pt idx="1809">
                  <c:v>-1.50223281418435</c:v>
                </c:pt>
                <c:pt idx="1810">
                  <c:v>-1.47734176034262</c:v>
                </c:pt>
                <c:pt idx="1811">
                  <c:v>-1.4897872872634901</c:v>
                </c:pt>
                <c:pt idx="1812">
                  <c:v>-1.51882685007884</c:v>
                </c:pt>
                <c:pt idx="1813">
                  <c:v>-1.49808430521073</c:v>
                </c:pt>
                <c:pt idx="1814">
                  <c:v>-1.70550975389181</c:v>
                </c:pt>
                <c:pt idx="1815">
                  <c:v>-1.5312723769997001</c:v>
                </c:pt>
                <c:pt idx="1816">
                  <c:v>-1.52297535905246</c:v>
                </c:pt>
                <c:pt idx="1817">
                  <c:v>-1.6972127359445699</c:v>
                </c:pt>
                <c:pt idx="1818">
                  <c:v>-1.6391336103138601</c:v>
                </c:pt>
                <c:pt idx="1819">
                  <c:v>-1.7013612449181901</c:v>
                </c:pt>
                <c:pt idx="1820">
                  <c:v>-1.68891571799732</c:v>
                </c:pt>
                <c:pt idx="1821">
                  <c:v>-0.74305567201159395</c:v>
                </c:pt>
                <c:pt idx="1822">
                  <c:v>-0.47755109769981102</c:v>
                </c:pt>
                <c:pt idx="1823">
                  <c:v>-1.20354016808359</c:v>
                </c:pt>
                <c:pt idx="1824">
                  <c:v>-1.19939165910997</c:v>
                </c:pt>
                <c:pt idx="1825">
                  <c:v>-1.2948073655032699</c:v>
                </c:pt>
                <c:pt idx="1826">
                  <c:v>-0.29086819388683799</c:v>
                </c:pt>
                <c:pt idx="1827">
                  <c:v>-0.30331372080770302</c:v>
                </c:pt>
                <c:pt idx="1828">
                  <c:v>-0.26597714004510797</c:v>
                </c:pt>
                <c:pt idx="1829">
                  <c:v>-0.58126382204035099</c:v>
                </c:pt>
                <c:pt idx="1830">
                  <c:v>-0.489996624620675</c:v>
                </c:pt>
                <c:pt idx="1831">
                  <c:v>-0.55222425922499996</c:v>
                </c:pt>
                <c:pt idx="1832">
                  <c:v>-0.73475865406435104</c:v>
                </c:pt>
                <c:pt idx="1833">
                  <c:v>-0.76794672585332402</c:v>
                </c:pt>
                <c:pt idx="1834">
                  <c:v>-0.77209523482694598</c:v>
                </c:pt>
                <c:pt idx="1835">
                  <c:v>-0.70986760022262096</c:v>
                </c:pt>
                <c:pt idx="1836">
                  <c:v>-0.94218410274543196</c:v>
                </c:pt>
                <c:pt idx="1837">
                  <c:v>-0.89240199506197204</c:v>
                </c:pt>
                <c:pt idx="1838">
                  <c:v>-0.93803559377181001</c:v>
                </c:pt>
                <c:pt idx="1839">
                  <c:v>-0.84676839635213497</c:v>
                </c:pt>
                <c:pt idx="1840">
                  <c:v>-0.84261988737851301</c:v>
                </c:pt>
                <c:pt idx="1841">
                  <c:v>-0.92144155787732396</c:v>
                </c:pt>
                <c:pt idx="1842">
                  <c:v>-0.93388708479818905</c:v>
                </c:pt>
                <c:pt idx="1843">
                  <c:v>-0.85506541429937799</c:v>
                </c:pt>
                <c:pt idx="1844">
                  <c:v>-0.87995646814110795</c:v>
                </c:pt>
                <c:pt idx="1845">
                  <c:v>-0.90899603095645898</c:v>
                </c:pt>
                <c:pt idx="1846">
                  <c:v>-0.93388708479818905</c:v>
                </c:pt>
                <c:pt idx="1847">
                  <c:v>-1.1745006052682401</c:v>
                </c:pt>
                <c:pt idx="1848">
                  <c:v>-1.3155499103713799</c:v>
                </c:pt>
                <c:pt idx="1849">
                  <c:v>-1.3819260539493201</c:v>
                </c:pt>
                <c:pt idx="1850">
                  <c:v>-1.39437158087019</c:v>
                </c:pt>
                <c:pt idx="1851">
                  <c:v>-1.3777775449756999</c:v>
                </c:pt>
                <c:pt idx="1852">
                  <c:v>-1.31140140139776</c:v>
                </c:pt>
                <c:pt idx="1853">
                  <c:v>-1.32799543729224</c:v>
                </c:pt>
                <c:pt idx="1854">
                  <c:v>-1.33214394626586</c:v>
                </c:pt>
                <c:pt idx="1855">
                  <c:v>-1.3362924552394899</c:v>
                </c:pt>
                <c:pt idx="1856">
                  <c:v>-1.34873798216035</c:v>
                </c:pt>
                <c:pt idx="1857">
                  <c:v>-1.2989558744768901</c:v>
                </c:pt>
                <c:pt idx="1858">
                  <c:v>-1.3362924552394899</c:v>
                </c:pt>
                <c:pt idx="1859">
                  <c:v>-1.5063813231579699</c:v>
                </c:pt>
                <c:pt idx="1860">
                  <c:v>-1.56031193981505</c:v>
                </c:pt>
                <c:pt idx="1861">
                  <c:v>-1.5686089577622999</c:v>
                </c:pt>
                <c:pt idx="1862">
                  <c:v>-1.7221037897863001</c:v>
                </c:pt>
                <c:pt idx="1863">
                  <c:v>-1.6972127359445699</c:v>
                </c:pt>
                <c:pt idx="1864">
                  <c:v>-1.75114335260165</c:v>
                </c:pt>
                <c:pt idx="1865">
                  <c:v>-1.6764701910764599</c:v>
                </c:pt>
                <c:pt idx="1866">
                  <c:v>-1.6930642269709499</c:v>
                </c:pt>
                <c:pt idx="1867">
                  <c:v>-1.68891571799732</c:v>
                </c:pt>
                <c:pt idx="1868">
                  <c:v>-1.15790656937376</c:v>
                </c:pt>
                <c:pt idx="1869">
                  <c:v>-1.3985200898438099</c:v>
                </c:pt>
                <c:pt idx="1870">
                  <c:v>-0.59785785793483703</c:v>
                </c:pt>
                <c:pt idx="1871">
                  <c:v>-0.36968986438564799</c:v>
                </c:pt>
                <c:pt idx="1872">
                  <c:v>0.35215069702451302</c:v>
                </c:pt>
                <c:pt idx="1873">
                  <c:v>-0.19960099646716201</c:v>
                </c:pt>
                <c:pt idx="1874">
                  <c:v>-0.216195032361649</c:v>
                </c:pt>
                <c:pt idx="1875">
                  <c:v>-0.67253101946002702</c:v>
                </c:pt>
                <c:pt idx="1876">
                  <c:v>-0.801134797642297</c:v>
                </c:pt>
                <c:pt idx="1877">
                  <c:v>-0.86336243224662101</c:v>
                </c:pt>
                <c:pt idx="1878">
                  <c:v>-0.86336243224662101</c:v>
                </c:pt>
                <c:pt idx="1879">
                  <c:v>-1.0707878809277001</c:v>
                </c:pt>
                <c:pt idx="1880">
                  <c:v>-1.2367282398725701</c:v>
                </c:pt>
                <c:pt idx="1881">
                  <c:v>-1.20354016808359</c:v>
                </c:pt>
                <c:pt idx="1882">
                  <c:v>-1.2284312219253199</c:v>
                </c:pt>
                <c:pt idx="1883">
                  <c:v>-1.2367282398725701</c:v>
                </c:pt>
                <c:pt idx="1884">
                  <c:v>-1.24087674884619</c:v>
                </c:pt>
                <c:pt idx="1885">
                  <c:v>-1.2367282398725701</c:v>
                </c:pt>
                <c:pt idx="1886">
                  <c:v>-1.2325797308989499</c:v>
                </c:pt>
                <c:pt idx="1887">
                  <c:v>-1.17864911424186</c:v>
                </c:pt>
                <c:pt idx="1888">
                  <c:v>-1.2242827129517</c:v>
                </c:pt>
                <c:pt idx="1889">
                  <c:v>-1.2118371860308399</c:v>
                </c:pt>
                <c:pt idx="1890">
                  <c:v>-1.2118371860308399</c:v>
                </c:pt>
                <c:pt idx="1891">
                  <c:v>-1.1662035873209999</c:v>
                </c:pt>
                <c:pt idx="1892">
                  <c:v>-1.1330155155320301</c:v>
                </c:pt>
                <c:pt idx="1893">
                  <c:v>-1.17864911424186</c:v>
                </c:pt>
                <c:pt idx="1894">
                  <c:v>-1.20354016808359</c:v>
                </c:pt>
                <c:pt idx="1895">
                  <c:v>-1.2242827129517</c:v>
                </c:pt>
                <c:pt idx="1896">
                  <c:v>-1.2076886770572199</c:v>
                </c:pt>
                <c:pt idx="1897">
                  <c:v>-1.2325797308989499</c:v>
                </c:pt>
                <c:pt idx="1898">
                  <c:v>-1.2118371860308399</c:v>
                </c:pt>
                <c:pt idx="1899">
                  <c:v>-1.2076886770572199</c:v>
                </c:pt>
                <c:pt idx="1900">
                  <c:v>-1.2367282398725701</c:v>
                </c:pt>
                <c:pt idx="1901">
                  <c:v>-1.2574707847406801</c:v>
                </c:pt>
                <c:pt idx="1902">
                  <c:v>-1.4192626347119199</c:v>
                </c:pt>
                <c:pt idx="1903">
                  <c:v>-1.547866412894189</c:v>
                </c:pt>
                <c:pt idx="1904">
                  <c:v>-1.70965826286543</c:v>
                </c:pt>
                <c:pt idx="1905">
                  <c:v>-1.7221037897863001</c:v>
                </c:pt>
                <c:pt idx="1906">
                  <c:v>-1.19939165910997</c:v>
                </c:pt>
                <c:pt idx="1907">
                  <c:v>-0.39872942720100002</c:v>
                </c:pt>
                <c:pt idx="1908">
                  <c:v>-0.390432409253757</c:v>
                </c:pt>
                <c:pt idx="1909">
                  <c:v>-0.38628390028013498</c:v>
                </c:pt>
                <c:pt idx="1910">
                  <c:v>-0.14152187083645901</c:v>
                </c:pt>
                <c:pt idx="1911">
                  <c:v>-0.759649707906081</c:v>
                </c:pt>
                <c:pt idx="1912">
                  <c:v>-0.84676839635213497</c:v>
                </c:pt>
                <c:pt idx="1913">
                  <c:v>-0.77209523482694598</c:v>
                </c:pt>
                <c:pt idx="1914">
                  <c:v>-0.67253101946002702</c:v>
                </c:pt>
                <c:pt idx="1915">
                  <c:v>-0.87165945019386404</c:v>
                </c:pt>
                <c:pt idx="1916">
                  <c:v>-0.95048112069267499</c:v>
                </c:pt>
                <c:pt idx="1917">
                  <c:v>-0.97537217453440495</c:v>
                </c:pt>
                <c:pt idx="1918">
                  <c:v>-1.0417483181123499</c:v>
                </c:pt>
                <c:pt idx="1919">
                  <c:v>-1.01685726427062</c:v>
                </c:pt>
                <c:pt idx="1920">
                  <c:v>-0.96292664761353997</c:v>
                </c:pt>
                <c:pt idx="1921">
                  <c:v>-1.02930279119149</c:v>
                </c:pt>
                <c:pt idx="1922">
                  <c:v>-0.98781770145527004</c:v>
                </c:pt>
                <c:pt idx="1923">
                  <c:v>-0.94633261171905403</c:v>
                </c:pt>
                <c:pt idx="1924">
                  <c:v>-0.95048112069267499</c:v>
                </c:pt>
                <c:pt idx="1925">
                  <c:v>-0.91314453993008105</c:v>
                </c:pt>
                <c:pt idx="1926">
                  <c:v>-0.93803559377181001</c:v>
                </c:pt>
                <c:pt idx="1927">
                  <c:v>-1.01685726427062</c:v>
                </c:pt>
                <c:pt idx="1928">
                  <c:v>-1.0002632283761299</c:v>
                </c:pt>
                <c:pt idx="1929">
                  <c:v>-0.92559006685094503</c:v>
                </c:pt>
                <c:pt idx="1930">
                  <c:v>-0.90899603095645898</c:v>
                </c:pt>
                <c:pt idx="1931">
                  <c:v>-0.896550504035594</c:v>
                </c:pt>
                <c:pt idx="1932">
                  <c:v>-0.94633261171905403</c:v>
                </c:pt>
                <c:pt idx="1933">
                  <c:v>-0.92559006685094503</c:v>
                </c:pt>
                <c:pt idx="1934">
                  <c:v>-0.95877813863991801</c:v>
                </c:pt>
                <c:pt idx="1935">
                  <c:v>-0.96707515658716203</c:v>
                </c:pt>
                <c:pt idx="1936">
                  <c:v>-0.98781770145527004</c:v>
                </c:pt>
                <c:pt idx="1937">
                  <c:v>-0.75135268995883697</c:v>
                </c:pt>
                <c:pt idx="1938">
                  <c:v>-0.73475865406435104</c:v>
                </c:pt>
                <c:pt idx="1939">
                  <c:v>-0.94218410274543196</c:v>
                </c:pt>
                <c:pt idx="1940">
                  <c:v>-0.917293048903702</c:v>
                </c:pt>
                <c:pt idx="1941">
                  <c:v>-0.92559006685094503</c:v>
                </c:pt>
                <c:pt idx="1942">
                  <c:v>-0.87995646814110795</c:v>
                </c:pt>
                <c:pt idx="1943">
                  <c:v>-1.0417483181123499</c:v>
                </c:pt>
                <c:pt idx="1944">
                  <c:v>-1.0251542822178601</c:v>
                </c:pt>
                <c:pt idx="1945">
                  <c:v>-1.0832334078485699</c:v>
                </c:pt>
                <c:pt idx="1946">
                  <c:v>-1.0251542822178601</c:v>
                </c:pt>
                <c:pt idx="1947">
                  <c:v>-0.97537217453440495</c:v>
                </c:pt>
                <c:pt idx="1948">
                  <c:v>-1.01685726427062</c:v>
                </c:pt>
                <c:pt idx="1949">
                  <c:v>-1.0666393719540801</c:v>
                </c:pt>
                <c:pt idx="1950">
                  <c:v>-1.0666393719540801</c:v>
                </c:pt>
                <c:pt idx="1951">
                  <c:v>-1.0500453360595901</c:v>
                </c:pt>
                <c:pt idx="1952">
                  <c:v>-1.0666393719540801</c:v>
                </c:pt>
                <c:pt idx="1953">
                  <c:v>-1.07493638990132</c:v>
                </c:pt>
                <c:pt idx="1954">
                  <c:v>-1.07493638990132</c:v>
                </c:pt>
                <c:pt idx="1955">
                  <c:v>-1.0417483181123499</c:v>
                </c:pt>
                <c:pt idx="1956">
                  <c:v>-1.11642147963754</c:v>
                </c:pt>
                <c:pt idx="1957">
                  <c:v>-1.2118371860308399</c:v>
                </c:pt>
                <c:pt idx="1958">
                  <c:v>-1.24087674884619</c:v>
                </c:pt>
                <c:pt idx="1959">
                  <c:v>-1.2574707847406801</c:v>
                </c:pt>
                <c:pt idx="1960">
                  <c:v>-1.2325797308989499</c:v>
                </c:pt>
                <c:pt idx="1961">
                  <c:v>-1.32799543729224</c:v>
                </c:pt>
                <c:pt idx="1962">
                  <c:v>-1.3611835090812201</c:v>
                </c:pt>
                <c:pt idx="1963">
                  <c:v>-1.39437158087019</c:v>
                </c:pt>
                <c:pt idx="1964">
                  <c:v>-1.7221037897863001</c:v>
                </c:pt>
                <c:pt idx="1965">
                  <c:v>-0.55222425922499996</c:v>
                </c:pt>
                <c:pt idx="1966">
                  <c:v>-0.55637276819862103</c:v>
                </c:pt>
                <c:pt idx="1967">
                  <c:v>0.103240158607216</c:v>
                </c:pt>
                <c:pt idx="1968">
                  <c:v>7.8349104765486496E-2</c:v>
                </c:pt>
                <c:pt idx="1969">
                  <c:v>-3.7809146495918898E-2</c:v>
                </c:pt>
                <c:pt idx="1970">
                  <c:v>-7.9294236232135107E-2</c:v>
                </c:pt>
                <c:pt idx="1971">
                  <c:v>-6.6848709311270196E-2</c:v>
                </c:pt>
                <c:pt idx="1972">
                  <c:v>-0.34894731951753999</c:v>
                </c:pt>
                <c:pt idx="1973">
                  <c:v>-0.49414513359429701</c:v>
                </c:pt>
                <c:pt idx="1974">
                  <c:v>-0.56466978614586505</c:v>
                </c:pt>
                <c:pt idx="1975">
                  <c:v>-0.64763996561829695</c:v>
                </c:pt>
                <c:pt idx="1976">
                  <c:v>-0.60615487588208095</c:v>
                </c:pt>
                <c:pt idx="1977">
                  <c:v>-0.61030338485570201</c:v>
                </c:pt>
                <c:pt idx="1978">
                  <c:v>-0.72646163611710801</c:v>
                </c:pt>
                <c:pt idx="1979">
                  <c:v>-0.71401610919624303</c:v>
                </c:pt>
                <c:pt idx="1980">
                  <c:v>-0.73475865406435104</c:v>
                </c:pt>
                <c:pt idx="1981">
                  <c:v>-0.71816461816986399</c:v>
                </c:pt>
                <c:pt idx="1982">
                  <c:v>-0.71401610919624303</c:v>
                </c:pt>
                <c:pt idx="1983">
                  <c:v>-0.77209523482694598</c:v>
                </c:pt>
                <c:pt idx="1984">
                  <c:v>-0.72231312714348594</c:v>
                </c:pt>
                <c:pt idx="1985">
                  <c:v>-0.74720418098521602</c:v>
                </c:pt>
                <c:pt idx="1986">
                  <c:v>-0.74720418098521602</c:v>
                </c:pt>
                <c:pt idx="1987">
                  <c:v>-0.73475865406435104</c:v>
                </c:pt>
                <c:pt idx="1988">
                  <c:v>-0.77624374380056704</c:v>
                </c:pt>
                <c:pt idx="1989">
                  <c:v>-0.74305567201159395</c:v>
                </c:pt>
                <c:pt idx="1990">
                  <c:v>-0.98366919248164797</c:v>
                </c:pt>
                <c:pt idx="1991">
                  <c:v>-0.98366919248164797</c:v>
                </c:pt>
                <c:pt idx="1992">
                  <c:v>-1.1662035873209999</c:v>
                </c:pt>
                <c:pt idx="1993">
                  <c:v>-1.1745006052682401</c:v>
                </c:pt>
                <c:pt idx="1994">
                  <c:v>-1.13716402450565</c:v>
                </c:pt>
                <c:pt idx="1995">
                  <c:v>-1.05834235400684</c:v>
                </c:pt>
                <c:pt idx="1996">
                  <c:v>-1.2740648206351599</c:v>
                </c:pt>
                <c:pt idx="1997">
                  <c:v>-1.32799543729224</c:v>
                </c:pt>
                <c:pt idx="1998">
                  <c:v>-1.34873798216035</c:v>
                </c:pt>
                <c:pt idx="1999">
                  <c:v>-1.34873798216035</c:v>
                </c:pt>
                <c:pt idx="2000">
                  <c:v>-1.2740648206351599</c:v>
                </c:pt>
                <c:pt idx="2001">
                  <c:v>-1.09567893476943</c:v>
                </c:pt>
                <c:pt idx="2002">
                  <c:v>-1.1496095514265099</c:v>
                </c:pt>
                <c:pt idx="2003">
                  <c:v>-1.2325797308989499</c:v>
                </c:pt>
                <c:pt idx="2004">
                  <c:v>-1.09567893476943</c:v>
                </c:pt>
                <c:pt idx="2005">
                  <c:v>-1.3653320180548401</c:v>
                </c:pt>
                <c:pt idx="2006">
                  <c:v>-1.39437158087019</c:v>
                </c:pt>
                <c:pt idx="2007">
                  <c:v>-1.3445894731867301</c:v>
                </c:pt>
                <c:pt idx="2008">
                  <c:v>-1.13716402450565</c:v>
                </c:pt>
                <c:pt idx="2009">
                  <c:v>-1.13716402450565</c:v>
                </c:pt>
                <c:pt idx="2010">
                  <c:v>-1.52297535905246</c:v>
                </c:pt>
                <c:pt idx="2011">
                  <c:v>-1.52297535905246</c:v>
                </c:pt>
                <c:pt idx="2012">
                  <c:v>-1.60594553852489</c:v>
                </c:pt>
                <c:pt idx="2013">
                  <c:v>-1.4192626347119199</c:v>
                </c:pt>
                <c:pt idx="2014">
                  <c:v>-1.5063813231579699</c:v>
                </c:pt>
                <c:pt idx="2015">
                  <c:v>-1.4358566706064</c:v>
                </c:pt>
                <c:pt idx="2016">
                  <c:v>-1.45659921547451</c:v>
                </c:pt>
                <c:pt idx="2017">
                  <c:v>-1.3653320180548401</c:v>
                </c:pt>
                <c:pt idx="2018">
                  <c:v>-1.4234111436855399</c:v>
                </c:pt>
                <c:pt idx="2019">
                  <c:v>-1.41096561676467</c:v>
                </c:pt>
                <c:pt idx="2020">
                  <c:v>-1.47734176034262</c:v>
                </c:pt>
                <c:pt idx="2021">
                  <c:v>-1.53542088597332</c:v>
                </c:pt>
                <c:pt idx="2022">
                  <c:v>-1.3985200898438099</c:v>
                </c:pt>
                <c:pt idx="2023">
                  <c:v>-1.4192626347119199</c:v>
                </c:pt>
                <c:pt idx="2024">
                  <c:v>-1.3819260539493201</c:v>
                </c:pt>
                <c:pt idx="2025">
                  <c:v>-1.427559652659159</c:v>
                </c:pt>
                <c:pt idx="2026">
                  <c:v>-1.427559652659159</c:v>
                </c:pt>
                <c:pt idx="2027">
                  <c:v>-1.4192626347119199</c:v>
                </c:pt>
                <c:pt idx="2028">
                  <c:v>-1.36948052702846</c:v>
                </c:pt>
                <c:pt idx="2029">
                  <c:v>-1.3777775449756999</c:v>
                </c:pt>
                <c:pt idx="2030">
                  <c:v>-1.4026685988174299</c:v>
                </c:pt>
                <c:pt idx="2031">
                  <c:v>-1.3611835090812201</c:v>
                </c:pt>
                <c:pt idx="2032">
                  <c:v>-1.35288649113397</c:v>
                </c:pt>
                <c:pt idx="2033">
                  <c:v>-1.3570350001075899</c:v>
                </c:pt>
                <c:pt idx="2034">
                  <c:v>-1.5561634308414301</c:v>
                </c:pt>
                <c:pt idx="2035">
                  <c:v>-1.3445894731867301</c:v>
                </c:pt>
                <c:pt idx="2036">
                  <c:v>-1.3445894731867301</c:v>
                </c:pt>
                <c:pt idx="2037">
                  <c:v>-1.3860745629229501</c:v>
                </c:pt>
                <c:pt idx="2038">
                  <c:v>-1.3860745629229501</c:v>
                </c:pt>
                <c:pt idx="2039">
                  <c:v>-1.30725289242413</c:v>
                </c:pt>
                <c:pt idx="2040">
                  <c:v>-1.3404409642131101</c:v>
                </c:pt>
                <c:pt idx="2041">
                  <c:v>-1.37362903600208</c:v>
                </c:pt>
                <c:pt idx="2042">
                  <c:v>-1.4026685988174299</c:v>
                </c:pt>
                <c:pt idx="2043">
                  <c:v>-1.4026685988174299</c:v>
                </c:pt>
                <c:pt idx="2044">
                  <c:v>-1.4068171077910501</c:v>
                </c:pt>
                <c:pt idx="2045">
                  <c:v>-1.3819260539493201</c:v>
                </c:pt>
                <c:pt idx="2046">
                  <c:v>-1.30725289242413</c:v>
                </c:pt>
                <c:pt idx="2047">
                  <c:v>-1.26991631166154</c:v>
                </c:pt>
                <c:pt idx="2048">
                  <c:v>-1.26576780268792</c:v>
                </c:pt>
                <c:pt idx="2049">
                  <c:v>-1.30725289242413</c:v>
                </c:pt>
                <c:pt idx="2050">
                  <c:v>-1.4400051795800299</c:v>
                </c:pt>
                <c:pt idx="2051">
                  <c:v>-1.2740648206351599</c:v>
                </c:pt>
                <c:pt idx="2052">
                  <c:v>-1.3031043834505101</c:v>
                </c:pt>
                <c:pt idx="2053">
                  <c:v>-1.29065885652965</c:v>
                </c:pt>
                <c:pt idx="2054">
                  <c:v>-1.2989558744768901</c:v>
                </c:pt>
                <c:pt idx="2055">
                  <c:v>-1.33214394626586</c:v>
                </c:pt>
                <c:pt idx="2056">
                  <c:v>-1.2948073655032699</c:v>
                </c:pt>
                <c:pt idx="2057">
                  <c:v>-0.45266004385808101</c:v>
                </c:pt>
                <c:pt idx="2058">
                  <c:v>-0.87580795916748599</c:v>
                </c:pt>
                <c:pt idx="2059">
                  <c:v>-1.0500453360595901</c:v>
                </c:pt>
                <c:pt idx="2060">
                  <c:v>-1.12056998861116</c:v>
                </c:pt>
                <c:pt idx="2061">
                  <c:v>-1.22013420397808</c:v>
                </c:pt>
                <c:pt idx="2062">
                  <c:v>-1.11642147963754</c:v>
                </c:pt>
                <c:pt idx="2063">
                  <c:v>-1.0417483181123499</c:v>
                </c:pt>
                <c:pt idx="2064">
                  <c:v>-0.94218410274543196</c:v>
                </c:pt>
                <c:pt idx="2065">
                  <c:v>-0.89240199506197204</c:v>
                </c:pt>
                <c:pt idx="2066">
                  <c:v>-0.77624374380056704</c:v>
                </c:pt>
                <c:pt idx="2067">
                  <c:v>-0.896550504035594</c:v>
                </c:pt>
                <c:pt idx="2068">
                  <c:v>-0.86336243224662101</c:v>
                </c:pt>
                <c:pt idx="2069">
                  <c:v>-0.89240199506197204</c:v>
                </c:pt>
                <c:pt idx="2070">
                  <c:v>-0.801134797642297</c:v>
                </c:pt>
                <c:pt idx="2071">
                  <c:v>-0.780392252774189</c:v>
                </c:pt>
                <c:pt idx="2072">
                  <c:v>-0.76379821687970195</c:v>
                </c:pt>
                <c:pt idx="2073">
                  <c:v>-0.73890716303797299</c:v>
                </c:pt>
                <c:pt idx="2074">
                  <c:v>-0.70571909124900001</c:v>
                </c:pt>
                <c:pt idx="2075">
                  <c:v>-0.71401610919624303</c:v>
                </c:pt>
                <c:pt idx="2076">
                  <c:v>-0.72231312714348594</c:v>
                </c:pt>
                <c:pt idx="2077">
                  <c:v>-0.83432286943126999</c:v>
                </c:pt>
                <c:pt idx="2078">
                  <c:v>-0.76794672585332402</c:v>
                </c:pt>
                <c:pt idx="2079">
                  <c:v>-0.66838251048640496</c:v>
                </c:pt>
                <c:pt idx="2080">
                  <c:v>-0.67667952843364798</c:v>
                </c:pt>
                <c:pt idx="2081">
                  <c:v>-0.63519443869743197</c:v>
                </c:pt>
                <c:pt idx="2082">
                  <c:v>-0.59370934896121597</c:v>
                </c:pt>
                <c:pt idx="2083">
                  <c:v>-0.73890716303797299</c:v>
                </c:pt>
                <c:pt idx="2084">
                  <c:v>-0.58541233101397305</c:v>
                </c:pt>
                <c:pt idx="2085">
                  <c:v>-0.64763996561829695</c:v>
                </c:pt>
                <c:pt idx="2086">
                  <c:v>-0.684976546380892</c:v>
                </c:pt>
                <c:pt idx="2087">
                  <c:v>-0.61860040280294604</c:v>
                </c:pt>
                <c:pt idx="2088">
                  <c:v>-0.56052127717224298</c:v>
                </c:pt>
                <c:pt idx="2089">
                  <c:v>-0.75135268995883697</c:v>
                </c:pt>
                <c:pt idx="2090">
                  <c:v>-0.65178847459191902</c:v>
                </c:pt>
                <c:pt idx="2091">
                  <c:v>-0.65178847459191902</c:v>
                </c:pt>
                <c:pt idx="2092">
                  <c:v>-0.81772883353678305</c:v>
                </c:pt>
                <c:pt idx="2093">
                  <c:v>-0.85506541429937799</c:v>
                </c:pt>
                <c:pt idx="2094">
                  <c:v>-0.87995646814110795</c:v>
                </c:pt>
                <c:pt idx="2095">
                  <c:v>-0.70157058227537805</c:v>
                </c:pt>
                <c:pt idx="2096">
                  <c:v>-0.664234001512783</c:v>
                </c:pt>
                <c:pt idx="2097">
                  <c:v>-0.664234001512783</c:v>
                </c:pt>
                <c:pt idx="2098">
                  <c:v>-0.77624374380056704</c:v>
                </c:pt>
                <c:pt idx="2099">
                  <c:v>-0.780392252774189</c:v>
                </c:pt>
                <c:pt idx="2100">
                  <c:v>-0.70571909124900001</c:v>
                </c:pt>
                <c:pt idx="2101">
                  <c:v>-0.77624374380056704</c:v>
                </c:pt>
                <c:pt idx="2102">
                  <c:v>-0.81772883353678305</c:v>
                </c:pt>
                <c:pt idx="2103">
                  <c:v>-0.86751094122024297</c:v>
                </c:pt>
                <c:pt idx="2104">
                  <c:v>-0.95048112069267499</c:v>
                </c:pt>
                <c:pt idx="2105">
                  <c:v>-1.1081244616903001</c:v>
                </c:pt>
                <c:pt idx="2106">
                  <c:v>-1.1454610424528899</c:v>
                </c:pt>
                <c:pt idx="2107">
                  <c:v>-1.2118371860308399</c:v>
                </c:pt>
                <c:pt idx="2108">
                  <c:v>-1.24087674884619</c:v>
                </c:pt>
                <c:pt idx="2109">
                  <c:v>-1.5312723769997001</c:v>
                </c:pt>
                <c:pt idx="2110">
                  <c:v>-1.52297535905246</c:v>
                </c:pt>
                <c:pt idx="2111">
                  <c:v>-1.49808430521073</c:v>
                </c:pt>
                <c:pt idx="2112">
                  <c:v>-1.51882685007884</c:v>
                </c:pt>
                <c:pt idx="2113">
                  <c:v>-1.0044117373497601</c:v>
                </c:pt>
                <c:pt idx="2114">
                  <c:v>7.4200595791864901E-2</c:v>
                </c:pt>
                <c:pt idx="2115">
                  <c:v>-0.13322485288921601</c:v>
                </c:pt>
                <c:pt idx="2116">
                  <c:v>-7.5145727258513401E-2</c:v>
                </c:pt>
                <c:pt idx="2117">
                  <c:v>-0.295016702860459</c:v>
                </c:pt>
                <c:pt idx="2118">
                  <c:v>-0.88410497711472902</c:v>
                </c:pt>
                <c:pt idx="2119">
                  <c:v>1.61214701611622E-2</c:v>
                </c:pt>
                <c:pt idx="2120">
                  <c:v>-0.274274157992351</c:v>
                </c:pt>
                <c:pt idx="2121">
                  <c:v>-0.44021451693721603</c:v>
                </c:pt>
                <c:pt idx="2122">
                  <c:v>-0.58541233101397305</c:v>
                </c:pt>
                <c:pt idx="2123">
                  <c:v>-0.59370934896121597</c:v>
                </c:pt>
                <c:pt idx="2124">
                  <c:v>-0.84676839635213497</c:v>
                </c:pt>
                <c:pt idx="2125">
                  <c:v>-0.83847137840489205</c:v>
                </c:pt>
                <c:pt idx="2126">
                  <c:v>-0.87165945019386404</c:v>
                </c:pt>
                <c:pt idx="2127">
                  <c:v>-0.69742207330175598</c:v>
                </c:pt>
                <c:pt idx="2128">
                  <c:v>-0.896550504035594</c:v>
                </c:pt>
                <c:pt idx="2129">
                  <c:v>-0.83847137840489205</c:v>
                </c:pt>
                <c:pt idx="2130">
                  <c:v>-0.90484752198283702</c:v>
                </c:pt>
                <c:pt idx="2131">
                  <c:v>-0.896550504035594</c:v>
                </c:pt>
                <c:pt idx="2132">
                  <c:v>-0.79698628866867505</c:v>
                </c:pt>
                <c:pt idx="2133">
                  <c:v>-0.78454076174780996</c:v>
                </c:pt>
                <c:pt idx="2134">
                  <c:v>-0.83432286943126999</c:v>
                </c:pt>
                <c:pt idx="2135">
                  <c:v>-0.82187734251040501</c:v>
                </c:pt>
                <c:pt idx="2136">
                  <c:v>-0.80528330661591896</c:v>
                </c:pt>
                <c:pt idx="2137">
                  <c:v>-0.86336243224662101</c:v>
                </c:pt>
                <c:pt idx="2138">
                  <c:v>-0.83017436045764803</c:v>
                </c:pt>
                <c:pt idx="2139">
                  <c:v>-0.77624374380056704</c:v>
                </c:pt>
                <c:pt idx="2140">
                  <c:v>-0.917293048903702</c:v>
                </c:pt>
                <c:pt idx="2141">
                  <c:v>-0.99196621042889099</c:v>
                </c:pt>
                <c:pt idx="2142">
                  <c:v>-1.00856024632338</c:v>
                </c:pt>
                <c:pt idx="2143">
                  <c:v>-0.94218410274543196</c:v>
                </c:pt>
                <c:pt idx="2144">
                  <c:v>-0.98781770145527004</c:v>
                </c:pt>
                <c:pt idx="2145">
                  <c:v>-1.02930279119149</c:v>
                </c:pt>
                <c:pt idx="2146">
                  <c:v>-1.0002632283761299</c:v>
                </c:pt>
                <c:pt idx="2147">
                  <c:v>-1.0210057732442399</c:v>
                </c:pt>
                <c:pt idx="2148">
                  <c:v>-0.99611471940251295</c:v>
                </c:pt>
                <c:pt idx="2149">
                  <c:v>-1.0458968270859701</c:v>
                </c:pt>
                <c:pt idx="2150">
                  <c:v>-1.03345130016511</c:v>
                </c:pt>
                <c:pt idx="2151">
                  <c:v>-0.98366919248164797</c:v>
                </c:pt>
                <c:pt idx="2152">
                  <c:v>-1.0500453360595901</c:v>
                </c:pt>
                <c:pt idx="2153">
                  <c:v>-1.1703520962946199</c:v>
                </c:pt>
                <c:pt idx="2154">
                  <c:v>-1.11642147963754</c:v>
                </c:pt>
                <c:pt idx="2155">
                  <c:v>-1.20354016808359</c:v>
                </c:pt>
                <c:pt idx="2156">
                  <c:v>-1.01685726427062</c:v>
                </c:pt>
                <c:pt idx="2157">
                  <c:v>-1.0044117373497601</c:v>
                </c:pt>
                <c:pt idx="2158">
                  <c:v>-0.96707515658716203</c:v>
                </c:pt>
                <c:pt idx="2159">
                  <c:v>-0.91314453993008105</c:v>
                </c:pt>
                <c:pt idx="2160">
                  <c:v>-1.00856024632338</c:v>
                </c:pt>
                <c:pt idx="2161">
                  <c:v>-0.98366919248164797</c:v>
                </c:pt>
                <c:pt idx="2162">
                  <c:v>-0.92559006685094503</c:v>
                </c:pt>
                <c:pt idx="2163">
                  <c:v>-0.97537217453440495</c:v>
                </c:pt>
                <c:pt idx="2164">
                  <c:v>-1.03759980913873</c:v>
                </c:pt>
                <c:pt idx="2165">
                  <c:v>-0.95048112069267499</c:v>
                </c:pt>
                <c:pt idx="2166">
                  <c:v>-1.18279762321549</c:v>
                </c:pt>
                <c:pt idx="2167">
                  <c:v>-1.14131253347927</c:v>
                </c:pt>
                <c:pt idx="2168">
                  <c:v>-1.13716402450565</c:v>
                </c:pt>
                <c:pt idx="2169">
                  <c:v>-1.1662035873209999</c:v>
                </c:pt>
                <c:pt idx="2170">
                  <c:v>-1.18279762321549</c:v>
                </c:pt>
                <c:pt idx="2171">
                  <c:v>-1.14131253347927</c:v>
                </c:pt>
                <c:pt idx="2172">
                  <c:v>-1.2118371860308399</c:v>
                </c:pt>
                <c:pt idx="2173">
                  <c:v>-1.1496095514265099</c:v>
                </c:pt>
                <c:pt idx="2174">
                  <c:v>-1.1745006052682401</c:v>
                </c:pt>
                <c:pt idx="2175">
                  <c:v>-1.1537580604001301</c:v>
                </c:pt>
                <c:pt idx="2176">
                  <c:v>-1.1288670065584001</c:v>
                </c:pt>
                <c:pt idx="2177">
                  <c:v>-1.1330155155320301</c:v>
                </c:pt>
                <c:pt idx="2178">
                  <c:v>-1.1454610424528899</c:v>
                </c:pt>
                <c:pt idx="2179">
                  <c:v>-1.09567893476943</c:v>
                </c:pt>
                <c:pt idx="2180">
                  <c:v>-1.2118371860308399</c:v>
                </c:pt>
                <c:pt idx="2181">
                  <c:v>-1.1081244616903001</c:v>
                </c:pt>
                <c:pt idx="2182">
                  <c:v>-1.1496095514265099</c:v>
                </c:pt>
                <c:pt idx="2183">
                  <c:v>-1.1537580604001301</c:v>
                </c:pt>
                <c:pt idx="2184">
                  <c:v>-1.18279762321549</c:v>
                </c:pt>
                <c:pt idx="2185">
                  <c:v>-1.15790656937376</c:v>
                </c:pt>
                <c:pt idx="2186">
                  <c:v>-1.05419384503322</c:v>
                </c:pt>
                <c:pt idx="2187">
                  <c:v>-1.1703520962946199</c:v>
                </c:pt>
                <c:pt idx="2188">
                  <c:v>-1.20354016808359</c:v>
                </c:pt>
                <c:pt idx="2189">
                  <c:v>-1.29065885652965</c:v>
                </c:pt>
                <c:pt idx="2190">
                  <c:v>-1.1039759527166799</c:v>
                </c:pt>
                <c:pt idx="2191">
                  <c:v>-1.1039759527166799</c:v>
                </c:pt>
                <c:pt idx="2192">
                  <c:v>-0.917293048903702</c:v>
                </c:pt>
                <c:pt idx="2193">
                  <c:v>-0.85506541429937799</c:v>
                </c:pt>
                <c:pt idx="2194">
                  <c:v>-0.87580795916748599</c:v>
                </c:pt>
                <c:pt idx="2195">
                  <c:v>-1.0500453360595901</c:v>
                </c:pt>
                <c:pt idx="2196">
                  <c:v>-1.0417483181123499</c:v>
                </c:pt>
                <c:pt idx="2197">
                  <c:v>-1.0417483181123499</c:v>
                </c:pt>
                <c:pt idx="2198">
                  <c:v>-0.92559006685094503</c:v>
                </c:pt>
                <c:pt idx="2199">
                  <c:v>-0.88825348608835097</c:v>
                </c:pt>
                <c:pt idx="2200">
                  <c:v>-1.012708755297</c:v>
                </c:pt>
                <c:pt idx="2201">
                  <c:v>-1.03345130016511</c:v>
                </c:pt>
                <c:pt idx="2202">
                  <c:v>-1.0707878809277001</c:v>
                </c:pt>
                <c:pt idx="2203">
                  <c:v>-0.97537217453440495</c:v>
                </c:pt>
                <c:pt idx="2204">
                  <c:v>-0.917293048903702</c:v>
                </c:pt>
                <c:pt idx="2205">
                  <c:v>-0.88410497711472902</c:v>
                </c:pt>
                <c:pt idx="2206">
                  <c:v>-1.00856024632338</c:v>
                </c:pt>
                <c:pt idx="2207">
                  <c:v>-0.91314453993008105</c:v>
                </c:pt>
                <c:pt idx="2208">
                  <c:v>-0.91314453993008105</c:v>
                </c:pt>
                <c:pt idx="2209">
                  <c:v>-0.97122366556078299</c:v>
                </c:pt>
                <c:pt idx="2210">
                  <c:v>-0.87995646814110795</c:v>
                </c:pt>
                <c:pt idx="2211">
                  <c:v>-0.87995646814110795</c:v>
                </c:pt>
                <c:pt idx="2212">
                  <c:v>-0.78454076174780996</c:v>
                </c:pt>
                <c:pt idx="2213">
                  <c:v>-0.85921392327299995</c:v>
                </c:pt>
                <c:pt idx="2214">
                  <c:v>-0.80528330661591896</c:v>
                </c:pt>
                <c:pt idx="2215">
                  <c:v>-0.92144155787732396</c:v>
                </c:pt>
                <c:pt idx="2216">
                  <c:v>-0.79698628866867505</c:v>
                </c:pt>
                <c:pt idx="2217">
                  <c:v>-0.77624374380056704</c:v>
                </c:pt>
                <c:pt idx="2218">
                  <c:v>-0.73061014509072897</c:v>
                </c:pt>
                <c:pt idx="2219">
                  <c:v>-0.70157058227537805</c:v>
                </c:pt>
                <c:pt idx="2220">
                  <c:v>-0.72231312714348594</c:v>
                </c:pt>
                <c:pt idx="2221">
                  <c:v>-0.66838251048640496</c:v>
                </c:pt>
                <c:pt idx="2222">
                  <c:v>-0.69742207330175598</c:v>
                </c:pt>
                <c:pt idx="2223">
                  <c:v>-0.70157058227537805</c:v>
                </c:pt>
                <c:pt idx="2224">
                  <c:v>-0.63104592972381002</c:v>
                </c:pt>
                <c:pt idx="2225">
                  <c:v>-0.63519443869743197</c:v>
                </c:pt>
                <c:pt idx="2226">
                  <c:v>-0.68082803740727005</c:v>
                </c:pt>
                <c:pt idx="2227">
                  <c:v>-0.62274891177656699</c:v>
                </c:pt>
                <c:pt idx="2228">
                  <c:v>-0.62274891177656699</c:v>
                </c:pt>
                <c:pt idx="2229">
                  <c:v>-0.68912505535451296</c:v>
                </c:pt>
                <c:pt idx="2230">
                  <c:v>-0.77624374380056704</c:v>
                </c:pt>
                <c:pt idx="2231">
                  <c:v>-0.75135268995883697</c:v>
                </c:pt>
                <c:pt idx="2232">
                  <c:v>-0.76379821687970195</c:v>
                </c:pt>
                <c:pt idx="2233">
                  <c:v>-0.78454076174780996</c:v>
                </c:pt>
                <c:pt idx="2234">
                  <c:v>-0.61030338485570201</c:v>
                </c:pt>
                <c:pt idx="2235">
                  <c:v>-0.61445189382932397</c:v>
                </c:pt>
                <c:pt idx="2236">
                  <c:v>-0.61860040280294604</c:v>
                </c:pt>
                <c:pt idx="2237">
                  <c:v>-0.86336243224662101</c:v>
                </c:pt>
                <c:pt idx="2238">
                  <c:v>-0.95877813863991801</c:v>
                </c:pt>
                <c:pt idx="2239">
                  <c:v>-1.02930279119149</c:v>
                </c:pt>
                <c:pt idx="2240">
                  <c:v>-1.0002632283761299</c:v>
                </c:pt>
                <c:pt idx="2241">
                  <c:v>-1.0251542822178601</c:v>
                </c:pt>
                <c:pt idx="2242">
                  <c:v>-1.0500453360595901</c:v>
                </c:pt>
                <c:pt idx="2243">
                  <c:v>-1.03759980913873</c:v>
                </c:pt>
                <c:pt idx="2244">
                  <c:v>-1.0666393719540801</c:v>
                </c:pt>
                <c:pt idx="2245">
                  <c:v>-1.1454610424528899</c:v>
                </c:pt>
                <c:pt idx="2246">
                  <c:v>-1.03345130016511</c:v>
                </c:pt>
                <c:pt idx="2247">
                  <c:v>-1.1454610424528899</c:v>
                </c:pt>
                <c:pt idx="2248">
                  <c:v>-1.1081244616903001</c:v>
                </c:pt>
                <c:pt idx="2249">
                  <c:v>-1.1039759527166799</c:v>
                </c:pt>
                <c:pt idx="2250">
                  <c:v>-1.1537580604001301</c:v>
                </c:pt>
                <c:pt idx="2251">
                  <c:v>-1.1081244616903001</c:v>
                </c:pt>
                <c:pt idx="2252">
                  <c:v>-0.95462962966629705</c:v>
                </c:pt>
                <c:pt idx="2253">
                  <c:v>-1.0500453360595901</c:v>
                </c:pt>
                <c:pt idx="2254">
                  <c:v>-0.98366919248164797</c:v>
                </c:pt>
                <c:pt idx="2255">
                  <c:v>-1.0666393719540801</c:v>
                </c:pt>
                <c:pt idx="2256">
                  <c:v>-1.0500453360595901</c:v>
                </c:pt>
                <c:pt idx="2257">
                  <c:v>-1.0707878809277001</c:v>
                </c:pt>
                <c:pt idx="2258">
                  <c:v>-1.0707878809277001</c:v>
                </c:pt>
                <c:pt idx="2259">
                  <c:v>-1.05834235400684</c:v>
                </c:pt>
                <c:pt idx="2260">
                  <c:v>-1.0624908629804599</c:v>
                </c:pt>
                <c:pt idx="2261">
                  <c:v>-1.09567893476943</c:v>
                </c:pt>
                <c:pt idx="2262">
                  <c:v>-1.15790656937376</c:v>
                </c:pt>
                <c:pt idx="2263">
                  <c:v>-1.24917376679343</c:v>
                </c:pt>
                <c:pt idx="2264">
                  <c:v>-1.17864911424186</c:v>
                </c:pt>
                <c:pt idx="2265">
                  <c:v>-1.17864911424186</c:v>
                </c:pt>
                <c:pt idx="2266">
                  <c:v>-1.1952431501363501</c:v>
                </c:pt>
                <c:pt idx="2267">
                  <c:v>-1.15790656937376</c:v>
                </c:pt>
                <c:pt idx="2268">
                  <c:v>-1.1745006052682401</c:v>
                </c:pt>
                <c:pt idx="2269">
                  <c:v>-1.1910946411627299</c:v>
                </c:pt>
                <c:pt idx="2270">
                  <c:v>-1.20354016808359</c:v>
                </c:pt>
                <c:pt idx="2271">
                  <c:v>-1.30725289242413</c:v>
                </c:pt>
                <c:pt idx="2272">
                  <c:v>-1.29065885652965</c:v>
                </c:pt>
                <c:pt idx="2273">
                  <c:v>-1.3238469283186201</c:v>
                </c:pt>
                <c:pt idx="2274">
                  <c:v>-1.30725289242413</c:v>
                </c:pt>
                <c:pt idx="2275">
                  <c:v>-1.2740648206351599</c:v>
                </c:pt>
                <c:pt idx="2276">
                  <c:v>-1.3238469283186201</c:v>
                </c:pt>
                <c:pt idx="2277">
                  <c:v>-1.3031043834505101</c:v>
                </c:pt>
                <c:pt idx="2278">
                  <c:v>-1.3362924552394899</c:v>
                </c:pt>
                <c:pt idx="2279">
                  <c:v>-1.3570350001075899</c:v>
                </c:pt>
                <c:pt idx="2280">
                  <c:v>-1.4690447423953801</c:v>
                </c:pt>
                <c:pt idx="2281">
                  <c:v>-1.4690447423953801</c:v>
                </c:pt>
                <c:pt idx="2282">
                  <c:v>-1.4690447423953801</c:v>
                </c:pt>
                <c:pt idx="2283">
                  <c:v>-1.5312723769997001</c:v>
                </c:pt>
                <c:pt idx="2284">
                  <c:v>-1.43170816163278</c:v>
                </c:pt>
                <c:pt idx="2285">
                  <c:v>-1.4897872872634901</c:v>
                </c:pt>
                <c:pt idx="2286">
                  <c:v>-1.5271238680260799</c:v>
                </c:pt>
                <c:pt idx="2287">
                  <c:v>-1.4483021975272701</c:v>
                </c:pt>
                <c:pt idx="2288">
                  <c:v>-1.2989558744768901</c:v>
                </c:pt>
                <c:pt idx="2289">
                  <c:v>-1.0707878809277001</c:v>
                </c:pt>
                <c:pt idx="2290">
                  <c:v>-1.07493638990132</c:v>
                </c:pt>
                <c:pt idx="2291">
                  <c:v>-1.2533222757670499</c:v>
                </c:pt>
                <c:pt idx="2292">
                  <c:v>-1.2242827129517</c:v>
                </c:pt>
                <c:pt idx="2293">
                  <c:v>-1.28651034755603</c:v>
                </c:pt>
                <c:pt idx="2294">
                  <c:v>-1.3404409642131101</c:v>
                </c:pt>
                <c:pt idx="2295">
                  <c:v>-1.2989558744768901</c:v>
                </c:pt>
                <c:pt idx="2296">
                  <c:v>-1.32799543729224</c:v>
                </c:pt>
                <c:pt idx="2297">
                  <c:v>-1.29065885652965</c:v>
                </c:pt>
                <c:pt idx="2298">
                  <c:v>-1.30725289242413</c:v>
                </c:pt>
                <c:pt idx="2299">
                  <c:v>-1.28651034755603</c:v>
                </c:pt>
                <c:pt idx="2300">
                  <c:v>-1.2740648206351599</c:v>
                </c:pt>
                <c:pt idx="2301">
                  <c:v>-1.2574707847406801</c:v>
                </c:pt>
                <c:pt idx="2302">
                  <c:v>-1.2533222757670499</c:v>
                </c:pt>
                <c:pt idx="2303">
                  <c:v>-1.2823618385824</c:v>
                </c:pt>
                <c:pt idx="2304">
                  <c:v>-1.2823618385824</c:v>
                </c:pt>
                <c:pt idx="2305">
                  <c:v>-1.2616192937143</c:v>
                </c:pt>
                <c:pt idx="2306">
                  <c:v>-1.24917376679343</c:v>
                </c:pt>
                <c:pt idx="2307">
                  <c:v>-1.2616192937143</c:v>
                </c:pt>
                <c:pt idx="2308">
                  <c:v>-1.2533222757670499</c:v>
                </c:pt>
                <c:pt idx="2309">
                  <c:v>-1.24917376679343</c:v>
                </c:pt>
                <c:pt idx="2310">
                  <c:v>-1.24917376679343</c:v>
                </c:pt>
                <c:pt idx="2311">
                  <c:v>-0.78868927072143202</c:v>
                </c:pt>
                <c:pt idx="2312">
                  <c:v>-0.90069901300921595</c:v>
                </c:pt>
                <c:pt idx="2313">
                  <c:v>-0.62274891177656699</c:v>
                </c:pt>
                <c:pt idx="2314">
                  <c:v>-0.896550504035594</c:v>
                </c:pt>
                <c:pt idx="2315">
                  <c:v>-1.0044117373497601</c:v>
                </c:pt>
                <c:pt idx="2316">
                  <c:v>-1.0417483181123499</c:v>
                </c:pt>
                <c:pt idx="2317">
                  <c:v>-0.86751094122024297</c:v>
                </c:pt>
                <c:pt idx="2318">
                  <c:v>-0.93388708479818905</c:v>
                </c:pt>
                <c:pt idx="2319">
                  <c:v>-0.91314453993008105</c:v>
                </c:pt>
                <c:pt idx="2320">
                  <c:v>-0.95462962966629705</c:v>
                </c:pt>
                <c:pt idx="2321">
                  <c:v>-0.96292664761353997</c:v>
                </c:pt>
                <c:pt idx="2322">
                  <c:v>-0.896550504035594</c:v>
                </c:pt>
                <c:pt idx="2323">
                  <c:v>-1.00856024632338</c:v>
                </c:pt>
                <c:pt idx="2324">
                  <c:v>-0.90069901300921595</c:v>
                </c:pt>
                <c:pt idx="2325">
                  <c:v>-0.896550504035594</c:v>
                </c:pt>
                <c:pt idx="2326">
                  <c:v>-0.90484752198283702</c:v>
                </c:pt>
                <c:pt idx="2327">
                  <c:v>-0.79283777969505398</c:v>
                </c:pt>
                <c:pt idx="2328">
                  <c:v>-0.90899603095645898</c:v>
                </c:pt>
                <c:pt idx="2329">
                  <c:v>-0.801134797642297</c:v>
                </c:pt>
                <c:pt idx="2330">
                  <c:v>-0.87580795916748599</c:v>
                </c:pt>
                <c:pt idx="2331">
                  <c:v>-0.92973857582456698</c:v>
                </c:pt>
                <c:pt idx="2332">
                  <c:v>-0.97122366556078299</c:v>
                </c:pt>
                <c:pt idx="2333">
                  <c:v>-1.0666393719540801</c:v>
                </c:pt>
                <c:pt idx="2334">
                  <c:v>-1.26576780268792</c:v>
                </c:pt>
                <c:pt idx="2335">
                  <c:v>-1.30725289242413</c:v>
                </c:pt>
                <c:pt idx="2336">
                  <c:v>-1.3985200898438099</c:v>
                </c:pt>
                <c:pt idx="2337">
                  <c:v>-1.28651034755603</c:v>
                </c:pt>
                <c:pt idx="2338">
                  <c:v>-1.2989558744768901</c:v>
                </c:pt>
                <c:pt idx="2339">
                  <c:v>-1.2616192937143</c:v>
                </c:pt>
                <c:pt idx="2340">
                  <c:v>-1.2989558744768901</c:v>
                </c:pt>
                <c:pt idx="2341">
                  <c:v>-1.3985200898438099</c:v>
                </c:pt>
                <c:pt idx="2342">
                  <c:v>-1.3985200898438099</c:v>
                </c:pt>
                <c:pt idx="2343">
                  <c:v>-1.4068171077910501</c:v>
                </c:pt>
                <c:pt idx="2344">
                  <c:v>-1.35288649113397</c:v>
                </c:pt>
                <c:pt idx="2345">
                  <c:v>-1.4441536885536499</c:v>
                </c:pt>
                <c:pt idx="2346">
                  <c:v>-1.50223281418435</c:v>
                </c:pt>
                <c:pt idx="2347">
                  <c:v>-1.5063813231579699</c:v>
                </c:pt>
                <c:pt idx="2348">
                  <c:v>-1.5561634308414301</c:v>
                </c:pt>
                <c:pt idx="2349">
                  <c:v>-1.5686089577622999</c:v>
                </c:pt>
                <c:pt idx="2350">
                  <c:v>-1.5312723769997001</c:v>
                </c:pt>
                <c:pt idx="2351">
                  <c:v>-1.51882685007884</c:v>
                </c:pt>
                <c:pt idx="2352">
                  <c:v>-1.5271238680260799</c:v>
                </c:pt>
                <c:pt idx="2353">
                  <c:v>-1.4897872872634901</c:v>
                </c:pt>
                <c:pt idx="2354">
                  <c:v>-1.49393579623711</c:v>
                </c:pt>
                <c:pt idx="2355">
                  <c:v>-1.4814902693162399</c:v>
                </c:pt>
                <c:pt idx="2356">
                  <c:v>-1.51882685007884</c:v>
                </c:pt>
                <c:pt idx="2357">
                  <c:v>-1.47734176034262</c:v>
                </c:pt>
                <c:pt idx="2358">
                  <c:v>-1.5063813231579699</c:v>
                </c:pt>
                <c:pt idx="2359">
                  <c:v>-1.5063813231579699</c:v>
                </c:pt>
                <c:pt idx="2360">
                  <c:v>-1.4814902693162399</c:v>
                </c:pt>
                <c:pt idx="2361">
                  <c:v>-1.4897872872634901</c:v>
                </c:pt>
                <c:pt idx="2362">
                  <c:v>-1.3985200898438099</c:v>
                </c:pt>
                <c:pt idx="2363">
                  <c:v>-1.3777775449756999</c:v>
                </c:pt>
                <c:pt idx="2364">
                  <c:v>-1.5686089577622999</c:v>
                </c:pt>
                <c:pt idx="2365">
                  <c:v>-1.5686089577622999</c:v>
                </c:pt>
                <c:pt idx="2366">
                  <c:v>-1.51882685007884</c:v>
                </c:pt>
                <c:pt idx="2367">
                  <c:v>-1.49393579623711</c:v>
                </c:pt>
                <c:pt idx="2368">
                  <c:v>-1.4441536885536499</c:v>
                </c:pt>
                <c:pt idx="2369">
                  <c:v>-1.473193251369</c:v>
                </c:pt>
                <c:pt idx="2370">
                  <c:v>-1.5063813231579699</c:v>
                </c:pt>
                <c:pt idx="2371">
                  <c:v>-1.4151141257383</c:v>
                </c:pt>
                <c:pt idx="2372">
                  <c:v>-1.5686089577622999</c:v>
                </c:pt>
                <c:pt idx="2373">
                  <c:v>-1.4856387782898599</c:v>
                </c:pt>
                <c:pt idx="2374">
                  <c:v>-1.473193251369</c:v>
                </c:pt>
                <c:pt idx="2375">
                  <c:v>-1.4648962334217599</c:v>
                </c:pt>
                <c:pt idx="2376">
                  <c:v>-1.5063813231579699</c:v>
                </c:pt>
                <c:pt idx="2377">
                  <c:v>-1.51882685007884</c:v>
                </c:pt>
                <c:pt idx="2378">
                  <c:v>-1.4648962334217599</c:v>
                </c:pt>
                <c:pt idx="2379">
                  <c:v>-1.54371790392057</c:v>
                </c:pt>
                <c:pt idx="2380">
                  <c:v>-1.53956939494695</c:v>
                </c:pt>
                <c:pt idx="2381">
                  <c:v>-1.50223281418435</c:v>
                </c:pt>
                <c:pt idx="2382">
                  <c:v>-1.4648962334217599</c:v>
                </c:pt>
                <c:pt idx="2383">
                  <c:v>-1.45659921547451</c:v>
                </c:pt>
                <c:pt idx="2384">
                  <c:v>-1.5935000116040301</c:v>
                </c:pt>
                <c:pt idx="2385">
                  <c:v>-1.4026685988174299</c:v>
                </c:pt>
                <c:pt idx="2386">
                  <c:v>-1.49393579623711</c:v>
                </c:pt>
                <c:pt idx="2387">
                  <c:v>-1.473193251369</c:v>
                </c:pt>
                <c:pt idx="2388">
                  <c:v>-1.43170816163278</c:v>
                </c:pt>
                <c:pt idx="2389">
                  <c:v>-1.49808430521073</c:v>
                </c:pt>
                <c:pt idx="2390">
                  <c:v>-1.4234111436855399</c:v>
                </c:pt>
                <c:pt idx="2391">
                  <c:v>-1.4856387782898599</c:v>
                </c:pt>
                <c:pt idx="2392">
                  <c:v>-1.45659921547451</c:v>
                </c:pt>
                <c:pt idx="2393">
                  <c:v>-1.4441536885536499</c:v>
                </c:pt>
                <c:pt idx="2394">
                  <c:v>-1.26576780268792</c:v>
                </c:pt>
                <c:pt idx="2395">
                  <c:v>-1.1537580604001301</c:v>
                </c:pt>
                <c:pt idx="2396">
                  <c:v>-1.1952431501363501</c:v>
                </c:pt>
                <c:pt idx="2397">
                  <c:v>-1.31140140139776</c:v>
                </c:pt>
                <c:pt idx="2398">
                  <c:v>-1.2740648206351599</c:v>
                </c:pt>
                <c:pt idx="2399">
                  <c:v>-1.28651034755603</c:v>
                </c:pt>
                <c:pt idx="2400">
                  <c:v>-1.3985200898438099</c:v>
                </c:pt>
                <c:pt idx="2401">
                  <c:v>-1.3611835090812201</c:v>
                </c:pt>
                <c:pt idx="2402">
                  <c:v>-0.74305567201159395</c:v>
                </c:pt>
                <c:pt idx="2403">
                  <c:v>-1.16205507834738</c:v>
                </c:pt>
                <c:pt idx="2404">
                  <c:v>-1.215985695004459</c:v>
                </c:pt>
                <c:pt idx="2405">
                  <c:v>-1.22013420397808</c:v>
                </c:pt>
                <c:pt idx="2406">
                  <c:v>-1.1247184975847799</c:v>
                </c:pt>
                <c:pt idx="2407">
                  <c:v>-1.1288670065584001</c:v>
                </c:pt>
                <c:pt idx="2408">
                  <c:v>-1.1703520962946199</c:v>
                </c:pt>
                <c:pt idx="2409">
                  <c:v>-1.19939165910997</c:v>
                </c:pt>
                <c:pt idx="2410">
                  <c:v>-1.13716402450565</c:v>
                </c:pt>
                <c:pt idx="2411">
                  <c:v>-1.1081244616903001</c:v>
                </c:pt>
                <c:pt idx="2412">
                  <c:v>-1.0458968270859701</c:v>
                </c:pt>
                <c:pt idx="2413">
                  <c:v>-0.95877813863991801</c:v>
                </c:pt>
                <c:pt idx="2414">
                  <c:v>-1.1288670065584001</c:v>
                </c:pt>
                <c:pt idx="2415">
                  <c:v>-1.1081244616903001</c:v>
                </c:pt>
                <c:pt idx="2416">
                  <c:v>-1.0873819168221901</c:v>
                </c:pt>
                <c:pt idx="2417">
                  <c:v>-1.0915304257958101</c:v>
                </c:pt>
                <c:pt idx="2418">
                  <c:v>-1.1122729706639201</c:v>
                </c:pt>
                <c:pt idx="2419">
                  <c:v>-1.11642147963754</c:v>
                </c:pt>
                <c:pt idx="2420">
                  <c:v>-1.0873819168221901</c:v>
                </c:pt>
                <c:pt idx="2421">
                  <c:v>-1.2533222757670499</c:v>
                </c:pt>
                <c:pt idx="2422">
                  <c:v>-1.215985695004459</c:v>
                </c:pt>
                <c:pt idx="2423">
                  <c:v>-1.2533222757670499</c:v>
                </c:pt>
                <c:pt idx="2424">
                  <c:v>-1.1910946411627299</c:v>
                </c:pt>
                <c:pt idx="2425">
                  <c:v>-1.2242827129517</c:v>
                </c:pt>
                <c:pt idx="2426">
                  <c:v>-1.2367282398725701</c:v>
                </c:pt>
                <c:pt idx="2427">
                  <c:v>-1.1952431501363501</c:v>
                </c:pt>
                <c:pt idx="2428">
                  <c:v>-1.1496095514265099</c:v>
                </c:pt>
                <c:pt idx="2429">
                  <c:v>-1.19939165910997</c:v>
                </c:pt>
                <c:pt idx="2430">
                  <c:v>-1.2118371860308399</c:v>
                </c:pt>
                <c:pt idx="2431">
                  <c:v>-1.2325797308989499</c:v>
                </c:pt>
                <c:pt idx="2432">
                  <c:v>-1.26576780268792</c:v>
                </c:pt>
                <c:pt idx="2433">
                  <c:v>-1.2118371860308399</c:v>
                </c:pt>
                <c:pt idx="2434">
                  <c:v>-1.2823618385824</c:v>
                </c:pt>
                <c:pt idx="2435">
                  <c:v>-1.29065885652965</c:v>
                </c:pt>
                <c:pt idx="2436">
                  <c:v>-1.24917376679343</c:v>
                </c:pt>
                <c:pt idx="2437">
                  <c:v>-1.32799543729224</c:v>
                </c:pt>
                <c:pt idx="2438">
                  <c:v>-1.31140140139776</c:v>
                </c:pt>
                <c:pt idx="2439">
                  <c:v>-1.36948052702846</c:v>
                </c:pt>
                <c:pt idx="2440">
                  <c:v>-1.3653320180548401</c:v>
                </c:pt>
                <c:pt idx="2441">
                  <c:v>-1.3155499103713799</c:v>
                </c:pt>
                <c:pt idx="2442">
                  <c:v>-1.35288649113397</c:v>
                </c:pt>
                <c:pt idx="2443">
                  <c:v>-1.3860745629229501</c:v>
                </c:pt>
                <c:pt idx="2444">
                  <c:v>-1.3404409642131101</c:v>
                </c:pt>
                <c:pt idx="2445">
                  <c:v>-1.4068171077910501</c:v>
                </c:pt>
                <c:pt idx="2446">
                  <c:v>-1.4068171077910501</c:v>
                </c:pt>
                <c:pt idx="2447">
                  <c:v>-1.41096561676467</c:v>
                </c:pt>
                <c:pt idx="2448">
                  <c:v>-1.4151141257383</c:v>
                </c:pt>
                <c:pt idx="2449">
                  <c:v>-1.4192626347119199</c:v>
                </c:pt>
                <c:pt idx="2450">
                  <c:v>-1.2948073655032699</c:v>
                </c:pt>
                <c:pt idx="2451">
                  <c:v>-1.4690447423953801</c:v>
                </c:pt>
                <c:pt idx="2452">
                  <c:v>-1.4441536885536499</c:v>
                </c:pt>
                <c:pt idx="2453">
                  <c:v>-1.427559652659159</c:v>
                </c:pt>
                <c:pt idx="2454">
                  <c:v>-1.427559652659159</c:v>
                </c:pt>
                <c:pt idx="2455">
                  <c:v>-1.473193251369</c:v>
                </c:pt>
                <c:pt idx="2456">
                  <c:v>-1.4690447423953801</c:v>
                </c:pt>
                <c:pt idx="2457">
                  <c:v>-1.45659921547451</c:v>
                </c:pt>
                <c:pt idx="2458">
                  <c:v>-1.49808430521073</c:v>
                </c:pt>
                <c:pt idx="2459">
                  <c:v>-1.45659921547451</c:v>
                </c:pt>
                <c:pt idx="2460">
                  <c:v>-1.45659921547451</c:v>
                </c:pt>
                <c:pt idx="2461">
                  <c:v>-1.5769059757095401</c:v>
                </c:pt>
                <c:pt idx="2462">
                  <c:v>-1.39437158087019</c:v>
                </c:pt>
                <c:pt idx="2463">
                  <c:v>-1.53542088597332</c:v>
                </c:pt>
                <c:pt idx="2464">
                  <c:v>-1.4358566706064</c:v>
                </c:pt>
                <c:pt idx="2465">
                  <c:v>-1.49393579623711</c:v>
                </c:pt>
                <c:pt idx="2466">
                  <c:v>-1.49393579623711</c:v>
                </c:pt>
                <c:pt idx="2467">
                  <c:v>-1.47734176034262</c:v>
                </c:pt>
                <c:pt idx="2468">
                  <c:v>-1.4483021975272701</c:v>
                </c:pt>
                <c:pt idx="2469">
                  <c:v>-1.8050739692587301</c:v>
                </c:pt>
                <c:pt idx="2470">
                  <c:v>-1.2574707847406801</c:v>
                </c:pt>
                <c:pt idx="2471">
                  <c:v>-1.0417483181123499</c:v>
                </c:pt>
                <c:pt idx="2472">
                  <c:v>-1.0707878809277001</c:v>
                </c:pt>
                <c:pt idx="2473">
                  <c:v>-1.0210057732442399</c:v>
                </c:pt>
                <c:pt idx="2474">
                  <c:v>-1.2325797308989499</c:v>
                </c:pt>
                <c:pt idx="2475">
                  <c:v>-1.3155499103713799</c:v>
                </c:pt>
                <c:pt idx="2476">
                  <c:v>-1.2782133296087801</c:v>
                </c:pt>
                <c:pt idx="2477">
                  <c:v>-1.26991631166154</c:v>
                </c:pt>
                <c:pt idx="2478">
                  <c:v>-1.29065885652965</c:v>
                </c:pt>
                <c:pt idx="2479">
                  <c:v>-1.35288649113397</c:v>
                </c:pt>
                <c:pt idx="2480">
                  <c:v>-1.2325797308989499</c:v>
                </c:pt>
                <c:pt idx="2481">
                  <c:v>-1.1330155155320301</c:v>
                </c:pt>
                <c:pt idx="2482">
                  <c:v>-1.2574707847406801</c:v>
                </c:pt>
                <c:pt idx="2483">
                  <c:v>-1.29065885652965</c:v>
                </c:pt>
                <c:pt idx="2484">
                  <c:v>-1.0832334078485699</c:v>
                </c:pt>
                <c:pt idx="2485">
                  <c:v>-1.02930279119149</c:v>
                </c:pt>
                <c:pt idx="2486">
                  <c:v>-1.1247184975847799</c:v>
                </c:pt>
                <c:pt idx="2487">
                  <c:v>-1.2284312219253199</c:v>
                </c:pt>
                <c:pt idx="2488">
                  <c:v>-1.1952431501363501</c:v>
                </c:pt>
                <c:pt idx="2489">
                  <c:v>-1.2325797308989499</c:v>
                </c:pt>
                <c:pt idx="2490">
                  <c:v>-1.22013420397808</c:v>
                </c:pt>
                <c:pt idx="2491">
                  <c:v>-1.1869461321891099</c:v>
                </c:pt>
                <c:pt idx="2492">
                  <c:v>-1.0666393719540801</c:v>
                </c:pt>
                <c:pt idx="2493">
                  <c:v>-1.07493638990132</c:v>
                </c:pt>
                <c:pt idx="2494">
                  <c:v>-1.1288670065584001</c:v>
                </c:pt>
                <c:pt idx="2495">
                  <c:v>-1.02930279119149</c:v>
                </c:pt>
                <c:pt idx="2496">
                  <c:v>-1.0210057732442399</c:v>
                </c:pt>
                <c:pt idx="2497">
                  <c:v>-1.0832334078485699</c:v>
                </c:pt>
                <c:pt idx="2498">
                  <c:v>-1.00856024632338</c:v>
                </c:pt>
                <c:pt idx="2499">
                  <c:v>-1.1330155155320301</c:v>
                </c:pt>
                <c:pt idx="2500">
                  <c:v>-1.0210057732442399</c:v>
                </c:pt>
                <c:pt idx="2501">
                  <c:v>-1.00856024632338</c:v>
                </c:pt>
                <c:pt idx="2502">
                  <c:v>-0.98781770145527004</c:v>
                </c:pt>
                <c:pt idx="2503">
                  <c:v>-1.0832334078485699</c:v>
                </c:pt>
                <c:pt idx="2504">
                  <c:v>-1.09982744374305</c:v>
                </c:pt>
                <c:pt idx="2505">
                  <c:v>-1.0044117373497601</c:v>
                </c:pt>
                <c:pt idx="2506">
                  <c:v>-1.0044117373497601</c:v>
                </c:pt>
                <c:pt idx="2507">
                  <c:v>-1.0002632283761299</c:v>
                </c:pt>
                <c:pt idx="2508">
                  <c:v>-0.99196621042889099</c:v>
                </c:pt>
                <c:pt idx="2509">
                  <c:v>-1.05419384503322</c:v>
                </c:pt>
                <c:pt idx="2510">
                  <c:v>-1.05834235400684</c:v>
                </c:pt>
                <c:pt idx="2511">
                  <c:v>-1.2118371860308399</c:v>
                </c:pt>
                <c:pt idx="2512">
                  <c:v>-1.24087674884619</c:v>
                </c:pt>
                <c:pt idx="2513">
                  <c:v>-1.2367282398725701</c:v>
                </c:pt>
                <c:pt idx="2514">
                  <c:v>-1.2242827129517</c:v>
                </c:pt>
                <c:pt idx="2515">
                  <c:v>-1.28651034755603</c:v>
                </c:pt>
                <c:pt idx="2516">
                  <c:v>-1.35288649113397</c:v>
                </c:pt>
                <c:pt idx="2517">
                  <c:v>-1.3570350001075899</c:v>
                </c:pt>
                <c:pt idx="2518">
                  <c:v>-1.4068171077910501</c:v>
                </c:pt>
                <c:pt idx="2519">
                  <c:v>-1.3985200898438099</c:v>
                </c:pt>
                <c:pt idx="2520">
                  <c:v>-1.3653320180548401</c:v>
                </c:pt>
                <c:pt idx="2521">
                  <c:v>-1.1537580604001301</c:v>
                </c:pt>
                <c:pt idx="2522">
                  <c:v>-1.3031043834505101</c:v>
                </c:pt>
                <c:pt idx="2523">
                  <c:v>-1.3611835090812201</c:v>
                </c:pt>
                <c:pt idx="2524">
                  <c:v>-1.50223281418435</c:v>
                </c:pt>
                <c:pt idx="2525">
                  <c:v>-1.6806187000500801</c:v>
                </c:pt>
                <c:pt idx="2526">
                  <c:v>-1.62253957441938</c:v>
                </c:pt>
                <c:pt idx="2527">
                  <c:v>-1.5976485205776501</c:v>
                </c:pt>
                <c:pt idx="2528">
                  <c:v>-1.60179702955127</c:v>
                </c:pt>
                <c:pt idx="2529">
                  <c:v>-1.8299650231004601</c:v>
                </c:pt>
                <c:pt idx="2530">
                  <c:v>-2.95121285486756E-2</c:v>
                </c:pt>
                <c:pt idx="2531">
                  <c:v>-0.120779325968351</c:v>
                </c:pt>
                <c:pt idx="2532">
                  <c:v>-5.8551691364026999E-2</c:v>
                </c:pt>
                <c:pt idx="2533">
                  <c:v>0.11153717655445899</c:v>
                </c:pt>
                <c:pt idx="2534">
                  <c:v>-5.8551691364026999E-2</c:v>
                </c:pt>
                <c:pt idx="2535">
                  <c:v>-0.216195032361649</c:v>
                </c:pt>
                <c:pt idx="2536">
                  <c:v>-9.5888272126621502E-2</c:v>
                </c:pt>
                <c:pt idx="2537">
                  <c:v>-0.13322485288921601</c:v>
                </c:pt>
                <c:pt idx="2538">
                  <c:v>-0.216195032361649</c:v>
                </c:pt>
                <c:pt idx="2539">
                  <c:v>-0.42776899001635099</c:v>
                </c:pt>
                <c:pt idx="2540">
                  <c:v>-0.68082803740727005</c:v>
                </c:pt>
                <c:pt idx="2541">
                  <c:v>-0.49829364256791903</c:v>
                </c:pt>
                <c:pt idx="2542">
                  <c:v>-0.643491456644675</c:v>
                </c:pt>
                <c:pt idx="2543">
                  <c:v>-0.59785785793483703</c:v>
                </c:pt>
                <c:pt idx="2544">
                  <c:v>-0.58956083998759401</c:v>
                </c:pt>
                <c:pt idx="2545">
                  <c:v>-0.51073916948878395</c:v>
                </c:pt>
                <c:pt idx="2546">
                  <c:v>-0.59785785793483703</c:v>
                </c:pt>
                <c:pt idx="2547">
                  <c:v>-0.75550119893245904</c:v>
                </c:pt>
                <c:pt idx="2548">
                  <c:v>-0.83432286943126999</c:v>
                </c:pt>
                <c:pt idx="2549">
                  <c:v>-0.70986760022262096</c:v>
                </c:pt>
                <c:pt idx="2550">
                  <c:v>-0.82602585148402696</c:v>
                </c:pt>
                <c:pt idx="2551">
                  <c:v>-0.548075750251378</c:v>
                </c:pt>
                <c:pt idx="2552">
                  <c:v>-0.49829364256791903</c:v>
                </c:pt>
                <c:pt idx="2553">
                  <c:v>-0.47340258872618901</c:v>
                </c:pt>
                <c:pt idx="2554">
                  <c:v>-0.56881829511948601</c:v>
                </c:pt>
                <c:pt idx="2555">
                  <c:v>-0.63104592972381002</c:v>
                </c:pt>
                <c:pt idx="2556">
                  <c:v>-0.448511534884459</c:v>
                </c:pt>
                <c:pt idx="2557">
                  <c:v>-0.67253101946002702</c:v>
                </c:pt>
                <c:pt idx="2558">
                  <c:v>-0.73061014509072897</c:v>
                </c:pt>
                <c:pt idx="2559">
                  <c:v>-0.48169960667343198</c:v>
                </c:pt>
                <c:pt idx="2560">
                  <c:v>-0.55637276819862103</c:v>
                </c:pt>
                <c:pt idx="2561">
                  <c:v>-0.66838251048640496</c:v>
                </c:pt>
                <c:pt idx="2562">
                  <c:v>-0.48584811564705399</c:v>
                </c:pt>
                <c:pt idx="2563">
                  <c:v>-0.47755109769981102</c:v>
                </c:pt>
                <c:pt idx="2564">
                  <c:v>-0.469254079752567</c:v>
                </c:pt>
                <c:pt idx="2565">
                  <c:v>-0.54392724127775605</c:v>
                </c:pt>
                <c:pt idx="2566">
                  <c:v>-0.548075750251378</c:v>
                </c:pt>
                <c:pt idx="2567">
                  <c:v>-0.51903618743602697</c:v>
                </c:pt>
                <c:pt idx="2568">
                  <c:v>-0.60200636690845899</c:v>
                </c:pt>
                <c:pt idx="2569">
                  <c:v>-0.56466978614586505</c:v>
                </c:pt>
                <c:pt idx="2570">
                  <c:v>-0.643491456644675</c:v>
                </c:pt>
                <c:pt idx="2571">
                  <c:v>-0.81772883353678305</c:v>
                </c:pt>
                <c:pt idx="2572">
                  <c:v>-0.91314453993008105</c:v>
                </c:pt>
                <c:pt idx="2573">
                  <c:v>-1.07908489887495</c:v>
                </c:pt>
                <c:pt idx="2574">
                  <c:v>-1.1662035873209999</c:v>
                </c:pt>
                <c:pt idx="2575">
                  <c:v>-1.2823618385824</c:v>
                </c:pt>
                <c:pt idx="2576">
                  <c:v>-1.3031043834505101</c:v>
                </c:pt>
                <c:pt idx="2577">
                  <c:v>-1.31140140139776</c:v>
                </c:pt>
                <c:pt idx="2578">
                  <c:v>-1.2367282398725701</c:v>
                </c:pt>
                <c:pt idx="2579">
                  <c:v>-1.30725289242413</c:v>
                </c:pt>
                <c:pt idx="2580">
                  <c:v>-1.24087674884619</c:v>
                </c:pt>
                <c:pt idx="2581">
                  <c:v>-1.2782133296087801</c:v>
                </c:pt>
                <c:pt idx="2582">
                  <c:v>-1.28651034755603</c:v>
                </c:pt>
                <c:pt idx="2583">
                  <c:v>-1.33214394626586</c:v>
                </c:pt>
                <c:pt idx="2584">
                  <c:v>-1.7179552808126699</c:v>
                </c:pt>
                <c:pt idx="2585">
                  <c:v>-1.6515791372347299</c:v>
                </c:pt>
                <c:pt idx="2586">
                  <c:v>-1.6391336103138601</c:v>
                </c:pt>
                <c:pt idx="2587">
                  <c:v>-1.6557276462083499</c:v>
                </c:pt>
                <c:pt idx="2588">
                  <c:v>0.72136799567683796</c:v>
                </c:pt>
                <c:pt idx="2589">
                  <c:v>0.71307097772959405</c:v>
                </c:pt>
                <c:pt idx="2590">
                  <c:v>1.1528129289334901</c:v>
                </c:pt>
                <c:pt idx="2591">
                  <c:v>0.71307097772959405</c:v>
                </c:pt>
                <c:pt idx="2592">
                  <c:v>-0.104185290073865</c:v>
                </c:pt>
                <c:pt idx="2593">
                  <c:v>-0.41532346309548601</c:v>
                </c:pt>
                <c:pt idx="2594">
                  <c:v>-0.33650179259667501</c:v>
                </c:pt>
                <c:pt idx="2595">
                  <c:v>-0.13322485288921601</c:v>
                </c:pt>
                <c:pt idx="2596">
                  <c:v>-0.29916521183408101</c:v>
                </c:pt>
                <c:pt idx="2597">
                  <c:v>-0.37798688233289202</c:v>
                </c:pt>
                <c:pt idx="2598">
                  <c:v>-0.30331372080770302</c:v>
                </c:pt>
                <c:pt idx="2599">
                  <c:v>-0.27012564901872999</c:v>
                </c:pt>
                <c:pt idx="2600">
                  <c:v>-5.0254673416783698E-2</c:v>
                </c:pt>
                <c:pt idx="2601">
                  <c:v>-4.62107470694591E-3</c:v>
                </c:pt>
                <c:pt idx="2602">
                  <c:v>-0.187155469546297</c:v>
                </c:pt>
                <c:pt idx="2603">
                  <c:v>-0.104185290073865</c:v>
                </c:pt>
                <c:pt idx="2604">
                  <c:v>-3.7809146495918898E-2</c:v>
                </c:pt>
                <c:pt idx="2605">
                  <c:v>-7.9294236232135107E-2</c:v>
                </c:pt>
                <c:pt idx="2606">
                  <c:v>-0.100036781100243</c:v>
                </c:pt>
                <c:pt idx="2607">
                  <c:v>-2.95121285486756E-2</c:v>
                </c:pt>
                <c:pt idx="2608">
                  <c:v>6.1755068870999998E-2</c:v>
                </c:pt>
                <c:pt idx="2609">
                  <c:v>-0.25768012209786501</c:v>
                </c:pt>
                <c:pt idx="2610">
                  <c:v>5.34580509237568E-2</c:v>
                </c:pt>
                <c:pt idx="2611">
                  <c:v>-3.7809146495918898E-2</c:v>
                </c:pt>
                <c:pt idx="2612">
                  <c:v>-3.7809146495918898E-2</c:v>
                </c:pt>
                <c:pt idx="2613">
                  <c:v>1.19729611875406E-2</c:v>
                </c:pt>
                <c:pt idx="2614">
                  <c:v>2.8566997082027101E-2</c:v>
                </c:pt>
                <c:pt idx="2615">
                  <c:v>4.9309541950135198E-2</c:v>
                </c:pt>
                <c:pt idx="2616">
                  <c:v>3.6864015029270301E-2</c:v>
                </c:pt>
                <c:pt idx="2617">
                  <c:v>-5.44031823904053E-2</c:v>
                </c:pt>
                <c:pt idx="2618">
                  <c:v>5.7606559897378402E-2</c:v>
                </c:pt>
                <c:pt idx="2619">
                  <c:v>-0.56052127717224298</c:v>
                </c:pt>
                <c:pt idx="2620">
                  <c:v>-0.18300696057267599</c:v>
                </c:pt>
                <c:pt idx="2621">
                  <c:v>-0.19545248749353999</c:v>
                </c:pt>
                <c:pt idx="2622">
                  <c:v>-4.19576554695405E-2</c:v>
                </c:pt>
                <c:pt idx="2623">
                  <c:v>-1.7066601627810801E-2</c:v>
                </c:pt>
                <c:pt idx="2624">
                  <c:v>-2.5363619575054001E-2</c:v>
                </c:pt>
                <c:pt idx="2625">
                  <c:v>-0.19960099646716201</c:v>
                </c:pt>
                <c:pt idx="2626">
                  <c:v>-5.8551691364026999E-2</c:v>
                </c:pt>
                <c:pt idx="2627">
                  <c:v>-6.6848709311270196E-2</c:v>
                </c:pt>
                <c:pt idx="2628">
                  <c:v>-9.1739763152999906E-2</c:v>
                </c:pt>
                <c:pt idx="2629">
                  <c:v>-0.28671968491321598</c:v>
                </c:pt>
                <c:pt idx="2630">
                  <c:v>-0.14152187083645901</c:v>
                </c:pt>
                <c:pt idx="2631">
                  <c:v>-0.31575924772856701</c:v>
                </c:pt>
                <c:pt idx="2632">
                  <c:v>-0.44021451693721603</c:v>
                </c:pt>
                <c:pt idx="2633">
                  <c:v>-0.42362048104272898</c:v>
                </c:pt>
                <c:pt idx="2634">
                  <c:v>-0.52318469640964804</c:v>
                </c:pt>
                <c:pt idx="2635">
                  <c:v>-0.70571909124900001</c:v>
                </c:pt>
                <c:pt idx="2636">
                  <c:v>-0.72231312714348594</c:v>
                </c:pt>
                <c:pt idx="2637">
                  <c:v>-0.53148171435689195</c:v>
                </c:pt>
                <c:pt idx="2638">
                  <c:v>-0.73890716303797299</c:v>
                </c:pt>
                <c:pt idx="2639">
                  <c:v>-0.81358032456316198</c:v>
                </c:pt>
                <c:pt idx="2640">
                  <c:v>-0.74720418098521602</c:v>
                </c:pt>
                <c:pt idx="2641">
                  <c:v>-0.73475865406435104</c:v>
                </c:pt>
                <c:pt idx="2642">
                  <c:v>-0.73475865406435104</c:v>
                </c:pt>
                <c:pt idx="2643">
                  <c:v>-0.75550119893245904</c:v>
                </c:pt>
                <c:pt idx="2644">
                  <c:v>-0.95877813863991801</c:v>
                </c:pt>
                <c:pt idx="2645">
                  <c:v>-0.92144155787732396</c:v>
                </c:pt>
                <c:pt idx="2646">
                  <c:v>-1.0044117373497601</c:v>
                </c:pt>
                <c:pt idx="2647">
                  <c:v>-0.97952068350802701</c:v>
                </c:pt>
                <c:pt idx="2648">
                  <c:v>-1.0044117373497601</c:v>
                </c:pt>
                <c:pt idx="2649">
                  <c:v>-0.98781770145527004</c:v>
                </c:pt>
                <c:pt idx="2650">
                  <c:v>-0.95048112069267499</c:v>
                </c:pt>
                <c:pt idx="2651">
                  <c:v>-0.93803559377181001</c:v>
                </c:pt>
                <c:pt idx="2652">
                  <c:v>-0.91314453993008105</c:v>
                </c:pt>
                <c:pt idx="2653">
                  <c:v>-1.1537580604001301</c:v>
                </c:pt>
                <c:pt idx="2654">
                  <c:v>-1.17864911424186</c:v>
                </c:pt>
                <c:pt idx="2655">
                  <c:v>-1.1952431501363501</c:v>
                </c:pt>
                <c:pt idx="2656">
                  <c:v>-1.1745006052682401</c:v>
                </c:pt>
                <c:pt idx="2657">
                  <c:v>-1.1662035873209999</c:v>
                </c:pt>
                <c:pt idx="2658">
                  <c:v>-1.18279762321549</c:v>
                </c:pt>
                <c:pt idx="2659">
                  <c:v>-1.18279762321549</c:v>
                </c:pt>
                <c:pt idx="2660">
                  <c:v>-1.1952431501363501</c:v>
                </c:pt>
                <c:pt idx="2661">
                  <c:v>-1.1869461321891099</c:v>
                </c:pt>
                <c:pt idx="2662">
                  <c:v>-1.18279762321549</c:v>
                </c:pt>
                <c:pt idx="2663">
                  <c:v>-1.15790656937376</c:v>
                </c:pt>
                <c:pt idx="2664">
                  <c:v>-1.1662035873209999</c:v>
                </c:pt>
                <c:pt idx="2665">
                  <c:v>-1.15790656937376</c:v>
                </c:pt>
                <c:pt idx="2666">
                  <c:v>-1.3362924552394899</c:v>
                </c:pt>
                <c:pt idx="2667">
                  <c:v>-1.26576780268792</c:v>
                </c:pt>
                <c:pt idx="2668">
                  <c:v>-1.2989558744768901</c:v>
                </c:pt>
                <c:pt idx="2669">
                  <c:v>-0.896550504035594</c:v>
                </c:pt>
                <c:pt idx="2670">
                  <c:v>-0.96292664761353997</c:v>
                </c:pt>
                <c:pt idx="2671">
                  <c:v>-0.87995646814110795</c:v>
                </c:pt>
                <c:pt idx="2672">
                  <c:v>-0.84261988737851301</c:v>
                </c:pt>
                <c:pt idx="2673">
                  <c:v>-0.88825348608835097</c:v>
                </c:pt>
                <c:pt idx="2674">
                  <c:v>-1.1039759527166799</c:v>
                </c:pt>
                <c:pt idx="2675">
                  <c:v>-1.03759980913873</c:v>
                </c:pt>
                <c:pt idx="2676">
                  <c:v>-1.0044117373497601</c:v>
                </c:pt>
                <c:pt idx="2677">
                  <c:v>-0.90069901300921595</c:v>
                </c:pt>
                <c:pt idx="2678">
                  <c:v>-0.89240199506197204</c:v>
                </c:pt>
                <c:pt idx="2679">
                  <c:v>-0.98366919248164797</c:v>
                </c:pt>
                <c:pt idx="2680">
                  <c:v>-0.96292664761353997</c:v>
                </c:pt>
                <c:pt idx="2681">
                  <c:v>-0.75135268995883697</c:v>
                </c:pt>
                <c:pt idx="2682">
                  <c:v>-0.78454076174780996</c:v>
                </c:pt>
                <c:pt idx="2683">
                  <c:v>-0.67667952843364798</c:v>
                </c:pt>
                <c:pt idx="2684">
                  <c:v>-0.51903618743602697</c:v>
                </c:pt>
                <c:pt idx="2685">
                  <c:v>-0.61030338485570201</c:v>
                </c:pt>
                <c:pt idx="2686">
                  <c:v>-0.62274891177656699</c:v>
                </c:pt>
                <c:pt idx="2687">
                  <c:v>-0.52318469640964804</c:v>
                </c:pt>
                <c:pt idx="2688">
                  <c:v>-0.46095706180532398</c:v>
                </c:pt>
                <c:pt idx="2689">
                  <c:v>-0.41947197206910802</c:v>
                </c:pt>
                <c:pt idx="2690">
                  <c:v>-0.47340258872618901</c:v>
                </c:pt>
                <c:pt idx="2691">
                  <c:v>-0.36139284643840502</c:v>
                </c:pt>
                <c:pt idx="2692">
                  <c:v>-0.187155469546297</c:v>
                </c:pt>
                <c:pt idx="2693">
                  <c:v>-0.104185290073865</c:v>
                </c:pt>
                <c:pt idx="2694">
                  <c:v>-0.104185290073865</c:v>
                </c:pt>
                <c:pt idx="2695">
                  <c:v>-1.29180926541891E-2</c:v>
                </c:pt>
                <c:pt idx="2696">
                  <c:v>5.7606559897378402E-2</c:v>
                </c:pt>
                <c:pt idx="2697">
                  <c:v>2.0269979134783799E-2</c:v>
                </c:pt>
                <c:pt idx="2698">
                  <c:v>-0.26182863107148602</c:v>
                </c:pt>
                <c:pt idx="2699">
                  <c:v>9.9091649633594597E-2</c:v>
                </c:pt>
                <c:pt idx="2700">
                  <c:v>8.2497613739108105E-2</c:v>
                </c:pt>
                <c:pt idx="2701">
                  <c:v>0.30236858934105398</c:v>
                </c:pt>
                <c:pt idx="2702">
                  <c:v>0.15717077526429701</c:v>
                </c:pt>
                <c:pt idx="2703">
                  <c:v>-8.7591254179378297E-2</c:v>
                </c:pt>
                <c:pt idx="2704">
                  <c:v>-0.11248230802110799</c:v>
                </c:pt>
                <c:pt idx="2705">
                  <c:v>3.6759432402973299E-3</c:v>
                </c:pt>
                <c:pt idx="2706">
                  <c:v>2.8566997082027101E-2</c:v>
                </c:pt>
                <c:pt idx="2707">
                  <c:v>0.248437972683973</c:v>
                </c:pt>
                <c:pt idx="2708">
                  <c:v>-0.28671968491321598</c:v>
                </c:pt>
                <c:pt idx="2709">
                  <c:v>-9.5888272126621502E-2</c:v>
                </c:pt>
                <c:pt idx="2710">
                  <c:v>0.26088349960483798</c:v>
                </c:pt>
                <c:pt idx="2711">
                  <c:v>9.0794631686351407E-2</c:v>
                </c:pt>
                <c:pt idx="2712">
                  <c:v>-4.62107470694591E-3</c:v>
                </c:pt>
                <c:pt idx="2713">
                  <c:v>0.14472524834343201</c:v>
                </c:pt>
                <c:pt idx="2714">
                  <c:v>0.28162604447294598</c:v>
                </c:pt>
                <c:pt idx="2715">
                  <c:v>0.27332902652570301</c:v>
                </c:pt>
                <c:pt idx="2716">
                  <c:v>-0.11248230802110799</c:v>
                </c:pt>
                <c:pt idx="2717">
                  <c:v>-0.13737336186283799</c:v>
                </c:pt>
                <c:pt idx="2718">
                  <c:v>-0.41947197206910802</c:v>
                </c:pt>
                <c:pt idx="2719">
                  <c:v>-0.37383837335927</c:v>
                </c:pt>
                <c:pt idx="2720">
                  <c:v>-0.489996624620675</c:v>
                </c:pt>
                <c:pt idx="2721">
                  <c:v>-0.51903618743602697</c:v>
                </c:pt>
                <c:pt idx="2722">
                  <c:v>-0.59370934896121597</c:v>
                </c:pt>
                <c:pt idx="2723">
                  <c:v>-0.56052127717224298</c:v>
                </c:pt>
                <c:pt idx="2724">
                  <c:v>-0.53148171435689195</c:v>
                </c:pt>
                <c:pt idx="2725">
                  <c:v>-0.59370934896121597</c:v>
                </c:pt>
                <c:pt idx="2726">
                  <c:v>-0.68082803740727005</c:v>
                </c:pt>
                <c:pt idx="2727">
                  <c:v>-0.84676839635213497</c:v>
                </c:pt>
                <c:pt idx="2728">
                  <c:v>-0.94633261171905403</c:v>
                </c:pt>
                <c:pt idx="2729">
                  <c:v>-0.94633261171905403</c:v>
                </c:pt>
                <c:pt idx="2730">
                  <c:v>-0.95048112069267499</c:v>
                </c:pt>
                <c:pt idx="2731">
                  <c:v>-0.70986760022262096</c:v>
                </c:pt>
                <c:pt idx="2732">
                  <c:v>-0.72231312714348594</c:v>
                </c:pt>
                <c:pt idx="2733">
                  <c:v>-0.917293048903702</c:v>
                </c:pt>
                <c:pt idx="2734">
                  <c:v>-0.896550504035594</c:v>
                </c:pt>
                <c:pt idx="2735">
                  <c:v>-0.896550504035594</c:v>
                </c:pt>
                <c:pt idx="2736">
                  <c:v>-0.80943181558954003</c:v>
                </c:pt>
                <c:pt idx="2737">
                  <c:v>-0.801134797642297</c:v>
                </c:pt>
                <c:pt idx="2738">
                  <c:v>-0.84261988737851301</c:v>
                </c:pt>
                <c:pt idx="2739">
                  <c:v>-0.80943181558954003</c:v>
                </c:pt>
                <c:pt idx="2740">
                  <c:v>-0.88410497711472902</c:v>
                </c:pt>
                <c:pt idx="2741">
                  <c:v>-0.95462962966629705</c:v>
                </c:pt>
                <c:pt idx="2742">
                  <c:v>-1.0500453360595901</c:v>
                </c:pt>
                <c:pt idx="2743">
                  <c:v>-1.0666393719540801</c:v>
                </c:pt>
                <c:pt idx="2744">
                  <c:v>-1.0707878809277001</c:v>
                </c:pt>
                <c:pt idx="2745">
                  <c:v>-1.13716402450565</c:v>
                </c:pt>
                <c:pt idx="2746">
                  <c:v>-1.1039759527166799</c:v>
                </c:pt>
                <c:pt idx="2747">
                  <c:v>-1.18279762321549</c:v>
                </c:pt>
                <c:pt idx="2748">
                  <c:v>-1.11642147963754</c:v>
                </c:pt>
                <c:pt idx="2749">
                  <c:v>-1.07908489887495</c:v>
                </c:pt>
                <c:pt idx="2750">
                  <c:v>-1.1039759527166799</c:v>
                </c:pt>
                <c:pt idx="2751">
                  <c:v>-1.2740648206351599</c:v>
                </c:pt>
                <c:pt idx="2752">
                  <c:v>-1.2284312219253199</c:v>
                </c:pt>
                <c:pt idx="2753">
                  <c:v>-1.3611835090812201</c:v>
                </c:pt>
                <c:pt idx="2754">
                  <c:v>-1.3985200898438099</c:v>
                </c:pt>
                <c:pt idx="2755">
                  <c:v>-1.39437158087019</c:v>
                </c:pt>
                <c:pt idx="2756">
                  <c:v>-1.5686089577622999</c:v>
                </c:pt>
                <c:pt idx="2757">
                  <c:v>-1.4400051795800299</c:v>
                </c:pt>
                <c:pt idx="2758">
                  <c:v>0.89560537256894601</c:v>
                </c:pt>
                <c:pt idx="2759">
                  <c:v>0.949535989226027</c:v>
                </c:pt>
                <c:pt idx="2760">
                  <c:v>0.55542763673197304</c:v>
                </c:pt>
                <c:pt idx="2761">
                  <c:v>0.15717077526429701</c:v>
                </c:pt>
                <c:pt idx="2762">
                  <c:v>-0.108333799047486</c:v>
                </c:pt>
                <c:pt idx="2763">
                  <c:v>-0.15396739775732399</c:v>
                </c:pt>
                <c:pt idx="2764">
                  <c:v>-0.20374950544078399</c:v>
                </c:pt>
                <c:pt idx="2765">
                  <c:v>-0.21204652338802699</c:v>
                </c:pt>
                <c:pt idx="2766">
                  <c:v>-0.245234595177</c:v>
                </c:pt>
                <c:pt idx="2767">
                  <c:v>-0.16226441570456701</c:v>
                </c:pt>
                <c:pt idx="2768">
                  <c:v>-0.124927834941973</c:v>
                </c:pt>
                <c:pt idx="2769">
                  <c:v>-0.37383837335927</c:v>
                </c:pt>
                <c:pt idx="2770">
                  <c:v>-5.0254673416783698E-2</c:v>
                </c:pt>
                <c:pt idx="2771">
                  <c:v>5.7606559897378402E-2</c:v>
                </c:pt>
                <c:pt idx="2772">
                  <c:v>9.0794631686351407E-2</c:v>
                </c:pt>
                <c:pt idx="2773">
                  <c:v>-2.1215110601432399E-2</c:v>
                </c:pt>
                <c:pt idx="2774">
                  <c:v>3.6864015029270301E-2</c:v>
                </c:pt>
                <c:pt idx="2775">
                  <c:v>0.11153717655445899</c:v>
                </c:pt>
                <c:pt idx="2776">
                  <c:v>0.37289324189262102</c:v>
                </c:pt>
                <c:pt idx="2777">
                  <c:v>7.0052086818243306E-2</c:v>
                </c:pt>
                <c:pt idx="2778">
                  <c:v>0.11153717655445899</c:v>
                </c:pt>
                <c:pt idx="2779">
                  <c:v>9.4943140659973002E-2</c:v>
                </c:pt>
                <c:pt idx="2780">
                  <c:v>-0.236937577229757</c:v>
                </c:pt>
                <c:pt idx="2781">
                  <c:v>5.34580509237568E-2</c:v>
                </c:pt>
                <c:pt idx="2782">
                  <c:v>1.61214701611622E-2</c:v>
                </c:pt>
                <c:pt idx="2783">
                  <c:v>-0.19960099646716201</c:v>
                </c:pt>
                <c:pt idx="2784">
                  <c:v>-0.44021451693721603</c:v>
                </c:pt>
                <c:pt idx="2785">
                  <c:v>-0.44436302591083798</c:v>
                </c:pt>
                <c:pt idx="2786">
                  <c:v>-0.42776899001635099</c:v>
                </c:pt>
                <c:pt idx="2787">
                  <c:v>-0.27842266696597301</c:v>
                </c:pt>
                <c:pt idx="2788">
                  <c:v>-0.30746222978132398</c:v>
                </c:pt>
                <c:pt idx="2789">
                  <c:v>-0.129076343915595</c:v>
                </c:pt>
                <c:pt idx="2790">
                  <c:v>-0.40287793617462098</c:v>
                </c:pt>
                <c:pt idx="2791">
                  <c:v>-0.39872942720100002</c:v>
                </c:pt>
                <c:pt idx="2792">
                  <c:v>-0.46095706180532398</c:v>
                </c:pt>
                <c:pt idx="2793">
                  <c:v>-0.353095828491162</c:v>
                </c:pt>
                <c:pt idx="2794">
                  <c:v>-0.67667952843364798</c:v>
                </c:pt>
                <c:pt idx="2795">
                  <c:v>-0.72231312714348594</c:v>
                </c:pt>
                <c:pt idx="2796">
                  <c:v>-0.66008549253916204</c:v>
                </c:pt>
                <c:pt idx="2797">
                  <c:v>-0.643491456644675</c:v>
                </c:pt>
                <c:pt idx="2798">
                  <c:v>-0.70571909124900001</c:v>
                </c:pt>
                <c:pt idx="2799">
                  <c:v>-0.73890716303797299</c:v>
                </c:pt>
                <c:pt idx="2800">
                  <c:v>-0.76379821687970195</c:v>
                </c:pt>
                <c:pt idx="2801">
                  <c:v>-0.70157058227537805</c:v>
                </c:pt>
                <c:pt idx="2802">
                  <c:v>-0.75550119893245904</c:v>
                </c:pt>
                <c:pt idx="2803">
                  <c:v>-0.78454076174780996</c:v>
                </c:pt>
                <c:pt idx="2804">
                  <c:v>-0.81772883353678305</c:v>
                </c:pt>
                <c:pt idx="2805">
                  <c:v>-0.78868927072143202</c:v>
                </c:pt>
                <c:pt idx="2806">
                  <c:v>-0.87165945019386404</c:v>
                </c:pt>
                <c:pt idx="2807">
                  <c:v>-0.87165945019386404</c:v>
                </c:pt>
                <c:pt idx="2808">
                  <c:v>-0.89240199506197204</c:v>
                </c:pt>
                <c:pt idx="2809">
                  <c:v>-1.00856024632338</c:v>
                </c:pt>
                <c:pt idx="2810">
                  <c:v>-1.0458968270859701</c:v>
                </c:pt>
                <c:pt idx="2811">
                  <c:v>-1.0832334078485699</c:v>
                </c:pt>
                <c:pt idx="2812">
                  <c:v>-0.98781770145527004</c:v>
                </c:pt>
                <c:pt idx="2813">
                  <c:v>-1.0873819168221901</c:v>
                </c:pt>
                <c:pt idx="2814">
                  <c:v>-1.12056998861116</c:v>
                </c:pt>
                <c:pt idx="2815">
                  <c:v>-1.0458968270859701</c:v>
                </c:pt>
                <c:pt idx="2816">
                  <c:v>-1.16205507834738</c:v>
                </c:pt>
                <c:pt idx="2817">
                  <c:v>-1.0873819168221901</c:v>
                </c:pt>
                <c:pt idx="2818">
                  <c:v>-1.11642147963754</c:v>
                </c:pt>
                <c:pt idx="2819">
                  <c:v>-1.1537580604001301</c:v>
                </c:pt>
                <c:pt idx="2820">
                  <c:v>-1.2740648206351599</c:v>
                </c:pt>
                <c:pt idx="2821">
                  <c:v>-1.35288649113397</c:v>
                </c:pt>
                <c:pt idx="2822">
                  <c:v>-1.3196984193450001</c:v>
                </c:pt>
                <c:pt idx="2823">
                  <c:v>-1.1537580604001301</c:v>
                </c:pt>
                <c:pt idx="2824">
                  <c:v>-1.1662035873209999</c:v>
                </c:pt>
                <c:pt idx="2825">
                  <c:v>-1.13716402450565</c:v>
                </c:pt>
                <c:pt idx="2826">
                  <c:v>-1.12056998861116</c:v>
                </c:pt>
                <c:pt idx="2827">
                  <c:v>-1.0624908629804599</c:v>
                </c:pt>
                <c:pt idx="2828">
                  <c:v>-1.05834235400684</c:v>
                </c:pt>
                <c:pt idx="2829">
                  <c:v>-1.05834235400684</c:v>
                </c:pt>
                <c:pt idx="2830">
                  <c:v>-1.07908489887495</c:v>
                </c:pt>
                <c:pt idx="2831">
                  <c:v>-1.0458968270859701</c:v>
                </c:pt>
                <c:pt idx="2832">
                  <c:v>-1.07908489887495</c:v>
                </c:pt>
                <c:pt idx="2833">
                  <c:v>-1.0624908629804599</c:v>
                </c:pt>
                <c:pt idx="2834">
                  <c:v>-1.0500453360595901</c:v>
                </c:pt>
                <c:pt idx="2835">
                  <c:v>-1.0624908629804599</c:v>
                </c:pt>
                <c:pt idx="2836">
                  <c:v>-1.0666393719540801</c:v>
                </c:pt>
                <c:pt idx="2837">
                  <c:v>-1.02930279119149</c:v>
                </c:pt>
                <c:pt idx="2838">
                  <c:v>-1.02930279119149</c:v>
                </c:pt>
                <c:pt idx="2839">
                  <c:v>-0.98366919248164797</c:v>
                </c:pt>
                <c:pt idx="2840">
                  <c:v>-1.11642147963754</c:v>
                </c:pt>
                <c:pt idx="2841">
                  <c:v>-1.1330155155320301</c:v>
                </c:pt>
                <c:pt idx="2842">
                  <c:v>-1.07493638990132</c:v>
                </c:pt>
                <c:pt idx="2843">
                  <c:v>-0.95462962966629705</c:v>
                </c:pt>
                <c:pt idx="2844">
                  <c:v>-0.85921392327299995</c:v>
                </c:pt>
                <c:pt idx="2845">
                  <c:v>-0.73890716303797299</c:v>
                </c:pt>
                <c:pt idx="2846">
                  <c:v>-0.73475865406435104</c:v>
                </c:pt>
                <c:pt idx="2847">
                  <c:v>-0.72646163611710801</c:v>
                </c:pt>
                <c:pt idx="2848">
                  <c:v>-0.79698628866867505</c:v>
                </c:pt>
                <c:pt idx="2849">
                  <c:v>-0.83017436045764803</c:v>
                </c:pt>
                <c:pt idx="2850">
                  <c:v>-0.90899603095645898</c:v>
                </c:pt>
                <c:pt idx="2851">
                  <c:v>-0.56052127717224298</c:v>
                </c:pt>
                <c:pt idx="2852">
                  <c:v>-0.83432286943126999</c:v>
                </c:pt>
                <c:pt idx="2853">
                  <c:v>-0.89240199506197204</c:v>
                </c:pt>
                <c:pt idx="2854">
                  <c:v>-0.87580795916748599</c:v>
                </c:pt>
                <c:pt idx="2855">
                  <c:v>-0.70157058227537805</c:v>
                </c:pt>
                <c:pt idx="2856">
                  <c:v>-0.81772883353678305</c:v>
                </c:pt>
                <c:pt idx="2857">
                  <c:v>-0.81358032456316198</c:v>
                </c:pt>
                <c:pt idx="2858">
                  <c:v>-0.81358032456316198</c:v>
                </c:pt>
                <c:pt idx="2859">
                  <c:v>-0.90484752198283702</c:v>
                </c:pt>
                <c:pt idx="2860">
                  <c:v>-0.73475865406435104</c:v>
                </c:pt>
                <c:pt idx="2861">
                  <c:v>-0.79283777969505398</c:v>
                </c:pt>
                <c:pt idx="2862">
                  <c:v>-0.65178847459191902</c:v>
                </c:pt>
                <c:pt idx="2863">
                  <c:v>-0.56881829511948601</c:v>
                </c:pt>
                <c:pt idx="2864">
                  <c:v>-0.60200636690845899</c:v>
                </c:pt>
                <c:pt idx="2865">
                  <c:v>-0.58541233101397305</c:v>
                </c:pt>
                <c:pt idx="2866">
                  <c:v>-0.53977873230413498</c:v>
                </c:pt>
                <c:pt idx="2867">
                  <c:v>-0.47755109769981102</c:v>
                </c:pt>
                <c:pt idx="2868">
                  <c:v>-0.53148171435689195</c:v>
                </c:pt>
                <c:pt idx="2869">
                  <c:v>-0.53148171435689195</c:v>
                </c:pt>
                <c:pt idx="2870">
                  <c:v>-0.50244215154154004</c:v>
                </c:pt>
                <c:pt idx="2871">
                  <c:v>-0.40702644514824299</c:v>
                </c:pt>
                <c:pt idx="2872">
                  <c:v>-0.187155469546297</c:v>
                </c:pt>
                <c:pt idx="2873">
                  <c:v>3.6864015029270301E-2</c:v>
                </c:pt>
                <c:pt idx="2874">
                  <c:v>5.34580509237568E-2</c:v>
                </c:pt>
                <c:pt idx="2875">
                  <c:v>0.107388667580838</c:v>
                </c:pt>
                <c:pt idx="2876">
                  <c:v>0.173764811158784</c:v>
                </c:pt>
                <c:pt idx="2877">
                  <c:v>0.22769542781586499</c:v>
                </c:pt>
                <c:pt idx="2878">
                  <c:v>-7.0997218284891805E-2</c:v>
                </c:pt>
                <c:pt idx="2879">
                  <c:v>9.0794631686351407E-2</c:v>
                </c:pt>
                <c:pt idx="2880">
                  <c:v>0.15717077526429701</c:v>
                </c:pt>
                <c:pt idx="2881">
                  <c:v>9.0794631686351407E-2</c:v>
                </c:pt>
                <c:pt idx="2882">
                  <c:v>9.0794631686351407E-2</c:v>
                </c:pt>
                <c:pt idx="2883">
                  <c:v>-0.29916521183408101</c:v>
                </c:pt>
                <c:pt idx="2884">
                  <c:v>6.59035778446216E-2</c:v>
                </c:pt>
                <c:pt idx="2885">
                  <c:v>-0.178858451599054</c:v>
                </c:pt>
                <c:pt idx="2886">
                  <c:v>-0.57711531306672903</c:v>
                </c:pt>
                <c:pt idx="2887">
                  <c:v>-0.69742207330175598</c:v>
                </c:pt>
                <c:pt idx="2888">
                  <c:v>-0.73475865406435104</c:v>
                </c:pt>
                <c:pt idx="2889">
                  <c:v>-0.19545248749353999</c:v>
                </c:pt>
                <c:pt idx="2890">
                  <c:v>-0.896550504035594</c:v>
                </c:pt>
                <c:pt idx="2891">
                  <c:v>-0.88825348608835097</c:v>
                </c:pt>
                <c:pt idx="2892">
                  <c:v>-1.16205507834738</c:v>
                </c:pt>
                <c:pt idx="2893">
                  <c:v>-1.1330155155320301</c:v>
                </c:pt>
                <c:pt idx="2894">
                  <c:v>-1.1496095514265099</c:v>
                </c:pt>
                <c:pt idx="2895">
                  <c:v>-1.5686089577622999</c:v>
                </c:pt>
                <c:pt idx="2896">
                  <c:v>-1.07908489887495</c:v>
                </c:pt>
                <c:pt idx="2897">
                  <c:v>-1.0500453360595901</c:v>
                </c:pt>
                <c:pt idx="2898">
                  <c:v>-1.0210057732442399</c:v>
                </c:pt>
                <c:pt idx="2899">
                  <c:v>-1.03345130016511</c:v>
                </c:pt>
                <c:pt idx="2900">
                  <c:v>-0.99196621042889099</c:v>
                </c:pt>
                <c:pt idx="2901">
                  <c:v>-1.0624908629804599</c:v>
                </c:pt>
                <c:pt idx="2902">
                  <c:v>-1.0832334078485699</c:v>
                </c:pt>
                <c:pt idx="2903">
                  <c:v>-1.14131253347927</c:v>
                </c:pt>
                <c:pt idx="2904">
                  <c:v>-1.24502525781981</c:v>
                </c:pt>
                <c:pt idx="2905">
                  <c:v>-1.2533222757670499</c:v>
                </c:pt>
                <c:pt idx="2906">
                  <c:v>-1.1745006052682401</c:v>
                </c:pt>
                <c:pt idx="2907">
                  <c:v>-1.2948073655032699</c:v>
                </c:pt>
                <c:pt idx="2908">
                  <c:v>-1.26991631166154</c:v>
                </c:pt>
                <c:pt idx="2909">
                  <c:v>-1.2782133296087801</c:v>
                </c:pt>
                <c:pt idx="2910">
                  <c:v>-1.22013420397808</c:v>
                </c:pt>
                <c:pt idx="2911">
                  <c:v>-1.2782133296087801</c:v>
                </c:pt>
                <c:pt idx="2912">
                  <c:v>-1.35288649113397</c:v>
                </c:pt>
                <c:pt idx="2913">
                  <c:v>-1.37362903600208</c:v>
                </c:pt>
                <c:pt idx="2914">
                  <c:v>-1.37362903600208</c:v>
                </c:pt>
                <c:pt idx="2915">
                  <c:v>-1.41096561676467</c:v>
                </c:pt>
                <c:pt idx="2916">
                  <c:v>-1.3570350001075899</c:v>
                </c:pt>
                <c:pt idx="2917">
                  <c:v>-1.3819260539493201</c:v>
                </c:pt>
                <c:pt idx="2918">
                  <c:v>-1.1330155155320301</c:v>
                </c:pt>
                <c:pt idx="2919">
                  <c:v>-1.1869461321891099</c:v>
                </c:pt>
                <c:pt idx="2920">
                  <c:v>-1.39022307189657</c:v>
                </c:pt>
                <c:pt idx="2921">
                  <c:v>-1.31140140139776</c:v>
                </c:pt>
                <c:pt idx="2922">
                  <c:v>-1.3777775449756999</c:v>
                </c:pt>
                <c:pt idx="2923">
                  <c:v>-1.3860745629229501</c:v>
                </c:pt>
                <c:pt idx="2924">
                  <c:v>-1.41096561676467</c:v>
                </c:pt>
                <c:pt idx="2925">
                  <c:v>-0.39458091822737801</c:v>
                </c:pt>
                <c:pt idx="2926">
                  <c:v>1.11547634817089</c:v>
                </c:pt>
                <c:pt idx="2927">
                  <c:v>0.52223956494299995</c:v>
                </c:pt>
                <c:pt idx="2928">
                  <c:v>0.580318690573702</c:v>
                </c:pt>
                <c:pt idx="2929">
                  <c:v>-0.78454076174780996</c:v>
                </c:pt>
                <c:pt idx="2930">
                  <c:v>-0.801134797642297</c:v>
                </c:pt>
                <c:pt idx="2931">
                  <c:v>-0.80528330661591896</c:v>
                </c:pt>
                <c:pt idx="2932">
                  <c:v>-0.79283777969505398</c:v>
                </c:pt>
                <c:pt idx="2933">
                  <c:v>-0.79283777969505398</c:v>
                </c:pt>
                <c:pt idx="2934">
                  <c:v>-0.57296680409310796</c:v>
                </c:pt>
                <c:pt idx="2935">
                  <c:v>-0.68912505535451296</c:v>
                </c:pt>
                <c:pt idx="2936">
                  <c:v>-0.76379821687970195</c:v>
                </c:pt>
                <c:pt idx="2937">
                  <c:v>-0.75135268995883697</c:v>
                </c:pt>
                <c:pt idx="2938">
                  <c:v>-0.77624374380056704</c:v>
                </c:pt>
                <c:pt idx="2939">
                  <c:v>-0.72231312714348594</c:v>
                </c:pt>
                <c:pt idx="2940">
                  <c:v>-0.84261988737851301</c:v>
                </c:pt>
                <c:pt idx="2941">
                  <c:v>-0.71401610919624303</c:v>
                </c:pt>
                <c:pt idx="2942">
                  <c:v>-0.801134797642297</c:v>
                </c:pt>
                <c:pt idx="2943">
                  <c:v>-0.72646163611710801</c:v>
                </c:pt>
                <c:pt idx="2944">
                  <c:v>-0.63519443869743197</c:v>
                </c:pt>
                <c:pt idx="2945">
                  <c:v>-0.71816461816986399</c:v>
                </c:pt>
                <c:pt idx="2946">
                  <c:v>-0.75135268995883697</c:v>
                </c:pt>
                <c:pt idx="2947">
                  <c:v>-0.61860040280294604</c:v>
                </c:pt>
                <c:pt idx="2948">
                  <c:v>-0.93388708479818905</c:v>
                </c:pt>
                <c:pt idx="2949">
                  <c:v>-0.96707515658716203</c:v>
                </c:pt>
                <c:pt idx="2950">
                  <c:v>-0.98781770145527004</c:v>
                </c:pt>
                <c:pt idx="2951">
                  <c:v>-0.92559006685094503</c:v>
                </c:pt>
                <c:pt idx="2952">
                  <c:v>-1.0624908629804599</c:v>
                </c:pt>
                <c:pt idx="2953">
                  <c:v>-1.07493638990132</c:v>
                </c:pt>
                <c:pt idx="2954">
                  <c:v>-1.0417483181123499</c:v>
                </c:pt>
                <c:pt idx="2955">
                  <c:v>-0.95462962966629705</c:v>
                </c:pt>
                <c:pt idx="2956">
                  <c:v>-0.97537217453440495</c:v>
                </c:pt>
                <c:pt idx="2957">
                  <c:v>-0.93388708479818905</c:v>
                </c:pt>
                <c:pt idx="2958">
                  <c:v>-0.92973857582456698</c:v>
                </c:pt>
                <c:pt idx="2959">
                  <c:v>-0.94218410274543196</c:v>
                </c:pt>
                <c:pt idx="2960">
                  <c:v>-0.94218410274543196</c:v>
                </c:pt>
                <c:pt idx="2961">
                  <c:v>-0.88825348608835097</c:v>
                </c:pt>
                <c:pt idx="2962">
                  <c:v>-0.90069901300921595</c:v>
                </c:pt>
                <c:pt idx="2963">
                  <c:v>-0.90899603095645898</c:v>
                </c:pt>
                <c:pt idx="2964">
                  <c:v>-0.91314453993008105</c:v>
                </c:pt>
                <c:pt idx="2965">
                  <c:v>-0.90899603095645898</c:v>
                </c:pt>
                <c:pt idx="2966">
                  <c:v>-1.1081244616903001</c:v>
                </c:pt>
                <c:pt idx="2967">
                  <c:v>-1.11642147963754</c:v>
                </c:pt>
                <c:pt idx="2968">
                  <c:v>-1.09567893476943</c:v>
                </c:pt>
                <c:pt idx="2969">
                  <c:v>-1.15790656937376</c:v>
                </c:pt>
                <c:pt idx="2970">
                  <c:v>-1.24087674884619</c:v>
                </c:pt>
                <c:pt idx="2971">
                  <c:v>-1.2948073655032699</c:v>
                </c:pt>
                <c:pt idx="2972">
                  <c:v>-1.2325797308989499</c:v>
                </c:pt>
                <c:pt idx="2973">
                  <c:v>-1.26991631166154</c:v>
                </c:pt>
                <c:pt idx="2974">
                  <c:v>-1.26576780268792</c:v>
                </c:pt>
                <c:pt idx="2975">
                  <c:v>-1.28651034755603</c:v>
                </c:pt>
                <c:pt idx="2976">
                  <c:v>-1.30725289242413</c:v>
                </c:pt>
                <c:pt idx="2977">
                  <c:v>-1.2740648206351599</c:v>
                </c:pt>
                <c:pt idx="2978">
                  <c:v>-1.32799543729224</c:v>
                </c:pt>
                <c:pt idx="2979">
                  <c:v>-1.3362924552394899</c:v>
                </c:pt>
                <c:pt idx="2980">
                  <c:v>-1.4068171077910501</c:v>
                </c:pt>
                <c:pt idx="2981">
                  <c:v>-1.2284312219253199</c:v>
                </c:pt>
                <c:pt idx="2982">
                  <c:v>-1.26991631166154</c:v>
                </c:pt>
                <c:pt idx="2983">
                  <c:v>-1.4400051795800299</c:v>
                </c:pt>
                <c:pt idx="2984">
                  <c:v>-1.4441536885536499</c:v>
                </c:pt>
                <c:pt idx="2985">
                  <c:v>-1.51467834110522</c:v>
                </c:pt>
                <c:pt idx="2986">
                  <c:v>-1.49393579623711</c:v>
                </c:pt>
                <c:pt idx="2987">
                  <c:v>-1.17864911424186</c:v>
                </c:pt>
                <c:pt idx="2988">
                  <c:v>1.0283576597248401</c:v>
                </c:pt>
                <c:pt idx="2989">
                  <c:v>0.364596223945378</c:v>
                </c:pt>
                <c:pt idx="2990">
                  <c:v>-0.48584811564705399</c:v>
                </c:pt>
                <c:pt idx="2991">
                  <c:v>-0.70986760022262096</c:v>
                </c:pt>
                <c:pt idx="2992">
                  <c:v>-0.87580795916748599</c:v>
                </c:pt>
                <c:pt idx="2993">
                  <c:v>-0.94218410274543196</c:v>
                </c:pt>
                <c:pt idx="2994">
                  <c:v>-0.83017436045764803</c:v>
                </c:pt>
                <c:pt idx="2995">
                  <c:v>-0.84261988737851301</c:v>
                </c:pt>
                <c:pt idx="2996">
                  <c:v>-0.79283777969505398</c:v>
                </c:pt>
                <c:pt idx="2997">
                  <c:v>-0.90484752198283702</c:v>
                </c:pt>
                <c:pt idx="2998">
                  <c:v>-0.83017436045764803</c:v>
                </c:pt>
                <c:pt idx="2999">
                  <c:v>-0.81772883353678305</c:v>
                </c:pt>
                <c:pt idx="3000">
                  <c:v>-0.759649707906081</c:v>
                </c:pt>
                <c:pt idx="3001">
                  <c:v>-0.92144155787732396</c:v>
                </c:pt>
                <c:pt idx="3002">
                  <c:v>-0.51073916948878395</c:v>
                </c:pt>
                <c:pt idx="3003">
                  <c:v>-0.42776899001635099</c:v>
                </c:pt>
                <c:pt idx="3004">
                  <c:v>-0.71816461816986399</c:v>
                </c:pt>
                <c:pt idx="3005">
                  <c:v>-0.58126382204035099</c:v>
                </c:pt>
                <c:pt idx="3006">
                  <c:v>-0.70157058227537805</c:v>
                </c:pt>
                <c:pt idx="3007">
                  <c:v>-0.63519443869743197</c:v>
                </c:pt>
                <c:pt idx="3008">
                  <c:v>-0.61860040280294604</c:v>
                </c:pt>
                <c:pt idx="3009">
                  <c:v>-0.79283777969505398</c:v>
                </c:pt>
                <c:pt idx="3010">
                  <c:v>-0.78454076174780996</c:v>
                </c:pt>
                <c:pt idx="3011">
                  <c:v>-0.57711531306672903</c:v>
                </c:pt>
                <c:pt idx="3012">
                  <c:v>-0.56466978614586505</c:v>
                </c:pt>
                <c:pt idx="3013">
                  <c:v>-0.59785785793483703</c:v>
                </c:pt>
                <c:pt idx="3014">
                  <c:v>-0.48584811564705399</c:v>
                </c:pt>
                <c:pt idx="3015">
                  <c:v>-0.29086819388683799</c:v>
                </c:pt>
                <c:pt idx="3016">
                  <c:v>-0.548075750251378</c:v>
                </c:pt>
                <c:pt idx="3017">
                  <c:v>-0.431917498989973</c:v>
                </c:pt>
                <c:pt idx="3018">
                  <c:v>-0.68082803740727005</c:v>
                </c:pt>
                <c:pt idx="3019">
                  <c:v>-0.55222425922499996</c:v>
                </c:pt>
                <c:pt idx="3020">
                  <c:v>-0.548075750251378</c:v>
                </c:pt>
                <c:pt idx="3021">
                  <c:v>-0.55222425922499996</c:v>
                </c:pt>
                <c:pt idx="3022">
                  <c:v>-0.53977873230413498</c:v>
                </c:pt>
                <c:pt idx="3023">
                  <c:v>-0.431917498989973</c:v>
                </c:pt>
                <c:pt idx="3024">
                  <c:v>-0.49829364256791903</c:v>
                </c:pt>
                <c:pt idx="3025">
                  <c:v>-0.58126382204035099</c:v>
                </c:pt>
                <c:pt idx="3026">
                  <c:v>-0.60615487588208095</c:v>
                </c:pt>
                <c:pt idx="3027">
                  <c:v>-0.34479881054391898</c:v>
                </c:pt>
                <c:pt idx="3028">
                  <c:v>-0.56466978614586505</c:v>
                </c:pt>
                <c:pt idx="3029">
                  <c:v>-0.46510557077894599</c:v>
                </c:pt>
                <c:pt idx="3030">
                  <c:v>-0.70571909124900001</c:v>
                </c:pt>
                <c:pt idx="3031">
                  <c:v>-0.390432409253757</c:v>
                </c:pt>
                <c:pt idx="3032">
                  <c:v>-0.74305567201159395</c:v>
                </c:pt>
                <c:pt idx="3033">
                  <c:v>-0.73890716303797299</c:v>
                </c:pt>
                <c:pt idx="3034">
                  <c:v>-0.77209523482694598</c:v>
                </c:pt>
                <c:pt idx="3035">
                  <c:v>-0.83017436045764803</c:v>
                </c:pt>
                <c:pt idx="3036">
                  <c:v>-0.94218410274543196</c:v>
                </c:pt>
                <c:pt idx="3037">
                  <c:v>-0.917293048903702</c:v>
                </c:pt>
                <c:pt idx="3038">
                  <c:v>-0.94633261171905403</c:v>
                </c:pt>
                <c:pt idx="3039">
                  <c:v>-1.0210057732442399</c:v>
                </c:pt>
                <c:pt idx="3040">
                  <c:v>-1.1122729706639201</c:v>
                </c:pt>
                <c:pt idx="3041">
                  <c:v>-0.98366919248164797</c:v>
                </c:pt>
                <c:pt idx="3042">
                  <c:v>-1.0707878809277001</c:v>
                </c:pt>
                <c:pt idx="3043">
                  <c:v>-1.05419384503322</c:v>
                </c:pt>
                <c:pt idx="3044">
                  <c:v>-1.1869461321891099</c:v>
                </c:pt>
                <c:pt idx="3045">
                  <c:v>-1.18279762321549</c:v>
                </c:pt>
                <c:pt idx="3046">
                  <c:v>-1.1952431501363501</c:v>
                </c:pt>
                <c:pt idx="3047">
                  <c:v>-1.20354016808359</c:v>
                </c:pt>
                <c:pt idx="3048">
                  <c:v>-1.1537580604001301</c:v>
                </c:pt>
                <c:pt idx="3049">
                  <c:v>-1.1330155155320301</c:v>
                </c:pt>
                <c:pt idx="3050">
                  <c:v>-1.07908489887495</c:v>
                </c:pt>
                <c:pt idx="3051">
                  <c:v>-0.94633261171905403</c:v>
                </c:pt>
                <c:pt idx="3052">
                  <c:v>-0.81772883353678305</c:v>
                </c:pt>
                <c:pt idx="3053">
                  <c:v>-0.93388708479818905</c:v>
                </c:pt>
                <c:pt idx="3054">
                  <c:v>-0.96707515658716203</c:v>
                </c:pt>
                <c:pt idx="3055">
                  <c:v>-1.17864911424186</c:v>
                </c:pt>
                <c:pt idx="3056">
                  <c:v>-1.1745006052682401</c:v>
                </c:pt>
                <c:pt idx="3057">
                  <c:v>-1.18279762321549</c:v>
                </c:pt>
                <c:pt idx="3058">
                  <c:v>-1.18279762321549</c:v>
                </c:pt>
                <c:pt idx="3059">
                  <c:v>-1.15790656937376</c:v>
                </c:pt>
                <c:pt idx="3060">
                  <c:v>-1.0915304257958101</c:v>
                </c:pt>
                <c:pt idx="3061">
                  <c:v>-1.3404409642131101</c:v>
                </c:pt>
                <c:pt idx="3062">
                  <c:v>-1.3777775449756999</c:v>
                </c:pt>
                <c:pt idx="3063">
                  <c:v>-1.36948052702846</c:v>
                </c:pt>
                <c:pt idx="3064">
                  <c:v>-1.31140140139776</c:v>
                </c:pt>
                <c:pt idx="3065">
                  <c:v>-1.2782133296087801</c:v>
                </c:pt>
                <c:pt idx="3066">
                  <c:v>-1.2574707847406801</c:v>
                </c:pt>
                <c:pt idx="3067">
                  <c:v>-1.3404409642131101</c:v>
                </c:pt>
                <c:pt idx="3068">
                  <c:v>-1.2367282398725701</c:v>
                </c:pt>
                <c:pt idx="3069">
                  <c:v>-1.2284312219253199</c:v>
                </c:pt>
                <c:pt idx="3070">
                  <c:v>-0.97952068350802701</c:v>
                </c:pt>
                <c:pt idx="3071">
                  <c:v>-0.94218410274543196</c:v>
                </c:pt>
                <c:pt idx="3072">
                  <c:v>-0.51073916948878395</c:v>
                </c:pt>
                <c:pt idx="3073">
                  <c:v>-1.33214394626586</c:v>
                </c:pt>
                <c:pt idx="3074">
                  <c:v>0.64669483415164797</c:v>
                </c:pt>
                <c:pt idx="3075">
                  <c:v>0.73381352259770205</c:v>
                </c:pt>
                <c:pt idx="3076">
                  <c:v>0.63839781620440506</c:v>
                </c:pt>
                <c:pt idx="3077">
                  <c:v>9.4943140659973002E-2</c:v>
                </c:pt>
                <c:pt idx="3078">
                  <c:v>3.6759432402973299E-3</c:v>
                </c:pt>
                <c:pt idx="3079">
                  <c:v>-5.8551691364026999E-2</c:v>
                </c:pt>
                <c:pt idx="3080">
                  <c:v>-0.16641292467818899</c:v>
                </c:pt>
                <c:pt idx="3081">
                  <c:v>-0.22034354133527001</c:v>
                </c:pt>
                <c:pt idx="3082">
                  <c:v>-0.18300696057267599</c:v>
                </c:pt>
                <c:pt idx="3083">
                  <c:v>-0.129076343915595</c:v>
                </c:pt>
                <c:pt idx="3084">
                  <c:v>-0.11663081699473</c:v>
                </c:pt>
                <c:pt idx="3085">
                  <c:v>0.202804373974135</c:v>
                </c:pt>
                <c:pt idx="3086">
                  <c:v>4.1012524002891897E-2</c:v>
                </c:pt>
                <c:pt idx="3087">
                  <c:v>5.34580509237568E-2</c:v>
                </c:pt>
                <c:pt idx="3088">
                  <c:v>-8.7695836805675303E-3</c:v>
                </c:pt>
                <c:pt idx="3089">
                  <c:v>6.1755068870999998E-2</c:v>
                </c:pt>
                <c:pt idx="3090">
                  <c:v>-5.0254673416783698E-2</c:v>
                </c:pt>
                <c:pt idx="3091">
                  <c:v>0.123982703475324</c:v>
                </c:pt>
                <c:pt idx="3092">
                  <c:v>4.1012524002891897E-2</c:v>
                </c:pt>
                <c:pt idx="3093">
                  <c:v>-0.19960099646716201</c:v>
                </c:pt>
                <c:pt idx="3094">
                  <c:v>-4.62107470694591E-3</c:v>
                </c:pt>
                <c:pt idx="3095">
                  <c:v>3.6759432402973299E-3</c:v>
                </c:pt>
                <c:pt idx="3096">
                  <c:v>9.0794631686351407E-2</c:v>
                </c:pt>
                <c:pt idx="3097">
                  <c:v>-0.15396739775732399</c:v>
                </c:pt>
                <c:pt idx="3098">
                  <c:v>9.4943140659973002E-2</c:v>
                </c:pt>
                <c:pt idx="3099">
                  <c:v>0.153022266290676</c:v>
                </c:pt>
                <c:pt idx="3100">
                  <c:v>-0.19960099646716201</c:v>
                </c:pt>
                <c:pt idx="3101">
                  <c:v>0.14057673936981099</c:v>
                </c:pt>
                <c:pt idx="3102">
                  <c:v>0.19865586500051299</c:v>
                </c:pt>
                <c:pt idx="3103">
                  <c:v>0.103240158607216</c:v>
                </c:pt>
                <c:pt idx="3104">
                  <c:v>-7.5145727258513401E-2</c:v>
                </c:pt>
                <c:pt idx="3105">
                  <c:v>0.23599244576310799</c:v>
                </c:pt>
                <c:pt idx="3106">
                  <c:v>-3.3660637522297199E-2</c:v>
                </c:pt>
                <c:pt idx="3107">
                  <c:v>-4.62107470694591E-3</c:v>
                </c:pt>
                <c:pt idx="3108">
                  <c:v>-0.120779325968351</c:v>
                </c:pt>
                <c:pt idx="3109">
                  <c:v>-4.7256573332428599E-4</c:v>
                </c:pt>
                <c:pt idx="3110">
                  <c:v>0.13642823039618901</c:v>
                </c:pt>
                <c:pt idx="3111">
                  <c:v>0.231843936789486</c:v>
                </c:pt>
                <c:pt idx="3112">
                  <c:v>-2.5363619575054001E-2</c:v>
                </c:pt>
                <c:pt idx="3113">
                  <c:v>-0.207898014414405</c:v>
                </c:pt>
                <c:pt idx="3114">
                  <c:v>3.2715506055648699E-2</c:v>
                </c:pt>
                <c:pt idx="3115">
                  <c:v>0.58861570852094602</c:v>
                </c:pt>
                <c:pt idx="3116">
                  <c:v>0.19035884705327</c:v>
                </c:pt>
                <c:pt idx="3117">
                  <c:v>0.35629920599813503</c:v>
                </c:pt>
                <c:pt idx="3118">
                  <c:v>0.173764811158784</c:v>
                </c:pt>
                <c:pt idx="3119">
                  <c:v>0.153022266290676</c:v>
                </c:pt>
                <c:pt idx="3120">
                  <c:v>2.0269979134783799E-2</c:v>
                </c:pt>
                <c:pt idx="3121">
                  <c:v>-0.245234595177</c:v>
                </c:pt>
                <c:pt idx="3122">
                  <c:v>-0.63934294767105404</c:v>
                </c:pt>
                <c:pt idx="3123">
                  <c:v>-0.83017436045764803</c:v>
                </c:pt>
                <c:pt idx="3124">
                  <c:v>-0.56881829511948601</c:v>
                </c:pt>
                <c:pt idx="3125">
                  <c:v>-0.85506541429937799</c:v>
                </c:pt>
                <c:pt idx="3126">
                  <c:v>-0.90069901300921595</c:v>
                </c:pt>
                <c:pt idx="3127">
                  <c:v>-0.83432286943126999</c:v>
                </c:pt>
                <c:pt idx="3128">
                  <c:v>-0.93803559377181001</c:v>
                </c:pt>
                <c:pt idx="3129">
                  <c:v>-1.03759980913873</c:v>
                </c:pt>
                <c:pt idx="3130">
                  <c:v>-0.664234001512783</c:v>
                </c:pt>
                <c:pt idx="3131">
                  <c:v>-0.77624374380056704</c:v>
                </c:pt>
                <c:pt idx="3132">
                  <c:v>-0.75550119893245904</c:v>
                </c:pt>
                <c:pt idx="3133">
                  <c:v>-0.780392252774189</c:v>
                </c:pt>
                <c:pt idx="3134">
                  <c:v>-0.77624374380056704</c:v>
                </c:pt>
                <c:pt idx="3135">
                  <c:v>-0.76794672585332402</c:v>
                </c:pt>
                <c:pt idx="3136">
                  <c:v>-0.76794672585332402</c:v>
                </c:pt>
                <c:pt idx="3137">
                  <c:v>-0.73061014509072897</c:v>
                </c:pt>
                <c:pt idx="3138">
                  <c:v>-0.72231312714348594</c:v>
                </c:pt>
                <c:pt idx="3139">
                  <c:v>-0.78454076174780996</c:v>
                </c:pt>
                <c:pt idx="3140">
                  <c:v>-0.82602585148402696</c:v>
                </c:pt>
                <c:pt idx="3141">
                  <c:v>-0.80943181558954003</c:v>
                </c:pt>
                <c:pt idx="3142">
                  <c:v>-0.759649707906081</c:v>
                </c:pt>
                <c:pt idx="3143">
                  <c:v>-0.90899603095645898</c:v>
                </c:pt>
                <c:pt idx="3144">
                  <c:v>-1.0210057732442399</c:v>
                </c:pt>
                <c:pt idx="3145">
                  <c:v>-1.0666393719540801</c:v>
                </c:pt>
                <c:pt idx="3146">
                  <c:v>-1.0417483181123499</c:v>
                </c:pt>
                <c:pt idx="3147">
                  <c:v>-1.02930279119149</c:v>
                </c:pt>
                <c:pt idx="3148">
                  <c:v>-1.0458968270859701</c:v>
                </c:pt>
                <c:pt idx="3149">
                  <c:v>-1.01685726427062</c:v>
                </c:pt>
                <c:pt idx="3150">
                  <c:v>-1.07493638990132</c:v>
                </c:pt>
                <c:pt idx="3151">
                  <c:v>-1.26576780268792</c:v>
                </c:pt>
                <c:pt idx="3152">
                  <c:v>-1.1496095514265099</c:v>
                </c:pt>
                <c:pt idx="3153">
                  <c:v>-1.2118371860308399</c:v>
                </c:pt>
                <c:pt idx="3154">
                  <c:v>-1.1745006052682401</c:v>
                </c:pt>
                <c:pt idx="3155">
                  <c:v>-1.1662035873209999</c:v>
                </c:pt>
                <c:pt idx="3156">
                  <c:v>-1.41096561676467</c:v>
                </c:pt>
                <c:pt idx="3157">
                  <c:v>-1.3860745629229501</c:v>
                </c:pt>
                <c:pt idx="3158">
                  <c:v>-1.2948073655032699</c:v>
                </c:pt>
                <c:pt idx="3159">
                  <c:v>-0.90484752198283702</c:v>
                </c:pt>
                <c:pt idx="3160">
                  <c:v>-0.92973857582456698</c:v>
                </c:pt>
                <c:pt idx="3161">
                  <c:v>-0.57711531306672903</c:v>
                </c:pt>
                <c:pt idx="3162">
                  <c:v>-0.48584811564705399</c:v>
                </c:pt>
                <c:pt idx="3163">
                  <c:v>-0.76794672585332402</c:v>
                </c:pt>
                <c:pt idx="3164">
                  <c:v>-0.92144155787732396</c:v>
                </c:pt>
                <c:pt idx="3165">
                  <c:v>-0.78454076174780996</c:v>
                </c:pt>
                <c:pt idx="3166">
                  <c:v>-0.96707515658716203</c:v>
                </c:pt>
                <c:pt idx="3167">
                  <c:v>-0.70986760022262096</c:v>
                </c:pt>
                <c:pt idx="3168">
                  <c:v>-0.33650179259667501</c:v>
                </c:pt>
                <c:pt idx="3169">
                  <c:v>-0.30331372080770302</c:v>
                </c:pt>
                <c:pt idx="3170">
                  <c:v>-0.332353283623054</c:v>
                </c:pt>
                <c:pt idx="3171">
                  <c:v>-0.51488767846240502</c:v>
                </c:pt>
                <c:pt idx="3172">
                  <c:v>-0.14152187083645901</c:v>
                </c:pt>
                <c:pt idx="3173">
                  <c:v>-0.11663081699473</c:v>
                </c:pt>
                <c:pt idx="3174">
                  <c:v>-0.108333799047486</c:v>
                </c:pt>
                <c:pt idx="3175">
                  <c:v>8.2497613739108105E-2</c:v>
                </c:pt>
                <c:pt idx="3176">
                  <c:v>3.2715506055648699E-2</c:v>
                </c:pt>
                <c:pt idx="3177">
                  <c:v>-3.3660637522297199E-2</c:v>
                </c:pt>
                <c:pt idx="3178">
                  <c:v>4.1012524002891897E-2</c:v>
                </c:pt>
                <c:pt idx="3179">
                  <c:v>0.21524990089500001</c:v>
                </c:pt>
                <c:pt idx="3180">
                  <c:v>-0.49829364256791903</c:v>
                </c:pt>
                <c:pt idx="3181">
                  <c:v>0.46830894828591901</c:v>
                </c:pt>
                <c:pt idx="3182">
                  <c:v>0.21524990089500001</c:v>
                </c:pt>
                <c:pt idx="3183">
                  <c:v>6.1755068870999998E-2</c:v>
                </c:pt>
                <c:pt idx="3184">
                  <c:v>4.1012524002891897E-2</c:v>
                </c:pt>
                <c:pt idx="3185">
                  <c:v>3.6864015029270301E-2</c:v>
                </c:pt>
                <c:pt idx="3186">
                  <c:v>-0.21204652338802699</c:v>
                </c:pt>
                <c:pt idx="3187">
                  <c:v>-0.11663081699473</c:v>
                </c:pt>
                <c:pt idx="3188">
                  <c:v>-9.1739763152999906E-2</c:v>
                </c:pt>
                <c:pt idx="3189">
                  <c:v>-4.19576554695405E-2</c:v>
                </c:pt>
                <c:pt idx="3190">
                  <c:v>-0.53148171435689195</c:v>
                </c:pt>
                <c:pt idx="3191">
                  <c:v>-0.40287793617462098</c:v>
                </c:pt>
                <c:pt idx="3192">
                  <c:v>-0.32405626567581097</c:v>
                </c:pt>
                <c:pt idx="3193">
                  <c:v>0.15717077526429701</c:v>
                </c:pt>
                <c:pt idx="3194">
                  <c:v>-0.295016702860459</c:v>
                </c:pt>
                <c:pt idx="3195">
                  <c:v>0.49320000212764797</c:v>
                </c:pt>
                <c:pt idx="3196">
                  <c:v>-0.34894731951753999</c:v>
                </c:pt>
                <c:pt idx="3197">
                  <c:v>-0.21204652338802699</c:v>
                </c:pt>
                <c:pt idx="3198">
                  <c:v>-4.62107470694591E-3</c:v>
                </c:pt>
                <c:pt idx="3199">
                  <c:v>-2.1215110601432399E-2</c:v>
                </c:pt>
                <c:pt idx="3200">
                  <c:v>0.25673499063121602</c:v>
                </c:pt>
                <c:pt idx="3201">
                  <c:v>0.43097236752332402</c:v>
                </c:pt>
                <c:pt idx="3202">
                  <c:v>-0.34065030157029702</c:v>
                </c:pt>
                <c:pt idx="3203">
                  <c:v>6.59035778446216E-2</c:v>
                </c:pt>
                <c:pt idx="3204">
                  <c:v>0.45586342136505398</c:v>
                </c:pt>
                <c:pt idx="3205">
                  <c:v>0.17791332013240499</c:v>
                </c:pt>
                <c:pt idx="3206">
                  <c:v>0.27747753549932402</c:v>
                </c:pt>
                <c:pt idx="3207">
                  <c:v>0.18621033807964901</c:v>
                </c:pt>
                <c:pt idx="3208">
                  <c:v>0.13642823039618901</c:v>
                </c:pt>
                <c:pt idx="3209">
                  <c:v>0.62180378030991901</c:v>
                </c:pt>
                <c:pt idx="3210">
                  <c:v>0.70477395978235102</c:v>
                </c:pt>
                <c:pt idx="3211">
                  <c:v>0.52223956494299995</c:v>
                </c:pt>
                <c:pt idx="3212">
                  <c:v>0.50564552904851301</c:v>
                </c:pt>
                <c:pt idx="3213">
                  <c:v>0.44756640341781101</c:v>
                </c:pt>
                <c:pt idx="3214">
                  <c:v>0.39363578676073002</c:v>
                </c:pt>
                <c:pt idx="3215">
                  <c:v>0.40193280470797299</c:v>
                </c:pt>
                <c:pt idx="3216">
                  <c:v>0.19865586500051299</c:v>
                </c:pt>
                <c:pt idx="3217">
                  <c:v>4.1012524002891897E-2</c:v>
                </c:pt>
                <c:pt idx="3218">
                  <c:v>1.19729611875406E-2</c:v>
                </c:pt>
                <c:pt idx="3219">
                  <c:v>-0.178858451599054</c:v>
                </c:pt>
                <c:pt idx="3220">
                  <c:v>-0.25768012209786501</c:v>
                </c:pt>
                <c:pt idx="3221">
                  <c:v>-0.36554135541202698</c:v>
                </c:pt>
                <c:pt idx="3222">
                  <c:v>-0.22034354133527001</c:v>
                </c:pt>
                <c:pt idx="3223">
                  <c:v>-0.68912505535451296</c:v>
                </c:pt>
                <c:pt idx="3224">
                  <c:v>-0.46095706180532398</c:v>
                </c:pt>
                <c:pt idx="3225">
                  <c:v>-0.52733320538327</c:v>
                </c:pt>
                <c:pt idx="3226">
                  <c:v>-0.58541233101397305</c:v>
                </c:pt>
                <c:pt idx="3227">
                  <c:v>-0.49829364256791903</c:v>
                </c:pt>
                <c:pt idx="3228">
                  <c:v>-0.51903618743602697</c:v>
                </c:pt>
                <c:pt idx="3229">
                  <c:v>-0.50659066051516199</c:v>
                </c:pt>
                <c:pt idx="3230">
                  <c:v>-0.52733320538327</c:v>
                </c:pt>
                <c:pt idx="3231">
                  <c:v>-0.52733320538327</c:v>
                </c:pt>
                <c:pt idx="3232">
                  <c:v>-0.61030338485570201</c:v>
                </c:pt>
                <c:pt idx="3233">
                  <c:v>-0.58126382204035099</c:v>
                </c:pt>
                <c:pt idx="3234">
                  <c:v>-0.73475865406435104</c:v>
                </c:pt>
                <c:pt idx="3235">
                  <c:v>-0.67667952843364798</c:v>
                </c:pt>
                <c:pt idx="3236">
                  <c:v>-0.63934294767105404</c:v>
                </c:pt>
                <c:pt idx="3237">
                  <c:v>-0.759649707906081</c:v>
                </c:pt>
                <c:pt idx="3238">
                  <c:v>-0.72231312714348594</c:v>
                </c:pt>
                <c:pt idx="3239">
                  <c:v>-0.80943181558954003</c:v>
                </c:pt>
                <c:pt idx="3240">
                  <c:v>-0.917293048903702</c:v>
                </c:pt>
                <c:pt idx="3241">
                  <c:v>-0.96292664761353997</c:v>
                </c:pt>
                <c:pt idx="3242">
                  <c:v>-0.95877813863991801</c:v>
                </c:pt>
                <c:pt idx="3243">
                  <c:v>-0.97122366556078299</c:v>
                </c:pt>
                <c:pt idx="3244">
                  <c:v>-0.97952068350802701</c:v>
                </c:pt>
                <c:pt idx="3245">
                  <c:v>-0.95462962966629705</c:v>
                </c:pt>
                <c:pt idx="3246">
                  <c:v>-0.96707515658716203</c:v>
                </c:pt>
                <c:pt idx="3247">
                  <c:v>-0.97952068350802701</c:v>
                </c:pt>
                <c:pt idx="3248">
                  <c:v>-0.97952068350802701</c:v>
                </c:pt>
                <c:pt idx="3249">
                  <c:v>-0.99196621042889099</c:v>
                </c:pt>
                <c:pt idx="3250">
                  <c:v>-1.01685726427062</c:v>
                </c:pt>
                <c:pt idx="3251">
                  <c:v>-0.98366919248164797</c:v>
                </c:pt>
                <c:pt idx="3252">
                  <c:v>-1.15790656937376</c:v>
                </c:pt>
                <c:pt idx="3253">
                  <c:v>-1.07908489887495</c:v>
                </c:pt>
                <c:pt idx="3254">
                  <c:v>-1.0002632283761299</c:v>
                </c:pt>
                <c:pt idx="3255">
                  <c:v>-0.72231312714348594</c:v>
                </c:pt>
                <c:pt idx="3256">
                  <c:v>-0.61445189382932397</c:v>
                </c:pt>
                <c:pt idx="3257">
                  <c:v>-0.46510557077894599</c:v>
                </c:pt>
                <c:pt idx="3258">
                  <c:v>-0.56881829511948601</c:v>
                </c:pt>
                <c:pt idx="3259">
                  <c:v>-0.643491456644675</c:v>
                </c:pt>
                <c:pt idx="3260">
                  <c:v>-0.62689742075018895</c:v>
                </c:pt>
                <c:pt idx="3261">
                  <c:v>-0.58956083998759401</c:v>
                </c:pt>
                <c:pt idx="3262">
                  <c:v>-0.44436302591083798</c:v>
                </c:pt>
                <c:pt idx="3263">
                  <c:v>-0.34894731951753999</c:v>
                </c:pt>
                <c:pt idx="3264">
                  <c:v>-0.61860040280294604</c:v>
                </c:pt>
                <c:pt idx="3265">
                  <c:v>-0.49829364256791903</c:v>
                </c:pt>
                <c:pt idx="3266">
                  <c:v>-0.42362048104272898</c:v>
                </c:pt>
                <c:pt idx="3267">
                  <c:v>-0.34479881054391898</c:v>
                </c:pt>
                <c:pt idx="3268">
                  <c:v>-0.21204652338802699</c:v>
                </c:pt>
                <c:pt idx="3269">
                  <c:v>-0.23278906825613499</c:v>
                </c:pt>
                <c:pt idx="3270">
                  <c:v>-0.13737336186283799</c:v>
                </c:pt>
                <c:pt idx="3271">
                  <c:v>-8.7695836805675303E-3</c:v>
                </c:pt>
                <c:pt idx="3272">
                  <c:v>-0.17470994262543199</c:v>
                </c:pt>
                <c:pt idx="3273">
                  <c:v>9.9091649633594597E-2</c:v>
                </c:pt>
                <c:pt idx="3274">
                  <c:v>-0.18300696057267599</c:v>
                </c:pt>
                <c:pt idx="3275">
                  <c:v>-0.48169960667343198</c:v>
                </c:pt>
                <c:pt idx="3276">
                  <c:v>-0.35724433746478401</c:v>
                </c:pt>
                <c:pt idx="3277">
                  <c:v>0.59691272646818905</c:v>
                </c:pt>
                <c:pt idx="3278">
                  <c:v>0.55542763673197304</c:v>
                </c:pt>
                <c:pt idx="3279">
                  <c:v>0.14887375731705399</c:v>
                </c:pt>
                <c:pt idx="3280">
                  <c:v>0.29822008036743203</c:v>
                </c:pt>
                <c:pt idx="3281">
                  <c:v>0.31066560728829701</c:v>
                </c:pt>
                <c:pt idx="3282">
                  <c:v>0.406081313681594</c:v>
                </c:pt>
                <c:pt idx="3283">
                  <c:v>0.36044771497175698</c:v>
                </c:pt>
                <c:pt idx="3284">
                  <c:v>0.36874473291900001</c:v>
                </c:pt>
                <c:pt idx="3285">
                  <c:v>-1.29180926541891E-2</c:v>
                </c:pt>
                <c:pt idx="3286">
                  <c:v>0.26503200857845899</c:v>
                </c:pt>
                <c:pt idx="3287">
                  <c:v>-0.16641292467818899</c:v>
                </c:pt>
                <c:pt idx="3288">
                  <c:v>-1.7066601627810801E-2</c:v>
                </c:pt>
                <c:pt idx="3289">
                  <c:v>0.48075447520678399</c:v>
                </c:pt>
                <c:pt idx="3290">
                  <c:v>0.385338768813486</c:v>
                </c:pt>
                <c:pt idx="3291">
                  <c:v>-4.6106164443162102E-2</c:v>
                </c:pt>
                <c:pt idx="3292">
                  <c:v>-7.5145727258513401E-2</c:v>
                </c:pt>
                <c:pt idx="3293">
                  <c:v>0.45586342136505398</c:v>
                </c:pt>
                <c:pt idx="3294">
                  <c:v>0.443417894444189</c:v>
                </c:pt>
                <c:pt idx="3295">
                  <c:v>0.43097236752332402</c:v>
                </c:pt>
                <c:pt idx="3296">
                  <c:v>0.50564552904851301</c:v>
                </c:pt>
                <c:pt idx="3297">
                  <c:v>0.67158588799337804</c:v>
                </c:pt>
                <c:pt idx="3298">
                  <c:v>0.56372465467921595</c:v>
                </c:pt>
                <c:pt idx="3299">
                  <c:v>0.22769542781586499</c:v>
                </c:pt>
                <c:pt idx="3300">
                  <c:v>0.20695288294775699</c:v>
                </c:pt>
                <c:pt idx="3301">
                  <c:v>0.36874473291900001</c:v>
                </c:pt>
                <c:pt idx="3302">
                  <c:v>-0.120779325968351</c:v>
                </c:pt>
                <c:pt idx="3303">
                  <c:v>-0.187155469546297</c:v>
                </c:pt>
                <c:pt idx="3304">
                  <c:v>-0.31161073875494599</c:v>
                </c:pt>
                <c:pt idx="3305">
                  <c:v>-0.43606600796359402</c:v>
                </c:pt>
                <c:pt idx="3306">
                  <c:v>-0.31161073875494599</c:v>
                </c:pt>
                <c:pt idx="3307">
                  <c:v>-0.469254079752567</c:v>
                </c:pt>
                <c:pt idx="3308">
                  <c:v>-0.489996624620675</c:v>
                </c:pt>
                <c:pt idx="3309">
                  <c:v>-0.55637276819862103</c:v>
                </c:pt>
                <c:pt idx="3310">
                  <c:v>-0.48584811564705399</c:v>
                </c:pt>
                <c:pt idx="3311">
                  <c:v>-0.50659066051516199</c:v>
                </c:pt>
                <c:pt idx="3312">
                  <c:v>-0.53977873230413498</c:v>
                </c:pt>
                <c:pt idx="3313">
                  <c:v>-0.69327356432813503</c:v>
                </c:pt>
                <c:pt idx="3314">
                  <c:v>-0.69327356432813503</c:v>
                </c:pt>
                <c:pt idx="3315">
                  <c:v>-0.62274891177656699</c:v>
                </c:pt>
                <c:pt idx="3316">
                  <c:v>-0.72646163611710801</c:v>
                </c:pt>
                <c:pt idx="3317">
                  <c:v>-0.63934294767105404</c:v>
                </c:pt>
                <c:pt idx="3318">
                  <c:v>-0.73890716303797299</c:v>
                </c:pt>
                <c:pt idx="3319">
                  <c:v>-0.78868927072143202</c:v>
                </c:pt>
                <c:pt idx="3320">
                  <c:v>-0.76379821687970195</c:v>
                </c:pt>
                <c:pt idx="3321">
                  <c:v>-0.76379821687970195</c:v>
                </c:pt>
                <c:pt idx="3322">
                  <c:v>-0.70571909124900001</c:v>
                </c:pt>
                <c:pt idx="3323">
                  <c:v>-0.77209523482694598</c:v>
                </c:pt>
                <c:pt idx="3324">
                  <c:v>-0.66838251048640496</c:v>
                </c:pt>
                <c:pt idx="3325">
                  <c:v>-1.02930279119149</c:v>
                </c:pt>
                <c:pt idx="3326">
                  <c:v>-0.96707515658716203</c:v>
                </c:pt>
                <c:pt idx="3327">
                  <c:v>-1.05834235400684</c:v>
                </c:pt>
                <c:pt idx="3328">
                  <c:v>-1.0251542822178601</c:v>
                </c:pt>
                <c:pt idx="3329">
                  <c:v>-1.07908489887495</c:v>
                </c:pt>
                <c:pt idx="3330">
                  <c:v>-1.0458968270859701</c:v>
                </c:pt>
                <c:pt idx="3331">
                  <c:v>-1.0210057732442399</c:v>
                </c:pt>
                <c:pt idx="3332">
                  <c:v>-1.05419384503322</c:v>
                </c:pt>
                <c:pt idx="3333">
                  <c:v>-1.0873819168221901</c:v>
                </c:pt>
                <c:pt idx="3334">
                  <c:v>-1.0666393719540801</c:v>
                </c:pt>
                <c:pt idx="3335">
                  <c:v>-1.09567893476943</c:v>
                </c:pt>
                <c:pt idx="3336">
                  <c:v>-1.0666393719540801</c:v>
                </c:pt>
                <c:pt idx="3337">
                  <c:v>-1.05419384503322</c:v>
                </c:pt>
                <c:pt idx="3338">
                  <c:v>-1.1330155155320301</c:v>
                </c:pt>
                <c:pt idx="3339">
                  <c:v>-1.05419384503322</c:v>
                </c:pt>
                <c:pt idx="3340">
                  <c:v>-1.0666393719540801</c:v>
                </c:pt>
                <c:pt idx="3341">
                  <c:v>-1.0707878809277001</c:v>
                </c:pt>
                <c:pt idx="3342">
                  <c:v>-1.0707878809277001</c:v>
                </c:pt>
                <c:pt idx="3343">
                  <c:v>-1.0873819168221901</c:v>
                </c:pt>
                <c:pt idx="3344">
                  <c:v>-1.2076886770572199</c:v>
                </c:pt>
                <c:pt idx="3345">
                  <c:v>-1.11642147963754</c:v>
                </c:pt>
                <c:pt idx="3346">
                  <c:v>-1.0500453360595901</c:v>
                </c:pt>
                <c:pt idx="3347">
                  <c:v>-0.801134797642297</c:v>
                </c:pt>
                <c:pt idx="3348">
                  <c:v>-0.69742207330175598</c:v>
                </c:pt>
                <c:pt idx="3349">
                  <c:v>-0.332353283623054</c:v>
                </c:pt>
                <c:pt idx="3350">
                  <c:v>-0.37383837335927</c:v>
                </c:pt>
                <c:pt idx="3351">
                  <c:v>-0.46510557077894599</c:v>
                </c:pt>
                <c:pt idx="3352">
                  <c:v>-0.62689742075018895</c:v>
                </c:pt>
                <c:pt idx="3353">
                  <c:v>-0.448511534884459</c:v>
                </c:pt>
                <c:pt idx="3354">
                  <c:v>-0.55222425922499996</c:v>
                </c:pt>
                <c:pt idx="3355">
                  <c:v>-0.27012564901872999</c:v>
                </c:pt>
                <c:pt idx="3356">
                  <c:v>-0.207898014414405</c:v>
                </c:pt>
                <c:pt idx="3357">
                  <c:v>-0.31575924772856701</c:v>
                </c:pt>
                <c:pt idx="3358">
                  <c:v>-0.32405626567581097</c:v>
                </c:pt>
                <c:pt idx="3359">
                  <c:v>-0.236937577229757</c:v>
                </c:pt>
                <c:pt idx="3360">
                  <c:v>-0.27012564901872999</c:v>
                </c:pt>
                <c:pt idx="3361">
                  <c:v>-0.34065030157029702</c:v>
                </c:pt>
                <c:pt idx="3362">
                  <c:v>-0.31575924772856701</c:v>
                </c:pt>
                <c:pt idx="3363">
                  <c:v>-0.25768012209786501</c:v>
                </c:pt>
                <c:pt idx="3364">
                  <c:v>-0.33650179259667501</c:v>
                </c:pt>
                <c:pt idx="3365">
                  <c:v>-0.295016702860459</c:v>
                </c:pt>
                <c:pt idx="3366">
                  <c:v>-0.29086819388683799</c:v>
                </c:pt>
                <c:pt idx="3367">
                  <c:v>-0.22449205030889199</c:v>
                </c:pt>
                <c:pt idx="3368">
                  <c:v>-0.19130397851991901</c:v>
                </c:pt>
                <c:pt idx="3369">
                  <c:v>1.61214701611622E-2</c:v>
                </c:pt>
                <c:pt idx="3370">
                  <c:v>-9.1739763152999906E-2</c:v>
                </c:pt>
                <c:pt idx="3371">
                  <c:v>-0.684976546380892</c:v>
                </c:pt>
                <c:pt idx="3372">
                  <c:v>-0.64763996561829695</c:v>
                </c:pt>
                <c:pt idx="3373">
                  <c:v>0.72136799567683796</c:v>
                </c:pt>
                <c:pt idx="3374">
                  <c:v>0.44756640341781101</c:v>
                </c:pt>
                <c:pt idx="3375">
                  <c:v>0.559576145705594</c:v>
                </c:pt>
                <c:pt idx="3376">
                  <c:v>-0.149818888783703</c:v>
                </c:pt>
                <c:pt idx="3377">
                  <c:v>-0.17056143365181101</c:v>
                </c:pt>
                <c:pt idx="3378">
                  <c:v>0.56787316365283802</c:v>
                </c:pt>
                <c:pt idx="3379">
                  <c:v>0.44756640341781101</c:v>
                </c:pt>
                <c:pt idx="3380">
                  <c:v>0.11153717655445899</c:v>
                </c:pt>
                <c:pt idx="3381">
                  <c:v>-0.13322485288921601</c:v>
                </c:pt>
                <c:pt idx="3382">
                  <c:v>0.45586342136505398</c:v>
                </c:pt>
                <c:pt idx="3383">
                  <c:v>0.33970517010364898</c:v>
                </c:pt>
                <c:pt idx="3384">
                  <c:v>0.34385367907726999</c:v>
                </c:pt>
                <c:pt idx="3385">
                  <c:v>0.53053658289024297</c:v>
                </c:pt>
                <c:pt idx="3386">
                  <c:v>0.24014095473673</c:v>
                </c:pt>
                <c:pt idx="3387">
                  <c:v>0.33970517010364898</c:v>
                </c:pt>
                <c:pt idx="3388">
                  <c:v>-0.14152187083645901</c:v>
                </c:pt>
                <c:pt idx="3389">
                  <c:v>0.45171491239143202</c:v>
                </c:pt>
                <c:pt idx="3390">
                  <c:v>0.43097236752332402</c:v>
                </c:pt>
                <c:pt idx="3391">
                  <c:v>-6.2700200337648601E-2</c:v>
                </c:pt>
                <c:pt idx="3392">
                  <c:v>0.443417894444189</c:v>
                </c:pt>
                <c:pt idx="3393">
                  <c:v>0.211101391921378</c:v>
                </c:pt>
                <c:pt idx="3394">
                  <c:v>9.4943140659973002E-2</c:v>
                </c:pt>
                <c:pt idx="3395">
                  <c:v>-3.7809146495918898E-2</c:v>
                </c:pt>
                <c:pt idx="3396">
                  <c:v>8.6646122712729701E-2</c:v>
                </c:pt>
                <c:pt idx="3397">
                  <c:v>2.4418488108405401E-2</c:v>
                </c:pt>
                <c:pt idx="3398">
                  <c:v>-0.15396739775732399</c:v>
                </c:pt>
                <c:pt idx="3399">
                  <c:v>1.61214701611622E-2</c:v>
                </c:pt>
                <c:pt idx="3400">
                  <c:v>-4.19576554695405E-2</c:v>
                </c:pt>
                <c:pt idx="3401">
                  <c:v>-0.19960099646716201</c:v>
                </c:pt>
                <c:pt idx="3402">
                  <c:v>-0.34065030157029702</c:v>
                </c:pt>
                <c:pt idx="3403">
                  <c:v>-0.11248230802110799</c:v>
                </c:pt>
                <c:pt idx="3404">
                  <c:v>6.59035778446216E-2</c:v>
                </c:pt>
                <c:pt idx="3405">
                  <c:v>0.103240158607216</c:v>
                </c:pt>
                <c:pt idx="3406">
                  <c:v>-0.32405626567581097</c:v>
                </c:pt>
                <c:pt idx="3407">
                  <c:v>-0.22449205030889199</c:v>
                </c:pt>
                <c:pt idx="3408">
                  <c:v>-0.25353161312424299</c:v>
                </c:pt>
                <c:pt idx="3409">
                  <c:v>-0.448511534884459</c:v>
                </c:pt>
                <c:pt idx="3410">
                  <c:v>-0.59370934896121597</c:v>
                </c:pt>
                <c:pt idx="3411">
                  <c:v>-0.51488767846240502</c:v>
                </c:pt>
                <c:pt idx="3412">
                  <c:v>-0.548075750251378</c:v>
                </c:pt>
                <c:pt idx="3413">
                  <c:v>-0.45266004385808101</c:v>
                </c:pt>
                <c:pt idx="3414">
                  <c:v>-0.46510557077894599</c:v>
                </c:pt>
                <c:pt idx="3415">
                  <c:v>-0.50244215154154004</c:v>
                </c:pt>
                <c:pt idx="3416">
                  <c:v>-0.50659066051516199</c:v>
                </c:pt>
                <c:pt idx="3417">
                  <c:v>-0.62274891177656699</c:v>
                </c:pt>
                <c:pt idx="3418">
                  <c:v>-0.82602585148402696</c:v>
                </c:pt>
                <c:pt idx="3419">
                  <c:v>-0.72646163611710801</c:v>
                </c:pt>
                <c:pt idx="3420">
                  <c:v>-0.84676839635213497</c:v>
                </c:pt>
                <c:pt idx="3421">
                  <c:v>-0.99196621042889099</c:v>
                </c:pt>
                <c:pt idx="3422">
                  <c:v>-0.94218410274543196</c:v>
                </c:pt>
                <c:pt idx="3423">
                  <c:v>-0.92144155787732396</c:v>
                </c:pt>
                <c:pt idx="3424">
                  <c:v>-0.97952068350802701</c:v>
                </c:pt>
                <c:pt idx="3425">
                  <c:v>-0.96292664761353997</c:v>
                </c:pt>
                <c:pt idx="3426">
                  <c:v>-0.97952068350802701</c:v>
                </c:pt>
                <c:pt idx="3427">
                  <c:v>-0.97952068350802701</c:v>
                </c:pt>
                <c:pt idx="3428">
                  <c:v>-0.97122366556078299</c:v>
                </c:pt>
                <c:pt idx="3429">
                  <c:v>-0.97952068350802701</c:v>
                </c:pt>
                <c:pt idx="3430">
                  <c:v>-0.97952068350802701</c:v>
                </c:pt>
                <c:pt idx="3431">
                  <c:v>-1.00856024632338</c:v>
                </c:pt>
                <c:pt idx="3432">
                  <c:v>-0.97952068350802701</c:v>
                </c:pt>
                <c:pt idx="3433">
                  <c:v>-1.0210057732442399</c:v>
                </c:pt>
                <c:pt idx="3434">
                  <c:v>-0.99196621042889099</c:v>
                </c:pt>
                <c:pt idx="3435">
                  <c:v>-1.0210057732442399</c:v>
                </c:pt>
                <c:pt idx="3436">
                  <c:v>-1.03345130016511</c:v>
                </c:pt>
                <c:pt idx="3437">
                  <c:v>-1.0417483181123499</c:v>
                </c:pt>
                <c:pt idx="3438">
                  <c:v>-1.02930279119149</c:v>
                </c:pt>
                <c:pt idx="3439">
                  <c:v>-1.0832334078485699</c:v>
                </c:pt>
                <c:pt idx="3440">
                  <c:v>-0.896550504035594</c:v>
                </c:pt>
                <c:pt idx="3441">
                  <c:v>-0.76379821687970195</c:v>
                </c:pt>
                <c:pt idx="3442">
                  <c:v>-0.79698628866867505</c:v>
                </c:pt>
                <c:pt idx="3443">
                  <c:v>-0.57711531306672903</c:v>
                </c:pt>
                <c:pt idx="3444">
                  <c:v>-0.74305567201159395</c:v>
                </c:pt>
                <c:pt idx="3445">
                  <c:v>-0.87580795916748599</c:v>
                </c:pt>
                <c:pt idx="3446">
                  <c:v>-0.780392252774189</c:v>
                </c:pt>
                <c:pt idx="3447">
                  <c:v>-0.79283777969505398</c:v>
                </c:pt>
                <c:pt idx="3448">
                  <c:v>-0.63519443869743197</c:v>
                </c:pt>
                <c:pt idx="3449">
                  <c:v>-0.67253101946002702</c:v>
                </c:pt>
                <c:pt idx="3450">
                  <c:v>-0.548075750251378</c:v>
                </c:pt>
                <c:pt idx="3451">
                  <c:v>-0.48584811564705399</c:v>
                </c:pt>
                <c:pt idx="3452">
                  <c:v>-0.49414513359429701</c:v>
                </c:pt>
                <c:pt idx="3453">
                  <c:v>-0.36554135541202698</c:v>
                </c:pt>
                <c:pt idx="3454">
                  <c:v>-7.0997218284891805E-2</c:v>
                </c:pt>
                <c:pt idx="3455">
                  <c:v>0.406081313681594</c:v>
                </c:pt>
                <c:pt idx="3456">
                  <c:v>0.40193280470797299</c:v>
                </c:pt>
                <c:pt idx="3457">
                  <c:v>1.61214701611622E-2</c:v>
                </c:pt>
                <c:pt idx="3458">
                  <c:v>-0.120779325968351</c:v>
                </c:pt>
                <c:pt idx="3459">
                  <c:v>-0.36139284643840502</c:v>
                </c:pt>
                <c:pt idx="3460">
                  <c:v>-0.25768012209786501</c:v>
                </c:pt>
                <c:pt idx="3461">
                  <c:v>-0.31575924772856701</c:v>
                </c:pt>
                <c:pt idx="3462">
                  <c:v>-0.31161073875494599</c:v>
                </c:pt>
                <c:pt idx="3463">
                  <c:v>0.25258648165759501</c:v>
                </c:pt>
                <c:pt idx="3464">
                  <c:v>0.34385367907726999</c:v>
                </c:pt>
                <c:pt idx="3465">
                  <c:v>0.107388667580838</c:v>
                </c:pt>
                <c:pt idx="3466">
                  <c:v>-0.45266004385808101</c:v>
                </c:pt>
                <c:pt idx="3467">
                  <c:v>-0.56052127717224298</c:v>
                </c:pt>
                <c:pt idx="3468">
                  <c:v>-0.53148171435689195</c:v>
                </c:pt>
                <c:pt idx="3469">
                  <c:v>-0.30331372080770302</c:v>
                </c:pt>
                <c:pt idx="3470">
                  <c:v>-0.25768012209786501</c:v>
                </c:pt>
                <c:pt idx="3471">
                  <c:v>0.30236858934105398</c:v>
                </c:pt>
                <c:pt idx="3472">
                  <c:v>0.15717077526429701</c:v>
                </c:pt>
                <c:pt idx="3473">
                  <c:v>0.161319284237919</c:v>
                </c:pt>
                <c:pt idx="3474">
                  <c:v>0.119834194501703</c:v>
                </c:pt>
                <c:pt idx="3475">
                  <c:v>-0.44436302591083798</c:v>
                </c:pt>
                <c:pt idx="3476">
                  <c:v>-0.21204652338802699</c:v>
                </c:pt>
                <c:pt idx="3477">
                  <c:v>-0.245234595177</c:v>
                </c:pt>
                <c:pt idx="3478">
                  <c:v>-0.245234595177</c:v>
                </c:pt>
                <c:pt idx="3479">
                  <c:v>0.49320000212764797</c:v>
                </c:pt>
                <c:pt idx="3480">
                  <c:v>-3.3660637522297199E-2</c:v>
                </c:pt>
                <c:pt idx="3481">
                  <c:v>-0.32820477464943199</c:v>
                </c:pt>
                <c:pt idx="3482">
                  <c:v>0.103240158607216</c:v>
                </c:pt>
                <c:pt idx="3483">
                  <c:v>0.29822008036743203</c:v>
                </c:pt>
                <c:pt idx="3484">
                  <c:v>0.34385367907726999</c:v>
                </c:pt>
                <c:pt idx="3485">
                  <c:v>0.38948727778710801</c:v>
                </c:pt>
                <c:pt idx="3486">
                  <c:v>0.38948727778710801</c:v>
                </c:pt>
                <c:pt idx="3487">
                  <c:v>0.37289324189262102</c:v>
                </c:pt>
                <c:pt idx="3488">
                  <c:v>0.29407157139381102</c:v>
                </c:pt>
                <c:pt idx="3489">
                  <c:v>-0.26182863107148602</c:v>
                </c:pt>
                <c:pt idx="3490">
                  <c:v>-0.124927834941973</c:v>
                </c:pt>
                <c:pt idx="3491">
                  <c:v>-0.27012564901872999</c:v>
                </c:pt>
                <c:pt idx="3492">
                  <c:v>-0.29086819388683799</c:v>
                </c:pt>
                <c:pt idx="3493">
                  <c:v>-0.35724433746478401</c:v>
                </c:pt>
                <c:pt idx="3494">
                  <c:v>-0.274274157992351</c:v>
                </c:pt>
                <c:pt idx="3495">
                  <c:v>-0.34894731951753999</c:v>
                </c:pt>
                <c:pt idx="3496">
                  <c:v>-0.431917498989973</c:v>
                </c:pt>
                <c:pt idx="3497">
                  <c:v>-0.47340258872618901</c:v>
                </c:pt>
                <c:pt idx="3498">
                  <c:v>-0.58541233101397305</c:v>
                </c:pt>
                <c:pt idx="3499">
                  <c:v>-0.61030338485570201</c:v>
                </c:pt>
                <c:pt idx="3500">
                  <c:v>-0.68912505535451296</c:v>
                </c:pt>
                <c:pt idx="3501">
                  <c:v>-0.643491456644675</c:v>
                </c:pt>
                <c:pt idx="3502">
                  <c:v>-0.60615487588208095</c:v>
                </c:pt>
                <c:pt idx="3503">
                  <c:v>-0.74720418098521602</c:v>
                </c:pt>
                <c:pt idx="3504">
                  <c:v>-0.69742207330175598</c:v>
                </c:pt>
                <c:pt idx="3505">
                  <c:v>-0.88825348608835097</c:v>
                </c:pt>
                <c:pt idx="3506">
                  <c:v>-0.98366919248164797</c:v>
                </c:pt>
                <c:pt idx="3507">
                  <c:v>-0.93388708479818905</c:v>
                </c:pt>
                <c:pt idx="3508">
                  <c:v>-1.02930279119149</c:v>
                </c:pt>
                <c:pt idx="3509">
                  <c:v>-0.780392252774189</c:v>
                </c:pt>
                <c:pt idx="3510">
                  <c:v>-0.86336243224662101</c:v>
                </c:pt>
                <c:pt idx="3511">
                  <c:v>-0.896550504035594</c:v>
                </c:pt>
                <c:pt idx="3512">
                  <c:v>-0.80528330661591896</c:v>
                </c:pt>
                <c:pt idx="3513">
                  <c:v>-0.83432286943126999</c:v>
                </c:pt>
                <c:pt idx="3514">
                  <c:v>-0.78454076174780996</c:v>
                </c:pt>
                <c:pt idx="3515">
                  <c:v>-0.82602585148402696</c:v>
                </c:pt>
                <c:pt idx="3516">
                  <c:v>-0.85921392327299995</c:v>
                </c:pt>
                <c:pt idx="3517">
                  <c:v>-0.411174954121865</c:v>
                </c:pt>
                <c:pt idx="3518">
                  <c:v>-0.23278906825613499</c:v>
                </c:pt>
                <c:pt idx="3519">
                  <c:v>-0.67253101946002702</c:v>
                </c:pt>
                <c:pt idx="3520">
                  <c:v>-0.74720418098521602</c:v>
                </c:pt>
                <c:pt idx="3521">
                  <c:v>-1.7066601627810801E-2</c:v>
                </c:pt>
                <c:pt idx="3522">
                  <c:v>7.0052086818243306E-2</c:v>
                </c:pt>
                <c:pt idx="3523">
                  <c:v>7.4200595791864901E-2</c:v>
                </c:pt>
                <c:pt idx="3524">
                  <c:v>-0.46510557077894599</c:v>
                </c:pt>
                <c:pt idx="3525">
                  <c:v>-0.34894731951753999</c:v>
                </c:pt>
                <c:pt idx="3526">
                  <c:v>-0.24938310415062101</c:v>
                </c:pt>
                <c:pt idx="3527">
                  <c:v>-4.6106164443162102E-2</c:v>
                </c:pt>
                <c:pt idx="3528">
                  <c:v>3.6864015029270301E-2</c:v>
                </c:pt>
                <c:pt idx="3529">
                  <c:v>8.6646122712729701E-2</c:v>
                </c:pt>
                <c:pt idx="3530">
                  <c:v>-0.22449205030889199</c:v>
                </c:pt>
                <c:pt idx="3531">
                  <c:v>-0.17056143365181101</c:v>
                </c:pt>
                <c:pt idx="3532">
                  <c:v>-2.1215110601432399E-2</c:v>
                </c:pt>
                <c:pt idx="3533">
                  <c:v>-0.13322485288921601</c:v>
                </c:pt>
                <c:pt idx="3534">
                  <c:v>6.1755068870999998E-2</c:v>
                </c:pt>
                <c:pt idx="3535">
                  <c:v>-0.20374950544078399</c:v>
                </c:pt>
                <c:pt idx="3536">
                  <c:v>-0.14567037981008099</c:v>
                </c:pt>
                <c:pt idx="3537">
                  <c:v>-1.7066601627810801E-2</c:v>
                </c:pt>
                <c:pt idx="3538">
                  <c:v>0.103240158607216</c:v>
                </c:pt>
                <c:pt idx="3539">
                  <c:v>0.25258648165759501</c:v>
                </c:pt>
                <c:pt idx="3540">
                  <c:v>-4.62107470694591E-3</c:v>
                </c:pt>
                <c:pt idx="3541">
                  <c:v>7.8349104765486496E-2</c:v>
                </c:pt>
                <c:pt idx="3542">
                  <c:v>-2.95121285486756E-2</c:v>
                </c:pt>
                <c:pt idx="3543">
                  <c:v>8.6646122712729701E-2</c:v>
                </c:pt>
                <c:pt idx="3544">
                  <c:v>0.15717077526429701</c:v>
                </c:pt>
                <c:pt idx="3545">
                  <c:v>-0.149818888783703</c:v>
                </c:pt>
                <c:pt idx="3546">
                  <c:v>-0.32820477464943199</c:v>
                </c:pt>
                <c:pt idx="3547">
                  <c:v>-0.25768012209786501</c:v>
                </c:pt>
                <c:pt idx="3548">
                  <c:v>-0.207898014414405</c:v>
                </c:pt>
                <c:pt idx="3549">
                  <c:v>-5.0254673416783698E-2</c:v>
                </c:pt>
                <c:pt idx="3550">
                  <c:v>-0.129076343915595</c:v>
                </c:pt>
                <c:pt idx="3551">
                  <c:v>-0.178858451599054</c:v>
                </c:pt>
                <c:pt idx="3552">
                  <c:v>6.59035778446216E-2</c:v>
                </c:pt>
                <c:pt idx="3553">
                  <c:v>-0.25353161312424299</c:v>
                </c:pt>
                <c:pt idx="3554">
                  <c:v>-0.23278906825613499</c:v>
                </c:pt>
                <c:pt idx="3555">
                  <c:v>-9.5888272126621502E-2</c:v>
                </c:pt>
                <c:pt idx="3556">
                  <c:v>-0.17470994262543199</c:v>
                </c:pt>
                <c:pt idx="3557">
                  <c:v>-0.13737336186283799</c:v>
                </c:pt>
                <c:pt idx="3558">
                  <c:v>-0.15396739775732399</c:v>
                </c:pt>
                <c:pt idx="3559">
                  <c:v>-0.16641292467818899</c:v>
                </c:pt>
                <c:pt idx="3560">
                  <c:v>-0.236937577229757</c:v>
                </c:pt>
                <c:pt idx="3561">
                  <c:v>-0.26597714004510797</c:v>
                </c:pt>
                <c:pt idx="3562">
                  <c:v>-0.45266004385808101</c:v>
                </c:pt>
                <c:pt idx="3563">
                  <c:v>-0.39458091822737801</c:v>
                </c:pt>
                <c:pt idx="3564">
                  <c:v>-0.34065030157029702</c:v>
                </c:pt>
                <c:pt idx="3565">
                  <c:v>-0.57711531306672903</c:v>
                </c:pt>
                <c:pt idx="3566">
                  <c:v>-0.62274891177656699</c:v>
                </c:pt>
                <c:pt idx="3567">
                  <c:v>-0.65178847459191902</c:v>
                </c:pt>
                <c:pt idx="3568">
                  <c:v>-0.73890716303797299</c:v>
                </c:pt>
                <c:pt idx="3569">
                  <c:v>-0.68912505535451296</c:v>
                </c:pt>
                <c:pt idx="3570">
                  <c:v>-0.73061014509072897</c:v>
                </c:pt>
                <c:pt idx="3571">
                  <c:v>-0.72646163611710801</c:v>
                </c:pt>
                <c:pt idx="3572">
                  <c:v>-0.74305567201159395</c:v>
                </c:pt>
                <c:pt idx="3573">
                  <c:v>-0.80528330661591896</c:v>
                </c:pt>
                <c:pt idx="3574">
                  <c:v>-0.80943181558954003</c:v>
                </c:pt>
                <c:pt idx="3575">
                  <c:v>-0.90484752198283702</c:v>
                </c:pt>
                <c:pt idx="3576">
                  <c:v>-0.90069901300921595</c:v>
                </c:pt>
                <c:pt idx="3577">
                  <c:v>-0.84676839635213497</c:v>
                </c:pt>
                <c:pt idx="3578">
                  <c:v>-0.93803559377181001</c:v>
                </c:pt>
                <c:pt idx="3579">
                  <c:v>-1.012708755297</c:v>
                </c:pt>
                <c:pt idx="3580">
                  <c:v>-1.13716402450565</c:v>
                </c:pt>
                <c:pt idx="3581">
                  <c:v>-1.1288670065584001</c:v>
                </c:pt>
                <c:pt idx="3582">
                  <c:v>-1.14131253347927</c:v>
                </c:pt>
                <c:pt idx="3583">
                  <c:v>-1.1330155155320301</c:v>
                </c:pt>
                <c:pt idx="3584">
                  <c:v>-1.1745006052682401</c:v>
                </c:pt>
                <c:pt idx="3585">
                  <c:v>-1.14131253347927</c:v>
                </c:pt>
                <c:pt idx="3586">
                  <c:v>-1.1662035873209999</c:v>
                </c:pt>
                <c:pt idx="3587">
                  <c:v>-1.1454610424528899</c:v>
                </c:pt>
                <c:pt idx="3588">
                  <c:v>-1.1454610424528899</c:v>
                </c:pt>
                <c:pt idx="3589">
                  <c:v>-1.1703520962946199</c:v>
                </c:pt>
                <c:pt idx="3590">
                  <c:v>-1.1039759527166799</c:v>
                </c:pt>
                <c:pt idx="3591">
                  <c:v>-1.13716402450565</c:v>
                </c:pt>
                <c:pt idx="3592">
                  <c:v>-0.93388708479818905</c:v>
                </c:pt>
                <c:pt idx="3593">
                  <c:v>-1.1869461321891099</c:v>
                </c:pt>
                <c:pt idx="3594">
                  <c:v>-1.18279762321549</c:v>
                </c:pt>
                <c:pt idx="3595">
                  <c:v>-1.17864911424186</c:v>
                </c:pt>
                <c:pt idx="3596">
                  <c:v>-1.0044117373497601</c:v>
                </c:pt>
                <c:pt idx="3597">
                  <c:v>-1.26991631166154</c:v>
                </c:pt>
                <c:pt idx="3598">
                  <c:v>-1.24502525781981</c:v>
                </c:pt>
                <c:pt idx="3599">
                  <c:v>-1.1869461321891099</c:v>
                </c:pt>
                <c:pt idx="3600">
                  <c:v>-0.98366919248164797</c:v>
                </c:pt>
                <c:pt idx="3601">
                  <c:v>-1.2076886770572199</c:v>
                </c:pt>
                <c:pt idx="3602">
                  <c:v>-1.2367282398725701</c:v>
                </c:pt>
                <c:pt idx="3603">
                  <c:v>-1.15790656937376</c:v>
                </c:pt>
                <c:pt idx="3604">
                  <c:v>-0.896550504035594</c:v>
                </c:pt>
                <c:pt idx="3605">
                  <c:v>-1.0666393719540801</c:v>
                </c:pt>
                <c:pt idx="3606">
                  <c:v>-1.0044117373497601</c:v>
                </c:pt>
                <c:pt idx="3607">
                  <c:v>-1.0044117373497601</c:v>
                </c:pt>
                <c:pt idx="3608">
                  <c:v>-0.95877813863991801</c:v>
                </c:pt>
                <c:pt idx="3609">
                  <c:v>-1.1537580604001301</c:v>
                </c:pt>
                <c:pt idx="3610">
                  <c:v>-1.14131253347927</c:v>
                </c:pt>
                <c:pt idx="3611">
                  <c:v>-0.89240199506197204</c:v>
                </c:pt>
                <c:pt idx="3612">
                  <c:v>-1.00856024632338</c:v>
                </c:pt>
                <c:pt idx="3613">
                  <c:v>-1.0458968270859701</c:v>
                </c:pt>
                <c:pt idx="3614">
                  <c:v>-0.85921392327299995</c:v>
                </c:pt>
                <c:pt idx="3615">
                  <c:v>-1.0832334078485699</c:v>
                </c:pt>
                <c:pt idx="3616">
                  <c:v>-1.09982744374305</c:v>
                </c:pt>
                <c:pt idx="3617">
                  <c:v>-0.76794672585332402</c:v>
                </c:pt>
                <c:pt idx="3618">
                  <c:v>-0.95877813863991801</c:v>
                </c:pt>
                <c:pt idx="3619">
                  <c:v>-0.92144155787732396</c:v>
                </c:pt>
                <c:pt idx="3620">
                  <c:v>-0.68082803740727005</c:v>
                </c:pt>
                <c:pt idx="3621">
                  <c:v>-0.64763996561829695</c:v>
                </c:pt>
                <c:pt idx="3622">
                  <c:v>-0.65593698356553998</c:v>
                </c:pt>
                <c:pt idx="3623">
                  <c:v>-0.70571909124900001</c:v>
                </c:pt>
                <c:pt idx="3624">
                  <c:v>-0.684976546380892</c:v>
                </c:pt>
                <c:pt idx="3625">
                  <c:v>-0.59785785793483703</c:v>
                </c:pt>
                <c:pt idx="3626">
                  <c:v>-0.66008549253916204</c:v>
                </c:pt>
                <c:pt idx="3627">
                  <c:v>-0.70986760022262096</c:v>
                </c:pt>
                <c:pt idx="3628">
                  <c:v>-0.75135268995883697</c:v>
                </c:pt>
                <c:pt idx="3629">
                  <c:v>-0.66838251048640496</c:v>
                </c:pt>
                <c:pt idx="3630">
                  <c:v>-0.63934294767105404</c:v>
                </c:pt>
                <c:pt idx="3631">
                  <c:v>-0.42776899001635099</c:v>
                </c:pt>
                <c:pt idx="3632">
                  <c:v>-0.72646163611710801</c:v>
                </c:pt>
                <c:pt idx="3633">
                  <c:v>-0.29086819388683799</c:v>
                </c:pt>
                <c:pt idx="3634">
                  <c:v>-0.39458091822737801</c:v>
                </c:pt>
                <c:pt idx="3635">
                  <c:v>-0.236937577229757</c:v>
                </c:pt>
                <c:pt idx="3636">
                  <c:v>-0.32405626567581097</c:v>
                </c:pt>
                <c:pt idx="3637">
                  <c:v>-0.14152187083645901</c:v>
                </c:pt>
                <c:pt idx="3638">
                  <c:v>-5.0254673416783698E-2</c:v>
                </c:pt>
                <c:pt idx="3639">
                  <c:v>-0.13737336186283799</c:v>
                </c:pt>
                <c:pt idx="3640">
                  <c:v>8.6646122712729701E-2</c:v>
                </c:pt>
                <c:pt idx="3641">
                  <c:v>-2.1215110601432399E-2</c:v>
                </c:pt>
                <c:pt idx="3642">
                  <c:v>-0.37798688233289202</c:v>
                </c:pt>
                <c:pt idx="3643">
                  <c:v>-3.3660637522297199E-2</c:v>
                </c:pt>
                <c:pt idx="3644">
                  <c:v>2.8566997082027101E-2</c:v>
                </c:pt>
                <c:pt idx="3645">
                  <c:v>-0.16641292467818899</c:v>
                </c:pt>
                <c:pt idx="3646">
                  <c:v>-0.27012564901872999</c:v>
                </c:pt>
                <c:pt idx="3647">
                  <c:v>-0.36554135541202698</c:v>
                </c:pt>
                <c:pt idx="3648">
                  <c:v>-0.50659066051516199</c:v>
                </c:pt>
                <c:pt idx="3649">
                  <c:v>-0.51073916948878395</c:v>
                </c:pt>
                <c:pt idx="3650">
                  <c:v>-0.46095706180532398</c:v>
                </c:pt>
                <c:pt idx="3651">
                  <c:v>-0.59370934896121597</c:v>
                </c:pt>
                <c:pt idx="3652">
                  <c:v>-0.56466978614586505</c:v>
                </c:pt>
                <c:pt idx="3653">
                  <c:v>-0.53977873230413498</c:v>
                </c:pt>
                <c:pt idx="3654">
                  <c:v>-0.55222425922499996</c:v>
                </c:pt>
                <c:pt idx="3655">
                  <c:v>-0.55222425922499996</c:v>
                </c:pt>
                <c:pt idx="3656">
                  <c:v>-0.69327356432813503</c:v>
                </c:pt>
                <c:pt idx="3657">
                  <c:v>-0.37798688233289202</c:v>
                </c:pt>
                <c:pt idx="3658">
                  <c:v>-0.57711531306672903</c:v>
                </c:pt>
                <c:pt idx="3659">
                  <c:v>-0.61860040280294604</c:v>
                </c:pt>
                <c:pt idx="3660">
                  <c:v>-0.54392724127775605</c:v>
                </c:pt>
                <c:pt idx="3661">
                  <c:v>-0.50244215154154004</c:v>
                </c:pt>
                <c:pt idx="3662">
                  <c:v>-0.60615487588208095</c:v>
                </c:pt>
                <c:pt idx="3663">
                  <c:v>-0.69742207330175598</c:v>
                </c:pt>
                <c:pt idx="3664">
                  <c:v>-0.62689742075018895</c:v>
                </c:pt>
                <c:pt idx="3665">
                  <c:v>-0.759649707906081</c:v>
                </c:pt>
                <c:pt idx="3666">
                  <c:v>-0.73061014509072897</c:v>
                </c:pt>
                <c:pt idx="3667">
                  <c:v>-0.84676839635213497</c:v>
                </c:pt>
                <c:pt idx="3668">
                  <c:v>-0.80943181558954003</c:v>
                </c:pt>
                <c:pt idx="3669">
                  <c:v>-0.85921392327299995</c:v>
                </c:pt>
                <c:pt idx="3670">
                  <c:v>-0.90484752198283702</c:v>
                </c:pt>
                <c:pt idx="3671">
                  <c:v>-0.83432286943126999</c:v>
                </c:pt>
                <c:pt idx="3672">
                  <c:v>-0.93803559377181001</c:v>
                </c:pt>
                <c:pt idx="3673">
                  <c:v>-0.98366919248164797</c:v>
                </c:pt>
                <c:pt idx="3674">
                  <c:v>-0.91314453993008105</c:v>
                </c:pt>
                <c:pt idx="3675">
                  <c:v>-0.97122366556078299</c:v>
                </c:pt>
                <c:pt idx="3676">
                  <c:v>-0.95462962966629705</c:v>
                </c:pt>
                <c:pt idx="3677">
                  <c:v>-1.1703520962946199</c:v>
                </c:pt>
                <c:pt idx="3678">
                  <c:v>-1.09982744374305</c:v>
                </c:pt>
                <c:pt idx="3679">
                  <c:v>-1.0915304257958101</c:v>
                </c:pt>
                <c:pt idx="3680">
                  <c:v>-1.0707878809277001</c:v>
                </c:pt>
                <c:pt idx="3681">
                  <c:v>-1.20354016808359</c:v>
                </c:pt>
                <c:pt idx="3682">
                  <c:v>-1.215985695004459</c:v>
                </c:pt>
                <c:pt idx="3683">
                  <c:v>-1.0666393719540801</c:v>
                </c:pt>
                <c:pt idx="3684">
                  <c:v>-1.11642147963754</c:v>
                </c:pt>
                <c:pt idx="3685">
                  <c:v>-1.1662035873209999</c:v>
                </c:pt>
                <c:pt idx="3686">
                  <c:v>-1.24917376679343</c:v>
                </c:pt>
                <c:pt idx="3687">
                  <c:v>-1.2616192937143</c:v>
                </c:pt>
                <c:pt idx="3688">
                  <c:v>-1.34873798216035</c:v>
                </c:pt>
                <c:pt idx="3689">
                  <c:v>-1.4151141257383</c:v>
                </c:pt>
                <c:pt idx="3690">
                  <c:v>-1.31140140139776</c:v>
                </c:pt>
                <c:pt idx="3691">
                  <c:v>-1.35288649113397</c:v>
                </c:pt>
                <c:pt idx="3692">
                  <c:v>-1.33214394626586</c:v>
                </c:pt>
                <c:pt idx="3693">
                  <c:v>-1.35288649113397</c:v>
                </c:pt>
                <c:pt idx="3694">
                  <c:v>-1.34873798216035</c:v>
                </c:pt>
                <c:pt idx="3695">
                  <c:v>-1.3611835090812201</c:v>
                </c:pt>
                <c:pt idx="3696">
                  <c:v>-1.35288649113397</c:v>
                </c:pt>
                <c:pt idx="3697">
                  <c:v>-1.215985695004459</c:v>
                </c:pt>
                <c:pt idx="3698">
                  <c:v>-1.17864911424186</c:v>
                </c:pt>
                <c:pt idx="3699">
                  <c:v>-1.1952431501363501</c:v>
                </c:pt>
                <c:pt idx="3700">
                  <c:v>-0.99611471940251295</c:v>
                </c:pt>
                <c:pt idx="3701">
                  <c:v>-0.83847137840489205</c:v>
                </c:pt>
                <c:pt idx="3702">
                  <c:v>-0.65593698356553998</c:v>
                </c:pt>
                <c:pt idx="3703">
                  <c:v>-0.74720418098521602</c:v>
                </c:pt>
                <c:pt idx="3704">
                  <c:v>-0.51903618743602697</c:v>
                </c:pt>
                <c:pt idx="3705">
                  <c:v>-0.72646163611710801</c:v>
                </c:pt>
                <c:pt idx="3706">
                  <c:v>-0.72231312714348594</c:v>
                </c:pt>
                <c:pt idx="3707">
                  <c:v>-0.75135268995883697</c:v>
                </c:pt>
                <c:pt idx="3708">
                  <c:v>-0.70571909124900001</c:v>
                </c:pt>
                <c:pt idx="3709">
                  <c:v>-0.44021451693721603</c:v>
                </c:pt>
                <c:pt idx="3710">
                  <c:v>-0.448511534884459</c:v>
                </c:pt>
                <c:pt idx="3711">
                  <c:v>-0.489996624620675</c:v>
                </c:pt>
                <c:pt idx="3712">
                  <c:v>-0.40287793617462098</c:v>
                </c:pt>
                <c:pt idx="3713">
                  <c:v>-0.40287793617462098</c:v>
                </c:pt>
                <c:pt idx="3714">
                  <c:v>-0.44021451693721603</c:v>
                </c:pt>
                <c:pt idx="3715">
                  <c:v>-0.26182863107148602</c:v>
                </c:pt>
                <c:pt idx="3716">
                  <c:v>-7.0997218284891805E-2</c:v>
                </c:pt>
                <c:pt idx="3717">
                  <c:v>-1.7066601627810801E-2</c:v>
                </c:pt>
                <c:pt idx="3718">
                  <c:v>-6.6848709311270196E-2</c:v>
                </c:pt>
                <c:pt idx="3719">
                  <c:v>-3.3660637522297199E-2</c:v>
                </c:pt>
                <c:pt idx="3720">
                  <c:v>-0.431917498989973</c:v>
                </c:pt>
                <c:pt idx="3721">
                  <c:v>-0.469254079752567</c:v>
                </c:pt>
                <c:pt idx="3722">
                  <c:v>0.103240158607216</c:v>
                </c:pt>
                <c:pt idx="3723">
                  <c:v>-3.7809146495918898E-2</c:v>
                </c:pt>
                <c:pt idx="3724">
                  <c:v>-0.16226441570456701</c:v>
                </c:pt>
                <c:pt idx="3725">
                  <c:v>1.61214701611622E-2</c:v>
                </c:pt>
                <c:pt idx="3726">
                  <c:v>-0.187155469546297</c:v>
                </c:pt>
                <c:pt idx="3727">
                  <c:v>-0.22864055928251301</c:v>
                </c:pt>
                <c:pt idx="3728">
                  <c:v>0.385338768813486</c:v>
                </c:pt>
                <c:pt idx="3729">
                  <c:v>-5.44031823904053E-2</c:v>
                </c:pt>
                <c:pt idx="3730">
                  <c:v>-0.23278906825613499</c:v>
                </c:pt>
                <c:pt idx="3731">
                  <c:v>-3.3660637522297199E-2</c:v>
                </c:pt>
                <c:pt idx="3732">
                  <c:v>-0.27012564901872999</c:v>
                </c:pt>
                <c:pt idx="3733">
                  <c:v>0.89145686359532395</c:v>
                </c:pt>
                <c:pt idx="3734">
                  <c:v>0.464160439312297</c:v>
                </c:pt>
                <c:pt idx="3735">
                  <c:v>0.48905149315402702</c:v>
                </c:pt>
                <c:pt idx="3736">
                  <c:v>0.53468509186386504</c:v>
                </c:pt>
                <c:pt idx="3737">
                  <c:v>0.35629920599813503</c:v>
                </c:pt>
                <c:pt idx="3738">
                  <c:v>0.72551650465045903</c:v>
                </c:pt>
                <c:pt idx="3739">
                  <c:v>0.132279721422568</c:v>
                </c:pt>
                <c:pt idx="3740">
                  <c:v>0.73796203157132401</c:v>
                </c:pt>
                <c:pt idx="3741">
                  <c:v>0.81678370207013495</c:v>
                </c:pt>
                <c:pt idx="3742">
                  <c:v>0.269180517552081</c:v>
                </c:pt>
                <c:pt idx="3743">
                  <c:v>0.327259643182784</c:v>
                </c:pt>
                <c:pt idx="3744">
                  <c:v>9.4943140659973002E-2</c:v>
                </c:pt>
                <c:pt idx="3745">
                  <c:v>6.1755068870999998E-2</c:v>
                </c:pt>
                <c:pt idx="3746">
                  <c:v>0.33970517010364898</c:v>
                </c:pt>
                <c:pt idx="3747">
                  <c:v>0.35629920599813503</c:v>
                </c:pt>
                <c:pt idx="3748">
                  <c:v>0.47660596623316198</c:v>
                </c:pt>
                <c:pt idx="3749">
                  <c:v>0.30236858934105398</c:v>
                </c:pt>
                <c:pt idx="3750">
                  <c:v>7.4200595791864901E-2</c:v>
                </c:pt>
                <c:pt idx="3751">
                  <c:v>-4.7256573332428599E-4</c:v>
                </c:pt>
                <c:pt idx="3752">
                  <c:v>-5.0254673416783698E-2</c:v>
                </c:pt>
                <c:pt idx="3753">
                  <c:v>0.33555666113002702</c:v>
                </c:pt>
                <c:pt idx="3754">
                  <c:v>0.36044771497175698</c:v>
                </c:pt>
                <c:pt idx="3755">
                  <c:v>4.1012524002891897E-2</c:v>
                </c:pt>
                <c:pt idx="3756">
                  <c:v>8.6646122712729701E-2</c:v>
                </c:pt>
                <c:pt idx="3757">
                  <c:v>-0.28671968491321598</c:v>
                </c:pt>
                <c:pt idx="3758">
                  <c:v>-0.411174954121865</c:v>
                </c:pt>
                <c:pt idx="3759">
                  <c:v>-0.59785785793483703</c:v>
                </c:pt>
                <c:pt idx="3760">
                  <c:v>-0.801134797642297</c:v>
                </c:pt>
                <c:pt idx="3761">
                  <c:v>-0.90484752198283702</c:v>
                </c:pt>
                <c:pt idx="3762">
                  <c:v>-0.84676839635213497</c:v>
                </c:pt>
                <c:pt idx="3763">
                  <c:v>-0.94218410274543196</c:v>
                </c:pt>
                <c:pt idx="3764">
                  <c:v>-0.92973857582456698</c:v>
                </c:pt>
                <c:pt idx="3765">
                  <c:v>-0.93803559377181001</c:v>
                </c:pt>
                <c:pt idx="3766">
                  <c:v>-1.0002632283761299</c:v>
                </c:pt>
                <c:pt idx="3767">
                  <c:v>-0.97537217453440495</c:v>
                </c:pt>
                <c:pt idx="3768">
                  <c:v>-0.98781770145527004</c:v>
                </c:pt>
                <c:pt idx="3769">
                  <c:v>-1.0458968270859701</c:v>
                </c:pt>
                <c:pt idx="3770">
                  <c:v>-0.97952068350802701</c:v>
                </c:pt>
                <c:pt idx="3771">
                  <c:v>-1.0044117373497601</c:v>
                </c:pt>
                <c:pt idx="3772">
                  <c:v>-1.09982744374305</c:v>
                </c:pt>
                <c:pt idx="3773">
                  <c:v>-0.97122366556078299</c:v>
                </c:pt>
                <c:pt idx="3774">
                  <c:v>-1.1039759527166799</c:v>
                </c:pt>
                <c:pt idx="3775">
                  <c:v>-1.09982744374305</c:v>
                </c:pt>
                <c:pt idx="3776">
                  <c:v>-1.1122729706639201</c:v>
                </c:pt>
                <c:pt idx="3777">
                  <c:v>-1.07493638990132</c:v>
                </c:pt>
                <c:pt idx="3778">
                  <c:v>-1.1288670065584001</c:v>
                </c:pt>
                <c:pt idx="3779">
                  <c:v>-0.97537217453440495</c:v>
                </c:pt>
                <c:pt idx="3780">
                  <c:v>-1.13716402450565</c:v>
                </c:pt>
                <c:pt idx="3781">
                  <c:v>-1.1247184975847799</c:v>
                </c:pt>
                <c:pt idx="3782">
                  <c:v>-1.14131253347927</c:v>
                </c:pt>
                <c:pt idx="3783">
                  <c:v>-1.05834235400684</c:v>
                </c:pt>
                <c:pt idx="3784">
                  <c:v>-1.2574707847406801</c:v>
                </c:pt>
                <c:pt idx="3785">
                  <c:v>-1.24917376679343</c:v>
                </c:pt>
                <c:pt idx="3786">
                  <c:v>-1.1537580604001301</c:v>
                </c:pt>
                <c:pt idx="3787">
                  <c:v>-1.31140140139776</c:v>
                </c:pt>
                <c:pt idx="3788">
                  <c:v>-1.2616192937143</c:v>
                </c:pt>
                <c:pt idx="3789">
                  <c:v>-1.2574707847406801</c:v>
                </c:pt>
                <c:pt idx="3790">
                  <c:v>-1.3238469283186201</c:v>
                </c:pt>
                <c:pt idx="3791">
                  <c:v>-1.2242827129517</c:v>
                </c:pt>
                <c:pt idx="3792">
                  <c:v>-1.24087674884619</c:v>
                </c:pt>
                <c:pt idx="3793">
                  <c:v>-1.3653320180548401</c:v>
                </c:pt>
                <c:pt idx="3794">
                  <c:v>-1.2325797308989499</c:v>
                </c:pt>
                <c:pt idx="3795">
                  <c:v>-1.13716402450565</c:v>
                </c:pt>
                <c:pt idx="3796">
                  <c:v>-0.96292664761353997</c:v>
                </c:pt>
                <c:pt idx="3797">
                  <c:v>-0.74305567201159395</c:v>
                </c:pt>
                <c:pt idx="3798">
                  <c:v>-0.73061014509072897</c:v>
                </c:pt>
                <c:pt idx="3799">
                  <c:v>-0.41947197206910802</c:v>
                </c:pt>
                <c:pt idx="3800">
                  <c:v>-0.29086819388683799</c:v>
                </c:pt>
                <c:pt idx="3801">
                  <c:v>-0.44021451693721603</c:v>
                </c:pt>
                <c:pt idx="3802">
                  <c:v>-0.55637276819862103</c:v>
                </c:pt>
                <c:pt idx="3803">
                  <c:v>-0.56466978614586505</c:v>
                </c:pt>
                <c:pt idx="3804">
                  <c:v>-0.48584811564705399</c:v>
                </c:pt>
                <c:pt idx="3805">
                  <c:v>-0.45266004385808101</c:v>
                </c:pt>
                <c:pt idx="3806">
                  <c:v>-0.49414513359429701</c:v>
                </c:pt>
                <c:pt idx="3807">
                  <c:v>-0.46095706180532398</c:v>
                </c:pt>
                <c:pt idx="3808">
                  <c:v>-0.34894731951753999</c:v>
                </c:pt>
                <c:pt idx="3809">
                  <c:v>-0.431917498989973</c:v>
                </c:pt>
                <c:pt idx="3810">
                  <c:v>-0.38213539130651297</c:v>
                </c:pt>
                <c:pt idx="3811">
                  <c:v>-0.40287793617462098</c:v>
                </c:pt>
                <c:pt idx="3812">
                  <c:v>-0.27012564901872999</c:v>
                </c:pt>
                <c:pt idx="3813">
                  <c:v>-0.32820477464943199</c:v>
                </c:pt>
                <c:pt idx="3814">
                  <c:v>-0.34894731951753999</c:v>
                </c:pt>
                <c:pt idx="3815">
                  <c:v>-0.44436302591083798</c:v>
                </c:pt>
                <c:pt idx="3816">
                  <c:v>-0.39872942720100002</c:v>
                </c:pt>
                <c:pt idx="3817">
                  <c:v>-0.216195032361649</c:v>
                </c:pt>
                <c:pt idx="3818">
                  <c:v>-0.31990775670218902</c:v>
                </c:pt>
                <c:pt idx="3819">
                  <c:v>-0.31990775670218902</c:v>
                </c:pt>
                <c:pt idx="3820">
                  <c:v>-0.22449205030889199</c:v>
                </c:pt>
                <c:pt idx="3821">
                  <c:v>-7.9294236232135107E-2</c:v>
                </c:pt>
                <c:pt idx="3822">
                  <c:v>-3.7809146495918898E-2</c:v>
                </c:pt>
                <c:pt idx="3823">
                  <c:v>-0.16641292467818899</c:v>
                </c:pt>
                <c:pt idx="3824">
                  <c:v>-0.216195032361649</c:v>
                </c:pt>
                <c:pt idx="3825">
                  <c:v>-0.26182863107148602</c:v>
                </c:pt>
                <c:pt idx="3826">
                  <c:v>-0.20374950544078399</c:v>
                </c:pt>
                <c:pt idx="3827">
                  <c:v>-4.6106164443162102E-2</c:v>
                </c:pt>
                <c:pt idx="3828">
                  <c:v>-0.17056143365181101</c:v>
                </c:pt>
                <c:pt idx="3829">
                  <c:v>-0.25353161312424299</c:v>
                </c:pt>
                <c:pt idx="3830">
                  <c:v>-0.149818888783703</c:v>
                </c:pt>
                <c:pt idx="3831">
                  <c:v>-0.31575924772856701</c:v>
                </c:pt>
                <c:pt idx="3832">
                  <c:v>-0.149818888783703</c:v>
                </c:pt>
                <c:pt idx="3833">
                  <c:v>-0.129076343915595</c:v>
                </c:pt>
                <c:pt idx="3834">
                  <c:v>-0.129076343915595</c:v>
                </c:pt>
                <c:pt idx="3835">
                  <c:v>-0.19130397851991901</c:v>
                </c:pt>
                <c:pt idx="3836">
                  <c:v>-0.13322485288921601</c:v>
                </c:pt>
                <c:pt idx="3837">
                  <c:v>-0.100036781100243</c:v>
                </c:pt>
                <c:pt idx="3838">
                  <c:v>-2.95121285486756E-2</c:v>
                </c:pt>
                <c:pt idx="3839">
                  <c:v>-7.5145727258513401E-2</c:v>
                </c:pt>
                <c:pt idx="3840">
                  <c:v>-0.158115906730946</c:v>
                </c:pt>
                <c:pt idx="3841">
                  <c:v>-7.9294236232135107E-2</c:v>
                </c:pt>
                <c:pt idx="3842">
                  <c:v>-0.124927834941973</c:v>
                </c:pt>
                <c:pt idx="3843">
                  <c:v>-2.5363619575054001E-2</c:v>
                </c:pt>
                <c:pt idx="3844">
                  <c:v>-0.13322485288921601</c:v>
                </c:pt>
                <c:pt idx="3845">
                  <c:v>-0.33650179259667501</c:v>
                </c:pt>
                <c:pt idx="3846">
                  <c:v>-0.50244215154154004</c:v>
                </c:pt>
                <c:pt idx="3847">
                  <c:v>-0.67253101946002702</c:v>
                </c:pt>
                <c:pt idx="3848">
                  <c:v>-0.48584811564705399</c:v>
                </c:pt>
                <c:pt idx="3849">
                  <c:v>-0.46095706180532398</c:v>
                </c:pt>
                <c:pt idx="3850">
                  <c:v>-0.65178847459191902</c:v>
                </c:pt>
                <c:pt idx="3851">
                  <c:v>-0.58956083998759401</c:v>
                </c:pt>
                <c:pt idx="3852">
                  <c:v>-0.53563022333051302</c:v>
                </c:pt>
                <c:pt idx="3853">
                  <c:v>-0.61030338485570201</c:v>
                </c:pt>
                <c:pt idx="3854">
                  <c:v>-0.71816461816986399</c:v>
                </c:pt>
                <c:pt idx="3855">
                  <c:v>-0.77209523482694598</c:v>
                </c:pt>
                <c:pt idx="3856">
                  <c:v>-0.74720418098521602</c:v>
                </c:pt>
                <c:pt idx="3857">
                  <c:v>-1.0666393719540801</c:v>
                </c:pt>
                <c:pt idx="3858">
                  <c:v>-1.07493638990132</c:v>
                </c:pt>
                <c:pt idx="3859">
                  <c:v>-1.0666393719540801</c:v>
                </c:pt>
                <c:pt idx="3860">
                  <c:v>-1.1039759527166799</c:v>
                </c:pt>
                <c:pt idx="3861">
                  <c:v>-1.1537580604001301</c:v>
                </c:pt>
                <c:pt idx="3862">
                  <c:v>-1.05834235400684</c:v>
                </c:pt>
                <c:pt idx="3863">
                  <c:v>-1.16205507834738</c:v>
                </c:pt>
                <c:pt idx="3864">
                  <c:v>-1.1288670065584001</c:v>
                </c:pt>
                <c:pt idx="3865">
                  <c:v>-1.2284312219253199</c:v>
                </c:pt>
                <c:pt idx="3866">
                  <c:v>-1.07908489887495</c:v>
                </c:pt>
                <c:pt idx="3867">
                  <c:v>-1.0251542822178601</c:v>
                </c:pt>
                <c:pt idx="3868">
                  <c:v>-1.09567893476943</c:v>
                </c:pt>
                <c:pt idx="3869">
                  <c:v>-1.15790656937376</c:v>
                </c:pt>
                <c:pt idx="3870">
                  <c:v>-1.2076886770572199</c:v>
                </c:pt>
                <c:pt idx="3871">
                  <c:v>-1.3653320180548401</c:v>
                </c:pt>
                <c:pt idx="3872">
                  <c:v>-1.26991631166154</c:v>
                </c:pt>
                <c:pt idx="3873">
                  <c:v>-1.2989558744768901</c:v>
                </c:pt>
                <c:pt idx="3874">
                  <c:v>-1.1122729706639201</c:v>
                </c:pt>
                <c:pt idx="3875">
                  <c:v>-1.1537580604001301</c:v>
                </c:pt>
                <c:pt idx="3876">
                  <c:v>-1.2325797308989499</c:v>
                </c:pt>
                <c:pt idx="3877">
                  <c:v>-1.24917376679343</c:v>
                </c:pt>
                <c:pt idx="3878">
                  <c:v>-1.47734176034262</c:v>
                </c:pt>
                <c:pt idx="3879">
                  <c:v>-1.3570350001075899</c:v>
                </c:pt>
                <c:pt idx="3880">
                  <c:v>-1.4483021975272701</c:v>
                </c:pt>
                <c:pt idx="3881">
                  <c:v>-1.6349851013402401</c:v>
                </c:pt>
                <c:pt idx="3882">
                  <c:v>-1.39437158087019</c:v>
                </c:pt>
                <c:pt idx="3883">
                  <c:v>-1.547866412894189</c:v>
                </c:pt>
                <c:pt idx="3884">
                  <c:v>-1.3985200898438099</c:v>
                </c:pt>
                <c:pt idx="3885">
                  <c:v>-1.427559652659159</c:v>
                </c:pt>
                <c:pt idx="3886">
                  <c:v>-0.60615487588208095</c:v>
                </c:pt>
                <c:pt idx="3887">
                  <c:v>1.0076151148567301</c:v>
                </c:pt>
                <c:pt idx="3888">
                  <c:v>0.43926938547056699</c:v>
                </c:pt>
                <c:pt idx="3889">
                  <c:v>2.8566997082027101E-2</c:v>
                </c:pt>
                <c:pt idx="3890">
                  <c:v>-0.17470994262543199</c:v>
                </c:pt>
                <c:pt idx="3891">
                  <c:v>-0.236937577229757</c:v>
                </c:pt>
                <c:pt idx="3892">
                  <c:v>-0.411174954121865</c:v>
                </c:pt>
                <c:pt idx="3893">
                  <c:v>-0.46510557077894599</c:v>
                </c:pt>
                <c:pt idx="3894">
                  <c:v>-0.63519443869743197</c:v>
                </c:pt>
                <c:pt idx="3895">
                  <c:v>-0.56466978614586505</c:v>
                </c:pt>
                <c:pt idx="3896">
                  <c:v>-0.19545248749353999</c:v>
                </c:pt>
                <c:pt idx="3897">
                  <c:v>-0.56466978614586505</c:v>
                </c:pt>
                <c:pt idx="3898">
                  <c:v>-0.53563022333051302</c:v>
                </c:pt>
                <c:pt idx="3899">
                  <c:v>-0.54392724127775605</c:v>
                </c:pt>
                <c:pt idx="3900">
                  <c:v>-0.30331372080770302</c:v>
                </c:pt>
                <c:pt idx="3901">
                  <c:v>-0.448511534884459</c:v>
                </c:pt>
                <c:pt idx="3902">
                  <c:v>-0.47755109769981102</c:v>
                </c:pt>
                <c:pt idx="3903">
                  <c:v>-0.58956083998759401</c:v>
                </c:pt>
                <c:pt idx="3904">
                  <c:v>-0.39872942720100002</c:v>
                </c:pt>
                <c:pt idx="3905">
                  <c:v>-0.46510557077894599</c:v>
                </c:pt>
                <c:pt idx="3906">
                  <c:v>-0.48169960667343198</c:v>
                </c:pt>
                <c:pt idx="3907">
                  <c:v>-0.469254079752567</c:v>
                </c:pt>
                <c:pt idx="3908">
                  <c:v>-0.411174954121865</c:v>
                </c:pt>
                <c:pt idx="3909">
                  <c:v>-0.37798688233289202</c:v>
                </c:pt>
                <c:pt idx="3910">
                  <c:v>-0.54392724127775605</c:v>
                </c:pt>
                <c:pt idx="3911">
                  <c:v>-0.469254079752567</c:v>
                </c:pt>
                <c:pt idx="3912">
                  <c:v>-0.390432409253757</c:v>
                </c:pt>
                <c:pt idx="3913">
                  <c:v>-0.46510557077894599</c:v>
                </c:pt>
                <c:pt idx="3914">
                  <c:v>-0.48584811564705399</c:v>
                </c:pt>
                <c:pt idx="3915">
                  <c:v>-0.68912505535451296</c:v>
                </c:pt>
                <c:pt idx="3916">
                  <c:v>-0.63934294767105404</c:v>
                </c:pt>
                <c:pt idx="3917">
                  <c:v>-0.780392252774189</c:v>
                </c:pt>
                <c:pt idx="3918">
                  <c:v>-0.78868927072143202</c:v>
                </c:pt>
                <c:pt idx="3919">
                  <c:v>-0.75135268995883697</c:v>
                </c:pt>
                <c:pt idx="3920">
                  <c:v>-0.75550119893245904</c:v>
                </c:pt>
                <c:pt idx="3921">
                  <c:v>-0.72231312714348594</c:v>
                </c:pt>
                <c:pt idx="3922">
                  <c:v>-0.87995646814110795</c:v>
                </c:pt>
                <c:pt idx="3923">
                  <c:v>-0.91314453993008105</c:v>
                </c:pt>
                <c:pt idx="3924">
                  <c:v>-0.88410497711472902</c:v>
                </c:pt>
                <c:pt idx="3925">
                  <c:v>-0.96707515658716203</c:v>
                </c:pt>
                <c:pt idx="3926">
                  <c:v>-0.97952068350802701</c:v>
                </c:pt>
                <c:pt idx="3927">
                  <c:v>-0.96707515658716203</c:v>
                </c:pt>
                <c:pt idx="3928">
                  <c:v>-1.05834235400684</c:v>
                </c:pt>
                <c:pt idx="3929">
                  <c:v>-1.17864911424186</c:v>
                </c:pt>
                <c:pt idx="3930">
                  <c:v>-1.20354016808359</c:v>
                </c:pt>
                <c:pt idx="3931">
                  <c:v>-1.29065885652965</c:v>
                </c:pt>
                <c:pt idx="3932">
                  <c:v>-1.1910946411627299</c:v>
                </c:pt>
                <c:pt idx="3933">
                  <c:v>-1.2782133296087801</c:v>
                </c:pt>
                <c:pt idx="3934">
                  <c:v>-1.3155499103713799</c:v>
                </c:pt>
                <c:pt idx="3935">
                  <c:v>-1.3155499103713799</c:v>
                </c:pt>
                <c:pt idx="3936">
                  <c:v>-1.31140140139776</c:v>
                </c:pt>
                <c:pt idx="3937">
                  <c:v>-1.1247184975847799</c:v>
                </c:pt>
                <c:pt idx="3938">
                  <c:v>-1.1869461321891099</c:v>
                </c:pt>
                <c:pt idx="3939">
                  <c:v>-1.17864911424186</c:v>
                </c:pt>
                <c:pt idx="3940">
                  <c:v>-1.1745006052682401</c:v>
                </c:pt>
                <c:pt idx="3941">
                  <c:v>-1.1952431501363501</c:v>
                </c:pt>
                <c:pt idx="3942">
                  <c:v>-1.3445894731867301</c:v>
                </c:pt>
                <c:pt idx="3943">
                  <c:v>0.717219486703216</c:v>
                </c:pt>
                <c:pt idx="3944">
                  <c:v>0.56372465467921595</c:v>
                </c:pt>
                <c:pt idx="3945">
                  <c:v>1.0408031866456999</c:v>
                </c:pt>
                <c:pt idx="3946">
                  <c:v>0.717219486703216</c:v>
                </c:pt>
                <c:pt idx="3947">
                  <c:v>3.2715506055648699E-2</c:v>
                </c:pt>
                <c:pt idx="3948">
                  <c:v>-0.158115906730946</c:v>
                </c:pt>
                <c:pt idx="3949">
                  <c:v>-0.46510557077894599</c:v>
                </c:pt>
                <c:pt idx="3950">
                  <c:v>-0.62274891177656699</c:v>
                </c:pt>
                <c:pt idx="3951">
                  <c:v>-0.45680855283170202</c:v>
                </c:pt>
                <c:pt idx="3952">
                  <c:v>-0.53563022333051302</c:v>
                </c:pt>
                <c:pt idx="3953">
                  <c:v>-0.55222425922499996</c:v>
                </c:pt>
                <c:pt idx="3954">
                  <c:v>-0.85506541429937799</c:v>
                </c:pt>
                <c:pt idx="3955">
                  <c:v>-0.58541233101397305</c:v>
                </c:pt>
                <c:pt idx="3956">
                  <c:v>-0.58956083998759401</c:v>
                </c:pt>
                <c:pt idx="3957">
                  <c:v>-0.60615487588208095</c:v>
                </c:pt>
                <c:pt idx="3958">
                  <c:v>-0.70571909124900001</c:v>
                </c:pt>
                <c:pt idx="3959">
                  <c:v>-0.70157058227537805</c:v>
                </c:pt>
                <c:pt idx="3960">
                  <c:v>-0.59370934896121597</c:v>
                </c:pt>
                <c:pt idx="3961">
                  <c:v>-0.70986760022262096</c:v>
                </c:pt>
                <c:pt idx="3962">
                  <c:v>-0.65593698356553998</c:v>
                </c:pt>
                <c:pt idx="3963">
                  <c:v>-0.62274891177656699</c:v>
                </c:pt>
                <c:pt idx="3964">
                  <c:v>-0.63104592972381002</c:v>
                </c:pt>
                <c:pt idx="3965">
                  <c:v>-0.67667952843364798</c:v>
                </c:pt>
                <c:pt idx="3966">
                  <c:v>-0.73890716303797299</c:v>
                </c:pt>
                <c:pt idx="3967">
                  <c:v>-0.54392724127775605</c:v>
                </c:pt>
                <c:pt idx="3968">
                  <c:v>-0.50244215154154004</c:v>
                </c:pt>
                <c:pt idx="3969">
                  <c:v>-0.50244215154154004</c:v>
                </c:pt>
                <c:pt idx="3970">
                  <c:v>-0.61860040280294604</c:v>
                </c:pt>
                <c:pt idx="3971">
                  <c:v>-0.92973857582456698</c:v>
                </c:pt>
                <c:pt idx="3972">
                  <c:v>-0.95048112069267499</c:v>
                </c:pt>
                <c:pt idx="3973">
                  <c:v>-0.93803559377181001</c:v>
                </c:pt>
                <c:pt idx="3974">
                  <c:v>-0.92144155787732396</c:v>
                </c:pt>
                <c:pt idx="3975">
                  <c:v>-0.93803559377181001</c:v>
                </c:pt>
                <c:pt idx="3976">
                  <c:v>-1.07493638990132</c:v>
                </c:pt>
                <c:pt idx="3977">
                  <c:v>-1.0707878809277001</c:v>
                </c:pt>
                <c:pt idx="3978">
                  <c:v>-1.0624908629804599</c:v>
                </c:pt>
                <c:pt idx="3979">
                  <c:v>-1.0417483181123499</c:v>
                </c:pt>
                <c:pt idx="3980">
                  <c:v>-1.1122729706639201</c:v>
                </c:pt>
                <c:pt idx="3981">
                  <c:v>-1.1662035873209999</c:v>
                </c:pt>
                <c:pt idx="3982">
                  <c:v>-1.2118371860308399</c:v>
                </c:pt>
                <c:pt idx="3983">
                  <c:v>-1.05419384503322</c:v>
                </c:pt>
                <c:pt idx="3984">
                  <c:v>-1.31140140139776</c:v>
                </c:pt>
                <c:pt idx="3985">
                  <c:v>-1.4026685988174299</c:v>
                </c:pt>
                <c:pt idx="3986">
                  <c:v>-1.4358566706064</c:v>
                </c:pt>
                <c:pt idx="3987">
                  <c:v>-1.51882685007884</c:v>
                </c:pt>
                <c:pt idx="3988">
                  <c:v>-1.51882685007884</c:v>
                </c:pt>
                <c:pt idx="3989">
                  <c:v>-1.4483021975272701</c:v>
                </c:pt>
                <c:pt idx="3990">
                  <c:v>-1.3362924552394899</c:v>
                </c:pt>
                <c:pt idx="3991">
                  <c:v>-1.51882685007884</c:v>
                </c:pt>
                <c:pt idx="3992">
                  <c:v>-1.52297535905246</c:v>
                </c:pt>
                <c:pt idx="3993">
                  <c:v>-1.52297535905246</c:v>
                </c:pt>
                <c:pt idx="3994">
                  <c:v>-1.47734176034262</c:v>
                </c:pt>
                <c:pt idx="3995">
                  <c:v>-1.4483021975272701</c:v>
                </c:pt>
                <c:pt idx="3996">
                  <c:v>-1.7428463346544001</c:v>
                </c:pt>
                <c:pt idx="3997">
                  <c:v>-1.4607477244481299</c:v>
                </c:pt>
                <c:pt idx="3998">
                  <c:v>0.69232843286148604</c:v>
                </c:pt>
                <c:pt idx="3999">
                  <c:v>0.39363578676073002</c:v>
                </c:pt>
                <c:pt idx="4000">
                  <c:v>0.211101391921378</c:v>
                </c:pt>
                <c:pt idx="4001">
                  <c:v>-0.29086819388683799</c:v>
                </c:pt>
                <c:pt idx="4002">
                  <c:v>-0.332353283623054</c:v>
                </c:pt>
                <c:pt idx="4003">
                  <c:v>-0.58541233101397305</c:v>
                </c:pt>
                <c:pt idx="4004">
                  <c:v>-0.67253101946002702</c:v>
                </c:pt>
                <c:pt idx="4005">
                  <c:v>-0.72231312714348594</c:v>
                </c:pt>
                <c:pt idx="4006">
                  <c:v>-0.61030338485570201</c:v>
                </c:pt>
                <c:pt idx="4007">
                  <c:v>-0.469254079752567</c:v>
                </c:pt>
                <c:pt idx="4008">
                  <c:v>-0.66008549253916204</c:v>
                </c:pt>
                <c:pt idx="4009">
                  <c:v>-0.58956083998759401</c:v>
                </c:pt>
                <c:pt idx="4010">
                  <c:v>-0.53563022333051302</c:v>
                </c:pt>
                <c:pt idx="4011">
                  <c:v>-0.47755109769981102</c:v>
                </c:pt>
                <c:pt idx="4012">
                  <c:v>-0.67253101946002702</c:v>
                </c:pt>
                <c:pt idx="4013">
                  <c:v>-0.72646163611710801</c:v>
                </c:pt>
                <c:pt idx="4014">
                  <c:v>-0.66838251048640496</c:v>
                </c:pt>
                <c:pt idx="4015">
                  <c:v>-0.60200636690845899</c:v>
                </c:pt>
                <c:pt idx="4016">
                  <c:v>-0.54392724127775605</c:v>
                </c:pt>
                <c:pt idx="4017">
                  <c:v>-0.61860040280294604</c:v>
                </c:pt>
                <c:pt idx="4018">
                  <c:v>-0.70986760022262096</c:v>
                </c:pt>
                <c:pt idx="4019">
                  <c:v>-0.76794672585332402</c:v>
                </c:pt>
                <c:pt idx="4020">
                  <c:v>-0.70571909124900001</c:v>
                </c:pt>
                <c:pt idx="4021">
                  <c:v>-0.74720418098521602</c:v>
                </c:pt>
                <c:pt idx="4022">
                  <c:v>-0.68912505535451296</c:v>
                </c:pt>
                <c:pt idx="4023">
                  <c:v>-0.71401610919624303</c:v>
                </c:pt>
                <c:pt idx="4024">
                  <c:v>-0.74720418098521602</c:v>
                </c:pt>
                <c:pt idx="4025">
                  <c:v>-0.73061014509072897</c:v>
                </c:pt>
                <c:pt idx="4026">
                  <c:v>-0.87995646814110795</c:v>
                </c:pt>
                <c:pt idx="4027">
                  <c:v>-0.97952068350802701</c:v>
                </c:pt>
                <c:pt idx="4028">
                  <c:v>-1.0873819168221901</c:v>
                </c:pt>
                <c:pt idx="4029">
                  <c:v>-1.1288670065584001</c:v>
                </c:pt>
                <c:pt idx="4030">
                  <c:v>-1.11642147963754</c:v>
                </c:pt>
                <c:pt idx="4031">
                  <c:v>-1.16205507834738</c:v>
                </c:pt>
                <c:pt idx="4032">
                  <c:v>-1.18279762321549</c:v>
                </c:pt>
                <c:pt idx="4033">
                  <c:v>-1.1081244616903001</c:v>
                </c:pt>
                <c:pt idx="4034">
                  <c:v>-1.12056998861116</c:v>
                </c:pt>
                <c:pt idx="4035">
                  <c:v>-1.1910946411627299</c:v>
                </c:pt>
                <c:pt idx="4036">
                  <c:v>-1.1869461321891099</c:v>
                </c:pt>
                <c:pt idx="4037">
                  <c:v>-1.3155499103713799</c:v>
                </c:pt>
                <c:pt idx="4038">
                  <c:v>-1.3611835090812201</c:v>
                </c:pt>
                <c:pt idx="4039">
                  <c:v>-1.34873798216035</c:v>
                </c:pt>
                <c:pt idx="4040">
                  <c:v>-1.3777775449756999</c:v>
                </c:pt>
                <c:pt idx="4041">
                  <c:v>-1.5312723769997001</c:v>
                </c:pt>
                <c:pt idx="4042">
                  <c:v>-1.6142425564721301</c:v>
                </c:pt>
                <c:pt idx="4043">
                  <c:v>-1.7386978256807799</c:v>
                </c:pt>
                <c:pt idx="4044">
                  <c:v>-1.09982744374305</c:v>
                </c:pt>
                <c:pt idx="4045">
                  <c:v>1.0739912584346789</c:v>
                </c:pt>
                <c:pt idx="4046">
                  <c:v>0.24014095473673</c:v>
                </c:pt>
                <c:pt idx="4047">
                  <c:v>-0.35724433746478401</c:v>
                </c:pt>
                <c:pt idx="4048">
                  <c:v>-0.51073916948878395</c:v>
                </c:pt>
                <c:pt idx="4049">
                  <c:v>-0.76379821687970195</c:v>
                </c:pt>
                <c:pt idx="4050">
                  <c:v>-0.88410497711472902</c:v>
                </c:pt>
                <c:pt idx="4051">
                  <c:v>-1.0044117373497601</c:v>
                </c:pt>
                <c:pt idx="4052">
                  <c:v>-1.0251542822178601</c:v>
                </c:pt>
                <c:pt idx="4053">
                  <c:v>-1.0002632283761299</c:v>
                </c:pt>
                <c:pt idx="4054">
                  <c:v>-0.84676839635213497</c:v>
                </c:pt>
                <c:pt idx="4055">
                  <c:v>-0.99611471940251295</c:v>
                </c:pt>
                <c:pt idx="4056">
                  <c:v>-0.73890716303797299</c:v>
                </c:pt>
                <c:pt idx="4057">
                  <c:v>-0.92973857582456698</c:v>
                </c:pt>
                <c:pt idx="4058">
                  <c:v>-0.74305567201159395</c:v>
                </c:pt>
                <c:pt idx="4059">
                  <c:v>-0.95048112069267499</c:v>
                </c:pt>
                <c:pt idx="4060">
                  <c:v>-1.07493638990132</c:v>
                </c:pt>
                <c:pt idx="4061">
                  <c:v>-1.0044117373497601</c:v>
                </c:pt>
                <c:pt idx="4062">
                  <c:v>-1.1496095514265099</c:v>
                </c:pt>
                <c:pt idx="4063">
                  <c:v>-1.1081244616903001</c:v>
                </c:pt>
                <c:pt idx="4064">
                  <c:v>-1.0500453360595901</c:v>
                </c:pt>
                <c:pt idx="4065">
                  <c:v>-1.22013420397808</c:v>
                </c:pt>
                <c:pt idx="4066">
                  <c:v>-1.11642147963754</c:v>
                </c:pt>
                <c:pt idx="4067">
                  <c:v>-1.28651034755603</c:v>
                </c:pt>
                <c:pt idx="4068">
                  <c:v>-1.1952431501363501</c:v>
                </c:pt>
                <c:pt idx="4069">
                  <c:v>-1.30725289242413</c:v>
                </c:pt>
                <c:pt idx="4070">
                  <c:v>-1.2367282398725701</c:v>
                </c:pt>
                <c:pt idx="4071">
                  <c:v>-1.2242827129517</c:v>
                </c:pt>
                <c:pt idx="4072">
                  <c:v>-1.17864911424186</c:v>
                </c:pt>
                <c:pt idx="4073">
                  <c:v>-1.1122729706639201</c:v>
                </c:pt>
                <c:pt idx="4074">
                  <c:v>-1.2325797308989499</c:v>
                </c:pt>
                <c:pt idx="4075">
                  <c:v>-1.28651034755603</c:v>
                </c:pt>
                <c:pt idx="4076">
                  <c:v>-1.29065885652965</c:v>
                </c:pt>
                <c:pt idx="4077">
                  <c:v>-1.33214394626586</c:v>
                </c:pt>
                <c:pt idx="4078">
                  <c:v>-1.24917376679343</c:v>
                </c:pt>
                <c:pt idx="4079">
                  <c:v>-1.26576780268792</c:v>
                </c:pt>
                <c:pt idx="4080">
                  <c:v>-1.33214394626586</c:v>
                </c:pt>
                <c:pt idx="4081">
                  <c:v>-1.2948073655032699</c:v>
                </c:pt>
                <c:pt idx="4082">
                  <c:v>-1.2574707847406801</c:v>
                </c:pt>
                <c:pt idx="4083">
                  <c:v>-1.3570350001075899</c:v>
                </c:pt>
                <c:pt idx="4084">
                  <c:v>-1.32799543729224</c:v>
                </c:pt>
                <c:pt idx="4085">
                  <c:v>-1.31140140139776</c:v>
                </c:pt>
                <c:pt idx="4086">
                  <c:v>-1.3238469283186201</c:v>
                </c:pt>
                <c:pt idx="4087">
                  <c:v>-1.39437158087019</c:v>
                </c:pt>
                <c:pt idx="4088">
                  <c:v>-1.33214394626586</c:v>
                </c:pt>
                <c:pt idx="4089">
                  <c:v>-1.39437158087019</c:v>
                </c:pt>
                <c:pt idx="4090">
                  <c:v>-1.35288649113397</c:v>
                </c:pt>
                <c:pt idx="4091">
                  <c:v>-1.4068171077910501</c:v>
                </c:pt>
                <c:pt idx="4092">
                  <c:v>-1.4234111436855399</c:v>
                </c:pt>
                <c:pt idx="4093">
                  <c:v>-1.4648962334217599</c:v>
                </c:pt>
                <c:pt idx="4094">
                  <c:v>-1.37362903600208</c:v>
                </c:pt>
                <c:pt idx="4095">
                  <c:v>-1.4483021975272701</c:v>
                </c:pt>
                <c:pt idx="4096">
                  <c:v>-1.45245070650089</c:v>
                </c:pt>
                <c:pt idx="4097">
                  <c:v>-1.4483021975272701</c:v>
                </c:pt>
                <c:pt idx="4098">
                  <c:v>-1.43170816163278</c:v>
                </c:pt>
                <c:pt idx="4099">
                  <c:v>-1.4358566706064</c:v>
                </c:pt>
                <c:pt idx="4100">
                  <c:v>-1.32799543729224</c:v>
                </c:pt>
                <c:pt idx="4101">
                  <c:v>-1.4192626347119199</c:v>
                </c:pt>
                <c:pt idx="4102">
                  <c:v>-1.64328211928749</c:v>
                </c:pt>
                <c:pt idx="4103">
                  <c:v>-1.6183910654457601</c:v>
                </c:pt>
                <c:pt idx="4104">
                  <c:v>-1.5893515026303999</c:v>
                </c:pt>
                <c:pt idx="4105">
                  <c:v>-1.626688083393</c:v>
                </c:pt>
                <c:pt idx="4106">
                  <c:v>-1.5686089577622999</c:v>
                </c:pt>
                <c:pt idx="4107">
                  <c:v>-1.58105448468316</c:v>
                </c:pt>
                <c:pt idx="4108">
                  <c:v>-1.5935000116040301</c:v>
                </c:pt>
                <c:pt idx="4109">
                  <c:v>-1.5976485205776501</c:v>
                </c:pt>
                <c:pt idx="4110">
                  <c:v>-4.7256573332428599E-4</c:v>
                </c:pt>
                <c:pt idx="4111">
                  <c:v>-0.19960099646716201</c:v>
                </c:pt>
                <c:pt idx="4112">
                  <c:v>-0.99196621042889099</c:v>
                </c:pt>
                <c:pt idx="4113">
                  <c:v>-0.94218410274543196</c:v>
                </c:pt>
                <c:pt idx="4114">
                  <c:v>-0.97122366556078299</c:v>
                </c:pt>
                <c:pt idx="4115">
                  <c:v>-1.05834235400684</c:v>
                </c:pt>
                <c:pt idx="4116">
                  <c:v>-1.05419384503322</c:v>
                </c:pt>
                <c:pt idx="4117">
                  <c:v>-0.92144155787732396</c:v>
                </c:pt>
                <c:pt idx="4118">
                  <c:v>-0.94633261171905403</c:v>
                </c:pt>
                <c:pt idx="4119">
                  <c:v>-0.84676839635213497</c:v>
                </c:pt>
                <c:pt idx="4120">
                  <c:v>-0.99611471940251295</c:v>
                </c:pt>
                <c:pt idx="4121">
                  <c:v>-1.03345130016511</c:v>
                </c:pt>
                <c:pt idx="4122">
                  <c:v>-0.83847137840489205</c:v>
                </c:pt>
                <c:pt idx="4123">
                  <c:v>-0.93388708479818905</c:v>
                </c:pt>
                <c:pt idx="4124">
                  <c:v>-0.90899603095645898</c:v>
                </c:pt>
                <c:pt idx="4125">
                  <c:v>-0.95048112069267499</c:v>
                </c:pt>
                <c:pt idx="4126">
                  <c:v>-0.917293048903702</c:v>
                </c:pt>
                <c:pt idx="4127">
                  <c:v>-0.93388708479818905</c:v>
                </c:pt>
                <c:pt idx="4128">
                  <c:v>-1.05419384503322</c:v>
                </c:pt>
                <c:pt idx="4129">
                  <c:v>-1.05834235400684</c:v>
                </c:pt>
                <c:pt idx="4130">
                  <c:v>-0.87995646814110795</c:v>
                </c:pt>
                <c:pt idx="4131">
                  <c:v>-1.03759980913873</c:v>
                </c:pt>
                <c:pt idx="4132">
                  <c:v>-1.0832334078485699</c:v>
                </c:pt>
                <c:pt idx="4133">
                  <c:v>-1.16205507834738</c:v>
                </c:pt>
                <c:pt idx="4134">
                  <c:v>-1.0873819168221901</c:v>
                </c:pt>
                <c:pt idx="4135">
                  <c:v>-1.2284312219253199</c:v>
                </c:pt>
                <c:pt idx="4136">
                  <c:v>-1.12056998861116</c:v>
                </c:pt>
                <c:pt idx="4137">
                  <c:v>-1.1745006052682401</c:v>
                </c:pt>
                <c:pt idx="4138">
                  <c:v>-1.0915304257958101</c:v>
                </c:pt>
                <c:pt idx="4139">
                  <c:v>-1.09567893476943</c:v>
                </c:pt>
                <c:pt idx="4140">
                  <c:v>-1.11642147963754</c:v>
                </c:pt>
                <c:pt idx="4141">
                  <c:v>-1.07493638990132</c:v>
                </c:pt>
                <c:pt idx="4142">
                  <c:v>-1.16205507834738</c:v>
                </c:pt>
                <c:pt idx="4143">
                  <c:v>-1.20354016808359</c:v>
                </c:pt>
                <c:pt idx="4144">
                  <c:v>-1.22013420397808</c:v>
                </c:pt>
                <c:pt idx="4145">
                  <c:v>-1.24917376679343</c:v>
                </c:pt>
                <c:pt idx="4146">
                  <c:v>-1.22013420397808</c:v>
                </c:pt>
                <c:pt idx="4147">
                  <c:v>-1.2782133296087801</c:v>
                </c:pt>
                <c:pt idx="4148">
                  <c:v>-1.2325797308989499</c:v>
                </c:pt>
                <c:pt idx="4149">
                  <c:v>-1.1910946411627299</c:v>
                </c:pt>
                <c:pt idx="4150">
                  <c:v>-1.2948073655032699</c:v>
                </c:pt>
                <c:pt idx="4151">
                  <c:v>-1.24917376679343</c:v>
                </c:pt>
                <c:pt idx="4152">
                  <c:v>-1.3155499103713799</c:v>
                </c:pt>
                <c:pt idx="4153">
                  <c:v>-1.26991631166154</c:v>
                </c:pt>
                <c:pt idx="4154">
                  <c:v>-0.85921392327299995</c:v>
                </c:pt>
                <c:pt idx="4155">
                  <c:v>-1.35288649113397</c:v>
                </c:pt>
                <c:pt idx="4156">
                  <c:v>-1.34873798216035</c:v>
                </c:pt>
                <c:pt idx="4157">
                  <c:v>-1.4897872872634901</c:v>
                </c:pt>
                <c:pt idx="4158">
                  <c:v>-1.3653320180548401</c:v>
                </c:pt>
                <c:pt idx="4159">
                  <c:v>-1.36948052702846</c:v>
                </c:pt>
                <c:pt idx="4160">
                  <c:v>-1.41096561676467</c:v>
                </c:pt>
                <c:pt idx="4161">
                  <c:v>-1.3653320180548401</c:v>
                </c:pt>
                <c:pt idx="4162">
                  <c:v>-1.37362903600208</c:v>
                </c:pt>
                <c:pt idx="4163">
                  <c:v>-1.4151141257383</c:v>
                </c:pt>
                <c:pt idx="4164">
                  <c:v>-1.39022307189657</c:v>
                </c:pt>
                <c:pt idx="4165">
                  <c:v>-1.3196984193450001</c:v>
                </c:pt>
                <c:pt idx="4166">
                  <c:v>-1.3362924552394899</c:v>
                </c:pt>
                <c:pt idx="4167">
                  <c:v>-1.45659921547451</c:v>
                </c:pt>
                <c:pt idx="4168">
                  <c:v>-1.4400051795800299</c:v>
                </c:pt>
                <c:pt idx="4169">
                  <c:v>-1.427559652659159</c:v>
                </c:pt>
                <c:pt idx="4170">
                  <c:v>-1.4856387782898599</c:v>
                </c:pt>
                <c:pt idx="4171">
                  <c:v>-1.3819260539493201</c:v>
                </c:pt>
                <c:pt idx="4172">
                  <c:v>-1.4358566706064</c:v>
                </c:pt>
                <c:pt idx="4173">
                  <c:v>-1.4483021975272701</c:v>
                </c:pt>
                <c:pt idx="4174">
                  <c:v>-1.4690447423953801</c:v>
                </c:pt>
                <c:pt idx="4175">
                  <c:v>-1.427559652659159</c:v>
                </c:pt>
                <c:pt idx="4176">
                  <c:v>-1.4151141257383</c:v>
                </c:pt>
                <c:pt idx="4177">
                  <c:v>-1.4192626347119199</c:v>
                </c:pt>
                <c:pt idx="4178">
                  <c:v>-1.4648962334217599</c:v>
                </c:pt>
                <c:pt idx="4179">
                  <c:v>-1.4151141257383</c:v>
                </c:pt>
                <c:pt idx="4180">
                  <c:v>-1.45245070650089</c:v>
                </c:pt>
                <c:pt idx="4181">
                  <c:v>-1.4897872872634901</c:v>
                </c:pt>
                <c:pt idx="4182">
                  <c:v>-1.4607477244481299</c:v>
                </c:pt>
                <c:pt idx="4183">
                  <c:v>-1.45659921547451</c:v>
                </c:pt>
                <c:pt idx="4184">
                  <c:v>-1.4690447423953801</c:v>
                </c:pt>
                <c:pt idx="4185">
                  <c:v>-1.4026685988174299</c:v>
                </c:pt>
                <c:pt idx="4186">
                  <c:v>-1.4690447423953801</c:v>
                </c:pt>
                <c:pt idx="4187">
                  <c:v>-1.4026685988174299</c:v>
                </c:pt>
                <c:pt idx="4188">
                  <c:v>-1.45245070650089</c:v>
                </c:pt>
                <c:pt idx="4189">
                  <c:v>-1.4192626347119199</c:v>
                </c:pt>
                <c:pt idx="4190">
                  <c:v>-1.4483021975272701</c:v>
                </c:pt>
                <c:pt idx="4191">
                  <c:v>-1.3155499103713799</c:v>
                </c:pt>
                <c:pt idx="4192">
                  <c:v>-1.2284312219253199</c:v>
                </c:pt>
                <c:pt idx="4193">
                  <c:v>-1.1039759527166799</c:v>
                </c:pt>
                <c:pt idx="4194">
                  <c:v>-0.801134797642297</c:v>
                </c:pt>
                <c:pt idx="4195">
                  <c:v>-1.0500453360595901</c:v>
                </c:pt>
                <c:pt idx="4196">
                  <c:v>-1.09567893476943</c:v>
                </c:pt>
                <c:pt idx="4197">
                  <c:v>-0.92559006685094503</c:v>
                </c:pt>
                <c:pt idx="4198">
                  <c:v>-0.91314453993008105</c:v>
                </c:pt>
                <c:pt idx="4199">
                  <c:v>-0.89240199506197204</c:v>
                </c:pt>
                <c:pt idx="4200">
                  <c:v>-0.92144155787732396</c:v>
                </c:pt>
                <c:pt idx="4201">
                  <c:v>-0.98366919248164797</c:v>
                </c:pt>
                <c:pt idx="4202">
                  <c:v>-0.98781770145527004</c:v>
                </c:pt>
                <c:pt idx="4203">
                  <c:v>-0.90899603095645898</c:v>
                </c:pt>
                <c:pt idx="4204">
                  <c:v>-0.80528330661591896</c:v>
                </c:pt>
                <c:pt idx="4205">
                  <c:v>-0.72646163611710801</c:v>
                </c:pt>
                <c:pt idx="4206">
                  <c:v>-0.98781770145527004</c:v>
                </c:pt>
                <c:pt idx="4207">
                  <c:v>-0.86751094122024297</c:v>
                </c:pt>
                <c:pt idx="4208">
                  <c:v>-1.0002632283761299</c:v>
                </c:pt>
                <c:pt idx="4209">
                  <c:v>-0.84261988737851301</c:v>
                </c:pt>
                <c:pt idx="4210">
                  <c:v>-0.89240199506197204</c:v>
                </c:pt>
                <c:pt idx="4211">
                  <c:v>-0.78868927072143202</c:v>
                </c:pt>
                <c:pt idx="4212">
                  <c:v>-0.74720418098521602</c:v>
                </c:pt>
                <c:pt idx="4213">
                  <c:v>-0.81358032456316198</c:v>
                </c:pt>
                <c:pt idx="4214">
                  <c:v>-0.759649707906081</c:v>
                </c:pt>
                <c:pt idx="4215">
                  <c:v>-0.63519443869743197</c:v>
                </c:pt>
                <c:pt idx="4216">
                  <c:v>-0.67253101946002702</c:v>
                </c:pt>
                <c:pt idx="4217">
                  <c:v>-0.60615487588208095</c:v>
                </c:pt>
                <c:pt idx="4218">
                  <c:v>-0.57711531306672903</c:v>
                </c:pt>
                <c:pt idx="4219">
                  <c:v>-0.53977873230413498</c:v>
                </c:pt>
                <c:pt idx="4220">
                  <c:v>-0.49414513359429701</c:v>
                </c:pt>
                <c:pt idx="4221">
                  <c:v>-0.62689742075018895</c:v>
                </c:pt>
                <c:pt idx="4222">
                  <c:v>-0.57711531306672903</c:v>
                </c:pt>
                <c:pt idx="4223">
                  <c:v>-0.68912505535451296</c:v>
                </c:pt>
                <c:pt idx="4224">
                  <c:v>-0.62689742075018895</c:v>
                </c:pt>
                <c:pt idx="4225">
                  <c:v>-0.664234001512783</c:v>
                </c:pt>
                <c:pt idx="4226">
                  <c:v>-0.48169960667343198</c:v>
                </c:pt>
                <c:pt idx="4227">
                  <c:v>-0.62689742075018895</c:v>
                </c:pt>
                <c:pt idx="4228">
                  <c:v>-0.64763996561829695</c:v>
                </c:pt>
                <c:pt idx="4229">
                  <c:v>-0.61030338485570201</c:v>
                </c:pt>
                <c:pt idx="4230">
                  <c:v>-0.51488767846240502</c:v>
                </c:pt>
                <c:pt idx="4231">
                  <c:v>-0.63519443869743197</c:v>
                </c:pt>
                <c:pt idx="4232">
                  <c:v>-0.67253101946002702</c:v>
                </c:pt>
                <c:pt idx="4233">
                  <c:v>-0.65593698356553998</c:v>
                </c:pt>
                <c:pt idx="4234">
                  <c:v>-0.67667952843364798</c:v>
                </c:pt>
                <c:pt idx="4235">
                  <c:v>-0.65178847459191902</c:v>
                </c:pt>
                <c:pt idx="4236">
                  <c:v>-0.55637276819862103</c:v>
                </c:pt>
                <c:pt idx="4237">
                  <c:v>-0.63519443869743197</c:v>
                </c:pt>
                <c:pt idx="4238">
                  <c:v>-0.65178847459191902</c:v>
                </c:pt>
                <c:pt idx="4239">
                  <c:v>-0.70986760022262096</c:v>
                </c:pt>
                <c:pt idx="4240">
                  <c:v>-0.99611471940251295</c:v>
                </c:pt>
                <c:pt idx="4241">
                  <c:v>-1.07908489887495</c:v>
                </c:pt>
                <c:pt idx="4242">
                  <c:v>-1.3777775449756999</c:v>
                </c:pt>
                <c:pt idx="4243">
                  <c:v>-1.4192626347119199</c:v>
                </c:pt>
                <c:pt idx="4244">
                  <c:v>-1.3404409642131101</c:v>
                </c:pt>
                <c:pt idx="4245">
                  <c:v>-1.35288649113397</c:v>
                </c:pt>
                <c:pt idx="4246">
                  <c:v>-1.34873798216035</c:v>
                </c:pt>
                <c:pt idx="4247">
                  <c:v>-1.34873798216035</c:v>
                </c:pt>
                <c:pt idx="4248">
                  <c:v>-1.3362924552394899</c:v>
                </c:pt>
                <c:pt idx="4249">
                  <c:v>-1.3570350001075899</c:v>
                </c:pt>
                <c:pt idx="4250">
                  <c:v>-1.3570350001075899</c:v>
                </c:pt>
                <c:pt idx="4251">
                  <c:v>-1.33214394626586</c:v>
                </c:pt>
                <c:pt idx="4252">
                  <c:v>-1.3570350001075899</c:v>
                </c:pt>
                <c:pt idx="4253">
                  <c:v>-1.3611835090812201</c:v>
                </c:pt>
                <c:pt idx="4254">
                  <c:v>-1.3570350001075899</c:v>
                </c:pt>
                <c:pt idx="4255">
                  <c:v>-1.39022307189657</c:v>
                </c:pt>
                <c:pt idx="4256">
                  <c:v>-1.4400051795800299</c:v>
                </c:pt>
                <c:pt idx="4257">
                  <c:v>-1.5105298321315901</c:v>
                </c:pt>
                <c:pt idx="4258">
                  <c:v>-1.3777775449756999</c:v>
                </c:pt>
                <c:pt idx="4259">
                  <c:v>-1.45659921547451</c:v>
                </c:pt>
                <c:pt idx="4260">
                  <c:v>-1.49393579623711</c:v>
                </c:pt>
                <c:pt idx="4261">
                  <c:v>-1.37362903600208</c:v>
                </c:pt>
                <c:pt idx="4262">
                  <c:v>-1.4648962334217599</c:v>
                </c:pt>
                <c:pt idx="4263">
                  <c:v>-1.5312723769997001</c:v>
                </c:pt>
                <c:pt idx="4264">
                  <c:v>-1.4483021975272701</c:v>
                </c:pt>
                <c:pt idx="4265">
                  <c:v>-1.51882685007884</c:v>
                </c:pt>
                <c:pt idx="4266">
                  <c:v>-1.58105448468316</c:v>
                </c:pt>
                <c:pt idx="4267">
                  <c:v>-1.58520299365678</c:v>
                </c:pt>
                <c:pt idx="4268">
                  <c:v>-1.5312723769997001</c:v>
                </c:pt>
                <c:pt idx="4269">
                  <c:v>-1.5769059757095401</c:v>
                </c:pt>
                <c:pt idx="4270">
                  <c:v>-1.5561634308414301</c:v>
                </c:pt>
                <c:pt idx="4271">
                  <c:v>-1.5935000116040301</c:v>
                </c:pt>
                <c:pt idx="4272">
                  <c:v>-1.54371790392057</c:v>
                </c:pt>
                <c:pt idx="4273">
                  <c:v>-1.51467834110522</c:v>
                </c:pt>
                <c:pt idx="4274">
                  <c:v>-1.45659921547451</c:v>
                </c:pt>
                <c:pt idx="4275">
                  <c:v>-1.5520149218678101</c:v>
                </c:pt>
                <c:pt idx="4276">
                  <c:v>-1.6100940474985099</c:v>
                </c:pt>
                <c:pt idx="4277">
                  <c:v>-1.5105298321315901</c:v>
                </c:pt>
                <c:pt idx="4278">
                  <c:v>-1.54371790392057</c:v>
                </c:pt>
                <c:pt idx="4279">
                  <c:v>-1.6598761551819701</c:v>
                </c:pt>
                <c:pt idx="4280">
                  <c:v>-1.56031193981505</c:v>
                </c:pt>
                <c:pt idx="4281">
                  <c:v>-1.5312723769997001</c:v>
                </c:pt>
                <c:pt idx="4282">
                  <c:v>-1.5520149218678101</c:v>
                </c:pt>
                <c:pt idx="4283">
                  <c:v>-1.52297535905246</c:v>
                </c:pt>
                <c:pt idx="4284">
                  <c:v>-1.5520149218678101</c:v>
                </c:pt>
                <c:pt idx="4285">
                  <c:v>-1.5727574667359201</c:v>
                </c:pt>
                <c:pt idx="4286">
                  <c:v>-1.5063813231579699</c:v>
                </c:pt>
                <c:pt idx="4287">
                  <c:v>-1.51467834110522</c:v>
                </c:pt>
                <c:pt idx="4288">
                  <c:v>-1.4897872872634901</c:v>
                </c:pt>
                <c:pt idx="4289">
                  <c:v>-1.0915304257958101</c:v>
                </c:pt>
                <c:pt idx="4290">
                  <c:v>-1.13716402450565</c:v>
                </c:pt>
                <c:pt idx="4291">
                  <c:v>-1.0002632283761299</c:v>
                </c:pt>
                <c:pt idx="4292">
                  <c:v>-0.74720418098521602</c:v>
                </c:pt>
                <c:pt idx="4293">
                  <c:v>-1.13716402450565</c:v>
                </c:pt>
                <c:pt idx="4294">
                  <c:v>-1.0915304257958101</c:v>
                </c:pt>
                <c:pt idx="4295">
                  <c:v>-1.0417483181123499</c:v>
                </c:pt>
                <c:pt idx="4296">
                  <c:v>-0.83847137840489205</c:v>
                </c:pt>
                <c:pt idx="4297">
                  <c:v>-0.87995646814110795</c:v>
                </c:pt>
                <c:pt idx="4298">
                  <c:v>-0.83432286943126999</c:v>
                </c:pt>
                <c:pt idx="4299">
                  <c:v>-0.81772883353678305</c:v>
                </c:pt>
                <c:pt idx="4300">
                  <c:v>-1.00856024632338</c:v>
                </c:pt>
                <c:pt idx="4301">
                  <c:v>-0.93803559377181001</c:v>
                </c:pt>
                <c:pt idx="4302">
                  <c:v>-0.86336243224662101</c:v>
                </c:pt>
                <c:pt idx="4303">
                  <c:v>-0.780392252774189</c:v>
                </c:pt>
                <c:pt idx="4304">
                  <c:v>-0.73061014509072897</c:v>
                </c:pt>
                <c:pt idx="4305">
                  <c:v>-0.51073916948878395</c:v>
                </c:pt>
                <c:pt idx="4306">
                  <c:v>-0.65593698356553998</c:v>
                </c:pt>
                <c:pt idx="4307">
                  <c:v>-0.55222425922499996</c:v>
                </c:pt>
                <c:pt idx="4308">
                  <c:v>-2.95121285486756E-2</c:v>
                </c:pt>
                <c:pt idx="4309">
                  <c:v>-3.7809146495918898E-2</c:v>
                </c:pt>
                <c:pt idx="4310">
                  <c:v>-0.33650179259667501</c:v>
                </c:pt>
                <c:pt idx="4311">
                  <c:v>6.1755068870999998E-2</c:v>
                </c:pt>
                <c:pt idx="4312">
                  <c:v>-0.108333799047486</c:v>
                </c:pt>
                <c:pt idx="4313">
                  <c:v>-0.21204652338802699</c:v>
                </c:pt>
                <c:pt idx="4314">
                  <c:v>-0.11663081699473</c:v>
                </c:pt>
                <c:pt idx="4315">
                  <c:v>-0.34479881054391898</c:v>
                </c:pt>
                <c:pt idx="4316">
                  <c:v>-0.19130397851991901</c:v>
                </c:pt>
                <c:pt idx="4317">
                  <c:v>-0.47340258872618901</c:v>
                </c:pt>
                <c:pt idx="4318">
                  <c:v>-0.43606600796359402</c:v>
                </c:pt>
                <c:pt idx="4319">
                  <c:v>-0.37383837335927</c:v>
                </c:pt>
                <c:pt idx="4320">
                  <c:v>-0.32405626567581097</c:v>
                </c:pt>
                <c:pt idx="4321">
                  <c:v>-0.295016702860459</c:v>
                </c:pt>
                <c:pt idx="4322">
                  <c:v>-0.24938310415062101</c:v>
                </c:pt>
                <c:pt idx="4323">
                  <c:v>-0.11663081699473</c:v>
                </c:pt>
                <c:pt idx="4324">
                  <c:v>-0.124927834941973</c:v>
                </c:pt>
                <c:pt idx="4325">
                  <c:v>-1.7066601627810801E-2</c:v>
                </c:pt>
                <c:pt idx="4326">
                  <c:v>-0.21204652338802699</c:v>
                </c:pt>
                <c:pt idx="4327">
                  <c:v>-0.23278906825613499</c:v>
                </c:pt>
                <c:pt idx="4328">
                  <c:v>-0.27842266696597301</c:v>
                </c:pt>
                <c:pt idx="4329">
                  <c:v>-0.41947197206910802</c:v>
                </c:pt>
                <c:pt idx="4330">
                  <c:v>-0.32405626567581097</c:v>
                </c:pt>
                <c:pt idx="4331">
                  <c:v>-0.48169960667343198</c:v>
                </c:pt>
                <c:pt idx="4332">
                  <c:v>-0.34894731951753999</c:v>
                </c:pt>
                <c:pt idx="4333">
                  <c:v>-0.390432409253757</c:v>
                </c:pt>
                <c:pt idx="4334">
                  <c:v>-0.274274157992351</c:v>
                </c:pt>
                <c:pt idx="4335">
                  <c:v>-0.26182863107148602</c:v>
                </c:pt>
                <c:pt idx="4336">
                  <c:v>-0.68082803740727005</c:v>
                </c:pt>
                <c:pt idx="4337">
                  <c:v>-0.97952068350802701</c:v>
                </c:pt>
                <c:pt idx="4338">
                  <c:v>-1.1039759527166799</c:v>
                </c:pt>
                <c:pt idx="4339">
                  <c:v>-1.15790656937376</c:v>
                </c:pt>
                <c:pt idx="4340">
                  <c:v>-1.0500453360595901</c:v>
                </c:pt>
                <c:pt idx="4341">
                  <c:v>-0.94633261171905403</c:v>
                </c:pt>
                <c:pt idx="4342">
                  <c:v>-0.94633261171905403</c:v>
                </c:pt>
                <c:pt idx="4343">
                  <c:v>-0.83017436045764803</c:v>
                </c:pt>
                <c:pt idx="4344">
                  <c:v>-0.96707515658716203</c:v>
                </c:pt>
                <c:pt idx="4345">
                  <c:v>-1.1288670065584001</c:v>
                </c:pt>
                <c:pt idx="4346">
                  <c:v>-1.1122729706639201</c:v>
                </c:pt>
                <c:pt idx="4347">
                  <c:v>-1.0915304257958101</c:v>
                </c:pt>
                <c:pt idx="4348">
                  <c:v>-1.26576780268792</c:v>
                </c:pt>
                <c:pt idx="4349">
                  <c:v>-1.1288670065584001</c:v>
                </c:pt>
                <c:pt idx="4350">
                  <c:v>-1.28651034755603</c:v>
                </c:pt>
                <c:pt idx="4351">
                  <c:v>-1.32799543729224</c:v>
                </c:pt>
                <c:pt idx="4352">
                  <c:v>-1.2367282398725701</c:v>
                </c:pt>
                <c:pt idx="4353">
                  <c:v>-1.3860745629229501</c:v>
                </c:pt>
                <c:pt idx="4354">
                  <c:v>-1.2948073655032699</c:v>
                </c:pt>
                <c:pt idx="4355">
                  <c:v>-1.22013420397808</c:v>
                </c:pt>
                <c:pt idx="4356">
                  <c:v>-1.35288649113397</c:v>
                </c:pt>
                <c:pt idx="4357">
                  <c:v>-1.3031043834505101</c:v>
                </c:pt>
                <c:pt idx="4358">
                  <c:v>-1.4483021975272701</c:v>
                </c:pt>
                <c:pt idx="4359">
                  <c:v>-1.4026685988174299</c:v>
                </c:pt>
                <c:pt idx="4360">
                  <c:v>-1.3404409642131101</c:v>
                </c:pt>
                <c:pt idx="4361">
                  <c:v>-1.4483021975272701</c:v>
                </c:pt>
                <c:pt idx="4362">
                  <c:v>-1.4068171077910501</c:v>
                </c:pt>
                <c:pt idx="4363">
                  <c:v>-1.45245070650089</c:v>
                </c:pt>
                <c:pt idx="4364">
                  <c:v>-1.4856387782898599</c:v>
                </c:pt>
                <c:pt idx="4365">
                  <c:v>-1.4441536885536499</c:v>
                </c:pt>
                <c:pt idx="4366">
                  <c:v>-1.43170816163278</c:v>
                </c:pt>
                <c:pt idx="4367">
                  <c:v>-1.45245070650089</c:v>
                </c:pt>
                <c:pt idx="4368">
                  <c:v>-1.50223281418435</c:v>
                </c:pt>
                <c:pt idx="4369">
                  <c:v>-1.47734176034262</c:v>
                </c:pt>
                <c:pt idx="4370">
                  <c:v>-1.39437158087019</c:v>
                </c:pt>
                <c:pt idx="4371">
                  <c:v>-1.4483021975272701</c:v>
                </c:pt>
                <c:pt idx="4372">
                  <c:v>-1.4483021975272701</c:v>
                </c:pt>
                <c:pt idx="4373">
                  <c:v>-1.24502525781981</c:v>
                </c:pt>
                <c:pt idx="4374">
                  <c:v>-1.427559652659159</c:v>
                </c:pt>
                <c:pt idx="4375">
                  <c:v>-1.39022307189657</c:v>
                </c:pt>
                <c:pt idx="4376">
                  <c:v>-1.4690447423953801</c:v>
                </c:pt>
                <c:pt idx="4377">
                  <c:v>-1.41096561676467</c:v>
                </c:pt>
                <c:pt idx="4378">
                  <c:v>-1.3985200898438099</c:v>
                </c:pt>
                <c:pt idx="4379">
                  <c:v>-1.4690447423953801</c:v>
                </c:pt>
                <c:pt idx="4380">
                  <c:v>-1.47734176034262</c:v>
                </c:pt>
                <c:pt idx="4381">
                  <c:v>-1.4483021975272701</c:v>
                </c:pt>
                <c:pt idx="4382">
                  <c:v>-1.49808430521073</c:v>
                </c:pt>
                <c:pt idx="4383">
                  <c:v>-1.34873798216035</c:v>
                </c:pt>
                <c:pt idx="4384">
                  <c:v>-1.3985200898438099</c:v>
                </c:pt>
                <c:pt idx="4385">
                  <c:v>-1.012708755297</c:v>
                </c:pt>
                <c:pt idx="4386">
                  <c:v>-0.99611471940251295</c:v>
                </c:pt>
                <c:pt idx="4387">
                  <c:v>-0.80528330661591896</c:v>
                </c:pt>
                <c:pt idx="4388">
                  <c:v>-0.72646163611710801</c:v>
                </c:pt>
                <c:pt idx="4389">
                  <c:v>-0.98781770145527004</c:v>
                </c:pt>
                <c:pt idx="4390">
                  <c:v>-1.1081244616903001</c:v>
                </c:pt>
                <c:pt idx="4391">
                  <c:v>-1.0002632283761299</c:v>
                </c:pt>
                <c:pt idx="4392">
                  <c:v>-0.82602585148402696</c:v>
                </c:pt>
                <c:pt idx="4393">
                  <c:v>-0.70157058227537805</c:v>
                </c:pt>
                <c:pt idx="4394">
                  <c:v>-0.78868927072143202</c:v>
                </c:pt>
                <c:pt idx="4395">
                  <c:v>-0.83017436045764803</c:v>
                </c:pt>
                <c:pt idx="4396">
                  <c:v>-0.74305567201159395</c:v>
                </c:pt>
                <c:pt idx="4397">
                  <c:v>-0.684976546380892</c:v>
                </c:pt>
                <c:pt idx="4398">
                  <c:v>-0.55637276819862103</c:v>
                </c:pt>
                <c:pt idx="4399">
                  <c:v>-0.489996624620675</c:v>
                </c:pt>
                <c:pt idx="4400">
                  <c:v>-0.34894731951753999</c:v>
                </c:pt>
                <c:pt idx="4401">
                  <c:v>-0.29916521183408101</c:v>
                </c:pt>
                <c:pt idx="4402">
                  <c:v>-0.216195032361649</c:v>
                </c:pt>
                <c:pt idx="4403">
                  <c:v>-0.236937577229757</c:v>
                </c:pt>
                <c:pt idx="4404">
                  <c:v>-0.18300696057267599</c:v>
                </c:pt>
                <c:pt idx="4405">
                  <c:v>-0.15396739775732399</c:v>
                </c:pt>
                <c:pt idx="4406">
                  <c:v>-0.15396739775732399</c:v>
                </c:pt>
                <c:pt idx="4407">
                  <c:v>-0.28257117593959402</c:v>
                </c:pt>
                <c:pt idx="4408">
                  <c:v>-0.38628390028013498</c:v>
                </c:pt>
                <c:pt idx="4409">
                  <c:v>-6.6848709311270196E-2</c:v>
                </c:pt>
                <c:pt idx="4410">
                  <c:v>-0.120779325968351</c:v>
                </c:pt>
                <c:pt idx="4411">
                  <c:v>3.6864015029270301E-2</c:v>
                </c:pt>
                <c:pt idx="4412">
                  <c:v>-6.6848709311270196E-2</c:v>
                </c:pt>
                <c:pt idx="4413">
                  <c:v>-7.0997218284891805E-2</c:v>
                </c:pt>
                <c:pt idx="4414">
                  <c:v>-9.5888272126621502E-2</c:v>
                </c:pt>
                <c:pt idx="4415">
                  <c:v>-0.158115906730946</c:v>
                </c:pt>
                <c:pt idx="4416">
                  <c:v>6.1755068870999998E-2</c:v>
                </c:pt>
                <c:pt idx="4417">
                  <c:v>-3.7809146495918898E-2</c:v>
                </c:pt>
                <c:pt idx="4418">
                  <c:v>4.9309541950135198E-2</c:v>
                </c:pt>
                <c:pt idx="4419">
                  <c:v>4.1012524002891897E-2</c:v>
                </c:pt>
                <c:pt idx="4420">
                  <c:v>-8.3442745205756702E-2</c:v>
                </c:pt>
                <c:pt idx="4421">
                  <c:v>-0.14152187083645901</c:v>
                </c:pt>
                <c:pt idx="4422">
                  <c:v>9.4943140659973002E-2</c:v>
                </c:pt>
                <c:pt idx="4423">
                  <c:v>0.161319284237919</c:v>
                </c:pt>
                <c:pt idx="4424">
                  <c:v>0.13642823039618901</c:v>
                </c:pt>
                <c:pt idx="4425">
                  <c:v>5.34580509237568E-2</c:v>
                </c:pt>
                <c:pt idx="4426">
                  <c:v>0.14472524834343201</c:v>
                </c:pt>
                <c:pt idx="4427">
                  <c:v>7.4200595791864901E-2</c:v>
                </c:pt>
                <c:pt idx="4428">
                  <c:v>0.153022266290676</c:v>
                </c:pt>
                <c:pt idx="4429">
                  <c:v>3.6864015029270301E-2</c:v>
                </c:pt>
                <c:pt idx="4430">
                  <c:v>-3.3660637522297199E-2</c:v>
                </c:pt>
                <c:pt idx="4431">
                  <c:v>-4.62107470694591E-3</c:v>
                </c:pt>
                <c:pt idx="4432">
                  <c:v>-0.61445189382932397</c:v>
                </c:pt>
                <c:pt idx="4433">
                  <c:v>-1.012708755297</c:v>
                </c:pt>
                <c:pt idx="4434">
                  <c:v>-1.13716402450565</c:v>
                </c:pt>
                <c:pt idx="4435">
                  <c:v>-1.13716402450565</c:v>
                </c:pt>
                <c:pt idx="4436">
                  <c:v>-1.13716402450565</c:v>
                </c:pt>
                <c:pt idx="4437">
                  <c:v>-1.1330155155320301</c:v>
                </c:pt>
                <c:pt idx="4438">
                  <c:v>-1.13716402450565</c:v>
                </c:pt>
                <c:pt idx="4439">
                  <c:v>-1.1952431501363501</c:v>
                </c:pt>
                <c:pt idx="4440">
                  <c:v>-1.215985695004459</c:v>
                </c:pt>
                <c:pt idx="4441">
                  <c:v>-1.1952431501363501</c:v>
                </c:pt>
                <c:pt idx="4442">
                  <c:v>-1.2948073655032699</c:v>
                </c:pt>
                <c:pt idx="4443">
                  <c:v>-1.1662035873209999</c:v>
                </c:pt>
                <c:pt idx="4444">
                  <c:v>-1.16205507834738</c:v>
                </c:pt>
                <c:pt idx="4445">
                  <c:v>-1.2782133296087801</c:v>
                </c:pt>
                <c:pt idx="4446">
                  <c:v>-1.2118371860308399</c:v>
                </c:pt>
                <c:pt idx="4447">
                  <c:v>-1.3819260539493201</c:v>
                </c:pt>
                <c:pt idx="4448">
                  <c:v>-1.31140140139776</c:v>
                </c:pt>
                <c:pt idx="4449">
                  <c:v>-1.4068171077910501</c:v>
                </c:pt>
                <c:pt idx="4450">
                  <c:v>-1.4814902693162399</c:v>
                </c:pt>
                <c:pt idx="4451">
                  <c:v>-1.50223281418435</c:v>
                </c:pt>
                <c:pt idx="4452">
                  <c:v>-1.50223281418435</c:v>
                </c:pt>
                <c:pt idx="4453">
                  <c:v>-1.3653320180548401</c:v>
                </c:pt>
                <c:pt idx="4454">
                  <c:v>-1.45245070650089</c:v>
                </c:pt>
                <c:pt idx="4455">
                  <c:v>-1.3985200898438099</c:v>
                </c:pt>
                <c:pt idx="4456">
                  <c:v>-1.49393579623711</c:v>
                </c:pt>
                <c:pt idx="4457">
                  <c:v>-1.4856387782898599</c:v>
                </c:pt>
                <c:pt idx="4458">
                  <c:v>-1.4814902693162399</c:v>
                </c:pt>
                <c:pt idx="4459">
                  <c:v>-1.52297535905246</c:v>
                </c:pt>
                <c:pt idx="4460">
                  <c:v>-1.3819260539493201</c:v>
                </c:pt>
                <c:pt idx="4461">
                  <c:v>-1.4607477244481299</c:v>
                </c:pt>
                <c:pt idx="4462">
                  <c:v>-1.4234111436855399</c:v>
                </c:pt>
                <c:pt idx="4463">
                  <c:v>-1.49393579623711</c:v>
                </c:pt>
                <c:pt idx="4464">
                  <c:v>-1.58520299365678</c:v>
                </c:pt>
                <c:pt idx="4465">
                  <c:v>-1.5561634308414301</c:v>
                </c:pt>
                <c:pt idx="4466">
                  <c:v>-1.41096561676467</c:v>
                </c:pt>
                <c:pt idx="4467">
                  <c:v>-1.4358566706064</c:v>
                </c:pt>
                <c:pt idx="4468">
                  <c:v>-1.54371790392057</c:v>
                </c:pt>
                <c:pt idx="4469">
                  <c:v>-1.4192626347119199</c:v>
                </c:pt>
                <c:pt idx="4470">
                  <c:v>-1.5105298321315901</c:v>
                </c:pt>
                <c:pt idx="4471">
                  <c:v>-1.427559652659159</c:v>
                </c:pt>
                <c:pt idx="4472">
                  <c:v>-1.49808430521073</c:v>
                </c:pt>
                <c:pt idx="4473">
                  <c:v>-1.51467834110522</c:v>
                </c:pt>
                <c:pt idx="4474">
                  <c:v>-1.5063813231579699</c:v>
                </c:pt>
                <c:pt idx="4475">
                  <c:v>-1.4897872872634901</c:v>
                </c:pt>
                <c:pt idx="4476">
                  <c:v>-1.3653320180548401</c:v>
                </c:pt>
                <c:pt idx="4477">
                  <c:v>-1.4400051795800299</c:v>
                </c:pt>
                <c:pt idx="4478">
                  <c:v>-1.3819260539493201</c:v>
                </c:pt>
                <c:pt idx="4479">
                  <c:v>-1.39022307189657</c:v>
                </c:pt>
                <c:pt idx="4480">
                  <c:v>-1.2740648206351599</c:v>
                </c:pt>
                <c:pt idx="4481">
                  <c:v>-0.98366919248164797</c:v>
                </c:pt>
                <c:pt idx="4482">
                  <c:v>-0.99196621042889099</c:v>
                </c:pt>
                <c:pt idx="4483">
                  <c:v>-0.85091690532575603</c:v>
                </c:pt>
                <c:pt idx="4484">
                  <c:v>-0.60615487588208095</c:v>
                </c:pt>
                <c:pt idx="4485">
                  <c:v>-0.94633261171905403</c:v>
                </c:pt>
                <c:pt idx="4486">
                  <c:v>-0.81772883353678305</c:v>
                </c:pt>
                <c:pt idx="4487">
                  <c:v>-0.74720418098521602</c:v>
                </c:pt>
                <c:pt idx="4488">
                  <c:v>-0.61860040280294604</c:v>
                </c:pt>
                <c:pt idx="4489">
                  <c:v>-0.51903618743602697</c:v>
                </c:pt>
                <c:pt idx="4490">
                  <c:v>-0.684976546380892</c:v>
                </c:pt>
                <c:pt idx="4491">
                  <c:v>-0.73890716303797299</c:v>
                </c:pt>
                <c:pt idx="4492">
                  <c:v>-0.40702644514824299</c:v>
                </c:pt>
                <c:pt idx="4493">
                  <c:v>-0.39458091822737801</c:v>
                </c:pt>
                <c:pt idx="4494">
                  <c:v>-0.19960099646716201</c:v>
                </c:pt>
                <c:pt idx="4495">
                  <c:v>-0.124927834941973</c:v>
                </c:pt>
                <c:pt idx="4496">
                  <c:v>-0.19130397851991901</c:v>
                </c:pt>
                <c:pt idx="4497">
                  <c:v>-0.22449205030889199</c:v>
                </c:pt>
                <c:pt idx="4498">
                  <c:v>-0.236937577229757</c:v>
                </c:pt>
                <c:pt idx="4499">
                  <c:v>-0.129076343915595</c:v>
                </c:pt>
                <c:pt idx="4500">
                  <c:v>-3.7809146495918898E-2</c:v>
                </c:pt>
                <c:pt idx="4501">
                  <c:v>0.42267534957608099</c:v>
                </c:pt>
                <c:pt idx="4502">
                  <c:v>-0.31990775670218902</c:v>
                </c:pt>
                <c:pt idx="4503">
                  <c:v>7.8349104765486496E-2</c:v>
                </c:pt>
                <c:pt idx="4504">
                  <c:v>-0.28671968491321598</c:v>
                </c:pt>
                <c:pt idx="4505">
                  <c:v>-0.46095706180532398</c:v>
                </c:pt>
                <c:pt idx="4506">
                  <c:v>-0.50244215154154004</c:v>
                </c:pt>
                <c:pt idx="4507">
                  <c:v>-0.24108608620337801</c:v>
                </c:pt>
                <c:pt idx="4508">
                  <c:v>3.2715506055648699E-2</c:v>
                </c:pt>
                <c:pt idx="4509">
                  <c:v>6.1755068870999998E-2</c:v>
                </c:pt>
                <c:pt idx="4510">
                  <c:v>0.269180517552081</c:v>
                </c:pt>
                <c:pt idx="4511">
                  <c:v>-0.41532346309548601</c:v>
                </c:pt>
                <c:pt idx="4512">
                  <c:v>-0.54392724127775605</c:v>
                </c:pt>
                <c:pt idx="4513">
                  <c:v>-0.32405626567581097</c:v>
                </c:pt>
                <c:pt idx="4514">
                  <c:v>1.61214701611622E-2</c:v>
                </c:pt>
                <c:pt idx="4515">
                  <c:v>-0.33650179259667501</c:v>
                </c:pt>
                <c:pt idx="4516">
                  <c:v>-5.44031823904053E-2</c:v>
                </c:pt>
                <c:pt idx="4517">
                  <c:v>0.173764811158784</c:v>
                </c:pt>
                <c:pt idx="4518">
                  <c:v>0.107388667580838</c:v>
                </c:pt>
                <c:pt idx="4519">
                  <c:v>-0.34894731951753999</c:v>
                </c:pt>
                <c:pt idx="4520">
                  <c:v>-0.15396739775732399</c:v>
                </c:pt>
                <c:pt idx="4521">
                  <c:v>0.219398409868622</c:v>
                </c:pt>
                <c:pt idx="4522">
                  <c:v>0.12813121244894601</c:v>
                </c:pt>
                <c:pt idx="4523">
                  <c:v>0.289923062420189</c:v>
                </c:pt>
                <c:pt idx="4524">
                  <c:v>1.19729611875406E-2</c:v>
                </c:pt>
                <c:pt idx="4525">
                  <c:v>-0.23278906825613499</c:v>
                </c:pt>
                <c:pt idx="4526">
                  <c:v>-0.27012564901872999</c:v>
                </c:pt>
                <c:pt idx="4527">
                  <c:v>-2.5363619575054001E-2</c:v>
                </c:pt>
                <c:pt idx="4528">
                  <c:v>-0.66838251048640496</c:v>
                </c:pt>
                <c:pt idx="4529">
                  <c:v>-0.81772883353678305</c:v>
                </c:pt>
                <c:pt idx="4530">
                  <c:v>-1.1869461321891099</c:v>
                </c:pt>
                <c:pt idx="4531">
                  <c:v>-1.2242827129517</c:v>
                </c:pt>
                <c:pt idx="4532">
                  <c:v>-1.1952431501363501</c:v>
                </c:pt>
                <c:pt idx="4533">
                  <c:v>-0.93388708479818905</c:v>
                </c:pt>
                <c:pt idx="4534">
                  <c:v>-1.07908489887495</c:v>
                </c:pt>
                <c:pt idx="4535">
                  <c:v>-1.20354016808359</c:v>
                </c:pt>
                <c:pt idx="4536">
                  <c:v>-1.0873819168221901</c:v>
                </c:pt>
                <c:pt idx="4537">
                  <c:v>-1.02930279119149</c:v>
                </c:pt>
                <c:pt idx="4538">
                  <c:v>-1.1952431501363501</c:v>
                </c:pt>
                <c:pt idx="4539">
                  <c:v>-1.05834235400684</c:v>
                </c:pt>
                <c:pt idx="4540">
                  <c:v>-1.1039759527166799</c:v>
                </c:pt>
                <c:pt idx="4541">
                  <c:v>-1.2823618385824</c:v>
                </c:pt>
                <c:pt idx="4542">
                  <c:v>-1.3653320180548401</c:v>
                </c:pt>
                <c:pt idx="4543">
                  <c:v>-1.2948073655032699</c:v>
                </c:pt>
                <c:pt idx="4544">
                  <c:v>-1.35288649113397</c:v>
                </c:pt>
                <c:pt idx="4545">
                  <c:v>-1.49808430521073</c:v>
                </c:pt>
                <c:pt idx="4546">
                  <c:v>-1.3860745629229501</c:v>
                </c:pt>
                <c:pt idx="4547">
                  <c:v>-1.4234111436855399</c:v>
                </c:pt>
                <c:pt idx="4548">
                  <c:v>-1.3611835090812201</c:v>
                </c:pt>
                <c:pt idx="4549">
                  <c:v>-1.4358566706064</c:v>
                </c:pt>
                <c:pt idx="4550">
                  <c:v>-1.3985200898438099</c:v>
                </c:pt>
                <c:pt idx="4551">
                  <c:v>-1.29065885652965</c:v>
                </c:pt>
                <c:pt idx="4552">
                  <c:v>-1.4897872872634901</c:v>
                </c:pt>
                <c:pt idx="4553">
                  <c:v>-1.3445894731867301</c:v>
                </c:pt>
                <c:pt idx="4554">
                  <c:v>-1.4607477244481299</c:v>
                </c:pt>
                <c:pt idx="4555">
                  <c:v>-1.5727574667359201</c:v>
                </c:pt>
                <c:pt idx="4556">
                  <c:v>-1.5727574667359201</c:v>
                </c:pt>
                <c:pt idx="4557">
                  <c:v>-1.2989558744768901</c:v>
                </c:pt>
                <c:pt idx="4558">
                  <c:v>-1.41096561676467</c:v>
                </c:pt>
                <c:pt idx="4559">
                  <c:v>-1.51467834110522</c:v>
                </c:pt>
                <c:pt idx="4560">
                  <c:v>-1.4690447423953801</c:v>
                </c:pt>
                <c:pt idx="4561">
                  <c:v>-1.4897872872634901</c:v>
                </c:pt>
                <c:pt idx="4562">
                  <c:v>-1.5105298321315901</c:v>
                </c:pt>
                <c:pt idx="4563">
                  <c:v>-1.4856387782898599</c:v>
                </c:pt>
                <c:pt idx="4564">
                  <c:v>-1.54371790392057</c:v>
                </c:pt>
                <c:pt idx="4565">
                  <c:v>-1.39437158087019</c:v>
                </c:pt>
                <c:pt idx="4566">
                  <c:v>-1.33214394626586</c:v>
                </c:pt>
                <c:pt idx="4567">
                  <c:v>-1.34873798216035</c:v>
                </c:pt>
                <c:pt idx="4568">
                  <c:v>-1.2242827129517</c:v>
                </c:pt>
                <c:pt idx="4569">
                  <c:v>-1.31140140139776</c:v>
                </c:pt>
                <c:pt idx="4570">
                  <c:v>-1.20354016808359</c:v>
                </c:pt>
                <c:pt idx="4571">
                  <c:v>-1.26576780268792</c:v>
                </c:pt>
                <c:pt idx="4572">
                  <c:v>-1.05419384503322</c:v>
                </c:pt>
                <c:pt idx="4573">
                  <c:v>-0.95877813863991801</c:v>
                </c:pt>
                <c:pt idx="4574">
                  <c:v>-0.73890716303797299</c:v>
                </c:pt>
                <c:pt idx="4575">
                  <c:v>-0.72646163611710801</c:v>
                </c:pt>
                <c:pt idx="4576">
                  <c:v>-0.98781770145527004</c:v>
                </c:pt>
                <c:pt idx="4577">
                  <c:v>-0.917293048903702</c:v>
                </c:pt>
                <c:pt idx="4578">
                  <c:v>-0.97952068350802701</c:v>
                </c:pt>
                <c:pt idx="4579">
                  <c:v>-0.74305567201159395</c:v>
                </c:pt>
                <c:pt idx="4580">
                  <c:v>-0.63934294767105404</c:v>
                </c:pt>
                <c:pt idx="4581">
                  <c:v>-0.74305567201159395</c:v>
                </c:pt>
                <c:pt idx="4582">
                  <c:v>-0.759649707906081</c:v>
                </c:pt>
                <c:pt idx="4583">
                  <c:v>-0.75135268995883697</c:v>
                </c:pt>
                <c:pt idx="4584">
                  <c:v>-0.75550119893245904</c:v>
                </c:pt>
                <c:pt idx="4585">
                  <c:v>-0.87580795916748599</c:v>
                </c:pt>
                <c:pt idx="4586">
                  <c:v>-0.73890716303797299</c:v>
                </c:pt>
                <c:pt idx="4587">
                  <c:v>-0.780392252774189</c:v>
                </c:pt>
                <c:pt idx="4588">
                  <c:v>-0.65178847459191902</c:v>
                </c:pt>
                <c:pt idx="4589">
                  <c:v>-0.39872942720100002</c:v>
                </c:pt>
                <c:pt idx="4590">
                  <c:v>-0.469254079752567</c:v>
                </c:pt>
                <c:pt idx="4591">
                  <c:v>-0.45266004385808101</c:v>
                </c:pt>
                <c:pt idx="4592">
                  <c:v>-0.59785785793483703</c:v>
                </c:pt>
                <c:pt idx="4593">
                  <c:v>-0.56466978614586505</c:v>
                </c:pt>
                <c:pt idx="4594">
                  <c:v>-0.35724433746478401</c:v>
                </c:pt>
                <c:pt idx="4595">
                  <c:v>-0.37383837335927</c:v>
                </c:pt>
                <c:pt idx="4596">
                  <c:v>-0.43606600796359402</c:v>
                </c:pt>
                <c:pt idx="4597">
                  <c:v>-0.26597714004510797</c:v>
                </c:pt>
                <c:pt idx="4598">
                  <c:v>-0.46095706180532398</c:v>
                </c:pt>
                <c:pt idx="4599">
                  <c:v>-0.46510557077894599</c:v>
                </c:pt>
                <c:pt idx="4600">
                  <c:v>-0.42362048104272898</c:v>
                </c:pt>
                <c:pt idx="4601">
                  <c:v>-2.5363619575054001E-2</c:v>
                </c:pt>
                <c:pt idx="4602">
                  <c:v>-0.274274157992351</c:v>
                </c:pt>
                <c:pt idx="4603">
                  <c:v>-0.29086819388683799</c:v>
                </c:pt>
                <c:pt idx="4604">
                  <c:v>-0.31161073875494599</c:v>
                </c:pt>
                <c:pt idx="4605">
                  <c:v>-0.149818888783703</c:v>
                </c:pt>
                <c:pt idx="4606">
                  <c:v>-0.37798688233289202</c:v>
                </c:pt>
                <c:pt idx="4607">
                  <c:v>-0.48169960667343198</c:v>
                </c:pt>
                <c:pt idx="4608">
                  <c:v>-0.29916521183408101</c:v>
                </c:pt>
                <c:pt idx="4609">
                  <c:v>-0.33650179259667501</c:v>
                </c:pt>
                <c:pt idx="4610">
                  <c:v>-0.55637276819862103</c:v>
                </c:pt>
                <c:pt idx="4611">
                  <c:v>-0.245234595177</c:v>
                </c:pt>
                <c:pt idx="4612">
                  <c:v>-0.36139284643840502</c:v>
                </c:pt>
                <c:pt idx="4613">
                  <c:v>-0.61860040280294604</c:v>
                </c:pt>
                <c:pt idx="4614">
                  <c:v>-0.55637276819862103</c:v>
                </c:pt>
                <c:pt idx="4615">
                  <c:v>-0.59370934896121597</c:v>
                </c:pt>
                <c:pt idx="4616">
                  <c:v>-0.60615487588208095</c:v>
                </c:pt>
                <c:pt idx="4617">
                  <c:v>-0.759649707906081</c:v>
                </c:pt>
                <c:pt idx="4618">
                  <c:v>-0.44436302591083798</c:v>
                </c:pt>
                <c:pt idx="4619">
                  <c:v>-0.48584811564705399</c:v>
                </c:pt>
                <c:pt idx="4620">
                  <c:v>-0.98781770145527004</c:v>
                </c:pt>
                <c:pt idx="4621">
                  <c:v>-1.2948073655032699</c:v>
                </c:pt>
                <c:pt idx="4622">
                  <c:v>-1.34873798216035</c:v>
                </c:pt>
                <c:pt idx="4623">
                  <c:v>-1.39437158087019</c:v>
                </c:pt>
                <c:pt idx="4624">
                  <c:v>-1.3445894731867301</c:v>
                </c:pt>
                <c:pt idx="4625">
                  <c:v>-1.1703520962946199</c:v>
                </c:pt>
                <c:pt idx="4626">
                  <c:v>-1.2740648206351599</c:v>
                </c:pt>
                <c:pt idx="4627">
                  <c:v>-1.31140140139776</c:v>
                </c:pt>
                <c:pt idx="4628">
                  <c:v>-1.2782133296087801</c:v>
                </c:pt>
                <c:pt idx="4629">
                  <c:v>-1.3570350001075899</c:v>
                </c:pt>
                <c:pt idx="4630">
                  <c:v>-1.35288649113397</c:v>
                </c:pt>
                <c:pt idx="4631">
                  <c:v>-1.29065885652965</c:v>
                </c:pt>
                <c:pt idx="4632">
                  <c:v>-1.39022307189657</c:v>
                </c:pt>
                <c:pt idx="4633">
                  <c:v>-1.33214394626586</c:v>
                </c:pt>
                <c:pt idx="4634">
                  <c:v>-1.4897872872634901</c:v>
                </c:pt>
                <c:pt idx="4635">
                  <c:v>-1.53956939494695</c:v>
                </c:pt>
                <c:pt idx="4636">
                  <c:v>-1.53956939494695</c:v>
                </c:pt>
                <c:pt idx="4637">
                  <c:v>-1.56446044878867</c:v>
                </c:pt>
                <c:pt idx="4638">
                  <c:v>-1.5312723769997001</c:v>
                </c:pt>
                <c:pt idx="4639">
                  <c:v>-1.5686089577622999</c:v>
                </c:pt>
                <c:pt idx="4640">
                  <c:v>-1.56031193981505</c:v>
                </c:pt>
                <c:pt idx="4641">
                  <c:v>-1.5769059757095401</c:v>
                </c:pt>
                <c:pt idx="4642">
                  <c:v>-1.5976485205776501</c:v>
                </c:pt>
                <c:pt idx="4643">
                  <c:v>-1.51467834110522</c:v>
                </c:pt>
                <c:pt idx="4644">
                  <c:v>-1.6349851013402401</c:v>
                </c:pt>
                <c:pt idx="4645">
                  <c:v>-1.5271238680260799</c:v>
                </c:pt>
                <c:pt idx="4646">
                  <c:v>-1.74699484362803</c:v>
                </c:pt>
                <c:pt idx="4647">
                  <c:v>-1.75529186157527</c:v>
                </c:pt>
                <c:pt idx="4648">
                  <c:v>-1.7179552808126699</c:v>
                </c:pt>
                <c:pt idx="4649">
                  <c:v>-1.7221037897863001</c:v>
                </c:pt>
                <c:pt idx="4650">
                  <c:v>-1.7138067718390499</c:v>
                </c:pt>
                <c:pt idx="4651">
                  <c:v>-1.0417483181123499</c:v>
                </c:pt>
                <c:pt idx="4652">
                  <c:v>1.0283576597248401</c:v>
                </c:pt>
                <c:pt idx="4653">
                  <c:v>-0.274274157992351</c:v>
                </c:pt>
                <c:pt idx="4654">
                  <c:v>-0.61860040280294604</c:v>
                </c:pt>
                <c:pt idx="4655">
                  <c:v>-0.97122366556078299</c:v>
                </c:pt>
                <c:pt idx="4656">
                  <c:v>-0.71816461816986399</c:v>
                </c:pt>
                <c:pt idx="4657">
                  <c:v>-0.75550119893245904</c:v>
                </c:pt>
                <c:pt idx="4658">
                  <c:v>-0.81772883353678305</c:v>
                </c:pt>
                <c:pt idx="4659">
                  <c:v>-0.94633261171905403</c:v>
                </c:pt>
                <c:pt idx="4660">
                  <c:v>-0.87995646814110795</c:v>
                </c:pt>
                <c:pt idx="4661">
                  <c:v>-0.92144155787732396</c:v>
                </c:pt>
                <c:pt idx="4662">
                  <c:v>-0.87165945019386404</c:v>
                </c:pt>
                <c:pt idx="4663">
                  <c:v>-0.99611471940251295</c:v>
                </c:pt>
                <c:pt idx="4664">
                  <c:v>-1.03345130016511</c:v>
                </c:pt>
                <c:pt idx="4665">
                  <c:v>-1.0002632283761299</c:v>
                </c:pt>
                <c:pt idx="4666">
                  <c:v>-1.0832334078485699</c:v>
                </c:pt>
                <c:pt idx="4667">
                  <c:v>-1.0044117373497601</c:v>
                </c:pt>
                <c:pt idx="4668">
                  <c:v>-1.0666393719540801</c:v>
                </c:pt>
                <c:pt idx="4669">
                  <c:v>-1.05834235400684</c:v>
                </c:pt>
                <c:pt idx="4670">
                  <c:v>-1.012708755297</c:v>
                </c:pt>
                <c:pt idx="4671">
                  <c:v>-1.0417483181123499</c:v>
                </c:pt>
                <c:pt idx="4672">
                  <c:v>-1.0044117373497601</c:v>
                </c:pt>
                <c:pt idx="4673">
                  <c:v>-1.0915304257958101</c:v>
                </c:pt>
                <c:pt idx="4674">
                  <c:v>-1.0500453360595901</c:v>
                </c:pt>
                <c:pt idx="4675">
                  <c:v>-0.83017436045764803</c:v>
                </c:pt>
                <c:pt idx="4676">
                  <c:v>-1.1039759527166799</c:v>
                </c:pt>
                <c:pt idx="4677">
                  <c:v>-1.1537580604001301</c:v>
                </c:pt>
                <c:pt idx="4678">
                  <c:v>-1.16205507834738</c:v>
                </c:pt>
                <c:pt idx="4679">
                  <c:v>-1.0666393719540801</c:v>
                </c:pt>
                <c:pt idx="4680">
                  <c:v>-1.07908489887495</c:v>
                </c:pt>
                <c:pt idx="4681">
                  <c:v>-1.0915304257958101</c:v>
                </c:pt>
                <c:pt idx="4682">
                  <c:v>-1.1288670065584001</c:v>
                </c:pt>
                <c:pt idx="4683">
                  <c:v>-1.16205507834738</c:v>
                </c:pt>
                <c:pt idx="4684">
                  <c:v>-1.1537580604001301</c:v>
                </c:pt>
                <c:pt idx="4685">
                  <c:v>-1.3777775449756999</c:v>
                </c:pt>
                <c:pt idx="4686">
                  <c:v>-1.2284312219253199</c:v>
                </c:pt>
                <c:pt idx="4687">
                  <c:v>-1.29065885652965</c:v>
                </c:pt>
                <c:pt idx="4688">
                  <c:v>-1.24087674884619</c:v>
                </c:pt>
                <c:pt idx="4689">
                  <c:v>-1.33214394626586</c:v>
                </c:pt>
                <c:pt idx="4690">
                  <c:v>-1.4068171077910501</c:v>
                </c:pt>
                <c:pt idx="4691">
                  <c:v>-1.2118371860308399</c:v>
                </c:pt>
                <c:pt idx="4692">
                  <c:v>-1.37362903600208</c:v>
                </c:pt>
                <c:pt idx="4693">
                  <c:v>-1.35288649113397</c:v>
                </c:pt>
                <c:pt idx="4694">
                  <c:v>-1.4441536885536499</c:v>
                </c:pt>
                <c:pt idx="4695">
                  <c:v>-1.43170816163278</c:v>
                </c:pt>
                <c:pt idx="4696">
                  <c:v>-1.3031043834505101</c:v>
                </c:pt>
                <c:pt idx="4697">
                  <c:v>-1.3819260539493201</c:v>
                </c:pt>
                <c:pt idx="4698">
                  <c:v>-1.4814902693162399</c:v>
                </c:pt>
                <c:pt idx="4699">
                  <c:v>-1.50223281418435</c:v>
                </c:pt>
                <c:pt idx="4700">
                  <c:v>-1.3404409642131101</c:v>
                </c:pt>
                <c:pt idx="4701">
                  <c:v>-1.547866412894189</c:v>
                </c:pt>
                <c:pt idx="4702">
                  <c:v>-1.5686089577622999</c:v>
                </c:pt>
                <c:pt idx="4703">
                  <c:v>-1.5312723769997001</c:v>
                </c:pt>
                <c:pt idx="4704">
                  <c:v>-1.6100940474985099</c:v>
                </c:pt>
                <c:pt idx="4705">
                  <c:v>-1.5893515026303999</c:v>
                </c:pt>
                <c:pt idx="4706">
                  <c:v>-1.66402466415559</c:v>
                </c:pt>
                <c:pt idx="4707">
                  <c:v>-1.74699484362803</c:v>
                </c:pt>
                <c:pt idx="4708">
                  <c:v>-1.6806187000500801</c:v>
                </c:pt>
                <c:pt idx="4709">
                  <c:v>-1.6723216821028399</c:v>
                </c:pt>
                <c:pt idx="4710">
                  <c:v>-1.6100940474985099</c:v>
                </c:pt>
                <c:pt idx="4711">
                  <c:v>-1.68891571799732</c:v>
                </c:pt>
                <c:pt idx="4712">
                  <c:v>-1.7179552808126699</c:v>
                </c:pt>
                <c:pt idx="4713">
                  <c:v>-1.52297535905246</c:v>
                </c:pt>
                <c:pt idx="4714">
                  <c:v>-1.70965826286543</c:v>
                </c:pt>
                <c:pt idx="4715">
                  <c:v>-1.85485607694219</c:v>
                </c:pt>
                <c:pt idx="4716">
                  <c:v>-1.8258165141268401</c:v>
                </c:pt>
                <c:pt idx="4717">
                  <c:v>-1.8382620410477</c:v>
                </c:pt>
                <c:pt idx="4718">
                  <c:v>-1.8299650231004601</c:v>
                </c:pt>
                <c:pt idx="4719">
                  <c:v>0.38948727778710801</c:v>
                </c:pt>
                <c:pt idx="4720">
                  <c:v>-0.30331372080770302</c:v>
                </c:pt>
                <c:pt idx="4721">
                  <c:v>-0.46510557077894599</c:v>
                </c:pt>
                <c:pt idx="4722">
                  <c:v>-0.71816461816986399</c:v>
                </c:pt>
                <c:pt idx="4723">
                  <c:v>-1.1330155155320301</c:v>
                </c:pt>
                <c:pt idx="4724">
                  <c:v>-1.2616192937143</c:v>
                </c:pt>
                <c:pt idx="4725">
                  <c:v>-1.3611835090812201</c:v>
                </c:pt>
                <c:pt idx="4726">
                  <c:v>-1.2533222757670499</c:v>
                </c:pt>
                <c:pt idx="4727">
                  <c:v>-1.2533222757670499</c:v>
                </c:pt>
                <c:pt idx="4728">
                  <c:v>-1.2823618385824</c:v>
                </c:pt>
                <c:pt idx="4729">
                  <c:v>-1.2284312219253199</c:v>
                </c:pt>
                <c:pt idx="4730">
                  <c:v>-1.3611835090812201</c:v>
                </c:pt>
                <c:pt idx="4731">
                  <c:v>-1.3155499103713799</c:v>
                </c:pt>
                <c:pt idx="4732">
                  <c:v>-1.36948052702846</c:v>
                </c:pt>
                <c:pt idx="4733">
                  <c:v>-1.37362903600208</c:v>
                </c:pt>
                <c:pt idx="4734">
                  <c:v>-1.3985200898438099</c:v>
                </c:pt>
                <c:pt idx="4735">
                  <c:v>-1.5935000116040301</c:v>
                </c:pt>
                <c:pt idx="4736">
                  <c:v>-1.54371790392057</c:v>
                </c:pt>
                <c:pt idx="4737">
                  <c:v>-1.60594553852489</c:v>
                </c:pt>
                <c:pt idx="4738">
                  <c:v>-1.60179702955127</c:v>
                </c:pt>
                <c:pt idx="4739">
                  <c:v>-1.5976485205776501</c:v>
                </c:pt>
                <c:pt idx="4740">
                  <c:v>-1.5561634308414301</c:v>
                </c:pt>
                <c:pt idx="4741">
                  <c:v>-1.51467834110522</c:v>
                </c:pt>
                <c:pt idx="4742">
                  <c:v>-1.52297535905246</c:v>
                </c:pt>
                <c:pt idx="4743">
                  <c:v>-1.51467834110522</c:v>
                </c:pt>
                <c:pt idx="4744">
                  <c:v>-1.4648962334217599</c:v>
                </c:pt>
                <c:pt idx="4745">
                  <c:v>-1.5561634308414301</c:v>
                </c:pt>
                <c:pt idx="4746">
                  <c:v>-1.5063813231579699</c:v>
                </c:pt>
                <c:pt idx="4747">
                  <c:v>-1.5769059757095401</c:v>
                </c:pt>
                <c:pt idx="4748">
                  <c:v>-1.6142425564721301</c:v>
                </c:pt>
                <c:pt idx="4749">
                  <c:v>-1.5520149218678101</c:v>
                </c:pt>
                <c:pt idx="4750">
                  <c:v>-1.5686089577622999</c:v>
                </c:pt>
                <c:pt idx="4751">
                  <c:v>-1.64328211928749</c:v>
                </c:pt>
                <c:pt idx="4752">
                  <c:v>-1.5312723769997001</c:v>
                </c:pt>
                <c:pt idx="4753">
                  <c:v>-1.6598761551819701</c:v>
                </c:pt>
                <c:pt idx="4754">
                  <c:v>-1.6723216821028399</c:v>
                </c:pt>
                <c:pt idx="4755">
                  <c:v>-1.70965826286543</c:v>
                </c:pt>
                <c:pt idx="4756">
                  <c:v>-1.7345493167071599</c:v>
                </c:pt>
                <c:pt idx="4757">
                  <c:v>-1.75529186157527</c:v>
                </c:pt>
                <c:pt idx="4758">
                  <c:v>-1.6847672090237</c:v>
                </c:pt>
                <c:pt idx="4759">
                  <c:v>-1.7594403705488899</c:v>
                </c:pt>
                <c:pt idx="4760">
                  <c:v>-1.73040080773354</c:v>
                </c:pt>
                <c:pt idx="4761">
                  <c:v>-1.74699484362803</c:v>
                </c:pt>
                <c:pt idx="4762">
                  <c:v>-1.74699484362803</c:v>
                </c:pt>
                <c:pt idx="4763">
                  <c:v>-1.8838956397575399</c:v>
                </c:pt>
                <c:pt idx="4764">
                  <c:v>-1.87974713078392</c:v>
                </c:pt>
                <c:pt idx="4765">
                  <c:v>-1.8755986218103</c:v>
                </c:pt>
                <c:pt idx="4766">
                  <c:v>-1.8838956397575399</c:v>
                </c:pt>
                <c:pt idx="4767">
                  <c:v>0.56787316365283802</c:v>
                </c:pt>
                <c:pt idx="4768">
                  <c:v>0.327259643182784</c:v>
                </c:pt>
                <c:pt idx="4769">
                  <c:v>-0.37383837335927</c:v>
                </c:pt>
                <c:pt idx="4770">
                  <c:v>-0.917293048903702</c:v>
                </c:pt>
                <c:pt idx="4771">
                  <c:v>-1.0044117373497601</c:v>
                </c:pt>
                <c:pt idx="4772">
                  <c:v>-1.0417483181123499</c:v>
                </c:pt>
                <c:pt idx="4773">
                  <c:v>-1.0666393719540801</c:v>
                </c:pt>
                <c:pt idx="4774">
                  <c:v>-0.95462962966629705</c:v>
                </c:pt>
                <c:pt idx="4775">
                  <c:v>-0.91314453993008105</c:v>
                </c:pt>
                <c:pt idx="4776">
                  <c:v>-0.68912505535451296</c:v>
                </c:pt>
                <c:pt idx="4777">
                  <c:v>-0.92559006685094503</c:v>
                </c:pt>
                <c:pt idx="4778">
                  <c:v>-0.96292664761353997</c:v>
                </c:pt>
                <c:pt idx="4779">
                  <c:v>-0.92144155787732396</c:v>
                </c:pt>
                <c:pt idx="4780">
                  <c:v>-0.91314453993008105</c:v>
                </c:pt>
                <c:pt idx="4781">
                  <c:v>-0.95462962966629705</c:v>
                </c:pt>
                <c:pt idx="4782">
                  <c:v>-0.896550504035594</c:v>
                </c:pt>
                <c:pt idx="4783">
                  <c:v>-0.94218410274543196</c:v>
                </c:pt>
                <c:pt idx="4784">
                  <c:v>-1.02930279119149</c:v>
                </c:pt>
                <c:pt idx="4785">
                  <c:v>-1.0458968270859701</c:v>
                </c:pt>
                <c:pt idx="4786">
                  <c:v>-1.012708755297</c:v>
                </c:pt>
                <c:pt idx="4787">
                  <c:v>-0.91314453993008105</c:v>
                </c:pt>
                <c:pt idx="4788">
                  <c:v>-0.99611471940251295</c:v>
                </c:pt>
                <c:pt idx="4789">
                  <c:v>-0.97537217453440495</c:v>
                </c:pt>
                <c:pt idx="4790">
                  <c:v>-0.95462962966629705</c:v>
                </c:pt>
                <c:pt idx="4791">
                  <c:v>-1.2076886770572199</c:v>
                </c:pt>
                <c:pt idx="4792">
                  <c:v>-1.60594553852489</c:v>
                </c:pt>
                <c:pt idx="4793">
                  <c:v>-1.6100940474985099</c:v>
                </c:pt>
                <c:pt idx="4794">
                  <c:v>-1.56446044878867</c:v>
                </c:pt>
                <c:pt idx="4795">
                  <c:v>-1.53542088597332</c:v>
                </c:pt>
                <c:pt idx="4796">
                  <c:v>-1.5105298321315901</c:v>
                </c:pt>
                <c:pt idx="4797">
                  <c:v>-1.4856387782898599</c:v>
                </c:pt>
                <c:pt idx="4798">
                  <c:v>-1.49808430521073</c:v>
                </c:pt>
                <c:pt idx="4799">
                  <c:v>-1.5561634308414301</c:v>
                </c:pt>
                <c:pt idx="4800">
                  <c:v>-1.66817317312922</c:v>
                </c:pt>
                <c:pt idx="4801">
                  <c:v>-1.64743062826111</c:v>
                </c:pt>
                <c:pt idx="4802">
                  <c:v>-1.6598761551819701</c:v>
                </c:pt>
                <c:pt idx="4803">
                  <c:v>-1.6764701910764599</c:v>
                </c:pt>
                <c:pt idx="4804">
                  <c:v>-1.6308365923666199</c:v>
                </c:pt>
                <c:pt idx="4805">
                  <c:v>-1.62253957441938</c:v>
                </c:pt>
                <c:pt idx="4806">
                  <c:v>-1.626688083393</c:v>
                </c:pt>
                <c:pt idx="4807">
                  <c:v>-1.6598761551819701</c:v>
                </c:pt>
                <c:pt idx="4808">
                  <c:v>-1.6515791372347299</c:v>
                </c:pt>
                <c:pt idx="4809">
                  <c:v>-1.66402466415559</c:v>
                </c:pt>
                <c:pt idx="4810">
                  <c:v>-1.6764701910764599</c:v>
                </c:pt>
                <c:pt idx="4811">
                  <c:v>-1.6764701910764599</c:v>
                </c:pt>
                <c:pt idx="4812">
                  <c:v>-1.6806187000500801</c:v>
                </c:pt>
                <c:pt idx="4813">
                  <c:v>-1.79262844233786</c:v>
                </c:pt>
                <c:pt idx="4814">
                  <c:v>-1.81751949617959</c:v>
                </c:pt>
                <c:pt idx="4815">
                  <c:v>-1.8216680051532199</c:v>
                </c:pt>
                <c:pt idx="4816">
                  <c:v>-1.7843314243906201</c:v>
                </c:pt>
                <c:pt idx="4817">
                  <c:v>-1.8092224782323501</c:v>
                </c:pt>
                <c:pt idx="4818">
                  <c:v>-1.7843314243906201</c:v>
                </c:pt>
                <c:pt idx="4819">
                  <c:v>-1.77603440644338</c:v>
                </c:pt>
                <c:pt idx="4820">
                  <c:v>-1.79262844233786</c:v>
                </c:pt>
                <c:pt idx="4821">
                  <c:v>-1.6806187000500801</c:v>
                </c:pt>
                <c:pt idx="4822">
                  <c:v>-1.4607477244481299</c:v>
                </c:pt>
                <c:pt idx="4823">
                  <c:v>-1.5312723769997001</c:v>
                </c:pt>
                <c:pt idx="4824">
                  <c:v>-1.5727574667359201</c:v>
                </c:pt>
                <c:pt idx="4825">
                  <c:v>-1.6142425564721301</c:v>
                </c:pt>
                <c:pt idx="4826">
                  <c:v>-1.5935000116040301</c:v>
                </c:pt>
                <c:pt idx="4827">
                  <c:v>-1.4607477244481299</c:v>
                </c:pt>
                <c:pt idx="4828">
                  <c:v>-1.41096561676467</c:v>
                </c:pt>
                <c:pt idx="4829">
                  <c:v>-1.24502525781981</c:v>
                </c:pt>
                <c:pt idx="4830">
                  <c:v>-1.3611835090812201</c:v>
                </c:pt>
                <c:pt idx="4831">
                  <c:v>-1.31140140139776</c:v>
                </c:pt>
                <c:pt idx="4832">
                  <c:v>-1.35288649113397</c:v>
                </c:pt>
                <c:pt idx="4833">
                  <c:v>-1.3611835090812201</c:v>
                </c:pt>
                <c:pt idx="4834">
                  <c:v>-1.1537580604001301</c:v>
                </c:pt>
                <c:pt idx="4835">
                  <c:v>-1.2948073655032699</c:v>
                </c:pt>
                <c:pt idx="4836">
                  <c:v>-1.24917376679343</c:v>
                </c:pt>
                <c:pt idx="4837">
                  <c:v>-1.2533222757670499</c:v>
                </c:pt>
                <c:pt idx="4838">
                  <c:v>-1.22013420397808</c:v>
                </c:pt>
                <c:pt idx="4839">
                  <c:v>-1.2533222757670499</c:v>
                </c:pt>
                <c:pt idx="4840">
                  <c:v>-1.3031043834505101</c:v>
                </c:pt>
                <c:pt idx="4841">
                  <c:v>-1.1122729706639201</c:v>
                </c:pt>
                <c:pt idx="4842">
                  <c:v>-1.0417483181123499</c:v>
                </c:pt>
                <c:pt idx="4843">
                  <c:v>-1.02930279119149</c:v>
                </c:pt>
                <c:pt idx="4844">
                  <c:v>-0.90069901300921595</c:v>
                </c:pt>
                <c:pt idx="4845">
                  <c:v>-0.896550504035594</c:v>
                </c:pt>
                <c:pt idx="4846">
                  <c:v>-0.801134797642297</c:v>
                </c:pt>
                <c:pt idx="4847">
                  <c:v>-0.79698628866867505</c:v>
                </c:pt>
                <c:pt idx="4848">
                  <c:v>-0.62274891177656699</c:v>
                </c:pt>
                <c:pt idx="4849">
                  <c:v>-0.85506541429937799</c:v>
                </c:pt>
                <c:pt idx="4850">
                  <c:v>-0.75550119893245904</c:v>
                </c:pt>
                <c:pt idx="4851">
                  <c:v>-0.74720418098521602</c:v>
                </c:pt>
                <c:pt idx="4852">
                  <c:v>-0.79283777969505398</c:v>
                </c:pt>
                <c:pt idx="4853">
                  <c:v>-0.643491456644675</c:v>
                </c:pt>
                <c:pt idx="4854">
                  <c:v>-0.73890716303797299</c:v>
                </c:pt>
                <c:pt idx="4855">
                  <c:v>-0.81358032456316198</c:v>
                </c:pt>
                <c:pt idx="4856">
                  <c:v>-0.85921392327299995</c:v>
                </c:pt>
                <c:pt idx="4857">
                  <c:v>-0.63934294767105404</c:v>
                </c:pt>
                <c:pt idx="4858">
                  <c:v>-0.90484752198283702</c:v>
                </c:pt>
                <c:pt idx="4859">
                  <c:v>-0.97952068350802701</c:v>
                </c:pt>
                <c:pt idx="4860">
                  <c:v>-0.95048112069267499</c:v>
                </c:pt>
                <c:pt idx="4861">
                  <c:v>-0.96707515658716203</c:v>
                </c:pt>
                <c:pt idx="4862">
                  <c:v>-0.896550504035594</c:v>
                </c:pt>
                <c:pt idx="4863">
                  <c:v>-0.83432286943126999</c:v>
                </c:pt>
                <c:pt idx="4864">
                  <c:v>-0.83017436045764803</c:v>
                </c:pt>
                <c:pt idx="4865">
                  <c:v>-0.92559006685094503</c:v>
                </c:pt>
                <c:pt idx="4866">
                  <c:v>-1.1952431501363501</c:v>
                </c:pt>
                <c:pt idx="4867">
                  <c:v>-1.4897872872634901</c:v>
                </c:pt>
                <c:pt idx="4868">
                  <c:v>-1.5520149218678101</c:v>
                </c:pt>
                <c:pt idx="4869">
                  <c:v>-1.58105448468316</c:v>
                </c:pt>
                <c:pt idx="4870">
                  <c:v>-1.5312723769997001</c:v>
                </c:pt>
                <c:pt idx="4871">
                  <c:v>-1.49393579623711</c:v>
                </c:pt>
                <c:pt idx="4872">
                  <c:v>-1.5520149218678101</c:v>
                </c:pt>
                <c:pt idx="4873">
                  <c:v>-1.64743062826111</c:v>
                </c:pt>
                <c:pt idx="4874">
                  <c:v>-1.6557276462083499</c:v>
                </c:pt>
                <c:pt idx="4875">
                  <c:v>-1.7386978256807799</c:v>
                </c:pt>
                <c:pt idx="4876">
                  <c:v>-1.7386978256807799</c:v>
                </c:pt>
                <c:pt idx="4877">
                  <c:v>-1.72625229875992</c:v>
                </c:pt>
                <c:pt idx="4878">
                  <c:v>-1.626688083393</c:v>
                </c:pt>
                <c:pt idx="4879">
                  <c:v>-1.72625229875992</c:v>
                </c:pt>
                <c:pt idx="4880">
                  <c:v>-1.75114335260165</c:v>
                </c:pt>
                <c:pt idx="4881">
                  <c:v>-1.5727574667359201</c:v>
                </c:pt>
                <c:pt idx="4882">
                  <c:v>-1.53542088597332</c:v>
                </c:pt>
                <c:pt idx="4883">
                  <c:v>-1.56446044878867</c:v>
                </c:pt>
                <c:pt idx="4884">
                  <c:v>-1.5520149218678101</c:v>
                </c:pt>
                <c:pt idx="4885">
                  <c:v>-1.54371790392057</c:v>
                </c:pt>
                <c:pt idx="4886">
                  <c:v>-1.15790656937376</c:v>
                </c:pt>
                <c:pt idx="4887">
                  <c:v>-1.1869461321891099</c:v>
                </c:pt>
                <c:pt idx="4888">
                  <c:v>-1.3362924552394899</c:v>
                </c:pt>
                <c:pt idx="4889">
                  <c:v>-1.0210057732442399</c:v>
                </c:pt>
                <c:pt idx="4890">
                  <c:v>-0.85506541429937799</c:v>
                </c:pt>
                <c:pt idx="4891">
                  <c:v>-0.88410497711472902</c:v>
                </c:pt>
                <c:pt idx="4892">
                  <c:v>-0.73475865406435104</c:v>
                </c:pt>
                <c:pt idx="4893">
                  <c:v>-0.80943181558954003</c:v>
                </c:pt>
                <c:pt idx="4894">
                  <c:v>-0.684976546380892</c:v>
                </c:pt>
                <c:pt idx="4895">
                  <c:v>-0.74720418098521602</c:v>
                </c:pt>
                <c:pt idx="4896">
                  <c:v>-0.77209523482694598</c:v>
                </c:pt>
                <c:pt idx="4897">
                  <c:v>-0.80528330661591896</c:v>
                </c:pt>
                <c:pt idx="4898">
                  <c:v>-0.85921392327299995</c:v>
                </c:pt>
                <c:pt idx="4899">
                  <c:v>-1.07908489887495</c:v>
                </c:pt>
                <c:pt idx="4900">
                  <c:v>-1.26576780268792</c:v>
                </c:pt>
                <c:pt idx="4901">
                  <c:v>-1.4400051795800299</c:v>
                </c:pt>
                <c:pt idx="4902">
                  <c:v>-1.47734176034262</c:v>
                </c:pt>
                <c:pt idx="4903">
                  <c:v>-1.4897872872634901</c:v>
                </c:pt>
                <c:pt idx="4904">
                  <c:v>-1.4607477244481299</c:v>
                </c:pt>
                <c:pt idx="4905">
                  <c:v>-1.3985200898438099</c:v>
                </c:pt>
                <c:pt idx="4906">
                  <c:v>-1.4441536885536499</c:v>
                </c:pt>
                <c:pt idx="4907">
                  <c:v>-1.4358566706064</c:v>
                </c:pt>
                <c:pt idx="4908">
                  <c:v>-1.4690447423953801</c:v>
                </c:pt>
                <c:pt idx="4909">
                  <c:v>-1.4441536885536499</c:v>
                </c:pt>
                <c:pt idx="4910">
                  <c:v>-1.4483021975272701</c:v>
                </c:pt>
                <c:pt idx="4911">
                  <c:v>-1.4483021975272701</c:v>
                </c:pt>
                <c:pt idx="4912">
                  <c:v>-1.4897872872634901</c:v>
                </c:pt>
                <c:pt idx="4913">
                  <c:v>-1.58520299365678</c:v>
                </c:pt>
                <c:pt idx="4914">
                  <c:v>-1.56446044878867</c:v>
                </c:pt>
                <c:pt idx="4915">
                  <c:v>-1.62253957441938</c:v>
                </c:pt>
                <c:pt idx="4916">
                  <c:v>-1.60179702955127</c:v>
                </c:pt>
                <c:pt idx="4917">
                  <c:v>-1.64328211928749</c:v>
                </c:pt>
                <c:pt idx="4918">
                  <c:v>-1.5769059757095401</c:v>
                </c:pt>
                <c:pt idx="4919">
                  <c:v>-1.6308365923666199</c:v>
                </c:pt>
                <c:pt idx="4920">
                  <c:v>-1.5935000116040301</c:v>
                </c:pt>
                <c:pt idx="4921">
                  <c:v>-1.68891571799732</c:v>
                </c:pt>
                <c:pt idx="4922">
                  <c:v>-1.6972127359445699</c:v>
                </c:pt>
                <c:pt idx="4923">
                  <c:v>-1.7013612449181901</c:v>
                </c:pt>
                <c:pt idx="4924">
                  <c:v>-1.7013612449181901</c:v>
                </c:pt>
                <c:pt idx="4925">
                  <c:v>-1.7345493167071599</c:v>
                </c:pt>
                <c:pt idx="4926">
                  <c:v>-1.72625229875992</c:v>
                </c:pt>
                <c:pt idx="4927">
                  <c:v>-1.66402466415559</c:v>
                </c:pt>
                <c:pt idx="4928">
                  <c:v>-1.7428463346544001</c:v>
                </c:pt>
                <c:pt idx="4929">
                  <c:v>-1.7428463346544001</c:v>
                </c:pt>
                <c:pt idx="4930">
                  <c:v>-1.76773738849613</c:v>
                </c:pt>
                <c:pt idx="4931">
                  <c:v>-1.75114335260165</c:v>
                </c:pt>
                <c:pt idx="4932">
                  <c:v>-1.79677695131149</c:v>
                </c:pt>
                <c:pt idx="4933">
                  <c:v>-1.7594403705488899</c:v>
                </c:pt>
                <c:pt idx="4934">
                  <c:v>-1.7594403705488899</c:v>
                </c:pt>
                <c:pt idx="4935">
                  <c:v>-1.76773738849613</c:v>
                </c:pt>
                <c:pt idx="4936">
                  <c:v>-1.8009254602851099</c:v>
                </c:pt>
                <c:pt idx="4937">
                  <c:v>-1.8050739692587301</c:v>
                </c:pt>
                <c:pt idx="4938">
                  <c:v>-1.8009254602851099</c:v>
                </c:pt>
                <c:pt idx="4939">
                  <c:v>-1.79262844233786</c:v>
                </c:pt>
                <c:pt idx="4940">
                  <c:v>-1.8009254602851099</c:v>
                </c:pt>
                <c:pt idx="4941">
                  <c:v>-1.8050739692587301</c:v>
                </c:pt>
                <c:pt idx="4942">
                  <c:v>-1.6100940474985099</c:v>
                </c:pt>
                <c:pt idx="4943">
                  <c:v>-1.43170816163278</c:v>
                </c:pt>
                <c:pt idx="4944">
                  <c:v>-1.56446044878867</c:v>
                </c:pt>
                <c:pt idx="4945">
                  <c:v>-1.6183910654457601</c:v>
                </c:pt>
                <c:pt idx="4946">
                  <c:v>-1.60594553852489</c:v>
                </c:pt>
                <c:pt idx="4947">
                  <c:v>-1.6764701910764599</c:v>
                </c:pt>
                <c:pt idx="4948">
                  <c:v>-1.58520299365678</c:v>
                </c:pt>
                <c:pt idx="4949">
                  <c:v>-1.473193251369</c:v>
                </c:pt>
                <c:pt idx="4950">
                  <c:v>-1.47734176034262</c:v>
                </c:pt>
                <c:pt idx="4951">
                  <c:v>-1.51467834110522</c:v>
                </c:pt>
                <c:pt idx="4952">
                  <c:v>-1.3445894731867301</c:v>
                </c:pt>
                <c:pt idx="4953">
                  <c:v>-1.3031043834505101</c:v>
                </c:pt>
                <c:pt idx="4954">
                  <c:v>-1.47734176034262</c:v>
                </c:pt>
                <c:pt idx="4955">
                  <c:v>-1.50223281418435</c:v>
                </c:pt>
                <c:pt idx="4956">
                  <c:v>-1.39022307189657</c:v>
                </c:pt>
                <c:pt idx="4957">
                  <c:v>-1.3155499103713799</c:v>
                </c:pt>
                <c:pt idx="4958">
                  <c:v>-1.35288649113397</c:v>
                </c:pt>
                <c:pt idx="4959">
                  <c:v>-1.215985695004459</c:v>
                </c:pt>
                <c:pt idx="4960">
                  <c:v>-1.2076886770572199</c:v>
                </c:pt>
                <c:pt idx="4961">
                  <c:v>-1.1869461321891099</c:v>
                </c:pt>
                <c:pt idx="4962">
                  <c:v>-1.0873819168221901</c:v>
                </c:pt>
                <c:pt idx="4963">
                  <c:v>-1.1081244616903001</c:v>
                </c:pt>
                <c:pt idx="4964">
                  <c:v>-1.12056998861116</c:v>
                </c:pt>
                <c:pt idx="4965">
                  <c:v>-0.99611471940251295</c:v>
                </c:pt>
                <c:pt idx="4966">
                  <c:v>-0.92973857582456698</c:v>
                </c:pt>
                <c:pt idx="4967">
                  <c:v>-0.98781770145527004</c:v>
                </c:pt>
                <c:pt idx="4968">
                  <c:v>-0.91314453993008105</c:v>
                </c:pt>
                <c:pt idx="4969">
                  <c:v>-0.95048112069267499</c:v>
                </c:pt>
                <c:pt idx="4970">
                  <c:v>-0.68912505535451296</c:v>
                </c:pt>
                <c:pt idx="4971">
                  <c:v>-0.80528330661591896</c:v>
                </c:pt>
                <c:pt idx="4972">
                  <c:v>-0.85506541429937799</c:v>
                </c:pt>
                <c:pt idx="4973">
                  <c:v>-0.83017436045764803</c:v>
                </c:pt>
                <c:pt idx="4974">
                  <c:v>-0.79283777969505398</c:v>
                </c:pt>
                <c:pt idx="4975">
                  <c:v>-0.80528330661591896</c:v>
                </c:pt>
                <c:pt idx="4976">
                  <c:v>-0.57711531306672903</c:v>
                </c:pt>
                <c:pt idx="4977">
                  <c:v>-0.61030338485570201</c:v>
                </c:pt>
                <c:pt idx="4978">
                  <c:v>-0.51073916948878395</c:v>
                </c:pt>
                <c:pt idx="4979">
                  <c:v>-0.49829364256791903</c:v>
                </c:pt>
                <c:pt idx="4980">
                  <c:v>-0.61860040280294604</c:v>
                </c:pt>
                <c:pt idx="4981">
                  <c:v>-0.57296680409310796</c:v>
                </c:pt>
                <c:pt idx="4982">
                  <c:v>-0.67667952843364798</c:v>
                </c:pt>
                <c:pt idx="4983">
                  <c:v>-0.664234001512783</c:v>
                </c:pt>
                <c:pt idx="4984">
                  <c:v>-0.96292664761353997</c:v>
                </c:pt>
                <c:pt idx="4985">
                  <c:v>-0.83847137840489205</c:v>
                </c:pt>
                <c:pt idx="4986">
                  <c:v>-0.67667952843364798</c:v>
                </c:pt>
                <c:pt idx="4987">
                  <c:v>-0.81358032456316198</c:v>
                </c:pt>
                <c:pt idx="4988">
                  <c:v>-0.70571909124900001</c:v>
                </c:pt>
                <c:pt idx="4989">
                  <c:v>-0.83017436045764803</c:v>
                </c:pt>
                <c:pt idx="4990">
                  <c:v>-0.74720418098521602</c:v>
                </c:pt>
                <c:pt idx="4991">
                  <c:v>-0.896550504035594</c:v>
                </c:pt>
                <c:pt idx="4992">
                  <c:v>-0.896550504035594</c:v>
                </c:pt>
                <c:pt idx="4993">
                  <c:v>-0.88825348608835097</c:v>
                </c:pt>
                <c:pt idx="4994">
                  <c:v>-0.80943181558954003</c:v>
                </c:pt>
                <c:pt idx="4995">
                  <c:v>-1.2533222757670499</c:v>
                </c:pt>
                <c:pt idx="4996">
                  <c:v>-1.4400051795800299</c:v>
                </c:pt>
                <c:pt idx="4997">
                  <c:v>-1.49393579623711</c:v>
                </c:pt>
                <c:pt idx="4998">
                  <c:v>-1.56031193981505</c:v>
                </c:pt>
                <c:pt idx="4999">
                  <c:v>-1.5520149218678101</c:v>
                </c:pt>
                <c:pt idx="5000">
                  <c:v>-1.4897872872634901</c:v>
                </c:pt>
                <c:pt idx="5001">
                  <c:v>-1.45659921547451</c:v>
                </c:pt>
                <c:pt idx="5002">
                  <c:v>-1.53542088597332</c:v>
                </c:pt>
                <c:pt idx="5003">
                  <c:v>-1.473193251369</c:v>
                </c:pt>
                <c:pt idx="5004">
                  <c:v>-1.50223281418435</c:v>
                </c:pt>
                <c:pt idx="5005">
                  <c:v>-1.5561634308414301</c:v>
                </c:pt>
                <c:pt idx="5006">
                  <c:v>-1.5686089577622999</c:v>
                </c:pt>
                <c:pt idx="5007">
                  <c:v>-1.53542088597332</c:v>
                </c:pt>
                <c:pt idx="5008">
                  <c:v>-1.5105298321315901</c:v>
                </c:pt>
                <c:pt idx="5009">
                  <c:v>-1.626688083393</c:v>
                </c:pt>
                <c:pt idx="5010">
                  <c:v>-1.66402466415559</c:v>
                </c:pt>
                <c:pt idx="5011">
                  <c:v>-1.6598761551819701</c:v>
                </c:pt>
                <c:pt idx="5012">
                  <c:v>-1.7013612449181901</c:v>
                </c:pt>
                <c:pt idx="5013">
                  <c:v>-1.70965826286543</c:v>
                </c:pt>
                <c:pt idx="5014">
                  <c:v>-1.7138067718390499</c:v>
                </c:pt>
                <c:pt idx="5015">
                  <c:v>-1.70965826286543</c:v>
                </c:pt>
                <c:pt idx="5016">
                  <c:v>-1.7179552808126699</c:v>
                </c:pt>
                <c:pt idx="5017">
                  <c:v>-1.70550975389181</c:v>
                </c:pt>
                <c:pt idx="5018">
                  <c:v>-1.6847672090237</c:v>
                </c:pt>
                <c:pt idx="5019">
                  <c:v>-1.7179552808126699</c:v>
                </c:pt>
                <c:pt idx="5020">
                  <c:v>-1.70965826286543</c:v>
                </c:pt>
                <c:pt idx="5021">
                  <c:v>-1.7138067718390499</c:v>
                </c:pt>
                <c:pt idx="5022">
                  <c:v>-1.7179552808126699</c:v>
                </c:pt>
                <c:pt idx="5023">
                  <c:v>-1.6847672090237</c:v>
                </c:pt>
                <c:pt idx="5024">
                  <c:v>-1.72625229875992</c:v>
                </c:pt>
                <c:pt idx="5025">
                  <c:v>-1.7221037897863001</c:v>
                </c:pt>
                <c:pt idx="5026">
                  <c:v>-1.66817317312922</c:v>
                </c:pt>
                <c:pt idx="5027">
                  <c:v>-1.6764701910764599</c:v>
                </c:pt>
                <c:pt idx="5028">
                  <c:v>-1.7386978256807799</c:v>
                </c:pt>
                <c:pt idx="5029">
                  <c:v>-1.7221037897863001</c:v>
                </c:pt>
                <c:pt idx="5030">
                  <c:v>-1.7179552808126699</c:v>
                </c:pt>
                <c:pt idx="5031">
                  <c:v>-1.6930642269709499</c:v>
                </c:pt>
                <c:pt idx="5032">
                  <c:v>-1.7138067718390499</c:v>
                </c:pt>
                <c:pt idx="5033">
                  <c:v>-1.7179552808126699</c:v>
                </c:pt>
                <c:pt idx="5034">
                  <c:v>-1.7386978256807799</c:v>
                </c:pt>
                <c:pt idx="5035">
                  <c:v>-1.74699484362803</c:v>
                </c:pt>
                <c:pt idx="5036">
                  <c:v>-1.7594403705488899</c:v>
                </c:pt>
                <c:pt idx="5037">
                  <c:v>-1.72625229875992</c:v>
                </c:pt>
                <c:pt idx="5038">
                  <c:v>-1.54371790392057</c:v>
                </c:pt>
                <c:pt idx="5039">
                  <c:v>-1.3445894731867301</c:v>
                </c:pt>
                <c:pt idx="5040">
                  <c:v>-1.5561634308414301</c:v>
                </c:pt>
                <c:pt idx="5041">
                  <c:v>-1.54371790392057</c:v>
                </c:pt>
                <c:pt idx="5042">
                  <c:v>-1.52297535905246</c:v>
                </c:pt>
                <c:pt idx="5043">
                  <c:v>-1.547866412894189</c:v>
                </c:pt>
                <c:pt idx="5044">
                  <c:v>-1.4234111436855399</c:v>
                </c:pt>
                <c:pt idx="5045">
                  <c:v>-1.2284312219253199</c:v>
                </c:pt>
                <c:pt idx="5046">
                  <c:v>-1.1081244616903001</c:v>
                </c:pt>
                <c:pt idx="5047">
                  <c:v>-1.1537580604001301</c:v>
                </c:pt>
                <c:pt idx="5048">
                  <c:v>-1.18279762321549</c:v>
                </c:pt>
                <c:pt idx="5049">
                  <c:v>-1.00856024632338</c:v>
                </c:pt>
                <c:pt idx="5050">
                  <c:v>-1.2782133296087801</c:v>
                </c:pt>
                <c:pt idx="5051">
                  <c:v>-1.1288670065584001</c:v>
                </c:pt>
                <c:pt idx="5052">
                  <c:v>-0.81358032456316198</c:v>
                </c:pt>
                <c:pt idx="5053">
                  <c:v>-1.00856024632338</c:v>
                </c:pt>
                <c:pt idx="5054">
                  <c:v>-1.0624908629804599</c:v>
                </c:pt>
                <c:pt idx="5055">
                  <c:v>-1.0707878809277001</c:v>
                </c:pt>
                <c:pt idx="5056">
                  <c:v>-1.07493638990132</c:v>
                </c:pt>
                <c:pt idx="5057">
                  <c:v>-0.93388708479818905</c:v>
                </c:pt>
                <c:pt idx="5058">
                  <c:v>-0.87995646814110795</c:v>
                </c:pt>
                <c:pt idx="5059">
                  <c:v>-0.86336243224662101</c:v>
                </c:pt>
                <c:pt idx="5060">
                  <c:v>-0.92559006685094503</c:v>
                </c:pt>
                <c:pt idx="5061">
                  <c:v>-0.98781770145527004</c:v>
                </c:pt>
                <c:pt idx="5062">
                  <c:v>-0.99196621042889099</c:v>
                </c:pt>
                <c:pt idx="5063">
                  <c:v>-0.96707515658716203</c:v>
                </c:pt>
                <c:pt idx="5064">
                  <c:v>-0.90484752198283702</c:v>
                </c:pt>
                <c:pt idx="5065">
                  <c:v>-0.94633261171905403</c:v>
                </c:pt>
                <c:pt idx="5066">
                  <c:v>-1.03759980913873</c:v>
                </c:pt>
                <c:pt idx="5067">
                  <c:v>-1.05834235400684</c:v>
                </c:pt>
                <c:pt idx="5068">
                  <c:v>-1.05419384503322</c:v>
                </c:pt>
                <c:pt idx="5069">
                  <c:v>-1.09982744374305</c:v>
                </c:pt>
                <c:pt idx="5070">
                  <c:v>-1.1122729706639201</c:v>
                </c:pt>
                <c:pt idx="5071">
                  <c:v>-1.05834235400684</c:v>
                </c:pt>
                <c:pt idx="5072">
                  <c:v>-1.01685726427062</c:v>
                </c:pt>
                <c:pt idx="5073">
                  <c:v>-1.0044117373497601</c:v>
                </c:pt>
                <c:pt idx="5074">
                  <c:v>-0.98781770145527004</c:v>
                </c:pt>
                <c:pt idx="5075">
                  <c:v>-1.03345130016511</c:v>
                </c:pt>
                <c:pt idx="5076">
                  <c:v>-1.0002632283761299</c:v>
                </c:pt>
                <c:pt idx="5077">
                  <c:v>-0.97122366556078299</c:v>
                </c:pt>
                <c:pt idx="5078">
                  <c:v>-0.93388708479818905</c:v>
                </c:pt>
                <c:pt idx="5079">
                  <c:v>-1.02930279119149</c:v>
                </c:pt>
                <c:pt idx="5080">
                  <c:v>-1.0666393719540801</c:v>
                </c:pt>
                <c:pt idx="5081">
                  <c:v>-1.0417483181123499</c:v>
                </c:pt>
                <c:pt idx="5082">
                  <c:v>-0.92973857582456698</c:v>
                </c:pt>
                <c:pt idx="5083">
                  <c:v>-0.91314453993008105</c:v>
                </c:pt>
                <c:pt idx="5084">
                  <c:v>-0.87580795916748599</c:v>
                </c:pt>
                <c:pt idx="5085">
                  <c:v>-0.96707515658716203</c:v>
                </c:pt>
                <c:pt idx="5086">
                  <c:v>-1.0417483181123499</c:v>
                </c:pt>
                <c:pt idx="5087">
                  <c:v>-0.896550504035594</c:v>
                </c:pt>
                <c:pt idx="5088">
                  <c:v>-0.86751094122024297</c:v>
                </c:pt>
                <c:pt idx="5089">
                  <c:v>-0.92144155787732396</c:v>
                </c:pt>
                <c:pt idx="5090">
                  <c:v>-0.97122366556078299</c:v>
                </c:pt>
                <c:pt idx="5091">
                  <c:v>-1.15790656937376</c:v>
                </c:pt>
                <c:pt idx="5092">
                  <c:v>1.17770398277522</c:v>
                </c:pt>
                <c:pt idx="5093">
                  <c:v>1.6547825147416999</c:v>
                </c:pt>
                <c:pt idx="5094">
                  <c:v>1.5884063711637599</c:v>
                </c:pt>
                <c:pt idx="5095">
                  <c:v>1.0242091507512201</c:v>
                </c:pt>
                <c:pt idx="5096">
                  <c:v>5.7606559897378402E-2</c:v>
                </c:pt>
                <c:pt idx="5097">
                  <c:v>-0.26597714004510797</c:v>
                </c:pt>
                <c:pt idx="5098">
                  <c:v>-0.58126382204035099</c:v>
                </c:pt>
                <c:pt idx="5099">
                  <c:v>-0.92144155787732396</c:v>
                </c:pt>
                <c:pt idx="5100">
                  <c:v>-0.72646163611710801</c:v>
                </c:pt>
                <c:pt idx="5101">
                  <c:v>-0.72646163611710801</c:v>
                </c:pt>
                <c:pt idx="5102">
                  <c:v>-0.95462962966629705</c:v>
                </c:pt>
                <c:pt idx="5103">
                  <c:v>-1.0002632283761299</c:v>
                </c:pt>
                <c:pt idx="5104">
                  <c:v>-1.33214394626586</c:v>
                </c:pt>
                <c:pt idx="5105">
                  <c:v>-1.3860745629229501</c:v>
                </c:pt>
                <c:pt idx="5106">
                  <c:v>-1.29065885652965</c:v>
                </c:pt>
                <c:pt idx="5107">
                  <c:v>-1.26991631166154</c:v>
                </c:pt>
                <c:pt idx="5108">
                  <c:v>-1.3777775449756999</c:v>
                </c:pt>
                <c:pt idx="5109">
                  <c:v>-1.31140140139776</c:v>
                </c:pt>
                <c:pt idx="5110">
                  <c:v>-1.2616192937143</c:v>
                </c:pt>
                <c:pt idx="5111">
                  <c:v>-1.2823618385824</c:v>
                </c:pt>
                <c:pt idx="5112">
                  <c:v>-1.3404409642131101</c:v>
                </c:pt>
                <c:pt idx="5113">
                  <c:v>-1.4400051795800299</c:v>
                </c:pt>
                <c:pt idx="5114">
                  <c:v>-0.96292664761353997</c:v>
                </c:pt>
                <c:pt idx="5115">
                  <c:v>-0.94633261171905403</c:v>
                </c:pt>
                <c:pt idx="5116">
                  <c:v>-1.01685726427062</c:v>
                </c:pt>
                <c:pt idx="5117">
                  <c:v>-1.0500453360595901</c:v>
                </c:pt>
                <c:pt idx="5118">
                  <c:v>-1.19939165910997</c:v>
                </c:pt>
                <c:pt idx="5119">
                  <c:v>-1.2989558744768901</c:v>
                </c:pt>
                <c:pt idx="5120">
                  <c:v>-1.427559652659159</c:v>
                </c:pt>
                <c:pt idx="5121">
                  <c:v>-1.3777775449756999</c:v>
                </c:pt>
                <c:pt idx="5122">
                  <c:v>-1.30725289242413</c:v>
                </c:pt>
                <c:pt idx="5123">
                  <c:v>-1.4358566706064</c:v>
                </c:pt>
                <c:pt idx="5124">
                  <c:v>-1.31140140139776</c:v>
                </c:pt>
                <c:pt idx="5125">
                  <c:v>-1.3196984193450001</c:v>
                </c:pt>
                <c:pt idx="5126">
                  <c:v>-1.5312723769997001</c:v>
                </c:pt>
                <c:pt idx="5127">
                  <c:v>-1.6598761551819701</c:v>
                </c:pt>
                <c:pt idx="5128">
                  <c:v>-1.6598761551819701</c:v>
                </c:pt>
                <c:pt idx="5129">
                  <c:v>-1.6557276462083499</c:v>
                </c:pt>
                <c:pt idx="5130">
                  <c:v>-1.7345493167071599</c:v>
                </c:pt>
                <c:pt idx="5131">
                  <c:v>-1.7221037897863001</c:v>
                </c:pt>
                <c:pt idx="5132">
                  <c:v>-1.7179552808126699</c:v>
                </c:pt>
                <c:pt idx="5133">
                  <c:v>-1.72625229875992</c:v>
                </c:pt>
                <c:pt idx="5134">
                  <c:v>-1.6723216821028399</c:v>
                </c:pt>
                <c:pt idx="5135">
                  <c:v>-1.7386978256807799</c:v>
                </c:pt>
                <c:pt idx="5136">
                  <c:v>-1.7221037897863001</c:v>
                </c:pt>
                <c:pt idx="5137">
                  <c:v>-1.7138067718390499</c:v>
                </c:pt>
                <c:pt idx="5138">
                  <c:v>-1.7386978256807799</c:v>
                </c:pt>
                <c:pt idx="5139">
                  <c:v>-1.7345493167071599</c:v>
                </c:pt>
                <c:pt idx="5140">
                  <c:v>-1.73040080773354</c:v>
                </c:pt>
                <c:pt idx="5141">
                  <c:v>-1.74699484362803</c:v>
                </c:pt>
                <c:pt idx="5142">
                  <c:v>-1.9129352025728901</c:v>
                </c:pt>
                <c:pt idx="5143">
                  <c:v>-1.87974713078392</c:v>
                </c:pt>
                <c:pt idx="5144">
                  <c:v>-1.87974713078392</c:v>
                </c:pt>
                <c:pt idx="5145">
                  <c:v>-1.85900458591581</c:v>
                </c:pt>
                <c:pt idx="5146">
                  <c:v>-1.8507075679685701</c:v>
                </c:pt>
                <c:pt idx="5147">
                  <c:v>-1.8714501128366701</c:v>
                </c:pt>
                <c:pt idx="5148">
                  <c:v>-1.8714501128366701</c:v>
                </c:pt>
                <c:pt idx="5149">
                  <c:v>1.3975749583771599</c:v>
                </c:pt>
                <c:pt idx="5150">
                  <c:v>1.05324871356657</c:v>
                </c:pt>
                <c:pt idx="5151">
                  <c:v>-6.2700200337648601E-2</c:v>
                </c:pt>
                <c:pt idx="5152">
                  <c:v>-0.39872942720100002</c:v>
                </c:pt>
                <c:pt idx="5153">
                  <c:v>-0.50244215154154004</c:v>
                </c:pt>
                <c:pt idx="5154">
                  <c:v>-0.51073916948878395</c:v>
                </c:pt>
                <c:pt idx="5155">
                  <c:v>-0.44021451693721603</c:v>
                </c:pt>
                <c:pt idx="5156">
                  <c:v>-0.49829364256791903</c:v>
                </c:pt>
                <c:pt idx="5157">
                  <c:v>-0.49829364256791903</c:v>
                </c:pt>
                <c:pt idx="5158">
                  <c:v>-0.37798688233289202</c:v>
                </c:pt>
                <c:pt idx="5159">
                  <c:v>-0.50244215154154004</c:v>
                </c:pt>
                <c:pt idx="5160">
                  <c:v>-0.59370934896121597</c:v>
                </c:pt>
                <c:pt idx="5161">
                  <c:v>-0.57711531306672903</c:v>
                </c:pt>
                <c:pt idx="5162">
                  <c:v>-0.66008549253916204</c:v>
                </c:pt>
                <c:pt idx="5163">
                  <c:v>-0.448511534884459</c:v>
                </c:pt>
                <c:pt idx="5164">
                  <c:v>-0.57711531306672903</c:v>
                </c:pt>
                <c:pt idx="5165">
                  <c:v>-0.48169960667343198</c:v>
                </c:pt>
                <c:pt idx="5166">
                  <c:v>-0.60615487588208095</c:v>
                </c:pt>
                <c:pt idx="5167">
                  <c:v>-0.51073916948878395</c:v>
                </c:pt>
                <c:pt idx="5168">
                  <c:v>-0.61030338485570201</c:v>
                </c:pt>
                <c:pt idx="5169">
                  <c:v>-0.56466978614586505</c:v>
                </c:pt>
                <c:pt idx="5170">
                  <c:v>-0.69327356432813503</c:v>
                </c:pt>
                <c:pt idx="5171">
                  <c:v>-0.60200636690845899</c:v>
                </c:pt>
                <c:pt idx="5172">
                  <c:v>-0.53563022333051302</c:v>
                </c:pt>
                <c:pt idx="5173">
                  <c:v>-0.60615487588208095</c:v>
                </c:pt>
                <c:pt idx="5174">
                  <c:v>-0.54392724127775605</c:v>
                </c:pt>
                <c:pt idx="5175">
                  <c:v>-0.52733320538327</c:v>
                </c:pt>
                <c:pt idx="5176">
                  <c:v>-0.40287793617462098</c:v>
                </c:pt>
                <c:pt idx="5177">
                  <c:v>-0.39872942720100002</c:v>
                </c:pt>
                <c:pt idx="5178">
                  <c:v>-0.42776899001635099</c:v>
                </c:pt>
                <c:pt idx="5179">
                  <c:v>-0.39458091822737801</c:v>
                </c:pt>
                <c:pt idx="5180">
                  <c:v>-0.56881829511948601</c:v>
                </c:pt>
                <c:pt idx="5181">
                  <c:v>-0.49829364256791903</c:v>
                </c:pt>
                <c:pt idx="5182">
                  <c:v>-0.53563022333051302</c:v>
                </c:pt>
                <c:pt idx="5183">
                  <c:v>-0.90484752198283702</c:v>
                </c:pt>
                <c:pt idx="5184">
                  <c:v>-1.3445894731867301</c:v>
                </c:pt>
                <c:pt idx="5185">
                  <c:v>-1.5520149218678101</c:v>
                </c:pt>
                <c:pt idx="5186">
                  <c:v>-1.4897872872634901</c:v>
                </c:pt>
                <c:pt idx="5187">
                  <c:v>-1.4648962334217599</c:v>
                </c:pt>
                <c:pt idx="5188">
                  <c:v>-1.30725289242413</c:v>
                </c:pt>
                <c:pt idx="5189">
                  <c:v>-1.4648962334217599</c:v>
                </c:pt>
                <c:pt idx="5190">
                  <c:v>-1.4814902693162399</c:v>
                </c:pt>
                <c:pt idx="5191">
                  <c:v>-1.3819260539493201</c:v>
                </c:pt>
                <c:pt idx="5192">
                  <c:v>-1.3653320180548401</c:v>
                </c:pt>
                <c:pt idx="5193">
                  <c:v>-1.45659921547451</c:v>
                </c:pt>
                <c:pt idx="5194">
                  <c:v>-1.30725289242413</c:v>
                </c:pt>
                <c:pt idx="5195">
                  <c:v>-1.43170816163278</c:v>
                </c:pt>
                <c:pt idx="5196">
                  <c:v>-1.53956939494695</c:v>
                </c:pt>
                <c:pt idx="5197">
                  <c:v>-1.60179702955127</c:v>
                </c:pt>
                <c:pt idx="5198">
                  <c:v>-1.64743062826111</c:v>
                </c:pt>
                <c:pt idx="5199">
                  <c:v>-1.73040080773354</c:v>
                </c:pt>
                <c:pt idx="5200">
                  <c:v>-1.6598761551819701</c:v>
                </c:pt>
                <c:pt idx="5201">
                  <c:v>-1.6806187000500801</c:v>
                </c:pt>
                <c:pt idx="5202">
                  <c:v>-1.7345493167071599</c:v>
                </c:pt>
                <c:pt idx="5203">
                  <c:v>-1.6972127359445699</c:v>
                </c:pt>
                <c:pt idx="5204">
                  <c:v>-1.7013612449181901</c:v>
                </c:pt>
                <c:pt idx="5205">
                  <c:v>-1.68891571799732</c:v>
                </c:pt>
                <c:pt idx="5206">
                  <c:v>-1.73040080773354</c:v>
                </c:pt>
                <c:pt idx="5207">
                  <c:v>-1.7428463346544001</c:v>
                </c:pt>
                <c:pt idx="5208">
                  <c:v>-1.75529186157527</c:v>
                </c:pt>
                <c:pt idx="5209">
                  <c:v>-1.7179552808126699</c:v>
                </c:pt>
                <c:pt idx="5210">
                  <c:v>-1.73040080773354</c:v>
                </c:pt>
                <c:pt idx="5211">
                  <c:v>-1.7221037897863001</c:v>
                </c:pt>
                <c:pt idx="5212">
                  <c:v>-1.7386978256807799</c:v>
                </c:pt>
                <c:pt idx="5213">
                  <c:v>-1.6972127359445699</c:v>
                </c:pt>
                <c:pt idx="5214">
                  <c:v>-1.7345493167071599</c:v>
                </c:pt>
                <c:pt idx="5215">
                  <c:v>-1.7345493167071599</c:v>
                </c:pt>
                <c:pt idx="5216">
                  <c:v>-1.73040080773354</c:v>
                </c:pt>
                <c:pt idx="5217">
                  <c:v>-1.76773738849613</c:v>
                </c:pt>
                <c:pt idx="5218">
                  <c:v>-1.7801829154169999</c:v>
                </c:pt>
                <c:pt idx="5219">
                  <c:v>-1.7801829154169999</c:v>
                </c:pt>
                <c:pt idx="5220">
                  <c:v>-1.7801829154169999</c:v>
                </c:pt>
                <c:pt idx="5221">
                  <c:v>-1.8921926577047801</c:v>
                </c:pt>
                <c:pt idx="5222">
                  <c:v>-1.8963411666784</c:v>
                </c:pt>
                <c:pt idx="5223">
                  <c:v>-1.8755986218103</c:v>
                </c:pt>
                <c:pt idx="5224">
                  <c:v>-1.8631530948894299</c:v>
                </c:pt>
                <c:pt idx="5225">
                  <c:v>-1.8880441487311601</c:v>
                </c:pt>
                <c:pt idx="5226">
                  <c:v>-1.6598761551819701</c:v>
                </c:pt>
                <c:pt idx="5227">
                  <c:v>-1.4068171077910501</c:v>
                </c:pt>
                <c:pt idx="5228">
                  <c:v>-0.75550119893245904</c:v>
                </c:pt>
                <c:pt idx="5229">
                  <c:v>0.696476941835108</c:v>
                </c:pt>
                <c:pt idx="5230">
                  <c:v>3.6759432402973299E-3</c:v>
                </c:pt>
                <c:pt idx="5231">
                  <c:v>-0.411174954121865</c:v>
                </c:pt>
                <c:pt idx="5232">
                  <c:v>-0.489996624620675</c:v>
                </c:pt>
                <c:pt idx="5233">
                  <c:v>-0.72646163611710801</c:v>
                </c:pt>
                <c:pt idx="5234">
                  <c:v>-0.60200636690845899</c:v>
                </c:pt>
                <c:pt idx="5235">
                  <c:v>-0.74720418098521602</c:v>
                </c:pt>
                <c:pt idx="5236">
                  <c:v>-0.73061014509072897</c:v>
                </c:pt>
                <c:pt idx="5237">
                  <c:v>-0.60615487588208095</c:v>
                </c:pt>
                <c:pt idx="5238">
                  <c:v>-0.61445189382932397</c:v>
                </c:pt>
                <c:pt idx="5239">
                  <c:v>-0.77624374380056704</c:v>
                </c:pt>
                <c:pt idx="5240">
                  <c:v>-0.71401610919624303</c:v>
                </c:pt>
                <c:pt idx="5241">
                  <c:v>-0.63519443869743197</c:v>
                </c:pt>
                <c:pt idx="5242">
                  <c:v>-0.759649707906081</c:v>
                </c:pt>
                <c:pt idx="5243">
                  <c:v>-0.69742207330175598</c:v>
                </c:pt>
                <c:pt idx="5244">
                  <c:v>-0.70157058227537805</c:v>
                </c:pt>
                <c:pt idx="5245">
                  <c:v>-0.76379821687970195</c:v>
                </c:pt>
                <c:pt idx="5246">
                  <c:v>-0.51073916948878395</c:v>
                </c:pt>
                <c:pt idx="5247">
                  <c:v>-0.66838251048640496</c:v>
                </c:pt>
                <c:pt idx="5248">
                  <c:v>-0.51903618743602697</c:v>
                </c:pt>
                <c:pt idx="5249">
                  <c:v>-0.65593698356553998</c:v>
                </c:pt>
                <c:pt idx="5250">
                  <c:v>-0.50244215154154004</c:v>
                </c:pt>
                <c:pt idx="5251">
                  <c:v>-0.73061014509072897</c:v>
                </c:pt>
                <c:pt idx="5252">
                  <c:v>-0.66838251048640496</c:v>
                </c:pt>
                <c:pt idx="5253">
                  <c:v>-0.664234001512783</c:v>
                </c:pt>
                <c:pt idx="5254">
                  <c:v>-0.86751094122024297</c:v>
                </c:pt>
                <c:pt idx="5255">
                  <c:v>-0.58126382204035099</c:v>
                </c:pt>
                <c:pt idx="5256">
                  <c:v>-0.85091690532575603</c:v>
                </c:pt>
                <c:pt idx="5257">
                  <c:v>-0.77624374380056704</c:v>
                </c:pt>
                <c:pt idx="5258">
                  <c:v>-0.78868927072143202</c:v>
                </c:pt>
                <c:pt idx="5259">
                  <c:v>-0.67667952843364798</c:v>
                </c:pt>
                <c:pt idx="5260">
                  <c:v>-0.84676839635213497</c:v>
                </c:pt>
                <c:pt idx="5261">
                  <c:v>-0.68912505535451296</c:v>
                </c:pt>
                <c:pt idx="5262">
                  <c:v>-0.77624374380056704</c:v>
                </c:pt>
                <c:pt idx="5263">
                  <c:v>-0.67253101946002702</c:v>
                </c:pt>
                <c:pt idx="5264">
                  <c:v>-0.643491456644675</c:v>
                </c:pt>
                <c:pt idx="5265">
                  <c:v>-0.63519443869743197</c:v>
                </c:pt>
                <c:pt idx="5266">
                  <c:v>-1.1496095514265099</c:v>
                </c:pt>
                <c:pt idx="5267">
                  <c:v>-1.49808430521073</c:v>
                </c:pt>
                <c:pt idx="5268">
                  <c:v>-1.5769059757095401</c:v>
                </c:pt>
                <c:pt idx="5269">
                  <c:v>-1.45245070650089</c:v>
                </c:pt>
                <c:pt idx="5270">
                  <c:v>-1.3031043834505101</c:v>
                </c:pt>
                <c:pt idx="5271">
                  <c:v>-1.2616192937143</c:v>
                </c:pt>
                <c:pt idx="5272">
                  <c:v>-1.24087674884619</c:v>
                </c:pt>
                <c:pt idx="5273">
                  <c:v>-1.36948052702846</c:v>
                </c:pt>
                <c:pt idx="5274">
                  <c:v>-1.39437158087019</c:v>
                </c:pt>
                <c:pt idx="5275">
                  <c:v>-1.3860745629229501</c:v>
                </c:pt>
                <c:pt idx="5276">
                  <c:v>-1.4026685988174299</c:v>
                </c:pt>
                <c:pt idx="5277">
                  <c:v>-1.4690447423953801</c:v>
                </c:pt>
                <c:pt idx="5278">
                  <c:v>-1.4234111436855399</c:v>
                </c:pt>
                <c:pt idx="5279">
                  <c:v>-1.4648962334217599</c:v>
                </c:pt>
                <c:pt idx="5280">
                  <c:v>-1.51882685007884</c:v>
                </c:pt>
                <c:pt idx="5281">
                  <c:v>-1.66402466415559</c:v>
                </c:pt>
                <c:pt idx="5282">
                  <c:v>-1.5935000116040301</c:v>
                </c:pt>
                <c:pt idx="5283">
                  <c:v>-1.6723216821028399</c:v>
                </c:pt>
                <c:pt idx="5284">
                  <c:v>-1.6183910654457601</c:v>
                </c:pt>
                <c:pt idx="5285">
                  <c:v>-1.70550975389181</c:v>
                </c:pt>
                <c:pt idx="5286">
                  <c:v>-1.50223281418435</c:v>
                </c:pt>
                <c:pt idx="5287">
                  <c:v>-1.62253957441938</c:v>
                </c:pt>
                <c:pt idx="5288">
                  <c:v>-1.72625229875992</c:v>
                </c:pt>
                <c:pt idx="5289">
                  <c:v>-1.6972127359445699</c:v>
                </c:pt>
                <c:pt idx="5290">
                  <c:v>-1.6972127359445699</c:v>
                </c:pt>
                <c:pt idx="5291">
                  <c:v>-1.7345493167071599</c:v>
                </c:pt>
                <c:pt idx="5292">
                  <c:v>-1.68891571799732</c:v>
                </c:pt>
                <c:pt idx="5293">
                  <c:v>-1.6100940474985099</c:v>
                </c:pt>
                <c:pt idx="5294">
                  <c:v>-1.6930642269709499</c:v>
                </c:pt>
                <c:pt idx="5295">
                  <c:v>-1.7843314243906201</c:v>
                </c:pt>
                <c:pt idx="5296">
                  <c:v>-1.74699484362803</c:v>
                </c:pt>
                <c:pt idx="5297">
                  <c:v>-1.72625229875992</c:v>
                </c:pt>
                <c:pt idx="5298">
                  <c:v>-1.74699484362803</c:v>
                </c:pt>
                <c:pt idx="5299">
                  <c:v>-1.6972127359445699</c:v>
                </c:pt>
                <c:pt idx="5300">
                  <c:v>-1.7386978256807799</c:v>
                </c:pt>
                <c:pt idx="5301">
                  <c:v>-1.75529186157527</c:v>
                </c:pt>
                <c:pt idx="5302">
                  <c:v>-1.75114335260165</c:v>
                </c:pt>
                <c:pt idx="5303">
                  <c:v>-1.75114335260165</c:v>
                </c:pt>
                <c:pt idx="5304">
                  <c:v>-1.7843314243906201</c:v>
                </c:pt>
                <c:pt idx="5305">
                  <c:v>-1.7594403705488899</c:v>
                </c:pt>
                <c:pt idx="5306">
                  <c:v>-1.79677695131149</c:v>
                </c:pt>
                <c:pt idx="5307">
                  <c:v>-1.7594403705488899</c:v>
                </c:pt>
                <c:pt idx="5308">
                  <c:v>-1.7843314243906201</c:v>
                </c:pt>
                <c:pt idx="5309">
                  <c:v>-1.56446044878867</c:v>
                </c:pt>
                <c:pt idx="5310">
                  <c:v>-1.35288649113397</c:v>
                </c:pt>
                <c:pt idx="5311">
                  <c:v>-1.5105298321315901</c:v>
                </c:pt>
                <c:pt idx="5312">
                  <c:v>-1.5105298321315901</c:v>
                </c:pt>
                <c:pt idx="5313">
                  <c:v>-1.5935000116040301</c:v>
                </c:pt>
                <c:pt idx="5314">
                  <c:v>-1.5893515026303999</c:v>
                </c:pt>
                <c:pt idx="5315">
                  <c:v>-1.4400051795800299</c:v>
                </c:pt>
                <c:pt idx="5316">
                  <c:v>-0.87995646814110795</c:v>
                </c:pt>
                <c:pt idx="5317">
                  <c:v>-1.1454610424528899</c:v>
                </c:pt>
                <c:pt idx="5318">
                  <c:v>-1.18279762321549</c:v>
                </c:pt>
                <c:pt idx="5319">
                  <c:v>-1.01685726427062</c:v>
                </c:pt>
                <c:pt idx="5320">
                  <c:v>-1.03345130016511</c:v>
                </c:pt>
                <c:pt idx="5321">
                  <c:v>-1.15790656937376</c:v>
                </c:pt>
                <c:pt idx="5322">
                  <c:v>-0.97537217453440495</c:v>
                </c:pt>
                <c:pt idx="5323">
                  <c:v>-0.78454076174780996</c:v>
                </c:pt>
                <c:pt idx="5324">
                  <c:v>-1.1039759527166799</c:v>
                </c:pt>
                <c:pt idx="5325">
                  <c:v>-1.03759980913873</c:v>
                </c:pt>
                <c:pt idx="5326">
                  <c:v>-0.99611471940251295</c:v>
                </c:pt>
                <c:pt idx="5327">
                  <c:v>-0.99196621042889099</c:v>
                </c:pt>
                <c:pt idx="5328">
                  <c:v>-0.96707515658716203</c:v>
                </c:pt>
                <c:pt idx="5329">
                  <c:v>-1.0500453360595901</c:v>
                </c:pt>
                <c:pt idx="5330">
                  <c:v>-0.896550504035594</c:v>
                </c:pt>
                <c:pt idx="5331">
                  <c:v>-0.76794672585332402</c:v>
                </c:pt>
                <c:pt idx="5332">
                  <c:v>-0.67253101946002702</c:v>
                </c:pt>
                <c:pt idx="5333">
                  <c:v>-0.68912505535451296</c:v>
                </c:pt>
                <c:pt idx="5334">
                  <c:v>-0.60200636690845899</c:v>
                </c:pt>
                <c:pt idx="5335">
                  <c:v>-0.69327356432813503</c:v>
                </c:pt>
                <c:pt idx="5336">
                  <c:v>-0.759649707906081</c:v>
                </c:pt>
                <c:pt idx="5337">
                  <c:v>-0.49414513359429701</c:v>
                </c:pt>
                <c:pt idx="5338">
                  <c:v>-0.58956083998759401</c:v>
                </c:pt>
                <c:pt idx="5339">
                  <c:v>-0.73890716303797299</c:v>
                </c:pt>
                <c:pt idx="5340">
                  <c:v>-0.62274891177656699</c:v>
                </c:pt>
                <c:pt idx="5341">
                  <c:v>-0.68912505535451296</c:v>
                </c:pt>
                <c:pt idx="5342">
                  <c:v>-0.70157058227537805</c:v>
                </c:pt>
                <c:pt idx="5343">
                  <c:v>-0.62689742075018895</c:v>
                </c:pt>
                <c:pt idx="5344">
                  <c:v>-0.51073916948878395</c:v>
                </c:pt>
                <c:pt idx="5345">
                  <c:v>-0.65593698356553998</c:v>
                </c:pt>
                <c:pt idx="5346">
                  <c:v>-0.62274891177656699</c:v>
                </c:pt>
                <c:pt idx="5347">
                  <c:v>-0.548075750251378</c:v>
                </c:pt>
                <c:pt idx="5348">
                  <c:v>-0.448511534884459</c:v>
                </c:pt>
                <c:pt idx="5349">
                  <c:v>-0.45266004385808101</c:v>
                </c:pt>
                <c:pt idx="5350">
                  <c:v>-0.56881829511948601</c:v>
                </c:pt>
                <c:pt idx="5351">
                  <c:v>-0.86336243224662101</c:v>
                </c:pt>
                <c:pt idx="5352">
                  <c:v>-0.917293048903702</c:v>
                </c:pt>
                <c:pt idx="5353">
                  <c:v>-0.65593698356553998</c:v>
                </c:pt>
                <c:pt idx="5354">
                  <c:v>-0.63104592972381002</c:v>
                </c:pt>
                <c:pt idx="5355">
                  <c:v>-0.53977873230413498</c:v>
                </c:pt>
                <c:pt idx="5356">
                  <c:v>-0.81358032456316198</c:v>
                </c:pt>
                <c:pt idx="5357">
                  <c:v>-0.50659066051516199</c:v>
                </c:pt>
                <c:pt idx="5358">
                  <c:v>-0.52733320538327</c:v>
                </c:pt>
                <c:pt idx="5359">
                  <c:v>-0.39872942720100002</c:v>
                </c:pt>
                <c:pt idx="5360">
                  <c:v>-0.59370934896121597</c:v>
                </c:pt>
                <c:pt idx="5361">
                  <c:v>-0.58126382204035099</c:v>
                </c:pt>
                <c:pt idx="5362">
                  <c:v>-0.90484752198283702</c:v>
                </c:pt>
                <c:pt idx="5363">
                  <c:v>-0.87165945019386404</c:v>
                </c:pt>
                <c:pt idx="5364">
                  <c:v>-0.87995646814110795</c:v>
                </c:pt>
                <c:pt idx="5365">
                  <c:v>-0.85091690532575603</c:v>
                </c:pt>
                <c:pt idx="5366">
                  <c:v>-0.93803559377181001</c:v>
                </c:pt>
                <c:pt idx="5367">
                  <c:v>-0.99196621042889099</c:v>
                </c:pt>
                <c:pt idx="5368">
                  <c:v>-0.90484752198283702</c:v>
                </c:pt>
                <c:pt idx="5369">
                  <c:v>-0.99196621042889099</c:v>
                </c:pt>
                <c:pt idx="5370">
                  <c:v>-1.00856024632338</c:v>
                </c:pt>
                <c:pt idx="5371">
                  <c:v>-1.0707878809277001</c:v>
                </c:pt>
                <c:pt idx="5372">
                  <c:v>-1.0002632283761299</c:v>
                </c:pt>
                <c:pt idx="5373">
                  <c:v>-1.0832334078485699</c:v>
                </c:pt>
                <c:pt idx="5374">
                  <c:v>-1.1330155155320301</c:v>
                </c:pt>
                <c:pt idx="5375">
                  <c:v>-1.13716402450565</c:v>
                </c:pt>
                <c:pt idx="5376">
                  <c:v>-1.2574707847406801</c:v>
                </c:pt>
                <c:pt idx="5377">
                  <c:v>-1.3155499103713799</c:v>
                </c:pt>
                <c:pt idx="5378">
                  <c:v>-1.30725289242413</c:v>
                </c:pt>
                <c:pt idx="5379">
                  <c:v>-1.3404409642131101</c:v>
                </c:pt>
                <c:pt idx="5380">
                  <c:v>-1.33214394626586</c:v>
                </c:pt>
                <c:pt idx="5381">
                  <c:v>-1.3362924552394899</c:v>
                </c:pt>
                <c:pt idx="5382">
                  <c:v>-1.39022307189657</c:v>
                </c:pt>
                <c:pt idx="5383">
                  <c:v>-1.37362903600208</c:v>
                </c:pt>
                <c:pt idx="5384">
                  <c:v>-1.34873798216035</c:v>
                </c:pt>
                <c:pt idx="5385">
                  <c:v>-1.4026685988174299</c:v>
                </c:pt>
                <c:pt idx="5386">
                  <c:v>-1.3362924552394899</c:v>
                </c:pt>
                <c:pt idx="5387">
                  <c:v>-1.3570350001075899</c:v>
                </c:pt>
                <c:pt idx="5388">
                  <c:v>-1.39022307189657</c:v>
                </c:pt>
                <c:pt idx="5389">
                  <c:v>-1.39022307189657</c:v>
                </c:pt>
                <c:pt idx="5390">
                  <c:v>-1.47734176034262</c:v>
                </c:pt>
                <c:pt idx="5391">
                  <c:v>-1.39022307189657</c:v>
                </c:pt>
                <c:pt idx="5392">
                  <c:v>-1.3819260539493201</c:v>
                </c:pt>
                <c:pt idx="5393">
                  <c:v>-1.427559652659159</c:v>
                </c:pt>
                <c:pt idx="5394">
                  <c:v>-1.4441536885536499</c:v>
                </c:pt>
                <c:pt idx="5395">
                  <c:v>-1.4234111436855399</c:v>
                </c:pt>
                <c:pt idx="5396">
                  <c:v>-1.60594553852489</c:v>
                </c:pt>
                <c:pt idx="5397">
                  <c:v>-1.54371790392057</c:v>
                </c:pt>
                <c:pt idx="5398">
                  <c:v>-1.5520149218678101</c:v>
                </c:pt>
                <c:pt idx="5399">
                  <c:v>-1.56031193981505</c:v>
                </c:pt>
                <c:pt idx="5400">
                  <c:v>-1.5769059757095401</c:v>
                </c:pt>
                <c:pt idx="5401">
                  <c:v>-1.60594553852489</c:v>
                </c:pt>
                <c:pt idx="5402">
                  <c:v>-1.62253957441938</c:v>
                </c:pt>
                <c:pt idx="5403">
                  <c:v>-1.5976485205776501</c:v>
                </c:pt>
                <c:pt idx="5404">
                  <c:v>-1.56446044878867</c:v>
                </c:pt>
                <c:pt idx="5405">
                  <c:v>-1.50223281418435</c:v>
                </c:pt>
                <c:pt idx="5406">
                  <c:v>-1.24502525781981</c:v>
                </c:pt>
                <c:pt idx="5407">
                  <c:v>-1.473193251369</c:v>
                </c:pt>
                <c:pt idx="5408">
                  <c:v>-1.5105298321315901</c:v>
                </c:pt>
                <c:pt idx="5409">
                  <c:v>-1.4192626347119199</c:v>
                </c:pt>
                <c:pt idx="5410">
                  <c:v>-1.4068171077910501</c:v>
                </c:pt>
                <c:pt idx="5411">
                  <c:v>-1.2533222757670499</c:v>
                </c:pt>
                <c:pt idx="5412">
                  <c:v>0.36874473291900001</c:v>
                </c:pt>
                <c:pt idx="5413">
                  <c:v>0.14057673936981099</c:v>
                </c:pt>
                <c:pt idx="5414">
                  <c:v>-0.274274157992351</c:v>
                </c:pt>
                <c:pt idx="5415">
                  <c:v>-0.27842266696597301</c:v>
                </c:pt>
                <c:pt idx="5416">
                  <c:v>-0.47340258872618901</c:v>
                </c:pt>
                <c:pt idx="5417">
                  <c:v>-0.26597714004510797</c:v>
                </c:pt>
                <c:pt idx="5418">
                  <c:v>-0.41947197206910802</c:v>
                </c:pt>
                <c:pt idx="5419">
                  <c:v>-0.23278906825613499</c:v>
                </c:pt>
                <c:pt idx="5420">
                  <c:v>-0.124927834941973</c:v>
                </c:pt>
                <c:pt idx="5421">
                  <c:v>-0.76379821687970195</c:v>
                </c:pt>
                <c:pt idx="5422">
                  <c:v>-0.684976546380892</c:v>
                </c:pt>
                <c:pt idx="5423">
                  <c:v>-0.90069901300921595</c:v>
                </c:pt>
                <c:pt idx="5424">
                  <c:v>-0.82602585148402696</c:v>
                </c:pt>
                <c:pt idx="5425">
                  <c:v>-0.83017436045764803</c:v>
                </c:pt>
                <c:pt idx="5426">
                  <c:v>-0.97952068350802701</c:v>
                </c:pt>
                <c:pt idx="5427">
                  <c:v>-0.84676839635213497</c:v>
                </c:pt>
                <c:pt idx="5428">
                  <c:v>-1.012708755297</c:v>
                </c:pt>
                <c:pt idx="5429">
                  <c:v>-1.0666393719540801</c:v>
                </c:pt>
                <c:pt idx="5430">
                  <c:v>-1.0500453360595901</c:v>
                </c:pt>
                <c:pt idx="5431">
                  <c:v>-1.11642147963754</c:v>
                </c:pt>
                <c:pt idx="5432">
                  <c:v>-1.12056998861116</c:v>
                </c:pt>
                <c:pt idx="5433">
                  <c:v>-1.24917376679343</c:v>
                </c:pt>
                <c:pt idx="5434">
                  <c:v>-1.36948052702846</c:v>
                </c:pt>
                <c:pt idx="5435">
                  <c:v>-1.2574707847406801</c:v>
                </c:pt>
                <c:pt idx="5436">
                  <c:v>-1.4897872872634901</c:v>
                </c:pt>
                <c:pt idx="5437">
                  <c:v>-1.3238469283186201</c:v>
                </c:pt>
                <c:pt idx="5438">
                  <c:v>-1.4358566706064</c:v>
                </c:pt>
                <c:pt idx="5439">
                  <c:v>-1.3653320180548401</c:v>
                </c:pt>
                <c:pt idx="5440">
                  <c:v>-1.4648962334217599</c:v>
                </c:pt>
                <c:pt idx="5441">
                  <c:v>-1.50223281418435</c:v>
                </c:pt>
                <c:pt idx="5442">
                  <c:v>-1.5063813231579699</c:v>
                </c:pt>
                <c:pt idx="5443">
                  <c:v>-1.4897872872634901</c:v>
                </c:pt>
                <c:pt idx="5444">
                  <c:v>-1.4856387782898599</c:v>
                </c:pt>
                <c:pt idx="5445">
                  <c:v>-1.34873798216035</c:v>
                </c:pt>
                <c:pt idx="5446">
                  <c:v>-1.3196984193450001</c:v>
                </c:pt>
                <c:pt idx="5447">
                  <c:v>-1.5769059757095401</c:v>
                </c:pt>
                <c:pt idx="5448">
                  <c:v>-1.6515791372347299</c:v>
                </c:pt>
                <c:pt idx="5449">
                  <c:v>-1.6349851013402401</c:v>
                </c:pt>
                <c:pt idx="5450">
                  <c:v>-1.6100940474985099</c:v>
                </c:pt>
                <c:pt idx="5451">
                  <c:v>-1.6557276462083499</c:v>
                </c:pt>
                <c:pt idx="5452">
                  <c:v>-1.6598761551819701</c:v>
                </c:pt>
                <c:pt idx="5453">
                  <c:v>-1.66817317312922</c:v>
                </c:pt>
                <c:pt idx="5454">
                  <c:v>-1.6308365923666199</c:v>
                </c:pt>
                <c:pt idx="5455">
                  <c:v>-1.50223281418435</c:v>
                </c:pt>
                <c:pt idx="5456">
                  <c:v>-1.64743062826111</c:v>
                </c:pt>
                <c:pt idx="5457">
                  <c:v>-1.47734176034262</c:v>
                </c:pt>
                <c:pt idx="5458">
                  <c:v>-1.60179702955127</c:v>
                </c:pt>
                <c:pt idx="5459">
                  <c:v>-1.5769059757095401</c:v>
                </c:pt>
                <c:pt idx="5460">
                  <c:v>-1.5271238680260799</c:v>
                </c:pt>
                <c:pt idx="5461">
                  <c:v>-1.5520149218678101</c:v>
                </c:pt>
                <c:pt idx="5462">
                  <c:v>-1.7386978256807799</c:v>
                </c:pt>
                <c:pt idx="5463">
                  <c:v>-1.4483021975272701</c:v>
                </c:pt>
                <c:pt idx="5464">
                  <c:v>-1.15790656937376</c:v>
                </c:pt>
                <c:pt idx="5465">
                  <c:v>-1.3404409642131101</c:v>
                </c:pt>
                <c:pt idx="5466">
                  <c:v>-1.51882685007884</c:v>
                </c:pt>
                <c:pt idx="5467">
                  <c:v>-1.1952431501363501</c:v>
                </c:pt>
                <c:pt idx="5468">
                  <c:v>-1.3362924552394899</c:v>
                </c:pt>
                <c:pt idx="5469">
                  <c:v>-1.0707878809277001</c:v>
                </c:pt>
                <c:pt idx="5470">
                  <c:v>-1.1288670065584001</c:v>
                </c:pt>
                <c:pt idx="5471">
                  <c:v>-1.0666393719540801</c:v>
                </c:pt>
                <c:pt idx="5472">
                  <c:v>-1.1745006052682401</c:v>
                </c:pt>
                <c:pt idx="5473">
                  <c:v>-1.0500453360595901</c:v>
                </c:pt>
                <c:pt idx="5474">
                  <c:v>-1.215985695004459</c:v>
                </c:pt>
                <c:pt idx="5475">
                  <c:v>-0.93388708479818905</c:v>
                </c:pt>
                <c:pt idx="5476">
                  <c:v>-1.05834235400684</c:v>
                </c:pt>
                <c:pt idx="5477">
                  <c:v>-1.1537580604001301</c:v>
                </c:pt>
                <c:pt idx="5478">
                  <c:v>-1.07908489887495</c:v>
                </c:pt>
                <c:pt idx="5479">
                  <c:v>-1.0500453360595901</c:v>
                </c:pt>
                <c:pt idx="5480">
                  <c:v>-0.91314453993008105</c:v>
                </c:pt>
                <c:pt idx="5481">
                  <c:v>-0.78868927072143202</c:v>
                </c:pt>
                <c:pt idx="5482">
                  <c:v>-0.75550119893245904</c:v>
                </c:pt>
                <c:pt idx="5483">
                  <c:v>-0.53977873230413498</c:v>
                </c:pt>
                <c:pt idx="5484">
                  <c:v>-0.46095706180532398</c:v>
                </c:pt>
                <c:pt idx="5485">
                  <c:v>-0.58541233101397305</c:v>
                </c:pt>
                <c:pt idx="5486">
                  <c:v>-0.59785785793483703</c:v>
                </c:pt>
                <c:pt idx="5487">
                  <c:v>-5.0254673416783698E-2</c:v>
                </c:pt>
                <c:pt idx="5488">
                  <c:v>6.1755068870999998E-2</c:v>
                </c:pt>
                <c:pt idx="5489">
                  <c:v>-0.216195032361649</c:v>
                </c:pt>
                <c:pt idx="5490">
                  <c:v>-0.17470994262543199</c:v>
                </c:pt>
                <c:pt idx="5491">
                  <c:v>-1.0417483181123499</c:v>
                </c:pt>
                <c:pt idx="5492">
                  <c:v>4.1012524002891897E-2</c:v>
                </c:pt>
                <c:pt idx="5493">
                  <c:v>0.70477395978235102</c:v>
                </c:pt>
                <c:pt idx="5494">
                  <c:v>0.41022982265521601</c:v>
                </c:pt>
                <c:pt idx="5495">
                  <c:v>0.22769542781586499</c:v>
                </c:pt>
                <c:pt idx="5496">
                  <c:v>-0.22449205030889199</c:v>
                </c:pt>
                <c:pt idx="5497">
                  <c:v>-6.6848709311270196E-2</c:v>
                </c:pt>
                <c:pt idx="5498">
                  <c:v>0.25673499063121602</c:v>
                </c:pt>
                <c:pt idx="5499">
                  <c:v>-0.14152187083645901</c:v>
                </c:pt>
                <c:pt idx="5500">
                  <c:v>-9.5888272126621502E-2</c:v>
                </c:pt>
                <c:pt idx="5501">
                  <c:v>-4.6106164443162102E-2</c:v>
                </c:pt>
                <c:pt idx="5502">
                  <c:v>-0.100036781100243</c:v>
                </c:pt>
                <c:pt idx="5503">
                  <c:v>0.14887375731705399</c:v>
                </c:pt>
                <c:pt idx="5504">
                  <c:v>-0.100036781100243</c:v>
                </c:pt>
                <c:pt idx="5505">
                  <c:v>-0.39458091822737801</c:v>
                </c:pt>
                <c:pt idx="5506">
                  <c:v>-0.37383837335927</c:v>
                </c:pt>
                <c:pt idx="5507">
                  <c:v>-0.41532346309548601</c:v>
                </c:pt>
                <c:pt idx="5508">
                  <c:v>-0.40287793617462098</c:v>
                </c:pt>
                <c:pt idx="5509">
                  <c:v>-0.236937577229757</c:v>
                </c:pt>
                <c:pt idx="5510">
                  <c:v>-0.21204652338802699</c:v>
                </c:pt>
                <c:pt idx="5511">
                  <c:v>-0.187155469546297</c:v>
                </c:pt>
                <c:pt idx="5512">
                  <c:v>-0.22864055928251301</c:v>
                </c:pt>
                <c:pt idx="5513">
                  <c:v>-0.28257117593959402</c:v>
                </c:pt>
                <c:pt idx="5514">
                  <c:v>-0.104185290073865</c:v>
                </c:pt>
                <c:pt idx="5515">
                  <c:v>-0.25768012209786501</c:v>
                </c:pt>
                <c:pt idx="5516">
                  <c:v>-0.25353161312424299</c:v>
                </c:pt>
                <c:pt idx="5517">
                  <c:v>-1.0624908629804599</c:v>
                </c:pt>
                <c:pt idx="5518">
                  <c:v>-0.86751094122024297</c:v>
                </c:pt>
                <c:pt idx="5519">
                  <c:v>-1.1288670065584001</c:v>
                </c:pt>
                <c:pt idx="5520">
                  <c:v>-1.05834235400684</c:v>
                </c:pt>
                <c:pt idx="5521">
                  <c:v>-0.90484752198283702</c:v>
                </c:pt>
                <c:pt idx="5522">
                  <c:v>-1.1537580604001301</c:v>
                </c:pt>
                <c:pt idx="5523">
                  <c:v>-0.92144155787732396</c:v>
                </c:pt>
                <c:pt idx="5524">
                  <c:v>-0.78868927072143202</c:v>
                </c:pt>
                <c:pt idx="5525">
                  <c:v>-1.0915304257958101</c:v>
                </c:pt>
                <c:pt idx="5526">
                  <c:v>-1.30725289242413</c:v>
                </c:pt>
                <c:pt idx="5527">
                  <c:v>-1.0624908629804599</c:v>
                </c:pt>
                <c:pt idx="5528">
                  <c:v>-0.96292664761353997</c:v>
                </c:pt>
                <c:pt idx="5529">
                  <c:v>-1.11642147963754</c:v>
                </c:pt>
                <c:pt idx="5530">
                  <c:v>-1.2989558744768901</c:v>
                </c:pt>
                <c:pt idx="5531">
                  <c:v>-1.2076886770572199</c:v>
                </c:pt>
                <c:pt idx="5532">
                  <c:v>-1.00856024632338</c:v>
                </c:pt>
                <c:pt idx="5533">
                  <c:v>-1.13716402450565</c:v>
                </c:pt>
                <c:pt idx="5534">
                  <c:v>-1.2533222757670499</c:v>
                </c:pt>
                <c:pt idx="5535">
                  <c:v>-1.4068171077910501</c:v>
                </c:pt>
                <c:pt idx="5536">
                  <c:v>-0.94218410274543196</c:v>
                </c:pt>
                <c:pt idx="5537">
                  <c:v>-1.2325797308989499</c:v>
                </c:pt>
                <c:pt idx="5538">
                  <c:v>-1.427559652659159</c:v>
                </c:pt>
                <c:pt idx="5539">
                  <c:v>-1.36948052702846</c:v>
                </c:pt>
                <c:pt idx="5540">
                  <c:v>-1.17864911424186</c:v>
                </c:pt>
                <c:pt idx="5541">
                  <c:v>-1.32799543729224</c:v>
                </c:pt>
                <c:pt idx="5542">
                  <c:v>-1.4690447423953801</c:v>
                </c:pt>
                <c:pt idx="5543">
                  <c:v>-1.4856387782898599</c:v>
                </c:pt>
                <c:pt idx="5544">
                  <c:v>-1.20354016808359</c:v>
                </c:pt>
                <c:pt idx="5545">
                  <c:v>-1.51467834110522</c:v>
                </c:pt>
                <c:pt idx="5546">
                  <c:v>-1.3860745629229501</c:v>
                </c:pt>
                <c:pt idx="5547">
                  <c:v>-1.4607477244481299</c:v>
                </c:pt>
                <c:pt idx="5548">
                  <c:v>-1.4358566706064</c:v>
                </c:pt>
                <c:pt idx="5549">
                  <c:v>-1.6598761551819701</c:v>
                </c:pt>
                <c:pt idx="5550">
                  <c:v>-1.5561634308414301</c:v>
                </c:pt>
                <c:pt idx="5551">
                  <c:v>-1.5686089577622999</c:v>
                </c:pt>
                <c:pt idx="5552">
                  <c:v>-1.3155499103713799</c:v>
                </c:pt>
                <c:pt idx="5553">
                  <c:v>-1.50223281418435</c:v>
                </c:pt>
                <c:pt idx="5554">
                  <c:v>-1.6598761551819701</c:v>
                </c:pt>
                <c:pt idx="5555">
                  <c:v>-1.5935000116040301</c:v>
                </c:pt>
                <c:pt idx="5556">
                  <c:v>-1.53542088597332</c:v>
                </c:pt>
                <c:pt idx="5557">
                  <c:v>-1.5976485205776501</c:v>
                </c:pt>
                <c:pt idx="5558">
                  <c:v>-1.31140140139776</c:v>
                </c:pt>
                <c:pt idx="5559">
                  <c:v>-1.5063813231579699</c:v>
                </c:pt>
                <c:pt idx="5560">
                  <c:v>-1.39437158087019</c:v>
                </c:pt>
                <c:pt idx="5561">
                  <c:v>-1.3196984193450001</c:v>
                </c:pt>
                <c:pt idx="5562">
                  <c:v>-1.39022307189657</c:v>
                </c:pt>
                <c:pt idx="5563">
                  <c:v>-1.56031193981505</c:v>
                </c:pt>
                <c:pt idx="5564">
                  <c:v>-1.4607477244481299</c:v>
                </c:pt>
                <c:pt idx="5565">
                  <c:v>-1.4814902693162399</c:v>
                </c:pt>
                <c:pt idx="5566">
                  <c:v>-1.5271238680260799</c:v>
                </c:pt>
                <c:pt idx="5567">
                  <c:v>-1.34873798216035</c:v>
                </c:pt>
                <c:pt idx="5568">
                  <c:v>-1.5520149218678101</c:v>
                </c:pt>
                <c:pt idx="5569">
                  <c:v>-1.2989558744768901</c:v>
                </c:pt>
                <c:pt idx="5570">
                  <c:v>-1.2782133296087801</c:v>
                </c:pt>
                <c:pt idx="5571">
                  <c:v>-1.3653320180548401</c:v>
                </c:pt>
                <c:pt idx="5572">
                  <c:v>-1.51467834110522</c:v>
                </c:pt>
                <c:pt idx="5573">
                  <c:v>-1.9710143282035899</c:v>
                </c:pt>
                <c:pt idx="5574">
                  <c:v>-1.96271731025635</c:v>
                </c:pt>
                <c:pt idx="5575">
                  <c:v>-1.9710143282035899</c:v>
                </c:pt>
                <c:pt idx="5576">
                  <c:v>-1.9502717833354899</c:v>
                </c:pt>
                <c:pt idx="5577">
                  <c:v>-1.9751628371772201</c:v>
                </c:pt>
                <c:pt idx="5578">
                  <c:v>-1.5105298321315901</c:v>
                </c:pt>
                <c:pt idx="5579">
                  <c:v>2.8566997082027101E-2</c:v>
                </c:pt>
                <c:pt idx="5580">
                  <c:v>-0.411174954121865</c:v>
                </c:pt>
                <c:pt idx="5581">
                  <c:v>-0.71816461816986399</c:v>
                </c:pt>
                <c:pt idx="5582">
                  <c:v>-0.86336243224662101</c:v>
                </c:pt>
                <c:pt idx="5583">
                  <c:v>-0.801134797642297</c:v>
                </c:pt>
                <c:pt idx="5584">
                  <c:v>-0.98781770145527004</c:v>
                </c:pt>
                <c:pt idx="5585">
                  <c:v>-0.896550504035594</c:v>
                </c:pt>
                <c:pt idx="5586">
                  <c:v>-0.73890716303797299</c:v>
                </c:pt>
                <c:pt idx="5587">
                  <c:v>-0.98366919248164797</c:v>
                </c:pt>
                <c:pt idx="5588">
                  <c:v>-0.78868927072143202</c:v>
                </c:pt>
                <c:pt idx="5589">
                  <c:v>-0.83847137840489205</c:v>
                </c:pt>
                <c:pt idx="5590">
                  <c:v>-0.95877813863991801</c:v>
                </c:pt>
                <c:pt idx="5591">
                  <c:v>-0.61445189382932397</c:v>
                </c:pt>
                <c:pt idx="5592">
                  <c:v>-0.75135268995883697</c:v>
                </c:pt>
                <c:pt idx="5593">
                  <c:v>-0.896550504035594</c:v>
                </c:pt>
                <c:pt idx="5594">
                  <c:v>-1.0044117373497601</c:v>
                </c:pt>
                <c:pt idx="5595">
                  <c:v>-0.801134797642297</c:v>
                </c:pt>
                <c:pt idx="5596">
                  <c:v>-0.81772883353678305</c:v>
                </c:pt>
                <c:pt idx="5597">
                  <c:v>-0.72231312714348594</c:v>
                </c:pt>
                <c:pt idx="5598">
                  <c:v>-0.94218410274543196</c:v>
                </c:pt>
                <c:pt idx="5599">
                  <c:v>-0.86336243224662101</c:v>
                </c:pt>
                <c:pt idx="5600">
                  <c:v>-0.61860040280294604</c:v>
                </c:pt>
                <c:pt idx="5601">
                  <c:v>-0.896550504035594</c:v>
                </c:pt>
                <c:pt idx="5602">
                  <c:v>-1.1537580604001301</c:v>
                </c:pt>
                <c:pt idx="5603">
                  <c:v>-1.1745006052682401</c:v>
                </c:pt>
                <c:pt idx="5604">
                  <c:v>-1.0915304257958101</c:v>
                </c:pt>
                <c:pt idx="5605">
                  <c:v>-1.473193251369</c:v>
                </c:pt>
                <c:pt idx="5606">
                  <c:v>-1.4648962334217599</c:v>
                </c:pt>
                <c:pt idx="5607">
                  <c:v>-1.2823618385824</c:v>
                </c:pt>
                <c:pt idx="5608">
                  <c:v>-1.05834235400684</c:v>
                </c:pt>
                <c:pt idx="5609">
                  <c:v>-1.18279762321549</c:v>
                </c:pt>
                <c:pt idx="5610">
                  <c:v>-1.0002632283761299</c:v>
                </c:pt>
                <c:pt idx="5611">
                  <c:v>-1.17864911424186</c:v>
                </c:pt>
                <c:pt idx="5612">
                  <c:v>-1.0417483181123499</c:v>
                </c:pt>
                <c:pt idx="5613">
                  <c:v>-1.0666393719540801</c:v>
                </c:pt>
                <c:pt idx="5614">
                  <c:v>-0.92559006685094503</c:v>
                </c:pt>
                <c:pt idx="5615">
                  <c:v>-1.1869461321891099</c:v>
                </c:pt>
                <c:pt idx="5616">
                  <c:v>-1.03759980913873</c:v>
                </c:pt>
                <c:pt idx="5617">
                  <c:v>-1.03759980913873</c:v>
                </c:pt>
                <c:pt idx="5618">
                  <c:v>-1.32799543729224</c:v>
                </c:pt>
                <c:pt idx="5619">
                  <c:v>-1.2325797308989499</c:v>
                </c:pt>
                <c:pt idx="5620">
                  <c:v>-1.2823618385824</c:v>
                </c:pt>
                <c:pt idx="5621">
                  <c:v>-1.17864911424186</c:v>
                </c:pt>
                <c:pt idx="5622">
                  <c:v>-1.4151141257383</c:v>
                </c:pt>
                <c:pt idx="5623">
                  <c:v>-1.3570350001075899</c:v>
                </c:pt>
                <c:pt idx="5624">
                  <c:v>-1.43170816163278</c:v>
                </c:pt>
                <c:pt idx="5625">
                  <c:v>-0.96707515658716203</c:v>
                </c:pt>
                <c:pt idx="5626">
                  <c:v>-1.2325797308989499</c:v>
                </c:pt>
                <c:pt idx="5627">
                  <c:v>-1.32799543729224</c:v>
                </c:pt>
                <c:pt idx="5628">
                  <c:v>-1.29065885652965</c:v>
                </c:pt>
                <c:pt idx="5629">
                  <c:v>-1.1869461321891099</c:v>
                </c:pt>
                <c:pt idx="5630">
                  <c:v>-1.43170816163278</c:v>
                </c:pt>
                <c:pt idx="5631">
                  <c:v>-1.51882685007884</c:v>
                </c:pt>
                <c:pt idx="5632">
                  <c:v>-1.4068171077910501</c:v>
                </c:pt>
                <c:pt idx="5633">
                  <c:v>-1.26576780268792</c:v>
                </c:pt>
                <c:pt idx="5634">
                  <c:v>-1.35288649113397</c:v>
                </c:pt>
                <c:pt idx="5635">
                  <c:v>-1.30725289242413</c:v>
                </c:pt>
                <c:pt idx="5636">
                  <c:v>-1.45659921547451</c:v>
                </c:pt>
                <c:pt idx="5637">
                  <c:v>-1.3404409642131101</c:v>
                </c:pt>
                <c:pt idx="5638">
                  <c:v>-1.33214394626586</c:v>
                </c:pt>
                <c:pt idx="5639">
                  <c:v>-1.4192626347119199</c:v>
                </c:pt>
                <c:pt idx="5640">
                  <c:v>-1.4607477244481299</c:v>
                </c:pt>
                <c:pt idx="5641">
                  <c:v>-1.37362903600208</c:v>
                </c:pt>
                <c:pt idx="5642">
                  <c:v>-1.45659921547451</c:v>
                </c:pt>
                <c:pt idx="5643">
                  <c:v>-1.49808430521073</c:v>
                </c:pt>
                <c:pt idx="5644">
                  <c:v>-1.37362903600208</c:v>
                </c:pt>
                <c:pt idx="5645">
                  <c:v>-1.3985200898438099</c:v>
                </c:pt>
                <c:pt idx="5646">
                  <c:v>-1.5561634308414301</c:v>
                </c:pt>
                <c:pt idx="5647">
                  <c:v>-1.6723216821028399</c:v>
                </c:pt>
                <c:pt idx="5648">
                  <c:v>-1.50223281418435</c:v>
                </c:pt>
                <c:pt idx="5649">
                  <c:v>-1.4856387782898599</c:v>
                </c:pt>
                <c:pt idx="5650">
                  <c:v>-1.51467834110522</c:v>
                </c:pt>
                <c:pt idx="5651">
                  <c:v>-1.64743062826111</c:v>
                </c:pt>
                <c:pt idx="5652">
                  <c:v>-1.5976485205776501</c:v>
                </c:pt>
                <c:pt idx="5653">
                  <c:v>-1.5561634308414301</c:v>
                </c:pt>
                <c:pt idx="5654">
                  <c:v>-1.3196984193450001</c:v>
                </c:pt>
                <c:pt idx="5655">
                  <c:v>-1.4607477244481299</c:v>
                </c:pt>
                <c:pt idx="5656">
                  <c:v>-1.43170816163278</c:v>
                </c:pt>
                <c:pt idx="5657">
                  <c:v>-1.2782133296087801</c:v>
                </c:pt>
                <c:pt idx="5658">
                  <c:v>-1.33214394626586</c:v>
                </c:pt>
                <c:pt idx="5659">
                  <c:v>-1.1247184975847799</c:v>
                </c:pt>
                <c:pt idx="5660">
                  <c:v>-1.24087674884619</c:v>
                </c:pt>
                <c:pt idx="5661">
                  <c:v>-1.49808430521073</c:v>
                </c:pt>
                <c:pt idx="5662">
                  <c:v>-1.1745006052682401</c:v>
                </c:pt>
                <c:pt idx="5663">
                  <c:v>-1.1330155155320301</c:v>
                </c:pt>
                <c:pt idx="5664">
                  <c:v>-1.2574707847406801</c:v>
                </c:pt>
                <c:pt idx="5665">
                  <c:v>-1.1288670065584001</c:v>
                </c:pt>
                <c:pt idx="5666">
                  <c:v>-1.1745006052682401</c:v>
                </c:pt>
                <c:pt idx="5667">
                  <c:v>-1.1869461321891099</c:v>
                </c:pt>
                <c:pt idx="5668">
                  <c:v>-1.0417483181123499</c:v>
                </c:pt>
                <c:pt idx="5669">
                  <c:v>-1.1330155155320301</c:v>
                </c:pt>
                <c:pt idx="5670">
                  <c:v>-1.1288670065584001</c:v>
                </c:pt>
                <c:pt idx="5671">
                  <c:v>-1.0417483181123499</c:v>
                </c:pt>
                <c:pt idx="5672">
                  <c:v>-0.94218410274543196</c:v>
                </c:pt>
                <c:pt idx="5673">
                  <c:v>-1.1081244616903001</c:v>
                </c:pt>
                <c:pt idx="5674">
                  <c:v>-0.97537217453440495</c:v>
                </c:pt>
                <c:pt idx="5675">
                  <c:v>-1.0458968270859701</c:v>
                </c:pt>
                <c:pt idx="5676">
                  <c:v>-0.79698628866867505</c:v>
                </c:pt>
                <c:pt idx="5677">
                  <c:v>-0.90484752198283702</c:v>
                </c:pt>
                <c:pt idx="5678">
                  <c:v>-0.548075750251378</c:v>
                </c:pt>
                <c:pt idx="5679">
                  <c:v>-0.74305567201159395</c:v>
                </c:pt>
                <c:pt idx="5680">
                  <c:v>-0.76379821687970195</c:v>
                </c:pt>
                <c:pt idx="5681">
                  <c:v>-0.73890716303797299</c:v>
                </c:pt>
                <c:pt idx="5682">
                  <c:v>-0.49414513359429701</c:v>
                </c:pt>
                <c:pt idx="5683">
                  <c:v>-0.67253101946002702</c:v>
                </c:pt>
                <c:pt idx="5684">
                  <c:v>-0.76379821687970195</c:v>
                </c:pt>
                <c:pt idx="5685">
                  <c:v>-0.46510557077894599</c:v>
                </c:pt>
                <c:pt idx="5686">
                  <c:v>-0.489996624620675</c:v>
                </c:pt>
                <c:pt idx="5687">
                  <c:v>-0.59370934896121597</c:v>
                </c:pt>
                <c:pt idx="5688">
                  <c:v>-0.63934294767105404</c:v>
                </c:pt>
                <c:pt idx="5689">
                  <c:v>-0.53148171435689195</c:v>
                </c:pt>
                <c:pt idx="5690">
                  <c:v>-0.274274157992351</c:v>
                </c:pt>
                <c:pt idx="5691">
                  <c:v>-0.41947197206910802</c:v>
                </c:pt>
                <c:pt idx="5692">
                  <c:v>-0.63934294767105404</c:v>
                </c:pt>
                <c:pt idx="5693">
                  <c:v>-0.332353283623054</c:v>
                </c:pt>
                <c:pt idx="5694">
                  <c:v>-0.22034354133527001</c:v>
                </c:pt>
                <c:pt idx="5695">
                  <c:v>-0.58126382204035099</c:v>
                </c:pt>
                <c:pt idx="5696">
                  <c:v>-0.64763996561829695</c:v>
                </c:pt>
                <c:pt idx="5697">
                  <c:v>-0.81772883353678305</c:v>
                </c:pt>
                <c:pt idx="5698">
                  <c:v>-0.92144155787732396</c:v>
                </c:pt>
                <c:pt idx="5699">
                  <c:v>-0.80943181558954003</c:v>
                </c:pt>
                <c:pt idx="5700">
                  <c:v>-0.67253101946002702</c:v>
                </c:pt>
                <c:pt idx="5701">
                  <c:v>-0.83432286943126999</c:v>
                </c:pt>
                <c:pt idx="5702">
                  <c:v>-0.74305567201159395</c:v>
                </c:pt>
                <c:pt idx="5703">
                  <c:v>-0.85506541429937799</c:v>
                </c:pt>
                <c:pt idx="5704">
                  <c:v>-1.05419384503322</c:v>
                </c:pt>
                <c:pt idx="5705">
                  <c:v>-0.81358032456316198</c:v>
                </c:pt>
                <c:pt idx="5706">
                  <c:v>-0.62274891177656699</c:v>
                </c:pt>
                <c:pt idx="5707">
                  <c:v>-0.73890716303797299</c:v>
                </c:pt>
                <c:pt idx="5708">
                  <c:v>-0.58541233101397305</c:v>
                </c:pt>
                <c:pt idx="5709">
                  <c:v>-0.58126382204035099</c:v>
                </c:pt>
                <c:pt idx="5710">
                  <c:v>-0.86751094122024297</c:v>
                </c:pt>
                <c:pt idx="5711">
                  <c:v>-1.0458968270859701</c:v>
                </c:pt>
                <c:pt idx="5712">
                  <c:v>-0.76794672585332402</c:v>
                </c:pt>
                <c:pt idx="5713">
                  <c:v>-0.63934294767105404</c:v>
                </c:pt>
                <c:pt idx="5714">
                  <c:v>-1.0044117373497601</c:v>
                </c:pt>
                <c:pt idx="5715">
                  <c:v>-0.98781770145527004</c:v>
                </c:pt>
                <c:pt idx="5716">
                  <c:v>-1.12056998861116</c:v>
                </c:pt>
                <c:pt idx="5717">
                  <c:v>-0.85921392327299995</c:v>
                </c:pt>
                <c:pt idx="5718">
                  <c:v>-0.83432286943126999</c:v>
                </c:pt>
                <c:pt idx="5719">
                  <c:v>-1.1910946411627299</c:v>
                </c:pt>
                <c:pt idx="5720">
                  <c:v>-1.0417483181123499</c:v>
                </c:pt>
                <c:pt idx="5721">
                  <c:v>-0.93803559377181001</c:v>
                </c:pt>
                <c:pt idx="5722">
                  <c:v>-1.0873819168221901</c:v>
                </c:pt>
                <c:pt idx="5723">
                  <c:v>-1.2616192937143</c:v>
                </c:pt>
                <c:pt idx="5724">
                  <c:v>-1.2823618385824</c:v>
                </c:pt>
                <c:pt idx="5725">
                  <c:v>-1.13716402450565</c:v>
                </c:pt>
                <c:pt idx="5726">
                  <c:v>-1.1247184975847799</c:v>
                </c:pt>
                <c:pt idx="5727">
                  <c:v>-1.2740648206351599</c:v>
                </c:pt>
                <c:pt idx="5728">
                  <c:v>-1.17864911424186</c:v>
                </c:pt>
                <c:pt idx="5729">
                  <c:v>-1.26991631166154</c:v>
                </c:pt>
                <c:pt idx="5730">
                  <c:v>-1.4026685988174299</c:v>
                </c:pt>
                <c:pt idx="5731">
                  <c:v>-1.4897872872634901</c:v>
                </c:pt>
                <c:pt idx="5732">
                  <c:v>-1.2533222757670499</c:v>
                </c:pt>
                <c:pt idx="5733">
                  <c:v>-1.4026685988174299</c:v>
                </c:pt>
                <c:pt idx="5734">
                  <c:v>-1.24917376679343</c:v>
                </c:pt>
                <c:pt idx="5735">
                  <c:v>-1.1039759527166799</c:v>
                </c:pt>
                <c:pt idx="5736">
                  <c:v>-1.05419384503322</c:v>
                </c:pt>
                <c:pt idx="5737">
                  <c:v>-1.2948073655032699</c:v>
                </c:pt>
                <c:pt idx="5738">
                  <c:v>-1.45245070650089</c:v>
                </c:pt>
                <c:pt idx="5739">
                  <c:v>-1.3777775449756999</c:v>
                </c:pt>
                <c:pt idx="5740">
                  <c:v>-1.26576780268792</c:v>
                </c:pt>
                <c:pt idx="5741">
                  <c:v>-1.49808430521073</c:v>
                </c:pt>
                <c:pt idx="5742">
                  <c:v>-1.4856387782898599</c:v>
                </c:pt>
                <c:pt idx="5743">
                  <c:v>-1.4897872872634901</c:v>
                </c:pt>
                <c:pt idx="5744">
                  <c:v>-1.26576780268792</c:v>
                </c:pt>
                <c:pt idx="5745">
                  <c:v>-1.51882685007884</c:v>
                </c:pt>
                <c:pt idx="5746">
                  <c:v>-1.4441536885536499</c:v>
                </c:pt>
                <c:pt idx="5747">
                  <c:v>-1.2948073655032699</c:v>
                </c:pt>
                <c:pt idx="5748">
                  <c:v>-1.39022307189657</c:v>
                </c:pt>
                <c:pt idx="5749">
                  <c:v>-1.4234111436855399</c:v>
                </c:pt>
                <c:pt idx="5750">
                  <c:v>-1.47734176034262</c:v>
                </c:pt>
                <c:pt idx="5751">
                  <c:v>-0.61860040280294604</c:v>
                </c:pt>
                <c:pt idx="5752">
                  <c:v>-0.63519443869743197</c:v>
                </c:pt>
                <c:pt idx="5753">
                  <c:v>-1.0873819168221901</c:v>
                </c:pt>
                <c:pt idx="5754">
                  <c:v>-0.896550504035594</c:v>
                </c:pt>
                <c:pt idx="5755">
                  <c:v>-0.94633261171905403</c:v>
                </c:pt>
                <c:pt idx="5756">
                  <c:v>-0.87165945019386404</c:v>
                </c:pt>
                <c:pt idx="5757">
                  <c:v>-0.37798688233289202</c:v>
                </c:pt>
                <c:pt idx="5758">
                  <c:v>-0.56052127717224298</c:v>
                </c:pt>
                <c:pt idx="5759">
                  <c:v>-0.96707515658716203</c:v>
                </c:pt>
                <c:pt idx="5760">
                  <c:v>-0.64763996561829695</c:v>
                </c:pt>
                <c:pt idx="5761">
                  <c:v>-0.47340258872618901</c:v>
                </c:pt>
                <c:pt idx="5762">
                  <c:v>-0.45266004385808101</c:v>
                </c:pt>
                <c:pt idx="5763">
                  <c:v>-0.70986760022262096</c:v>
                </c:pt>
                <c:pt idx="5764">
                  <c:v>-0.187155469546297</c:v>
                </c:pt>
                <c:pt idx="5765">
                  <c:v>-0.24108608620337801</c:v>
                </c:pt>
                <c:pt idx="5766">
                  <c:v>-0.34065030157029702</c:v>
                </c:pt>
                <c:pt idx="5767">
                  <c:v>-0.295016702860459</c:v>
                </c:pt>
                <c:pt idx="5768">
                  <c:v>-0.14152187083645901</c:v>
                </c:pt>
                <c:pt idx="5769">
                  <c:v>-0.23278906825613499</c:v>
                </c:pt>
                <c:pt idx="5770">
                  <c:v>-0.120779325968351</c:v>
                </c:pt>
                <c:pt idx="5771">
                  <c:v>3.2715506055648699E-2</c:v>
                </c:pt>
                <c:pt idx="5772">
                  <c:v>0.29822008036743203</c:v>
                </c:pt>
                <c:pt idx="5773">
                  <c:v>0.22354691884224301</c:v>
                </c:pt>
                <c:pt idx="5774">
                  <c:v>0.23599244576310799</c:v>
                </c:pt>
                <c:pt idx="5775">
                  <c:v>0.103240158607216</c:v>
                </c:pt>
                <c:pt idx="5776">
                  <c:v>0.123982703475324</c:v>
                </c:pt>
                <c:pt idx="5777">
                  <c:v>0.29822008036743203</c:v>
                </c:pt>
                <c:pt idx="5778">
                  <c:v>-8.7695836805675303E-3</c:v>
                </c:pt>
                <c:pt idx="5779">
                  <c:v>-5.8551691364026999E-2</c:v>
                </c:pt>
                <c:pt idx="5780">
                  <c:v>0.132279721422568</c:v>
                </c:pt>
                <c:pt idx="5781">
                  <c:v>-3.7809146495918898E-2</c:v>
                </c:pt>
                <c:pt idx="5782">
                  <c:v>-8.3442745205756702E-2</c:v>
                </c:pt>
                <c:pt idx="5783">
                  <c:v>0.15717077526429701</c:v>
                </c:pt>
                <c:pt idx="5784">
                  <c:v>0.21524990089500001</c:v>
                </c:pt>
                <c:pt idx="5785">
                  <c:v>0.182061829106027</c:v>
                </c:pt>
                <c:pt idx="5786">
                  <c:v>-6.2700200337648601E-2</c:v>
                </c:pt>
                <c:pt idx="5787">
                  <c:v>-4.19576554695405E-2</c:v>
                </c:pt>
                <c:pt idx="5788">
                  <c:v>-0.11248230802110799</c:v>
                </c:pt>
                <c:pt idx="5789">
                  <c:v>-4.6106164443162102E-2</c:v>
                </c:pt>
                <c:pt idx="5790">
                  <c:v>9.4943140659973002E-2</c:v>
                </c:pt>
                <c:pt idx="5791">
                  <c:v>0.29407157139381102</c:v>
                </c:pt>
                <c:pt idx="5792">
                  <c:v>0.26503200857845899</c:v>
                </c:pt>
                <c:pt idx="5793">
                  <c:v>0.41852684060245898</c:v>
                </c:pt>
                <c:pt idx="5794">
                  <c:v>0.28577455344656699</c:v>
                </c:pt>
                <c:pt idx="5795">
                  <c:v>0.41852684060245898</c:v>
                </c:pt>
                <c:pt idx="5796">
                  <c:v>0.51394254699575703</c:v>
                </c:pt>
                <c:pt idx="5797">
                  <c:v>0.54713061878472902</c:v>
                </c:pt>
                <c:pt idx="5798">
                  <c:v>0.54298210981110795</c:v>
                </c:pt>
                <c:pt idx="5799">
                  <c:v>0.48905149315402702</c:v>
                </c:pt>
                <c:pt idx="5800">
                  <c:v>0.48905149315402702</c:v>
                </c:pt>
                <c:pt idx="5801">
                  <c:v>0.56787316365283802</c:v>
                </c:pt>
                <c:pt idx="5802">
                  <c:v>0.182061829106027</c:v>
                </c:pt>
                <c:pt idx="5803">
                  <c:v>0.22354691884224301</c:v>
                </c:pt>
                <c:pt idx="5804">
                  <c:v>-0.52318469640964804</c:v>
                </c:pt>
                <c:pt idx="5805">
                  <c:v>-0.45680855283170202</c:v>
                </c:pt>
                <c:pt idx="5806">
                  <c:v>-0.58956083998759401</c:v>
                </c:pt>
                <c:pt idx="5807">
                  <c:v>-0.489996624620675</c:v>
                </c:pt>
                <c:pt idx="5808">
                  <c:v>-0.56881829511948601</c:v>
                </c:pt>
                <c:pt idx="5809">
                  <c:v>-0.49414513359429701</c:v>
                </c:pt>
                <c:pt idx="5810">
                  <c:v>-0.64763996561829695</c:v>
                </c:pt>
                <c:pt idx="5811">
                  <c:v>-0.60615487588208095</c:v>
                </c:pt>
                <c:pt idx="5812">
                  <c:v>-0.63934294767105404</c:v>
                </c:pt>
                <c:pt idx="5813">
                  <c:v>-0.684976546380892</c:v>
                </c:pt>
                <c:pt idx="5814">
                  <c:v>-0.63934294767105404</c:v>
                </c:pt>
                <c:pt idx="5815">
                  <c:v>-1.0002632283761299</c:v>
                </c:pt>
                <c:pt idx="5816">
                  <c:v>-0.80943181558954003</c:v>
                </c:pt>
                <c:pt idx="5817">
                  <c:v>-1.1496095514265099</c:v>
                </c:pt>
                <c:pt idx="5818">
                  <c:v>-1.05419384503322</c:v>
                </c:pt>
                <c:pt idx="5819">
                  <c:v>-0.93803559377181001</c:v>
                </c:pt>
                <c:pt idx="5820">
                  <c:v>-1.1454610424528899</c:v>
                </c:pt>
                <c:pt idx="5821">
                  <c:v>-1.03759980913873</c:v>
                </c:pt>
                <c:pt idx="5822">
                  <c:v>-0.85506541429937799</c:v>
                </c:pt>
                <c:pt idx="5823">
                  <c:v>-1.09982744374305</c:v>
                </c:pt>
                <c:pt idx="5824">
                  <c:v>-1.3362924552394899</c:v>
                </c:pt>
                <c:pt idx="5825">
                  <c:v>-1.24087674884619</c:v>
                </c:pt>
                <c:pt idx="5826">
                  <c:v>-1.1288670065584001</c:v>
                </c:pt>
                <c:pt idx="5827">
                  <c:v>-1.39022307189657</c:v>
                </c:pt>
                <c:pt idx="5828">
                  <c:v>-1.2242827129517</c:v>
                </c:pt>
                <c:pt idx="5829">
                  <c:v>-1.26991631166154</c:v>
                </c:pt>
                <c:pt idx="5830">
                  <c:v>-1.37362903600208</c:v>
                </c:pt>
                <c:pt idx="5831">
                  <c:v>-1.36948052702846</c:v>
                </c:pt>
                <c:pt idx="5832">
                  <c:v>-1.5063813231579699</c:v>
                </c:pt>
                <c:pt idx="5833">
                  <c:v>-1.1869461321891099</c:v>
                </c:pt>
                <c:pt idx="5834">
                  <c:v>-1.2823618385824</c:v>
                </c:pt>
                <c:pt idx="5835">
                  <c:v>-1.3196984193450001</c:v>
                </c:pt>
                <c:pt idx="5836">
                  <c:v>-1.3777775449756999</c:v>
                </c:pt>
                <c:pt idx="5837">
                  <c:v>-1.15790656937376</c:v>
                </c:pt>
                <c:pt idx="5838">
                  <c:v>-1.4358566706064</c:v>
                </c:pt>
                <c:pt idx="5839">
                  <c:v>-1.4648962334217599</c:v>
                </c:pt>
                <c:pt idx="5840">
                  <c:v>-1.3570350001075899</c:v>
                </c:pt>
                <c:pt idx="5841">
                  <c:v>-1.36948052702846</c:v>
                </c:pt>
                <c:pt idx="5842">
                  <c:v>-1.39022307189657</c:v>
                </c:pt>
                <c:pt idx="5843">
                  <c:v>-1.45245070650089</c:v>
                </c:pt>
                <c:pt idx="5844">
                  <c:v>-1.33214394626586</c:v>
                </c:pt>
                <c:pt idx="5845">
                  <c:v>-1.4607477244481299</c:v>
                </c:pt>
                <c:pt idx="5846">
                  <c:v>-1.5727574667359201</c:v>
                </c:pt>
                <c:pt idx="5847">
                  <c:v>-1.1122729706639201</c:v>
                </c:pt>
                <c:pt idx="5848">
                  <c:v>-0.88410497711472902</c:v>
                </c:pt>
                <c:pt idx="5849">
                  <c:v>-1.1910946411627299</c:v>
                </c:pt>
                <c:pt idx="5850">
                  <c:v>-0.90899603095645898</c:v>
                </c:pt>
                <c:pt idx="5851">
                  <c:v>-0.87165945019386404</c:v>
                </c:pt>
                <c:pt idx="5852">
                  <c:v>-0.76379821687970195</c:v>
                </c:pt>
                <c:pt idx="5853">
                  <c:v>-0.83847137840489205</c:v>
                </c:pt>
                <c:pt idx="5854">
                  <c:v>-0.83847137840489205</c:v>
                </c:pt>
                <c:pt idx="5855">
                  <c:v>-0.81772883353678305</c:v>
                </c:pt>
                <c:pt idx="5856">
                  <c:v>-0.85921392327299995</c:v>
                </c:pt>
                <c:pt idx="5857">
                  <c:v>-0.81358032456316198</c:v>
                </c:pt>
                <c:pt idx="5858">
                  <c:v>-0.62274891177656699</c:v>
                </c:pt>
                <c:pt idx="5859">
                  <c:v>-0.73475865406435104</c:v>
                </c:pt>
                <c:pt idx="5860">
                  <c:v>0.26088349960483798</c:v>
                </c:pt>
                <c:pt idx="5861">
                  <c:v>-0.28257117593959402</c:v>
                </c:pt>
                <c:pt idx="5862">
                  <c:v>-0.28257117593959402</c:v>
                </c:pt>
                <c:pt idx="5863">
                  <c:v>-0.30746222978132398</c:v>
                </c:pt>
                <c:pt idx="5864">
                  <c:v>-6.2700200337648601E-2</c:v>
                </c:pt>
                <c:pt idx="5865">
                  <c:v>1.19729611875406E-2</c:v>
                </c:pt>
                <c:pt idx="5866">
                  <c:v>-9.1739763152999906E-2</c:v>
                </c:pt>
                <c:pt idx="5867">
                  <c:v>-4.7256573332428599E-4</c:v>
                </c:pt>
                <c:pt idx="5868">
                  <c:v>0.25673499063121602</c:v>
                </c:pt>
                <c:pt idx="5869">
                  <c:v>6.1755068870999998E-2</c:v>
                </c:pt>
                <c:pt idx="5870">
                  <c:v>6.59035778446216E-2</c:v>
                </c:pt>
                <c:pt idx="5871">
                  <c:v>0.107388667580838</c:v>
                </c:pt>
                <c:pt idx="5872">
                  <c:v>0.50564552904851301</c:v>
                </c:pt>
                <c:pt idx="5873">
                  <c:v>0.25258648165759501</c:v>
                </c:pt>
                <c:pt idx="5874">
                  <c:v>0.55127912775835097</c:v>
                </c:pt>
                <c:pt idx="5875">
                  <c:v>3.6759432402973299E-3</c:v>
                </c:pt>
                <c:pt idx="5876">
                  <c:v>0.42267534957608099</c:v>
                </c:pt>
                <c:pt idx="5877">
                  <c:v>0.812635193096513</c:v>
                </c:pt>
                <c:pt idx="5878">
                  <c:v>0.63424930723078399</c:v>
                </c:pt>
                <c:pt idx="5879">
                  <c:v>0.91634791743705402</c:v>
                </c:pt>
                <c:pt idx="5880">
                  <c:v>0.97442704306775596</c:v>
                </c:pt>
                <c:pt idx="5881">
                  <c:v>0.64669483415164797</c:v>
                </c:pt>
                <c:pt idx="5882">
                  <c:v>0.72551650465045903</c:v>
                </c:pt>
                <c:pt idx="5883">
                  <c:v>0.717219486703216</c:v>
                </c:pt>
                <c:pt idx="5884">
                  <c:v>0.77944712130754001</c:v>
                </c:pt>
                <c:pt idx="5885">
                  <c:v>0.86241730077997303</c:v>
                </c:pt>
                <c:pt idx="5886">
                  <c:v>1.31045626993111</c:v>
                </c:pt>
                <c:pt idx="5887">
                  <c:v>0.80433817514926997</c:v>
                </c:pt>
                <c:pt idx="5888">
                  <c:v>0.31066560728829701</c:v>
                </c:pt>
                <c:pt idx="5889">
                  <c:v>0.72136799567683796</c:v>
                </c:pt>
                <c:pt idx="5890">
                  <c:v>0.43926938547056699</c:v>
                </c:pt>
                <c:pt idx="5891">
                  <c:v>0.580318690573702</c:v>
                </c:pt>
                <c:pt idx="5892">
                  <c:v>0.35215069702451302</c:v>
                </c:pt>
                <c:pt idx="5893">
                  <c:v>0.327259643182784</c:v>
                </c:pt>
                <c:pt idx="5894">
                  <c:v>0.55127912775835097</c:v>
                </c:pt>
                <c:pt idx="5895">
                  <c:v>0.62180378030991901</c:v>
                </c:pt>
                <c:pt idx="5896">
                  <c:v>0.57617018160008104</c:v>
                </c:pt>
                <c:pt idx="5897">
                  <c:v>0.50979403802213497</c:v>
                </c:pt>
                <c:pt idx="5898">
                  <c:v>0.63424930723078399</c:v>
                </c:pt>
                <c:pt idx="5899">
                  <c:v>0.25258648165759501</c:v>
                </c:pt>
                <c:pt idx="5900">
                  <c:v>0.107388667580838</c:v>
                </c:pt>
                <c:pt idx="5901">
                  <c:v>-0.47755109769981102</c:v>
                </c:pt>
                <c:pt idx="5902">
                  <c:v>-0.31575924772856701</c:v>
                </c:pt>
                <c:pt idx="5903">
                  <c:v>-0.53563022333051302</c:v>
                </c:pt>
                <c:pt idx="5904">
                  <c:v>-0.27012564901872999</c:v>
                </c:pt>
                <c:pt idx="5905">
                  <c:v>-0.55222425922499996</c:v>
                </c:pt>
                <c:pt idx="5906">
                  <c:v>-0.53148171435689195</c:v>
                </c:pt>
                <c:pt idx="5907">
                  <c:v>-0.51488767846240502</c:v>
                </c:pt>
                <c:pt idx="5908">
                  <c:v>3.6864015029270301E-2</c:v>
                </c:pt>
                <c:pt idx="5909">
                  <c:v>-0.448511534884459</c:v>
                </c:pt>
                <c:pt idx="5910">
                  <c:v>-0.52733320538327</c:v>
                </c:pt>
                <c:pt idx="5911">
                  <c:v>-0.55222425922499996</c:v>
                </c:pt>
                <c:pt idx="5912">
                  <c:v>-0.469254079752567</c:v>
                </c:pt>
                <c:pt idx="5913">
                  <c:v>-0.80528330661591896</c:v>
                </c:pt>
                <c:pt idx="5914">
                  <c:v>-0.94633261171905403</c:v>
                </c:pt>
                <c:pt idx="5915">
                  <c:v>-0.98781770145527004</c:v>
                </c:pt>
                <c:pt idx="5916">
                  <c:v>-0.97537217453440495</c:v>
                </c:pt>
                <c:pt idx="5917">
                  <c:v>-1.2284312219253199</c:v>
                </c:pt>
                <c:pt idx="5918">
                  <c:v>-1.2325797308989499</c:v>
                </c:pt>
                <c:pt idx="5919">
                  <c:v>-0.66838251048640496</c:v>
                </c:pt>
                <c:pt idx="5920">
                  <c:v>-0.88825348608835097</c:v>
                </c:pt>
                <c:pt idx="5921">
                  <c:v>-0.94633261171905403</c:v>
                </c:pt>
                <c:pt idx="5922">
                  <c:v>-0.95048112069267499</c:v>
                </c:pt>
                <c:pt idx="5923">
                  <c:v>-0.85506541429937799</c:v>
                </c:pt>
                <c:pt idx="5924">
                  <c:v>-1.05419384503322</c:v>
                </c:pt>
                <c:pt idx="5925">
                  <c:v>-0.92144155787732396</c:v>
                </c:pt>
                <c:pt idx="5926">
                  <c:v>-0.93388708479818905</c:v>
                </c:pt>
                <c:pt idx="5927">
                  <c:v>-1.0666393719540801</c:v>
                </c:pt>
                <c:pt idx="5928">
                  <c:v>-1.3985200898438099</c:v>
                </c:pt>
                <c:pt idx="5929">
                  <c:v>-1.37362903600208</c:v>
                </c:pt>
                <c:pt idx="5930">
                  <c:v>-1.2616192937143</c:v>
                </c:pt>
                <c:pt idx="5931">
                  <c:v>-1.4234111436855399</c:v>
                </c:pt>
                <c:pt idx="5932">
                  <c:v>-1.37362903600208</c:v>
                </c:pt>
                <c:pt idx="5933">
                  <c:v>-1.29065885652965</c:v>
                </c:pt>
                <c:pt idx="5934">
                  <c:v>-1.1537580604001301</c:v>
                </c:pt>
                <c:pt idx="5935">
                  <c:v>-1.3155499103713799</c:v>
                </c:pt>
                <c:pt idx="5936">
                  <c:v>-1.34873798216035</c:v>
                </c:pt>
                <c:pt idx="5937">
                  <c:v>-1.215985695004459</c:v>
                </c:pt>
                <c:pt idx="5938">
                  <c:v>-1.3445894731867301</c:v>
                </c:pt>
                <c:pt idx="5939">
                  <c:v>-1.34873798216035</c:v>
                </c:pt>
                <c:pt idx="5940">
                  <c:v>-1.3445894731867301</c:v>
                </c:pt>
                <c:pt idx="5941">
                  <c:v>-1.1662035873209999</c:v>
                </c:pt>
                <c:pt idx="5942">
                  <c:v>-1.1703520962946199</c:v>
                </c:pt>
                <c:pt idx="5943">
                  <c:v>-1.0832334078485699</c:v>
                </c:pt>
                <c:pt idx="5944">
                  <c:v>-0.74720418098521602</c:v>
                </c:pt>
                <c:pt idx="5945">
                  <c:v>-1.0458968270859701</c:v>
                </c:pt>
                <c:pt idx="5946">
                  <c:v>-1.1081244616903001</c:v>
                </c:pt>
                <c:pt idx="5947">
                  <c:v>-0.94218410274543196</c:v>
                </c:pt>
                <c:pt idx="5948">
                  <c:v>-0.94218410274543196</c:v>
                </c:pt>
                <c:pt idx="5949">
                  <c:v>-0.83432286943126999</c:v>
                </c:pt>
                <c:pt idx="5950">
                  <c:v>-0.55637276819862103</c:v>
                </c:pt>
                <c:pt idx="5951">
                  <c:v>-0.274274157992351</c:v>
                </c:pt>
                <c:pt idx="5952">
                  <c:v>-0.13322485288921601</c:v>
                </c:pt>
                <c:pt idx="5953">
                  <c:v>-0.178858451599054</c:v>
                </c:pt>
                <c:pt idx="5954">
                  <c:v>-0.53977873230413498</c:v>
                </c:pt>
                <c:pt idx="5955">
                  <c:v>-0.28257117593959402</c:v>
                </c:pt>
                <c:pt idx="5956">
                  <c:v>6.59035778446216E-2</c:v>
                </c:pt>
                <c:pt idx="5957">
                  <c:v>0.161319284237919</c:v>
                </c:pt>
                <c:pt idx="5958">
                  <c:v>0.11153717655445899</c:v>
                </c:pt>
                <c:pt idx="5959">
                  <c:v>0.39363578676073002</c:v>
                </c:pt>
                <c:pt idx="5960">
                  <c:v>0.348002188050892</c:v>
                </c:pt>
                <c:pt idx="5961">
                  <c:v>0.42267534957608099</c:v>
                </c:pt>
                <c:pt idx="5962">
                  <c:v>0.348002188050892</c:v>
                </c:pt>
                <c:pt idx="5963">
                  <c:v>0.41852684060245898</c:v>
                </c:pt>
                <c:pt idx="5964">
                  <c:v>0.12813121244894601</c:v>
                </c:pt>
                <c:pt idx="5965">
                  <c:v>0.107388667580838</c:v>
                </c:pt>
                <c:pt idx="5966">
                  <c:v>-0.24938310415062101</c:v>
                </c:pt>
                <c:pt idx="5967">
                  <c:v>-0.216195032361649</c:v>
                </c:pt>
                <c:pt idx="5968">
                  <c:v>0.14057673936981099</c:v>
                </c:pt>
                <c:pt idx="5969">
                  <c:v>-4.19576554695405E-2</c:v>
                </c:pt>
                <c:pt idx="5970">
                  <c:v>0.23599244576310799</c:v>
                </c:pt>
                <c:pt idx="5971">
                  <c:v>1.0491002045929501</c:v>
                </c:pt>
                <c:pt idx="5972">
                  <c:v>0.72136799567683796</c:v>
                </c:pt>
                <c:pt idx="5973">
                  <c:v>0.43097236752332402</c:v>
                </c:pt>
                <c:pt idx="5974">
                  <c:v>1.3560898686409499</c:v>
                </c:pt>
                <c:pt idx="5975">
                  <c:v>0.72551650465045903</c:v>
                </c:pt>
                <c:pt idx="5976">
                  <c:v>0.46001193033867499</c:v>
                </c:pt>
                <c:pt idx="5977">
                  <c:v>0.37289324189262102</c:v>
                </c:pt>
                <c:pt idx="5978">
                  <c:v>0.82093221104375602</c:v>
                </c:pt>
                <c:pt idx="5979">
                  <c:v>0.78359563028116197</c:v>
                </c:pt>
                <c:pt idx="5980">
                  <c:v>0.90805089948980999</c:v>
                </c:pt>
                <c:pt idx="5981">
                  <c:v>0.90805089948980999</c:v>
                </c:pt>
                <c:pt idx="5982">
                  <c:v>0.91634791743705402</c:v>
                </c:pt>
                <c:pt idx="5983">
                  <c:v>-4.7256573332428599E-4</c:v>
                </c:pt>
                <c:pt idx="5984">
                  <c:v>-0.34065030157029702</c:v>
                </c:pt>
                <c:pt idx="5985">
                  <c:v>-0.20374950544078399</c:v>
                </c:pt>
                <c:pt idx="5986">
                  <c:v>-0.19545248749353999</c:v>
                </c:pt>
                <c:pt idx="5987">
                  <c:v>-0.11248230802110799</c:v>
                </c:pt>
                <c:pt idx="5988">
                  <c:v>-0.124927834941973</c:v>
                </c:pt>
                <c:pt idx="5989">
                  <c:v>0.19450735602689201</c:v>
                </c:pt>
                <c:pt idx="5990">
                  <c:v>0.580318690573702</c:v>
                </c:pt>
                <c:pt idx="5991">
                  <c:v>0.34385367907726999</c:v>
                </c:pt>
                <c:pt idx="5992">
                  <c:v>0.21524990089500001</c:v>
                </c:pt>
                <c:pt idx="5993">
                  <c:v>0.14472524834343201</c:v>
                </c:pt>
                <c:pt idx="5994">
                  <c:v>0.43512087649694597</c:v>
                </c:pt>
                <c:pt idx="5995">
                  <c:v>0.45171491239143202</c:v>
                </c:pt>
                <c:pt idx="5996">
                  <c:v>0.13642823039618901</c:v>
                </c:pt>
                <c:pt idx="5997">
                  <c:v>-0.34894731951753999</c:v>
                </c:pt>
                <c:pt idx="5998">
                  <c:v>-0.469254079752567</c:v>
                </c:pt>
                <c:pt idx="5999">
                  <c:v>-0.22034354133527001</c:v>
                </c:pt>
                <c:pt idx="6000">
                  <c:v>-0.24108608620337801</c:v>
                </c:pt>
                <c:pt idx="6001">
                  <c:v>-0.36139284643840502</c:v>
                </c:pt>
                <c:pt idx="6002">
                  <c:v>-0.34065030157029702</c:v>
                </c:pt>
                <c:pt idx="6003">
                  <c:v>-0.22864055928251301</c:v>
                </c:pt>
                <c:pt idx="6004">
                  <c:v>-0.28671968491321598</c:v>
                </c:pt>
                <c:pt idx="6005">
                  <c:v>-0.207898014414405</c:v>
                </c:pt>
                <c:pt idx="6006">
                  <c:v>-0.29086819388683799</c:v>
                </c:pt>
                <c:pt idx="6007">
                  <c:v>-0.29086819388683799</c:v>
                </c:pt>
                <c:pt idx="6008">
                  <c:v>-0.62689742075018895</c:v>
                </c:pt>
                <c:pt idx="6009">
                  <c:v>-0.67253101946002702</c:v>
                </c:pt>
                <c:pt idx="6010">
                  <c:v>-0.83847137840489205</c:v>
                </c:pt>
                <c:pt idx="6011">
                  <c:v>-0.77624374380056704</c:v>
                </c:pt>
                <c:pt idx="6012">
                  <c:v>-0.72646163611710801</c:v>
                </c:pt>
                <c:pt idx="6013">
                  <c:v>-0.96292664761353997</c:v>
                </c:pt>
                <c:pt idx="6014">
                  <c:v>-1.02930279119149</c:v>
                </c:pt>
                <c:pt idx="6015">
                  <c:v>-0.98781770145527004</c:v>
                </c:pt>
                <c:pt idx="6016">
                  <c:v>-1.0251542822178601</c:v>
                </c:pt>
                <c:pt idx="6017">
                  <c:v>-1.0666393719540801</c:v>
                </c:pt>
                <c:pt idx="6018">
                  <c:v>-1.13716402450565</c:v>
                </c:pt>
                <c:pt idx="6019">
                  <c:v>-1.11642147963754</c:v>
                </c:pt>
                <c:pt idx="6020">
                  <c:v>-1.1330155155320301</c:v>
                </c:pt>
                <c:pt idx="6021">
                  <c:v>-1.0500453360595901</c:v>
                </c:pt>
                <c:pt idx="6022">
                  <c:v>-1.07908489887495</c:v>
                </c:pt>
                <c:pt idx="6023">
                  <c:v>-1.0707878809277001</c:v>
                </c:pt>
                <c:pt idx="6024">
                  <c:v>-1.16205507834738</c:v>
                </c:pt>
                <c:pt idx="6025">
                  <c:v>-1.0624908629804599</c:v>
                </c:pt>
                <c:pt idx="6026">
                  <c:v>-1.1039759527166799</c:v>
                </c:pt>
                <c:pt idx="6027">
                  <c:v>-1.0915304257958101</c:v>
                </c:pt>
                <c:pt idx="6028">
                  <c:v>-1.1662035873209999</c:v>
                </c:pt>
                <c:pt idx="6029">
                  <c:v>-1.1910946411627299</c:v>
                </c:pt>
                <c:pt idx="6030">
                  <c:v>-1.3238469283186201</c:v>
                </c:pt>
                <c:pt idx="6031">
                  <c:v>-1.37362903600208</c:v>
                </c:pt>
                <c:pt idx="6032">
                  <c:v>-1.34873798216035</c:v>
                </c:pt>
                <c:pt idx="6033">
                  <c:v>-1.4151141257383</c:v>
                </c:pt>
                <c:pt idx="6034">
                  <c:v>-1.39022307189657</c:v>
                </c:pt>
                <c:pt idx="6035">
                  <c:v>-1.2325797308989499</c:v>
                </c:pt>
                <c:pt idx="6036">
                  <c:v>-1.2616192937143</c:v>
                </c:pt>
                <c:pt idx="6037">
                  <c:v>-1.35288649113397</c:v>
                </c:pt>
                <c:pt idx="6038">
                  <c:v>-1.0915304257958101</c:v>
                </c:pt>
                <c:pt idx="6039">
                  <c:v>-0.61445189382932397</c:v>
                </c:pt>
                <c:pt idx="6040">
                  <c:v>-0.87165945019386404</c:v>
                </c:pt>
                <c:pt idx="6041">
                  <c:v>-0.30331372080770302</c:v>
                </c:pt>
                <c:pt idx="6042">
                  <c:v>-0.643491456644675</c:v>
                </c:pt>
                <c:pt idx="6043">
                  <c:v>-0.52318469640964804</c:v>
                </c:pt>
                <c:pt idx="6044">
                  <c:v>-0.57296680409310796</c:v>
                </c:pt>
                <c:pt idx="6045">
                  <c:v>-0.19545248749353999</c:v>
                </c:pt>
                <c:pt idx="6046">
                  <c:v>-0.15396739775732399</c:v>
                </c:pt>
                <c:pt idx="6047">
                  <c:v>-0.23278906825613499</c:v>
                </c:pt>
                <c:pt idx="6048">
                  <c:v>-0.36554135541202698</c:v>
                </c:pt>
                <c:pt idx="6049">
                  <c:v>-0.45266004385808101</c:v>
                </c:pt>
                <c:pt idx="6050">
                  <c:v>0.31481411626191902</c:v>
                </c:pt>
                <c:pt idx="6051">
                  <c:v>0.13642823039618901</c:v>
                </c:pt>
                <c:pt idx="6052">
                  <c:v>0.54298210981110795</c:v>
                </c:pt>
                <c:pt idx="6053">
                  <c:v>0.41022982265521601</c:v>
                </c:pt>
                <c:pt idx="6054">
                  <c:v>0.50979403802213497</c:v>
                </c:pt>
                <c:pt idx="6055">
                  <c:v>0.37289324189262102</c:v>
                </c:pt>
                <c:pt idx="6056">
                  <c:v>3.6864015029270301E-2</c:v>
                </c:pt>
                <c:pt idx="6057">
                  <c:v>0.89975388154256697</c:v>
                </c:pt>
                <c:pt idx="6058">
                  <c:v>0.89560537256894601</c:v>
                </c:pt>
                <c:pt idx="6059">
                  <c:v>0.47660596623316198</c:v>
                </c:pt>
                <c:pt idx="6060">
                  <c:v>0.52223956494299995</c:v>
                </c:pt>
                <c:pt idx="6061">
                  <c:v>-0.13737336186283799</c:v>
                </c:pt>
                <c:pt idx="6062">
                  <c:v>0.19450735602689201</c:v>
                </c:pt>
                <c:pt idx="6063">
                  <c:v>0.269180517552081</c:v>
                </c:pt>
                <c:pt idx="6064">
                  <c:v>0.43097236752332402</c:v>
                </c:pt>
                <c:pt idx="6065">
                  <c:v>0.51394254699575703</c:v>
                </c:pt>
                <c:pt idx="6066">
                  <c:v>0.30236858934105398</c:v>
                </c:pt>
                <c:pt idx="6067">
                  <c:v>0.43097236752332402</c:v>
                </c:pt>
                <c:pt idx="6068">
                  <c:v>1.61214701611622E-2</c:v>
                </c:pt>
                <c:pt idx="6069">
                  <c:v>0.14472524834343201</c:v>
                </c:pt>
                <c:pt idx="6070">
                  <c:v>5.7606559897378402E-2</c:v>
                </c:pt>
                <c:pt idx="6071">
                  <c:v>0.123982703475324</c:v>
                </c:pt>
                <c:pt idx="6072">
                  <c:v>-0.187155469546297</c:v>
                </c:pt>
                <c:pt idx="6073">
                  <c:v>0.24428946371035101</c:v>
                </c:pt>
                <c:pt idx="6074">
                  <c:v>1.32705030582559</c:v>
                </c:pt>
                <c:pt idx="6075">
                  <c:v>1.22748609045868</c:v>
                </c:pt>
                <c:pt idx="6076">
                  <c:v>1.1071793302236499</c:v>
                </c:pt>
                <c:pt idx="6077">
                  <c:v>0.98687256998862105</c:v>
                </c:pt>
                <c:pt idx="6078">
                  <c:v>0.98687256998862105</c:v>
                </c:pt>
                <c:pt idx="6079">
                  <c:v>1.1735554738015901</c:v>
                </c:pt>
                <c:pt idx="6080">
                  <c:v>1.15696143790711</c:v>
                </c:pt>
                <c:pt idx="6081">
                  <c:v>0.89975388154256697</c:v>
                </c:pt>
                <c:pt idx="6082">
                  <c:v>1.1901495096960799</c:v>
                </c:pt>
                <c:pt idx="6083">
                  <c:v>1.22748609045868</c:v>
                </c:pt>
                <c:pt idx="6084">
                  <c:v>1.24408012635316</c:v>
                </c:pt>
                <c:pt idx="6085">
                  <c:v>1.4058719763244001</c:v>
                </c:pt>
                <c:pt idx="6086">
                  <c:v>1.32705030582559</c:v>
                </c:pt>
                <c:pt idx="6087">
                  <c:v>1.5925548801373799</c:v>
                </c:pt>
                <c:pt idx="6088">
                  <c:v>1.3353473237728399</c:v>
                </c:pt>
                <c:pt idx="6089">
                  <c:v>1.5054361916913199</c:v>
                </c:pt>
                <c:pt idx="6090">
                  <c:v>1.5967033891110001</c:v>
                </c:pt>
                <c:pt idx="6091">
                  <c:v>1.30630776095749</c:v>
                </c:pt>
                <c:pt idx="6092">
                  <c:v>0.95783300717327002</c:v>
                </c:pt>
                <c:pt idx="6093">
                  <c:v>1.20259503661695</c:v>
                </c:pt>
                <c:pt idx="6094">
                  <c:v>0.79604115720202695</c:v>
                </c:pt>
                <c:pt idx="6095">
                  <c:v>0.76285308541305397</c:v>
                </c:pt>
                <c:pt idx="6096">
                  <c:v>0.44756640341781101</c:v>
                </c:pt>
                <c:pt idx="6097">
                  <c:v>0.464160439312297</c:v>
                </c:pt>
                <c:pt idx="6098">
                  <c:v>0.67158588799337804</c:v>
                </c:pt>
                <c:pt idx="6099">
                  <c:v>0.34385367907726999</c:v>
                </c:pt>
                <c:pt idx="6100">
                  <c:v>0.327259643182784</c:v>
                </c:pt>
                <c:pt idx="6101">
                  <c:v>-7.0997218284891805E-2</c:v>
                </c:pt>
                <c:pt idx="6102">
                  <c:v>-0.18300696057267599</c:v>
                </c:pt>
                <c:pt idx="6103">
                  <c:v>-0.20374950544078399</c:v>
                </c:pt>
                <c:pt idx="6104">
                  <c:v>-0.245234595177</c:v>
                </c:pt>
                <c:pt idx="6105">
                  <c:v>-0.27012564901872999</c:v>
                </c:pt>
                <c:pt idx="6106">
                  <c:v>-0.51073916948878395</c:v>
                </c:pt>
                <c:pt idx="6107">
                  <c:v>-0.46095706180532398</c:v>
                </c:pt>
                <c:pt idx="6108">
                  <c:v>-0.36139284643840502</c:v>
                </c:pt>
                <c:pt idx="6109">
                  <c:v>-0.53148171435689195</c:v>
                </c:pt>
                <c:pt idx="6110">
                  <c:v>-0.72231312714348594</c:v>
                </c:pt>
                <c:pt idx="6111">
                  <c:v>-0.68912505535451296</c:v>
                </c:pt>
                <c:pt idx="6112">
                  <c:v>-0.76794672585332402</c:v>
                </c:pt>
                <c:pt idx="6113">
                  <c:v>-0.72646163611710801</c:v>
                </c:pt>
                <c:pt idx="6114">
                  <c:v>-0.801134797642297</c:v>
                </c:pt>
                <c:pt idx="6115">
                  <c:v>-0.72646163611710801</c:v>
                </c:pt>
                <c:pt idx="6116">
                  <c:v>-0.71816461816986399</c:v>
                </c:pt>
                <c:pt idx="6117">
                  <c:v>-0.79698628866867505</c:v>
                </c:pt>
                <c:pt idx="6118">
                  <c:v>-0.684976546380892</c:v>
                </c:pt>
                <c:pt idx="6119">
                  <c:v>-0.61030338485570201</c:v>
                </c:pt>
                <c:pt idx="6120">
                  <c:v>-0.57711531306672903</c:v>
                </c:pt>
                <c:pt idx="6121">
                  <c:v>-0.431917498989973</c:v>
                </c:pt>
                <c:pt idx="6122">
                  <c:v>-0.40287793617462098</c:v>
                </c:pt>
                <c:pt idx="6123">
                  <c:v>-0.431917498989973</c:v>
                </c:pt>
                <c:pt idx="6124">
                  <c:v>-0.51903618743602697</c:v>
                </c:pt>
                <c:pt idx="6125">
                  <c:v>-0.52733320538327</c:v>
                </c:pt>
                <c:pt idx="6126">
                  <c:v>-0.52733320538327</c:v>
                </c:pt>
                <c:pt idx="6127">
                  <c:v>-0.14152187083645901</c:v>
                </c:pt>
                <c:pt idx="6128">
                  <c:v>-0.29916521183408101</c:v>
                </c:pt>
                <c:pt idx="6129">
                  <c:v>-0.30746222978132398</c:v>
                </c:pt>
                <c:pt idx="6130">
                  <c:v>-0.34894731951753999</c:v>
                </c:pt>
                <c:pt idx="6131">
                  <c:v>-0.37383837335927</c:v>
                </c:pt>
                <c:pt idx="6132">
                  <c:v>-0.43606600796359402</c:v>
                </c:pt>
                <c:pt idx="6133">
                  <c:v>-0.39872942720100002</c:v>
                </c:pt>
                <c:pt idx="6134">
                  <c:v>-0.411174954121865</c:v>
                </c:pt>
                <c:pt idx="6135">
                  <c:v>-0.431917498989973</c:v>
                </c:pt>
                <c:pt idx="6136">
                  <c:v>-0.51073916948878395</c:v>
                </c:pt>
                <c:pt idx="6137">
                  <c:v>-0.53148171435689195</c:v>
                </c:pt>
                <c:pt idx="6138">
                  <c:v>-0.14152187083645901</c:v>
                </c:pt>
                <c:pt idx="6139">
                  <c:v>-8.7591254179378297E-2</c:v>
                </c:pt>
                <c:pt idx="6140">
                  <c:v>-0.207898014414405</c:v>
                </c:pt>
                <c:pt idx="6141">
                  <c:v>0.406081313681594</c:v>
                </c:pt>
                <c:pt idx="6142">
                  <c:v>6.59035778446216E-2</c:v>
                </c:pt>
                <c:pt idx="6143">
                  <c:v>0.37704175086624298</c:v>
                </c:pt>
                <c:pt idx="6144">
                  <c:v>-5.44031823904053E-2</c:v>
                </c:pt>
                <c:pt idx="6145">
                  <c:v>4.5161032976513499E-2</c:v>
                </c:pt>
                <c:pt idx="6146">
                  <c:v>0.33140815215640501</c:v>
                </c:pt>
                <c:pt idx="6147">
                  <c:v>0.51394254699575703</c:v>
                </c:pt>
                <c:pt idx="6148">
                  <c:v>0.103240158607216</c:v>
                </c:pt>
                <c:pt idx="6149">
                  <c:v>-4.7256573332428599E-4</c:v>
                </c:pt>
                <c:pt idx="6150">
                  <c:v>0.14057673936981099</c:v>
                </c:pt>
                <c:pt idx="6151">
                  <c:v>-5.8551691364026999E-2</c:v>
                </c:pt>
                <c:pt idx="6152">
                  <c:v>9.0794631686351407E-2</c:v>
                </c:pt>
                <c:pt idx="6153">
                  <c:v>0.55542763673197304</c:v>
                </c:pt>
                <c:pt idx="6154">
                  <c:v>0.75455606746581105</c:v>
                </c:pt>
                <c:pt idx="6155">
                  <c:v>0.26503200857845899</c:v>
                </c:pt>
                <c:pt idx="6156">
                  <c:v>0.74211054054494596</c:v>
                </c:pt>
                <c:pt idx="6157">
                  <c:v>0.36044771497175698</c:v>
                </c:pt>
                <c:pt idx="6158">
                  <c:v>0.41022982265521601</c:v>
                </c:pt>
                <c:pt idx="6159">
                  <c:v>0.107388667580838</c:v>
                </c:pt>
                <c:pt idx="6160">
                  <c:v>0.19035884705327</c:v>
                </c:pt>
                <c:pt idx="6161">
                  <c:v>-0.13737336186283799</c:v>
                </c:pt>
                <c:pt idx="6162">
                  <c:v>-1.7066601627810801E-2</c:v>
                </c:pt>
                <c:pt idx="6163">
                  <c:v>0.63010079825716203</c:v>
                </c:pt>
                <c:pt idx="6164">
                  <c:v>1.8829505082908899</c:v>
                </c:pt>
                <c:pt idx="6165">
                  <c:v>2.2231282441278601</c:v>
                </c:pt>
                <c:pt idx="6166">
                  <c:v>1.6132974250054899</c:v>
                </c:pt>
                <c:pt idx="6167">
                  <c:v>1.4224660122188899</c:v>
                </c:pt>
                <c:pt idx="6168">
                  <c:v>1.41416899427165</c:v>
                </c:pt>
                <c:pt idx="6169">
                  <c:v>1.3477928506937</c:v>
                </c:pt>
                <c:pt idx="6170">
                  <c:v>1.4058719763244001</c:v>
                </c:pt>
                <c:pt idx="6171">
                  <c:v>1.37268390453543</c:v>
                </c:pt>
                <c:pt idx="6172">
                  <c:v>1.0698427494610501</c:v>
                </c:pt>
                <c:pt idx="6173">
                  <c:v>1.2938622340366199</c:v>
                </c:pt>
                <c:pt idx="6174">
                  <c:v>1.35194135966732</c:v>
                </c:pt>
                <c:pt idx="6175">
                  <c:v>1.2108920545641899</c:v>
                </c:pt>
                <c:pt idx="6176">
                  <c:v>1.18600100072246</c:v>
                </c:pt>
                <c:pt idx="6177">
                  <c:v>1.1279218750917599</c:v>
                </c:pt>
                <c:pt idx="6178">
                  <c:v>1.0615457315138099</c:v>
                </c:pt>
                <c:pt idx="6179">
                  <c:v>1.0864367853555399</c:v>
                </c:pt>
                <c:pt idx="6180">
                  <c:v>1.0822882763819199</c:v>
                </c:pt>
                <c:pt idx="6181">
                  <c:v>1.289713725063</c:v>
                </c:pt>
                <c:pt idx="6182">
                  <c:v>1.22748609045868</c:v>
                </c:pt>
                <c:pt idx="6183">
                  <c:v>1.3560898686409499</c:v>
                </c:pt>
                <c:pt idx="6184">
                  <c:v>1.0408031866456999</c:v>
                </c:pt>
                <c:pt idx="6185">
                  <c:v>0.87901133667445897</c:v>
                </c:pt>
                <c:pt idx="6186">
                  <c:v>-0.28257117593959402</c:v>
                </c:pt>
                <c:pt idx="6187">
                  <c:v>0.35215069702451302</c:v>
                </c:pt>
                <c:pt idx="6188">
                  <c:v>0.70892246875597298</c:v>
                </c:pt>
                <c:pt idx="6189">
                  <c:v>0.43926938547056699</c:v>
                </c:pt>
                <c:pt idx="6190">
                  <c:v>0.34385367907726999</c:v>
                </c:pt>
                <c:pt idx="6191">
                  <c:v>0.19865586500051299</c:v>
                </c:pt>
                <c:pt idx="6192">
                  <c:v>0.43097236752332402</c:v>
                </c:pt>
                <c:pt idx="6193">
                  <c:v>0.36044771497175698</c:v>
                </c:pt>
                <c:pt idx="6194">
                  <c:v>0.29822008036743203</c:v>
                </c:pt>
                <c:pt idx="6195">
                  <c:v>0.33970517010364898</c:v>
                </c:pt>
                <c:pt idx="6196">
                  <c:v>0.24014095473673</c:v>
                </c:pt>
                <c:pt idx="6197">
                  <c:v>0.385338768813486</c:v>
                </c:pt>
                <c:pt idx="6198">
                  <c:v>0.31896262523553998</c:v>
                </c:pt>
                <c:pt idx="6199">
                  <c:v>0.11153717655445899</c:v>
                </c:pt>
                <c:pt idx="6200">
                  <c:v>0.161319284237919</c:v>
                </c:pt>
                <c:pt idx="6201">
                  <c:v>0.119834194501703</c:v>
                </c:pt>
                <c:pt idx="6202">
                  <c:v>-5.0254673416783698E-2</c:v>
                </c:pt>
                <c:pt idx="6203">
                  <c:v>-5.44031823904053E-2</c:v>
                </c:pt>
                <c:pt idx="6204">
                  <c:v>-0.11663081699473</c:v>
                </c:pt>
                <c:pt idx="6205">
                  <c:v>-0.17056143365181101</c:v>
                </c:pt>
                <c:pt idx="6206">
                  <c:v>-0.44436302591083798</c:v>
                </c:pt>
                <c:pt idx="6207">
                  <c:v>-0.35724433746478401</c:v>
                </c:pt>
                <c:pt idx="6208">
                  <c:v>-0.46510557077894599</c:v>
                </c:pt>
                <c:pt idx="6209">
                  <c:v>-0.53977873230413498</c:v>
                </c:pt>
                <c:pt idx="6210">
                  <c:v>-0.60200636690845899</c:v>
                </c:pt>
                <c:pt idx="6211">
                  <c:v>-0.548075750251378</c:v>
                </c:pt>
                <c:pt idx="6212">
                  <c:v>-0.55222425922499996</c:v>
                </c:pt>
                <c:pt idx="6213">
                  <c:v>-0.51488767846240502</c:v>
                </c:pt>
                <c:pt idx="6214">
                  <c:v>-0.53148171435689195</c:v>
                </c:pt>
                <c:pt idx="6215">
                  <c:v>-0.60200636690845899</c:v>
                </c:pt>
                <c:pt idx="6216">
                  <c:v>-0.56052127717224298</c:v>
                </c:pt>
                <c:pt idx="6217">
                  <c:v>-0.55222425922499996</c:v>
                </c:pt>
                <c:pt idx="6218">
                  <c:v>-0.52733320538327</c:v>
                </c:pt>
                <c:pt idx="6219">
                  <c:v>-0.54392724127775605</c:v>
                </c:pt>
                <c:pt idx="6220">
                  <c:v>-0.61860040280294604</c:v>
                </c:pt>
                <c:pt idx="6221">
                  <c:v>-0.65593698356553998</c:v>
                </c:pt>
                <c:pt idx="6222">
                  <c:v>-0.67667952843364798</c:v>
                </c:pt>
                <c:pt idx="6223">
                  <c:v>-0.57296680409310796</c:v>
                </c:pt>
                <c:pt idx="6224">
                  <c:v>-0.58126382204035099</c:v>
                </c:pt>
                <c:pt idx="6225">
                  <c:v>-0.57296680409310796</c:v>
                </c:pt>
                <c:pt idx="6226">
                  <c:v>-0.61445189382932397</c:v>
                </c:pt>
                <c:pt idx="6227">
                  <c:v>-0.58956083998759401</c:v>
                </c:pt>
                <c:pt idx="6228">
                  <c:v>-0.60615487588208095</c:v>
                </c:pt>
                <c:pt idx="6229">
                  <c:v>-0.58956083998759401</c:v>
                </c:pt>
                <c:pt idx="6230">
                  <c:v>-0.63104592972381002</c:v>
                </c:pt>
                <c:pt idx="6231">
                  <c:v>-0.65593698356553998</c:v>
                </c:pt>
                <c:pt idx="6232">
                  <c:v>-0.58126382204035099</c:v>
                </c:pt>
                <c:pt idx="6233">
                  <c:v>-0.62689742075018895</c:v>
                </c:pt>
                <c:pt idx="6234">
                  <c:v>-0.63104592972381002</c:v>
                </c:pt>
                <c:pt idx="6235">
                  <c:v>-0.684976546380892</c:v>
                </c:pt>
                <c:pt idx="6236">
                  <c:v>-0.53148171435689195</c:v>
                </c:pt>
                <c:pt idx="6237">
                  <c:v>-0.51903618743602697</c:v>
                </c:pt>
                <c:pt idx="6238">
                  <c:v>-0.39872942720100002</c:v>
                </c:pt>
                <c:pt idx="6239">
                  <c:v>-0.28257117593959402</c:v>
                </c:pt>
                <c:pt idx="6240">
                  <c:v>-0.31161073875494599</c:v>
                </c:pt>
                <c:pt idx="6241">
                  <c:v>-0.35724433746478401</c:v>
                </c:pt>
                <c:pt idx="6242">
                  <c:v>-0.431917498989973</c:v>
                </c:pt>
                <c:pt idx="6243">
                  <c:v>-0.55222425922499996</c:v>
                </c:pt>
                <c:pt idx="6244">
                  <c:v>-0.53563022333051302</c:v>
                </c:pt>
                <c:pt idx="6245">
                  <c:v>-0.53563022333051302</c:v>
                </c:pt>
                <c:pt idx="6246">
                  <c:v>-0.46095706180532398</c:v>
                </c:pt>
                <c:pt idx="6247">
                  <c:v>-0.55222425922499996</c:v>
                </c:pt>
                <c:pt idx="6248">
                  <c:v>-0.34065030157029702</c:v>
                </c:pt>
                <c:pt idx="6249">
                  <c:v>0.16546779321154101</c:v>
                </c:pt>
                <c:pt idx="6250">
                  <c:v>-5.44031823904053E-2</c:v>
                </c:pt>
                <c:pt idx="6251">
                  <c:v>-7.5145727258513401E-2</c:v>
                </c:pt>
                <c:pt idx="6252">
                  <c:v>-0.16641292467818899</c:v>
                </c:pt>
                <c:pt idx="6253">
                  <c:v>-7.0997218284891805E-2</c:v>
                </c:pt>
                <c:pt idx="6254">
                  <c:v>3.6759432402973299E-3</c:v>
                </c:pt>
                <c:pt idx="6255">
                  <c:v>-0.19130397851991901</c:v>
                </c:pt>
                <c:pt idx="6256">
                  <c:v>-4.19576554695405E-2</c:v>
                </c:pt>
                <c:pt idx="6257">
                  <c:v>2.0269979134783799E-2</c:v>
                </c:pt>
                <c:pt idx="6258">
                  <c:v>0.29822008036743203</c:v>
                </c:pt>
                <c:pt idx="6259">
                  <c:v>0.123982703475324</c:v>
                </c:pt>
                <c:pt idx="6260">
                  <c:v>0.29407157139381102</c:v>
                </c:pt>
                <c:pt idx="6261">
                  <c:v>0.41437833162883803</c:v>
                </c:pt>
                <c:pt idx="6262">
                  <c:v>0.29407157139381102</c:v>
                </c:pt>
                <c:pt idx="6263">
                  <c:v>0.41022982265521601</c:v>
                </c:pt>
                <c:pt idx="6264">
                  <c:v>0.21524990089500001</c:v>
                </c:pt>
                <c:pt idx="6265">
                  <c:v>0.19035884705327</c:v>
                </c:pt>
                <c:pt idx="6266">
                  <c:v>0.28577455344656699</c:v>
                </c:pt>
                <c:pt idx="6267">
                  <c:v>0.33555666113002702</c:v>
                </c:pt>
                <c:pt idx="6268">
                  <c:v>0.30236858934105398</c:v>
                </c:pt>
                <c:pt idx="6269">
                  <c:v>0.25258648165759501</c:v>
                </c:pt>
                <c:pt idx="6270">
                  <c:v>0.37289324189262102</c:v>
                </c:pt>
                <c:pt idx="6271">
                  <c:v>0.38119025983986499</c:v>
                </c:pt>
                <c:pt idx="6272">
                  <c:v>3.6759432402973299E-3</c:v>
                </c:pt>
                <c:pt idx="6273">
                  <c:v>5.7606559897378402E-2</c:v>
                </c:pt>
                <c:pt idx="6274">
                  <c:v>4.9309541950135198E-2</c:v>
                </c:pt>
                <c:pt idx="6275">
                  <c:v>-2.5363619575054001E-2</c:v>
                </c:pt>
                <c:pt idx="6276">
                  <c:v>-1.29180926541891E-2</c:v>
                </c:pt>
                <c:pt idx="6277">
                  <c:v>0.18621033807964901</c:v>
                </c:pt>
                <c:pt idx="6278">
                  <c:v>-5.44031823904053E-2</c:v>
                </c:pt>
                <c:pt idx="6279">
                  <c:v>-2.1215110601432399E-2</c:v>
                </c:pt>
                <c:pt idx="6280">
                  <c:v>-4.19576554695405E-2</c:v>
                </c:pt>
                <c:pt idx="6281">
                  <c:v>-3.3660637522297199E-2</c:v>
                </c:pt>
                <c:pt idx="6282">
                  <c:v>2.4418488108405401E-2</c:v>
                </c:pt>
                <c:pt idx="6283">
                  <c:v>-0.19130397851991901</c:v>
                </c:pt>
                <c:pt idx="6284">
                  <c:v>-0.26182863107148602</c:v>
                </c:pt>
                <c:pt idx="6285">
                  <c:v>-0.19130397851991901</c:v>
                </c:pt>
                <c:pt idx="6286">
                  <c:v>-0.19545248749353999</c:v>
                </c:pt>
                <c:pt idx="6287">
                  <c:v>-0.24108608620337801</c:v>
                </c:pt>
                <c:pt idx="6288">
                  <c:v>-0.13322485288921601</c:v>
                </c:pt>
                <c:pt idx="6289">
                  <c:v>-0.178858451599054</c:v>
                </c:pt>
                <c:pt idx="6290">
                  <c:v>-0.295016702860459</c:v>
                </c:pt>
                <c:pt idx="6291">
                  <c:v>-0.33650179259667501</c:v>
                </c:pt>
                <c:pt idx="6292">
                  <c:v>-0.25768012209786501</c:v>
                </c:pt>
                <c:pt idx="6293">
                  <c:v>-0.27012564901872999</c:v>
                </c:pt>
                <c:pt idx="6294">
                  <c:v>-0.24108608620337801</c:v>
                </c:pt>
                <c:pt idx="6295">
                  <c:v>-0.36554135541202698</c:v>
                </c:pt>
                <c:pt idx="6296">
                  <c:v>-0.40287793617462098</c:v>
                </c:pt>
                <c:pt idx="6297">
                  <c:v>-0.448511534884459</c:v>
                </c:pt>
                <c:pt idx="6298">
                  <c:v>-0.41947197206910802</c:v>
                </c:pt>
                <c:pt idx="6299">
                  <c:v>-0.50659066051516199</c:v>
                </c:pt>
                <c:pt idx="6300">
                  <c:v>-0.58956083998759401</c:v>
                </c:pt>
                <c:pt idx="6301">
                  <c:v>-0.59370934896121597</c:v>
                </c:pt>
                <c:pt idx="6302">
                  <c:v>-0.61445189382932397</c:v>
                </c:pt>
                <c:pt idx="6303">
                  <c:v>-0.60615487588208095</c:v>
                </c:pt>
                <c:pt idx="6304">
                  <c:v>-0.56881829511948601</c:v>
                </c:pt>
                <c:pt idx="6305">
                  <c:v>-0.63104592972381002</c:v>
                </c:pt>
                <c:pt idx="6306">
                  <c:v>-0.70157058227537805</c:v>
                </c:pt>
                <c:pt idx="6307">
                  <c:v>-0.684976546380892</c:v>
                </c:pt>
                <c:pt idx="6308">
                  <c:v>-0.75550119893245904</c:v>
                </c:pt>
                <c:pt idx="6309">
                  <c:v>-0.71401610919624303</c:v>
                </c:pt>
                <c:pt idx="6310">
                  <c:v>-0.62274891177656699</c:v>
                </c:pt>
                <c:pt idx="6311">
                  <c:v>-0.70571909124900001</c:v>
                </c:pt>
                <c:pt idx="6312">
                  <c:v>-0.70986760022262096</c:v>
                </c:pt>
                <c:pt idx="6313">
                  <c:v>-0.72646163611710801</c:v>
                </c:pt>
                <c:pt idx="6314">
                  <c:v>-0.74720418098521602</c:v>
                </c:pt>
                <c:pt idx="6315">
                  <c:v>-0.73475865406435104</c:v>
                </c:pt>
                <c:pt idx="6316">
                  <c:v>-0.70986760022262096</c:v>
                </c:pt>
                <c:pt idx="6317">
                  <c:v>-0.74720418098521602</c:v>
                </c:pt>
                <c:pt idx="6318">
                  <c:v>-0.74720418098521602</c:v>
                </c:pt>
                <c:pt idx="6319">
                  <c:v>-0.75550119893245904</c:v>
                </c:pt>
                <c:pt idx="6320">
                  <c:v>-0.780392252774189</c:v>
                </c:pt>
                <c:pt idx="6321">
                  <c:v>-0.77209523482694598</c:v>
                </c:pt>
                <c:pt idx="6322">
                  <c:v>-0.80943181558954003</c:v>
                </c:pt>
                <c:pt idx="6323">
                  <c:v>-0.80943181558954003</c:v>
                </c:pt>
                <c:pt idx="6324">
                  <c:v>-0.82187734251040501</c:v>
                </c:pt>
                <c:pt idx="6325">
                  <c:v>-0.83432286943126999</c:v>
                </c:pt>
                <c:pt idx="6326">
                  <c:v>-0.79698628866867505</c:v>
                </c:pt>
                <c:pt idx="6327">
                  <c:v>-0.78868927072143202</c:v>
                </c:pt>
                <c:pt idx="6328">
                  <c:v>-0.81358032456316198</c:v>
                </c:pt>
                <c:pt idx="6329">
                  <c:v>-0.78868927072143202</c:v>
                </c:pt>
                <c:pt idx="6330">
                  <c:v>-0.83017436045764803</c:v>
                </c:pt>
                <c:pt idx="6331">
                  <c:v>-0.78454076174780996</c:v>
                </c:pt>
                <c:pt idx="6332">
                  <c:v>-0.75550119893245904</c:v>
                </c:pt>
                <c:pt idx="6333">
                  <c:v>-0.61445189382932397</c:v>
                </c:pt>
                <c:pt idx="6334">
                  <c:v>-0.53563022333051302</c:v>
                </c:pt>
                <c:pt idx="6335">
                  <c:v>-0.40287793617462098</c:v>
                </c:pt>
                <c:pt idx="6336">
                  <c:v>-0.33650179259667501</c:v>
                </c:pt>
                <c:pt idx="6337">
                  <c:v>-0.48169960667343198</c:v>
                </c:pt>
                <c:pt idx="6338">
                  <c:v>-0.44436302591083798</c:v>
                </c:pt>
                <c:pt idx="6339">
                  <c:v>-0.60200636690845899</c:v>
                </c:pt>
                <c:pt idx="6340">
                  <c:v>-0.60200636690845899</c:v>
                </c:pt>
                <c:pt idx="6341">
                  <c:v>-0.63519443869743197</c:v>
                </c:pt>
                <c:pt idx="6342">
                  <c:v>-0.50659066051516199</c:v>
                </c:pt>
                <c:pt idx="6343">
                  <c:v>-0.51903618743602697</c:v>
                </c:pt>
                <c:pt idx="6344">
                  <c:v>-0.58541233101397305</c:v>
                </c:pt>
                <c:pt idx="6345">
                  <c:v>-0.56466978614586505</c:v>
                </c:pt>
                <c:pt idx="6346">
                  <c:v>-0.35724433746478401</c:v>
                </c:pt>
                <c:pt idx="6347">
                  <c:v>-0.42362048104272898</c:v>
                </c:pt>
                <c:pt idx="6348">
                  <c:v>-0.42776899001635099</c:v>
                </c:pt>
                <c:pt idx="6349">
                  <c:v>0.18621033807964901</c:v>
                </c:pt>
                <c:pt idx="6350">
                  <c:v>-4.62107470694591E-3</c:v>
                </c:pt>
                <c:pt idx="6351">
                  <c:v>-3.7809146495918898E-2</c:v>
                </c:pt>
                <c:pt idx="6352">
                  <c:v>-2.95121285486756E-2</c:v>
                </c:pt>
                <c:pt idx="6353">
                  <c:v>-0.120779325968351</c:v>
                </c:pt>
                <c:pt idx="6354">
                  <c:v>0.219398409868622</c:v>
                </c:pt>
                <c:pt idx="6355">
                  <c:v>0.14887375731705399</c:v>
                </c:pt>
                <c:pt idx="6356">
                  <c:v>-0.13322485288921601</c:v>
                </c:pt>
                <c:pt idx="6357">
                  <c:v>-0.129076343915595</c:v>
                </c:pt>
                <c:pt idx="6358">
                  <c:v>-8.3442745205756702E-2</c:v>
                </c:pt>
                <c:pt idx="6359">
                  <c:v>-6.6848709311270196E-2</c:v>
                </c:pt>
                <c:pt idx="6360">
                  <c:v>-3.7809146495918898E-2</c:v>
                </c:pt>
                <c:pt idx="6361">
                  <c:v>-2.1215110601432399E-2</c:v>
                </c:pt>
                <c:pt idx="6362">
                  <c:v>2.8566997082027101E-2</c:v>
                </c:pt>
                <c:pt idx="6363">
                  <c:v>9.4943140659973002E-2</c:v>
                </c:pt>
                <c:pt idx="6364">
                  <c:v>-1.7066601627810801E-2</c:v>
                </c:pt>
                <c:pt idx="6365">
                  <c:v>2.0269979134783799E-2</c:v>
                </c:pt>
                <c:pt idx="6366">
                  <c:v>7.8349104765486496E-2</c:v>
                </c:pt>
                <c:pt idx="6367">
                  <c:v>7.0052086818243306E-2</c:v>
                </c:pt>
                <c:pt idx="6368">
                  <c:v>-2.5363619575054001E-2</c:v>
                </c:pt>
                <c:pt idx="6369">
                  <c:v>0.11568568552808101</c:v>
                </c:pt>
                <c:pt idx="6370">
                  <c:v>0.173764811158784</c:v>
                </c:pt>
                <c:pt idx="6371">
                  <c:v>1.19729611875406E-2</c:v>
                </c:pt>
                <c:pt idx="6372">
                  <c:v>0.182061829106027</c:v>
                </c:pt>
                <c:pt idx="6373">
                  <c:v>0.132279721422568</c:v>
                </c:pt>
                <c:pt idx="6374">
                  <c:v>4.1012524002891897E-2</c:v>
                </c:pt>
                <c:pt idx="6375">
                  <c:v>-4.62107470694591E-3</c:v>
                </c:pt>
                <c:pt idx="6376">
                  <c:v>-2.5363619575054001E-2</c:v>
                </c:pt>
                <c:pt idx="6377">
                  <c:v>-4.19576554695405E-2</c:v>
                </c:pt>
                <c:pt idx="6378">
                  <c:v>3.6864015029270301E-2</c:v>
                </c:pt>
                <c:pt idx="6379">
                  <c:v>-2.5363619575054001E-2</c:v>
                </c:pt>
                <c:pt idx="6380">
                  <c:v>2.0269979134783799E-2</c:v>
                </c:pt>
                <c:pt idx="6381">
                  <c:v>9.0794631686351407E-2</c:v>
                </c:pt>
                <c:pt idx="6382">
                  <c:v>6.59035778446216E-2</c:v>
                </c:pt>
                <c:pt idx="6383">
                  <c:v>4.1012524002891897E-2</c:v>
                </c:pt>
                <c:pt idx="6384">
                  <c:v>0.14472524834343201</c:v>
                </c:pt>
                <c:pt idx="6385">
                  <c:v>0.14472524834343201</c:v>
                </c:pt>
                <c:pt idx="6386">
                  <c:v>9.0794631686351407E-2</c:v>
                </c:pt>
                <c:pt idx="6387">
                  <c:v>-4.62107470694591E-3</c:v>
                </c:pt>
                <c:pt idx="6388">
                  <c:v>4.5161032976513499E-2</c:v>
                </c:pt>
                <c:pt idx="6389">
                  <c:v>-0.34479881054391898</c:v>
                </c:pt>
                <c:pt idx="6390">
                  <c:v>-0.40702644514824299</c:v>
                </c:pt>
                <c:pt idx="6391">
                  <c:v>-0.44021451693721603</c:v>
                </c:pt>
                <c:pt idx="6392">
                  <c:v>-0.53977873230413498</c:v>
                </c:pt>
                <c:pt idx="6393">
                  <c:v>-0.50244215154154004</c:v>
                </c:pt>
                <c:pt idx="6394">
                  <c:v>-0.54392724127775605</c:v>
                </c:pt>
                <c:pt idx="6395">
                  <c:v>-0.548075750251378</c:v>
                </c:pt>
                <c:pt idx="6396">
                  <c:v>-0.56466978614586505</c:v>
                </c:pt>
                <c:pt idx="6397">
                  <c:v>-0.78454076174780996</c:v>
                </c:pt>
                <c:pt idx="6398">
                  <c:v>-0.74305567201159395</c:v>
                </c:pt>
                <c:pt idx="6399">
                  <c:v>-0.78868927072143202</c:v>
                </c:pt>
                <c:pt idx="6400">
                  <c:v>-0.83017436045764803</c:v>
                </c:pt>
                <c:pt idx="6401">
                  <c:v>-0.72646163611710801</c:v>
                </c:pt>
                <c:pt idx="6402">
                  <c:v>-0.759649707906081</c:v>
                </c:pt>
                <c:pt idx="6403">
                  <c:v>-0.76794672585332402</c:v>
                </c:pt>
                <c:pt idx="6404">
                  <c:v>-0.66008549253916204</c:v>
                </c:pt>
                <c:pt idx="6405">
                  <c:v>-0.643491456644675</c:v>
                </c:pt>
                <c:pt idx="6406">
                  <c:v>-0.65593698356553998</c:v>
                </c:pt>
                <c:pt idx="6407">
                  <c:v>-0.684976546380892</c:v>
                </c:pt>
                <c:pt idx="6408">
                  <c:v>-0.87995646814110795</c:v>
                </c:pt>
                <c:pt idx="6409">
                  <c:v>-0.86751094122024297</c:v>
                </c:pt>
                <c:pt idx="6410">
                  <c:v>-0.85506541429937799</c:v>
                </c:pt>
                <c:pt idx="6411">
                  <c:v>-0.85921392327299995</c:v>
                </c:pt>
                <c:pt idx="6412">
                  <c:v>-0.85091690532575603</c:v>
                </c:pt>
                <c:pt idx="6413">
                  <c:v>-0.85921392327299995</c:v>
                </c:pt>
                <c:pt idx="6414">
                  <c:v>-0.87165945019386404</c:v>
                </c:pt>
                <c:pt idx="6415">
                  <c:v>-0.67253101946002702</c:v>
                </c:pt>
                <c:pt idx="6416">
                  <c:v>-0.36139284643840502</c:v>
                </c:pt>
                <c:pt idx="6417">
                  <c:v>-0.58541233101397305</c:v>
                </c:pt>
                <c:pt idx="6418">
                  <c:v>-0.69742207330175598</c:v>
                </c:pt>
                <c:pt idx="6419">
                  <c:v>-0.62689742075018895</c:v>
                </c:pt>
                <c:pt idx="6420">
                  <c:v>-0.63519443869743197</c:v>
                </c:pt>
                <c:pt idx="6421">
                  <c:v>-0.63104592972381002</c:v>
                </c:pt>
                <c:pt idx="6422">
                  <c:v>-0.65593698356553998</c:v>
                </c:pt>
                <c:pt idx="6423">
                  <c:v>-0.45266004385808101</c:v>
                </c:pt>
                <c:pt idx="6424">
                  <c:v>-5.0254673416783698E-2</c:v>
                </c:pt>
                <c:pt idx="6425">
                  <c:v>-0.14152187083645901</c:v>
                </c:pt>
                <c:pt idx="6426">
                  <c:v>0.11153717655445899</c:v>
                </c:pt>
                <c:pt idx="6427">
                  <c:v>-0.28671968491321598</c:v>
                </c:pt>
                <c:pt idx="6428">
                  <c:v>-0.27012564901872999</c:v>
                </c:pt>
                <c:pt idx="6429">
                  <c:v>0.28162604447294598</c:v>
                </c:pt>
                <c:pt idx="6430">
                  <c:v>0.219398409868622</c:v>
                </c:pt>
                <c:pt idx="6431">
                  <c:v>0.59276421749456698</c:v>
                </c:pt>
                <c:pt idx="6432">
                  <c:v>0.27747753549932402</c:v>
                </c:pt>
                <c:pt idx="6433">
                  <c:v>0.58861570852094602</c:v>
                </c:pt>
                <c:pt idx="6434">
                  <c:v>0.248437972683973</c:v>
                </c:pt>
                <c:pt idx="6435">
                  <c:v>0.57202167262645898</c:v>
                </c:pt>
                <c:pt idx="6436">
                  <c:v>0.696476941835108</c:v>
                </c:pt>
                <c:pt idx="6437">
                  <c:v>0.76285308541305397</c:v>
                </c:pt>
                <c:pt idx="6438">
                  <c:v>0.44756640341781101</c:v>
                </c:pt>
                <c:pt idx="6439">
                  <c:v>-1.29180926541891E-2</c:v>
                </c:pt>
                <c:pt idx="6440">
                  <c:v>0.43097236752332402</c:v>
                </c:pt>
                <c:pt idx="6441">
                  <c:v>0.50149702007489205</c:v>
                </c:pt>
                <c:pt idx="6442">
                  <c:v>0.58861570852094602</c:v>
                </c:pt>
                <c:pt idx="6443">
                  <c:v>0.56787316365283802</c:v>
                </c:pt>
                <c:pt idx="6444">
                  <c:v>0.69232843286148604</c:v>
                </c:pt>
                <c:pt idx="6445">
                  <c:v>0.66743737901975697</c:v>
                </c:pt>
                <c:pt idx="6446">
                  <c:v>0.348002188050892</c:v>
                </c:pt>
                <c:pt idx="6447">
                  <c:v>0.36044771497175698</c:v>
                </c:pt>
                <c:pt idx="6448">
                  <c:v>0.38948727778710801</c:v>
                </c:pt>
                <c:pt idx="6449">
                  <c:v>0.58446719954732396</c:v>
                </c:pt>
                <c:pt idx="6450">
                  <c:v>0.93709046230516202</c:v>
                </c:pt>
                <c:pt idx="6451">
                  <c:v>-1.6972127359445699</c:v>
                </c:pt>
                <c:pt idx="6452">
                  <c:v>2.2231282441278601</c:v>
                </c:pt>
                <c:pt idx="6453">
                  <c:v>1.62574295192635</c:v>
                </c:pt>
                <c:pt idx="6454">
                  <c:v>1.3809809224826799</c:v>
                </c:pt>
                <c:pt idx="6455">
                  <c:v>1.37268390453543</c:v>
                </c:pt>
                <c:pt idx="6456">
                  <c:v>0.39778429573435098</c:v>
                </c:pt>
                <c:pt idx="6457">
                  <c:v>0.28162604447294598</c:v>
                </c:pt>
                <c:pt idx="6458">
                  <c:v>0.327259643182784</c:v>
                </c:pt>
                <c:pt idx="6459">
                  <c:v>-1.29180926541891E-2</c:v>
                </c:pt>
                <c:pt idx="6460">
                  <c:v>1.11962485714451</c:v>
                </c:pt>
                <c:pt idx="6461">
                  <c:v>2.0364453403148892</c:v>
                </c:pt>
                <c:pt idx="6462">
                  <c:v>1.35194135966732</c:v>
                </c:pt>
                <c:pt idx="6463">
                  <c:v>1.24408012635316</c:v>
                </c:pt>
                <c:pt idx="6464">
                  <c:v>1.24408012635316</c:v>
                </c:pt>
                <c:pt idx="6465">
                  <c:v>1.37268390453543</c:v>
                </c:pt>
                <c:pt idx="6466">
                  <c:v>1.2316345994322999</c:v>
                </c:pt>
                <c:pt idx="6467">
                  <c:v>1.0242091507512201</c:v>
                </c:pt>
                <c:pt idx="6468">
                  <c:v>0.95368449819964796</c:v>
                </c:pt>
                <c:pt idx="6469">
                  <c:v>0.59691272646818905</c:v>
                </c:pt>
                <c:pt idx="6470">
                  <c:v>-0.39458091822737801</c:v>
                </c:pt>
                <c:pt idx="6471">
                  <c:v>6.1755068870999998E-2</c:v>
                </c:pt>
                <c:pt idx="6472">
                  <c:v>0.20695288294775699</c:v>
                </c:pt>
                <c:pt idx="6473">
                  <c:v>0.211101391921378</c:v>
                </c:pt>
                <c:pt idx="6474">
                  <c:v>-2.1215110601432399E-2</c:v>
                </c:pt>
                <c:pt idx="6475">
                  <c:v>1.05324871356657</c:v>
                </c:pt>
                <c:pt idx="6476">
                  <c:v>0.89145686359532395</c:v>
                </c:pt>
                <c:pt idx="6477">
                  <c:v>0.58446719954732396</c:v>
                </c:pt>
                <c:pt idx="6478">
                  <c:v>0.49734851110126999</c:v>
                </c:pt>
                <c:pt idx="6479">
                  <c:v>0.55127912775835097</c:v>
                </c:pt>
                <c:pt idx="6480">
                  <c:v>0.59276421749456698</c:v>
                </c:pt>
                <c:pt idx="6481">
                  <c:v>0.50149702007489205</c:v>
                </c:pt>
                <c:pt idx="6482">
                  <c:v>0.44756640341781101</c:v>
                </c:pt>
                <c:pt idx="6483">
                  <c:v>0.51809105596937799</c:v>
                </c:pt>
                <c:pt idx="6484">
                  <c:v>0.289923062420189</c:v>
                </c:pt>
                <c:pt idx="6485">
                  <c:v>-0.19545248749353999</c:v>
                </c:pt>
                <c:pt idx="6486">
                  <c:v>-0.23278906825613499</c:v>
                </c:pt>
                <c:pt idx="6487">
                  <c:v>-0.158115906730946</c:v>
                </c:pt>
                <c:pt idx="6488">
                  <c:v>-0.187155469546297</c:v>
                </c:pt>
                <c:pt idx="6489">
                  <c:v>-0.31990775670218902</c:v>
                </c:pt>
                <c:pt idx="6490">
                  <c:v>-0.45266004385808101</c:v>
                </c:pt>
                <c:pt idx="6491">
                  <c:v>-0.53148171435689195</c:v>
                </c:pt>
                <c:pt idx="6492">
                  <c:v>-0.58126382204035099</c:v>
                </c:pt>
                <c:pt idx="6493">
                  <c:v>-0.51488767846240502</c:v>
                </c:pt>
                <c:pt idx="6494">
                  <c:v>-0.57711531306672903</c:v>
                </c:pt>
                <c:pt idx="6495">
                  <c:v>-0.65178847459191902</c:v>
                </c:pt>
                <c:pt idx="6496">
                  <c:v>-0.664234001512783</c:v>
                </c:pt>
                <c:pt idx="6497">
                  <c:v>-0.67667952843364798</c:v>
                </c:pt>
                <c:pt idx="6498">
                  <c:v>-0.58541233101397305</c:v>
                </c:pt>
                <c:pt idx="6499">
                  <c:v>-0.60200636690845899</c:v>
                </c:pt>
                <c:pt idx="6500">
                  <c:v>-0.55222425922499996</c:v>
                </c:pt>
                <c:pt idx="6501">
                  <c:v>-0.63934294767105404</c:v>
                </c:pt>
                <c:pt idx="6502">
                  <c:v>-0.62274891177656699</c:v>
                </c:pt>
                <c:pt idx="6503">
                  <c:v>-0.801134797642297</c:v>
                </c:pt>
                <c:pt idx="6504">
                  <c:v>-0.76794672585332402</c:v>
                </c:pt>
                <c:pt idx="6505">
                  <c:v>-0.73475865406435104</c:v>
                </c:pt>
                <c:pt idx="6506">
                  <c:v>-0.759649707906081</c:v>
                </c:pt>
                <c:pt idx="6507">
                  <c:v>-0.80528330661591896</c:v>
                </c:pt>
                <c:pt idx="6508">
                  <c:v>-0.78454076174780996</c:v>
                </c:pt>
                <c:pt idx="6509">
                  <c:v>-0.76794672585332402</c:v>
                </c:pt>
                <c:pt idx="6510">
                  <c:v>-0.83432286943126999</c:v>
                </c:pt>
                <c:pt idx="6511">
                  <c:v>-0.47755109769981102</c:v>
                </c:pt>
                <c:pt idx="6512">
                  <c:v>-0.29086819388683799</c:v>
                </c:pt>
                <c:pt idx="6513">
                  <c:v>-0.57296680409310796</c:v>
                </c:pt>
                <c:pt idx="6514">
                  <c:v>-0.58126382204035099</c:v>
                </c:pt>
                <c:pt idx="6515">
                  <c:v>-0.643491456644675</c:v>
                </c:pt>
                <c:pt idx="6516">
                  <c:v>-0.643491456644675</c:v>
                </c:pt>
                <c:pt idx="6517">
                  <c:v>-0.684976546380892</c:v>
                </c:pt>
                <c:pt idx="6518">
                  <c:v>-0.66008549253916204</c:v>
                </c:pt>
                <c:pt idx="6519">
                  <c:v>-0.67667952843364798</c:v>
                </c:pt>
                <c:pt idx="6520">
                  <c:v>-0.63519443869743197</c:v>
                </c:pt>
                <c:pt idx="6521">
                  <c:v>-0.54392724127775605</c:v>
                </c:pt>
                <c:pt idx="6522">
                  <c:v>-0.66008549253916204</c:v>
                </c:pt>
                <c:pt idx="6523">
                  <c:v>-0.70571909124900001</c:v>
                </c:pt>
                <c:pt idx="6524">
                  <c:v>-0.65178847459191902</c:v>
                </c:pt>
                <c:pt idx="6525">
                  <c:v>1.19729611875406E-2</c:v>
                </c:pt>
                <c:pt idx="6526">
                  <c:v>-0.149818888783703</c:v>
                </c:pt>
                <c:pt idx="6527">
                  <c:v>-7.0997218284891805E-2</c:v>
                </c:pt>
                <c:pt idx="6528">
                  <c:v>-0.13322485288921601</c:v>
                </c:pt>
                <c:pt idx="6529">
                  <c:v>-0.39872942720100002</c:v>
                </c:pt>
                <c:pt idx="6530">
                  <c:v>-0.44436302591083798</c:v>
                </c:pt>
                <c:pt idx="6531">
                  <c:v>-0.17470994262543199</c:v>
                </c:pt>
                <c:pt idx="6532">
                  <c:v>4.1012524002891897E-2</c:v>
                </c:pt>
                <c:pt idx="6533">
                  <c:v>0.45586342136505398</c:v>
                </c:pt>
                <c:pt idx="6534">
                  <c:v>0.32311113420916199</c:v>
                </c:pt>
                <c:pt idx="6535">
                  <c:v>0.33555666113002702</c:v>
                </c:pt>
                <c:pt idx="6536">
                  <c:v>0.34385367907726999</c:v>
                </c:pt>
                <c:pt idx="6537">
                  <c:v>0.41852684060245898</c:v>
                </c:pt>
                <c:pt idx="6538">
                  <c:v>0.231843936789486</c:v>
                </c:pt>
                <c:pt idx="6539">
                  <c:v>0.28577455344656699</c:v>
                </c:pt>
                <c:pt idx="6540">
                  <c:v>3.2715506055648699E-2</c:v>
                </c:pt>
                <c:pt idx="6541">
                  <c:v>1.61214701611622E-2</c:v>
                </c:pt>
                <c:pt idx="6542">
                  <c:v>8.6646122712729701E-2</c:v>
                </c:pt>
                <c:pt idx="6543">
                  <c:v>-0.16641292467818899</c:v>
                </c:pt>
                <c:pt idx="6544">
                  <c:v>-0.26182863107148602</c:v>
                </c:pt>
                <c:pt idx="6545">
                  <c:v>-8.7695836805675303E-3</c:v>
                </c:pt>
                <c:pt idx="6546">
                  <c:v>1.4058719763244001</c:v>
                </c:pt>
                <c:pt idx="6547">
                  <c:v>0.61765527133629705</c:v>
                </c:pt>
                <c:pt idx="6548">
                  <c:v>0.68403141491424302</c:v>
                </c:pt>
                <c:pt idx="6549">
                  <c:v>-0.643491456644675</c:v>
                </c:pt>
                <c:pt idx="6550">
                  <c:v>-0.25768012209786501</c:v>
                </c:pt>
                <c:pt idx="6551">
                  <c:v>-0.29086819388683799</c:v>
                </c:pt>
                <c:pt idx="6552">
                  <c:v>0.19450735602689201</c:v>
                </c:pt>
                <c:pt idx="6553">
                  <c:v>1.20259503661695</c:v>
                </c:pt>
                <c:pt idx="6554">
                  <c:v>0.85412028283272901</c:v>
                </c:pt>
                <c:pt idx="6555">
                  <c:v>0.72551650465045903</c:v>
                </c:pt>
                <c:pt idx="6556">
                  <c:v>0.56372465467921595</c:v>
                </c:pt>
                <c:pt idx="6557">
                  <c:v>-0.63519443869743197</c:v>
                </c:pt>
                <c:pt idx="6558">
                  <c:v>-0.26182863107148602</c:v>
                </c:pt>
                <c:pt idx="6559">
                  <c:v>-0.23278906825613499</c:v>
                </c:pt>
                <c:pt idx="6560">
                  <c:v>0.97442704306775596</c:v>
                </c:pt>
                <c:pt idx="6561">
                  <c:v>0.63424930723078399</c:v>
                </c:pt>
                <c:pt idx="6562">
                  <c:v>0.61350676236267498</c:v>
                </c:pt>
                <c:pt idx="6563">
                  <c:v>-0.59785785793483703</c:v>
                </c:pt>
                <c:pt idx="6564">
                  <c:v>-0.44021451693721603</c:v>
                </c:pt>
                <c:pt idx="6565">
                  <c:v>0.833377737964621</c:v>
                </c:pt>
                <c:pt idx="6566">
                  <c:v>1.05324871356657</c:v>
                </c:pt>
                <c:pt idx="6567">
                  <c:v>0.443417894444189</c:v>
                </c:pt>
                <c:pt idx="6568">
                  <c:v>0.812635193096513</c:v>
                </c:pt>
                <c:pt idx="6569">
                  <c:v>0.52638807391662101</c:v>
                </c:pt>
                <c:pt idx="6570">
                  <c:v>0.559576145705594</c:v>
                </c:pt>
                <c:pt idx="6571">
                  <c:v>0.70892246875597298</c:v>
                </c:pt>
                <c:pt idx="6572">
                  <c:v>0.61765527133629705</c:v>
                </c:pt>
                <c:pt idx="6573">
                  <c:v>0.49320000212764797</c:v>
                </c:pt>
                <c:pt idx="6574">
                  <c:v>0.56787316365283802</c:v>
                </c:pt>
                <c:pt idx="6575">
                  <c:v>0.51394254699575703</c:v>
                </c:pt>
                <c:pt idx="6576">
                  <c:v>0.67988290594062095</c:v>
                </c:pt>
                <c:pt idx="6577">
                  <c:v>0.19865586500051299</c:v>
                </c:pt>
                <c:pt idx="6578">
                  <c:v>0.40193280470797299</c:v>
                </c:pt>
                <c:pt idx="6579">
                  <c:v>0.37704175086624298</c:v>
                </c:pt>
                <c:pt idx="6580">
                  <c:v>0.33970517010364898</c:v>
                </c:pt>
                <c:pt idx="6581">
                  <c:v>-0.30331372080770302</c:v>
                </c:pt>
                <c:pt idx="6582">
                  <c:v>-0.13322485288921601</c:v>
                </c:pt>
                <c:pt idx="6583">
                  <c:v>-0.28671968491321598</c:v>
                </c:pt>
                <c:pt idx="6584">
                  <c:v>-0.25353161312424299</c:v>
                </c:pt>
                <c:pt idx="6585">
                  <c:v>-0.216195032361649</c:v>
                </c:pt>
                <c:pt idx="6586">
                  <c:v>-0.390432409253757</c:v>
                </c:pt>
                <c:pt idx="6587">
                  <c:v>-0.48584811564705399</c:v>
                </c:pt>
                <c:pt idx="6588">
                  <c:v>-0.48169960667343198</c:v>
                </c:pt>
                <c:pt idx="6589">
                  <c:v>-0.71816461816986399</c:v>
                </c:pt>
                <c:pt idx="6590">
                  <c:v>-0.71401610919624303</c:v>
                </c:pt>
                <c:pt idx="6591">
                  <c:v>-0.61030338485570201</c:v>
                </c:pt>
                <c:pt idx="6592">
                  <c:v>-0.66008549253916204</c:v>
                </c:pt>
                <c:pt idx="6593">
                  <c:v>-0.60615487588208095</c:v>
                </c:pt>
                <c:pt idx="6594">
                  <c:v>-0.61030338485570201</c:v>
                </c:pt>
                <c:pt idx="6595">
                  <c:v>-0.62689742075018895</c:v>
                </c:pt>
                <c:pt idx="6596">
                  <c:v>-0.684976546380892</c:v>
                </c:pt>
                <c:pt idx="6597">
                  <c:v>-0.82187734251040501</c:v>
                </c:pt>
                <c:pt idx="6598">
                  <c:v>-0.82187734251040501</c:v>
                </c:pt>
                <c:pt idx="6599">
                  <c:v>-0.82187734251040501</c:v>
                </c:pt>
                <c:pt idx="6600">
                  <c:v>-0.85506541429937799</c:v>
                </c:pt>
                <c:pt idx="6601">
                  <c:v>-0.87580795916748599</c:v>
                </c:pt>
                <c:pt idx="6602">
                  <c:v>-0.68082803740727005</c:v>
                </c:pt>
                <c:pt idx="6603">
                  <c:v>-0.77624374380056704</c:v>
                </c:pt>
                <c:pt idx="6604">
                  <c:v>-0.90899603095645898</c:v>
                </c:pt>
                <c:pt idx="6605">
                  <c:v>-0.82602585148402696</c:v>
                </c:pt>
                <c:pt idx="6606">
                  <c:v>-0.71816461816986399</c:v>
                </c:pt>
                <c:pt idx="6607">
                  <c:v>-0.47340258872618901</c:v>
                </c:pt>
                <c:pt idx="6608">
                  <c:v>-0.46510557077894599</c:v>
                </c:pt>
                <c:pt idx="6609">
                  <c:v>-0.62274891177656699</c:v>
                </c:pt>
                <c:pt idx="6610">
                  <c:v>-0.62274891177656699</c:v>
                </c:pt>
                <c:pt idx="6611">
                  <c:v>-0.68082803740727005</c:v>
                </c:pt>
                <c:pt idx="6612">
                  <c:v>-0.70986760022262096</c:v>
                </c:pt>
                <c:pt idx="6613">
                  <c:v>-0.71401610919624303</c:v>
                </c:pt>
                <c:pt idx="6614">
                  <c:v>-0.72646163611710801</c:v>
                </c:pt>
                <c:pt idx="6615">
                  <c:v>-0.73475865406435104</c:v>
                </c:pt>
                <c:pt idx="6616">
                  <c:v>-0.68082803740727005</c:v>
                </c:pt>
                <c:pt idx="6617">
                  <c:v>-0.548075750251378</c:v>
                </c:pt>
                <c:pt idx="6618">
                  <c:v>-0.73061014509072897</c:v>
                </c:pt>
                <c:pt idx="6619">
                  <c:v>-0.47340258872618901</c:v>
                </c:pt>
                <c:pt idx="6620">
                  <c:v>-0.45680855283170202</c:v>
                </c:pt>
                <c:pt idx="6621">
                  <c:v>-8.3442745205756702E-2</c:v>
                </c:pt>
                <c:pt idx="6622">
                  <c:v>-0.22034354133527001</c:v>
                </c:pt>
                <c:pt idx="6623">
                  <c:v>-0.30331372080770302</c:v>
                </c:pt>
                <c:pt idx="6624">
                  <c:v>-0.45266004385808101</c:v>
                </c:pt>
                <c:pt idx="6625">
                  <c:v>-0.46510557077894599</c:v>
                </c:pt>
                <c:pt idx="6626">
                  <c:v>-0.32820477464943199</c:v>
                </c:pt>
                <c:pt idx="6627">
                  <c:v>-0.28257117593959402</c:v>
                </c:pt>
                <c:pt idx="6628">
                  <c:v>5.7606559897378402E-2</c:v>
                </c:pt>
                <c:pt idx="6629">
                  <c:v>-0.108333799047486</c:v>
                </c:pt>
                <c:pt idx="6630">
                  <c:v>-0.149818888783703</c:v>
                </c:pt>
                <c:pt idx="6631">
                  <c:v>-0.129076343915595</c:v>
                </c:pt>
                <c:pt idx="6632">
                  <c:v>-0.100036781100243</c:v>
                </c:pt>
                <c:pt idx="6633">
                  <c:v>-5.0254673416783698E-2</c:v>
                </c:pt>
                <c:pt idx="6634">
                  <c:v>0.14887375731705399</c:v>
                </c:pt>
                <c:pt idx="6635">
                  <c:v>0.30236858934105398</c:v>
                </c:pt>
                <c:pt idx="6636">
                  <c:v>0.26503200857845899</c:v>
                </c:pt>
                <c:pt idx="6637">
                  <c:v>3.6759432402973299E-3</c:v>
                </c:pt>
                <c:pt idx="6638">
                  <c:v>0.27747753549932402</c:v>
                </c:pt>
                <c:pt idx="6639">
                  <c:v>0.29407157139381102</c:v>
                </c:pt>
                <c:pt idx="6640">
                  <c:v>0.30236858934105398</c:v>
                </c:pt>
                <c:pt idx="6641">
                  <c:v>0.38948727778710801</c:v>
                </c:pt>
                <c:pt idx="6642">
                  <c:v>0.65084334312527004</c:v>
                </c:pt>
                <c:pt idx="6643">
                  <c:v>0.37289324189262102</c:v>
                </c:pt>
                <c:pt idx="6644">
                  <c:v>0.40193280470797299</c:v>
                </c:pt>
                <c:pt idx="6645">
                  <c:v>-0.30746222978132398</c:v>
                </c:pt>
                <c:pt idx="6646">
                  <c:v>0.211101391921378</c:v>
                </c:pt>
                <c:pt idx="6647">
                  <c:v>-7.9294236232135107E-2</c:v>
                </c:pt>
                <c:pt idx="6648">
                  <c:v>-0.32405626567581097</c:v>
                </c:pt>
                <c:pt idx="6649">
                  <c:v>-0.26182863107148602</c:v>
                </c:pt>
                <c:pt idx="6650">
                  <c:v>-0.58126382204035099</c:v>
                </c:pt>
                <c:pt idx="6651">
                  <c:v>-0.48584811564705399</c:v>
                </c:pt>
                <c:pt idx="6652">
                  <c:v>-0.274274157992351</c:v>
                </c:pt>
                <c:pt idx="6653">
                  <c:v>-0.28257117593959402</c:v>
                </c:pt>
                <c:pt idx="6654">
                  <c:v>-0.390432409253757</c:v>
                </c:pt>
                <c:pt idx="6655">
                  <c:v>-0.56466978614586505</c:v>
                </c:pt>
                <c:pt idx="6656">
                  <c:v>-6.2700200337648601E-2</c:v>
                </c:pt>
                <c:pt idx="6657">
                  <c:v>0.73796203157132401</c:v>
                </c:pt>
                <c:pt idx="6658">
                  <c:v>0.202804373974135</c:v>
                </c:pt>
                <c:pt idx="6659">
                  <c:v>-0.22864055928251301</c:v>
                </c:pt>
                <c:pt idx="6660">
                  <c:v>0.25673499063121602</c:v>
                </c:pt>
                <c:pt idx="6661">
                  <c:v>0.219398409868622</c:v>
                </c:pt>
                <c:pt idx="6662">
                  <c:v>0.25258648165759501</c:v>
                </c:pt>
                <c:pt idx="6663">
                  <c:v>-0.27012564901872999</c:v>
                </c:pt>
                <c:pt idx="6664">
                  <c:v>0.15717077526429701</c:v>
                </c:pt>
                <c:pt idx="6665">
                  <c:v>0.161319284237919</c:v>
                </c:pt>
                <c:pt idx="6666">
                  <c:v>0.119834194501703</c:v>
                </c:pt>
                <c:pt idx="6667">
                  <c:v>0.219398409868622</c:v>
                </c:pt>
                <c:pt idx="6668">
                  <c:v>0.39363578676073002</c:v>
                </c:pt>
                <c:pt idx="6669">
                  <c:v>0.32311113420916199</c:v>
                </c:pt>
                <c:pt idx="6670">
                  <c:v>0.364596223945378</c:v>
                </c:pt>
                <c:pt idx="6671">
                  <c:v>0.26503200857845899</c:v>
                </c:pt>
                <c:pt idx="6672">
                  <c:v>0.34385367907726999</c:v>
                </c:pt>
                <c:pt idx="6673">
                  <c:v>0.123982703475324</c:v>
                </c:pt>
                <c:pt idx="6674">
                  <c:v>2.4418488108405401E-2</c:v>
                </c:pt>
                <c:pt idx="6675">
                  <c:v>9.9091649633594597E-2</c:v>
                </c:pt>
                <c:pt idx="6676">
                  <c:v>-0.27842266696597301</c:v>
                </c:pt>
                <c:pt idx="6677">
                  <c:v>-0.42362048104272898</c:v>
                </c:pt>
                <c:pt idx="6678">
                  <c:v>-0.36968986438564799</c:v>
                </c:pt>
                <c:pt idx="6679">
                  <c:v>-0.37383837335927</c:v>
                </c:pt>
                <c:pt idx="6680">
                  <c:v>-0.52733320538327</c:v>
                </c:pt>
                <c:pt idx="6681">
                  <c:v>-0.72231312714348594</c:v>
                </c:pt>
                <c:pt idx="6682">
                  <c:v>-0.48169960667343198</c:v>
                </c:pt>
                <c:pt idx="6683">
                  <c:v>-0.71401610919624303</c:v>
                </c:pt>
                <c:pt idx="6684">
                  <c:v>-0.65593698356553998</c:v>
                </c:pt>
                <c:pt idx="6685">
                  <c:v>-0.51903618743602697</c:v>
                </c:pt>
                <c:pt idx="6686">
                  <c:v>-0.917293048903702</c:v>
                </c:pt>
                <c:pt idx="6687">
                  <c:v>-0.93803559377181001</c:v>
                </c:pt>
                <c:pt idx="6688">
                  <c:v>-0.90899603095645898</c:v>
                </c:pt>
                <c:pt idx="6689">
                  <c:v>-0.90069901300921595</c:v>
                </c:pt>
                <c:pt idx="6690">
                  <c:v>-0.90069901300921595</c:v>
                </c:pt>
                <c:pt idx="6691">
                  <c:v>-0.90069901300921595</c:v>
                </c:pt>
                <c:pt idx="6692">
                  <c:v>-0.684976546380892</c:v>
                </c:pt>
                <c:pt idx="6693">
                  <c:v>-0.896550504035594</c:v>
                </c:pt>
                <c:pt idx="6694">
                  <c:v>-0.84676839635213497</c:v>
                </c:pt>
                <c:pt idx="6695">
                  <c:v>-0.85091690532575603</c:v>
                </c:pt>
                <c:pt idx="6696">
                  <c:v>-0.95048112069267499</c:v>
                </c:pt>
                <c:pt idx="6697">
                  <c:v>-0.917293048903702</c:v>
                </c:pt>
                <c:pt idx="6698">
                  <c:v>-0.917293048903702</c:v>
                </c:pt>
                <c:pt idx="6699">
                  <c:v>-0.86751094122024297</c:v>
                </c:pt>
                <c:pt idx="6700">
                  <c:v>-0.92144155787732396</c:v>
                </c:pt>
                <c:pt idx="6701">
                  <c:v>-0.91314453993008105</c:v>
                </c:pt>
                <c:pt idx="6702">
                  <c:v>-0.71816461816986399</c:v>
                </c:pt>
                <c:pt idx="6703">
                  <c:v>-0.58956083998759401</c:v>
                </c:pt>
                <c:pt idx="6704">
                  <c:v>-0.77209523482694598</c:v>
                </c:pt>
                <c:pt idx="6705">
                  <c:v>-0.76794672585332402</c:v>
                </c:pt>
                <c:pt idx="6706">
                  <c:v>-0.79283777969505398</c:v>
                </c:pt>
                <c:pt idx="6707">
                  <c:v>-0.77624374380056704</c:v>
                </c:pt>
                <c:pt idx="6708">
                  <c:v>-0.74305567201159395</c:v>
                </c:pt>
                <c:pt idx="6709">
                  <c:v>-0.684976546380892</c:v>
                </c:pt>
                <c:pt idx="6710">
                  <c:v>-0.80943181558954003</c:v>
                </c:pt>
                <c:pt idx="6711">
                  <c:v>-0.89240199506197204</c:v>
                </c:pt>
                <c:pt idx="6712">
                  <c:v>-0.92973857582456698</c:v>
                </c:pt>
                <c:pt idx="6713">
                  <c:v>-0.70157058227537805</c:v>
                </c:pt>
                <c:pt idx="6714">
                  <c:v>-0.87165945019386404</c:v>
                </c:pt>
                <c:pt idx="6715">
                  <c:v>-0.97122366556078299</c:v>
                </c:pt>
                <c:pt idx="6716">
                  <c:v>-0.83847137840489205</c:v>
                </c:pt>
                <c:pt idx="6717">
                  <c:v>-0.11248230802110799</c:v>
                </c:pt>
                <c:pt idx="6718">
                  <c:v>-0.30331372080770302</c:v>
                </c:pt>
                <c:pt idx="6719">
                  <c:v>-0.53977873230413498</c:v>
                </c:pt>
                <c:pt idx="6720">
                  <c:v>-0.448511534884459</c:v>
                </c:pt>
                <c:pt idx="6721">
                  <c:v>-0.25768012209786501</c:v>
                </c:pt>
                <c:pt idx="6722">
                  <c:v>-0.70157058227537805</c:v>
                </c:pt>
                <c:pt idx="6723">
                  <c:v>-0.71816461816986399</c:v>
                </c:pt>
                <c:pt idx="6724">
                  <c:v>-0.31990775670218902</c:v>
                </c:pt>
                <c:pt idx="6725">
                  <c:v>-0.31161073875494599</c:v>
                </c:pt>
                <c:pt idx="6726">
                  <c:v>-0.31990775670218902</c:v>
                </c:pt>
                <c:pt idx="6727">
                  <c:v>-0.36139284643840502</c:v>
                </c:pt>
                <c:pt idx="6728">
                  <c:v>-0.28257117593959402</c:v>
                </c:pt>
                <c:pt idx="6729">
                  <c:v>3.6864015029270301E-2</c:v>
                </c:pt>
                <c:pt idx="6730">
                  <c:v>0.132279721422568</c:v>
                </c:pt>
                <c:pt idx="6731">
                  <c:v>0.15717077526429701</c:v>
                </c:pt>
                <c:pt idx="6732">
                  <c:v>0.16961630218516199</c:v>
                </c:pt>
                <c:pt idx="6733">
                  <c:v>0.21524990089500001</c:v>
                </c:pt>
                <c:pt idx="6734">
                  <c:v>1.61214701611622E-2</c:v>
                </c:pt>
                <c:pt idx="6735">
                  <c:v>0.22769542781586499</c:v>
                </c:pt>
                <c:pt idx="6736">
                  <c:v>-0.129076343915595</c:v>
                </c:pt>
                <c:pt idx="6737">
                  <c:v>-0.26182863107148602</c:v>
                </c:pt>
                <c:pt idx="6738">
                  <c:v>-0.129076343915595</c:v>
                </c:pt>
                <c:pt idx="6739">
                  <c:v>0.103240158607216</c:v>
                </c:pt>
                <c:pt idx="6740">
                  <c:v>-0.149818888783703</c:v>
                </c:pt>
                <c:pt idx="6741">
                  <c:v>2.8566997082027101E-2</c:v>
                </c:pt>
                <c:pt idx="6742">
                  <c:v>-0.36139284643840502</c:v>
                </c:pt>
                <c:pt idx="6743">
                  <c:v>-0.11663081699473</c:v>
                </c:pt>
                <c:pt idx="6744">
                  <c:v>-0.45680855283170202</c:v>
                </c:pt>
                <c:pt idx="6745">
                  <c:v>-0.14152187083645901</c:v>
                </c:pt>
                <c:pt idx="6746">
                  <c:v>0.51809105596937799</c:v>
                </c:pt>
                <c:pt idx="6747">
                  <c:v>-0.236937577229757</c:v>
                </c:pt>
                <c:pt idx="6748">
                  <c:v>-0.16641292467818899</c:v>
                </c:pt>
                <c:pt idx="6749">
                  <c:v>-2.95121285486756E-2</c:v>
                </c:pt>
                <c:pt idx="6750">
                  <c:v>-0.187155469546297</c:v>
                </c:pt>
                <c:pt idx="6751">
                  <c:v>-0.104185290073865</c:v>
                </c:pt>
                <c:pt idx="6752">
                  <c:v>-0.37798688233289202</c:v>
                </c:pt>
                <c:pt idx="6753">
                  <c:v>-0.390432409253757</c:v>
                </c:pt>
                <c:pt idx="6754">
                  <c:v>0.35215069702451302</c:v>
                </c:pt>
                <c:pt idx="6755">
                  <c:v>0.107388667580838</c:v>
                </c:pt>
                <c:pt idx="6756">
                  <c:v>0.35215069702451302</c:v>
                </c:pt>
                <c:pt idx="6757">
                  <c:v>-0.28671968491321598</c:v>
                </c:pt>
                <c:pt idx="6758">
                  <c:v>-1.29180926541891E-2</c:v>
                </c:pt>
                <c:pt idx="6759">
                  <c:v>0.42267534957608099</c:v>
                </c:pt>
                <c:pt idx="6760">
                  <c:v>0.42682385854970301</c:v>
                </c:pt>
                <c:pt idx="6761">
                  <c:v>0.364596223945378</c:v>
                </c:pt>
                <c:pt idx="6762">
                  <c:v>0.23599244576310799</c:v>
                </c:pt>
                <c:pt idx="6763">
                  <c:v>0.28162604447294598</c:v>
                </c:pt>
                <c:pt idx="6764">
                  <c:v>0.37289324189262102</c:v>
                </c:pt>
                <c:pt idx="6765">
                  <c:v>0.364596223945378</c:v>
                </c:pt>
                <c:pt idx="6766">
                  <c:v>0.26503200857845899</c:v>
                </c:pt>
                <c:pt idx="6767">
                  <c:v>0.39778429573435098</c:v>
                </c:pt>
                <c:pt idx="6768">
                  <c:v>0.37289324189262102</c:v>
                </c:pt>
                <c:pt idx="6769">
                  <c:v>0.28577455344656699</c:v>
                </c:pt>
                <c:pt idx="6770">
                  <c:v>0.327259643182784</c:v>
                </c:pt>
                <c:pt idx="6771">
                  <c:v>0.36044771497175698</c:v>
                </c:pt>
                <c:pt idx="6772">
                  <c:v>-0.35724433746478401</c:v>
                </c:pt>
                <c:pt idx="6773">
                  <c:v>-0.47755109769981102</c:v>
                </c:pt>
                <c:pt idx="6774">
                  <c:v>-0.32820477464943199</c:v>
                </c:pt>
                <c:pt idx="6775">
                  <c:v>-0.44021451693721603</c:v>
                </c:pt>
                <c:pt idx="6776">
                  <c:v>-0.431917498989973</c:v>
                </c:pt>
                <c:pt idx="6777">
                  <c:v>-0.61030338485570201</c:v>
                </c:pt>
                <c:pt idx="6778">
                  <c:v>-0.58541233101397305</c:v>
                </c:pt>
                <c:pt idx="6779">
                  <c:v>-0.62689742075018895</c:v>
                </c:pt>
                <c:pt idx="6780">
                  <c:v>-0.17470994262543199</c:v>
                </c:pt>
                <c:pt idx="6781">
                  <c:v>-0.780392252774189</c:v>
                </c:pt>
                <c:pt idx="6782">
                  <c:v>-0.71401610919624303</c:v>
                </c:pt>
                <c:pt idx="6783">
                  <c:v>-0.684976546380892</c:v>
                </c:pt>
                <c:pt idx="6784">
                  <c:v>-0.73890716303797299</c:v>
                </c:pt>
                <c:pt idx="6785">
                  <c:v>-0.65178847459191902</c:v>
                </c:pt>
                <c:pt idx="6786">
                  <c:v>-0.78868927072143202</c:v>
                </c:pt>
                <c:pt idx="6787">
                  <c:v>-0.79283777969505398</c:v>
                </c:pt>
                <c:pt idx="6788">
                  <c:v>-0.759649707906081</c:v>
                </c:pt>
                <c:pt idx="6789">
                  <c:v>-0.67253101946002702</c:v>
                </c:pt>
                <c:pt idx="6790">
                  <c:v>-0.73475865406435104</c:v>
                </c:pt>
                <c:pt idx="6791">
                  <c:v>-0.88825348608835097</c:v>
                </c:pt>
                <c:pt idx="6792">
                  <c:v>-0.86336243224662101</c:v>
                </c:pt>
                <c:pt idx="6793">
                  <c:v>-0.81358032456316198</c:v>
                </c:pt>
                <c:pt idx="6794">
                  <c:v>-0.81358032456316198</c:v>
                </c:pt>
                <c:pt idx="6795">
                  <c:v>-0.87165945019386404</c:v>
                </c:pt>
                <c:pt idx="6796">
                  <c:v>-0.90899603095645898</c:v>
                </c:pt>
                <c:pt idx="6797">
                  <c:v>-0.87995646814110795</c:v>
                </c:pt>
                <c:pt idx="6798">
                  <c:v>-0.643491456644675</c:v>
                </c:pt>
                <c:pt idx="6799">
                  <c:v>-0.54392724127775605</c:v>
                </c:pt>
                <c:pt idx="6800">
                  <c:v>-0.61860040280294604</c:v>
                </c:pt>
                <c:pt idx="6801">
                  <c:v>-0.63519443869743197</c:v>
                </c:pt>
                <c:pt idx="6802">
                  <c:v>-0.69742207330175598</c:v>
                </c:pt>
                <c:pt idx="6803">
                  <c:v>-0.73061014509072897</c:v>
                </c:pt>
                <c:pt idx="6804">
                  <c:v>-0.72646163611710801</c:v>
                </c:pt>
                <c:pt idx="6805">
                  <c:v>-0.71816461816986399</c:v>
                </c:pt>
                <c:pt idx="6806">
                  <c:v>-0.77209523482694598</c:v>
                </c:pt>
                <c:pt idx="6807">
                  <c:v>-0.74720418098521602</c:v>
                </c:pt>
                <c:pt idx="6808">
                  <c:v>-0.67253101946002702</c:v>
                </c:pt>
                <c:pt idx="6809">
                  <c:v>-0.52733320538327</c:v>
                </c:pt>
                <c:pt idx="6810">
                  <c:v>-0.87580795916748599</c:v>
                </c:pt>
                <c:pt idx="6811">
                  <c:v>-0.90069901300921595</c:v>
                </c:pt>
                <c:pt idx="6812">
                  <c:v>-0.36139284643840502</c:v>
                </c:pt>
                <c:pt idx="6813">
                  <c:v>-0.54392724127775605</c:v>
                </c:pt>
                <c:pt idx="6814">
                  <c:v>-0.98781770145527004</c:v>
                </c:pt>
                <c:pt idx="6815">
                  <c:v>-0.45680855283170202</c:v>
                </c:pt>
                <c:pt idx="6816">
                  <c:v>-0.85921392327299995</c:v>
                </c:pt>
                <c:pt idx="6817">
                  <c:v>-1.3155499103713799</c:v>
                </c:pt>
                <c:pt idx="6818">
                  <c:v>-0.66008549253916204</c:v>
                </c:pt>
                <c:pt idx="6819">
                  <c:v>-0.79698628866867505</c:v>
                </c:pt>
                <c:pt idx="6820">
                  <c:v>-0.51488767846240502</c:v>
                </c:pt>
                <c:pt idx="6821">
                  <c:v>-0.80528330661591896</c:v>
                </c:pt>
                <c:pt idx="6822">
                  <c:v>-0.73890716303797299</c:v>
                </c:pt>
                <c:pt idx="6823">
                  <c:v>-0.77624374380056704</c:v>
                </c:pt>
                <c:pt idx="6824">
                  <c:v>-0.66838251048640496</c:v>
                </c:pt>
                <c:pt idx="6825">
                  <c:v>-0.64763996561829695</c:v>
                </c:pt>
                <c:pt idx="6826">
                  <c:v>-0.69327356432813503</c:v>
                </c:pt>
                <c:pt idx="6827">
                  <c:v>-0.61445189382932397</c:v>
                </c:pt>
                <c:pt idx="6828">
                  <c:v>-0.56881829511948601</c:v>
                </c:pt>
                <c:pt idx="6829">
                  <c:v>0.36044771497175698</c:v>
                </c:pt>
                <c:pt idx="6830">
                  <c:v>5.34580509237568E-2</c:v>
                </c:pt>
                <c:pt idx="6831">
                  <c:v>-3.7809146495918898E-2</c:v>
                </c:pt>
                <c:pt idx="6832">
                  <c:v>-0.43606600796359402</c:v>
                </c:pt>
                <c:pt idx="6833">
                  <c:v>-0.684976546380892</c:v>
                </c:pt>
                <c:pt idx="6834">
                  <c:v>-5.0254673416783698E-2</c:v>
                </c:pt>
                <c:pt idx="6835">
                  <c:v>-0.22864055928251301</c:v>
                </c:pt>
                <c:pt idx="6836">
                  <c:v>-0.32820477464943199</c:v>
                </c:pt>
                <c:pt idx="6837">
                  <c:v>-0.34894731951753999</c:v>
                </c:pt>
                <c:pt idx="6838">
                  <c:v>-0.13322485288921601</c:v>
                </c:pt>
                <c:pt idx="6839">
                  <c:v>0.32311113420916199</c:v>
                </c:pt>
                <c:pt idx="6840">
                  <c:v>0.19865586500051299</c:v>
                </c:pt>
                <c:pt idx="6841">
                  <c:v>0.42267534957608099</c:v>
                </c:pt>
                <c:pt idx="6842">
                  <c:v>0.80848668412289104</c:v>
                </c:pt>
                <c:pt idx="6843">
                  <c:v>3.6759432402973299E-3</c:v>
                </c:pt>
                <c:pt idx="6844">
                  <c:v>-2.1215110601432399E-2</c:v>
                </c:pt>
                <c:pt idx="6845">
                  <c:v>7.0052086818243306E-2</c:v>
                </c:pt>
                <c:pt idx="6846">
                  <c:v>0.58861570852094602</c:v>
                </c:pt>
                <c:pt idx="6847">
                  <c:v>0.67988290594062095</c:v>
                </c:pt>
                <c:pt idx="6848">
                  <c:v>-9.5888272126621502E-2</c:v>
                </c:pt>
                <c:pt idx="6849">
                  <c:v>0.54713061878472902</c:v>
                </c:pt>
                <c:pt idx="6850">
                  <c:v>0.52223956494299995</c:v>
                </c:pt>
                <c:pt idx="6851">
                  <c:v>0.89975388154256697</c:v>
                </c:pt>
                <c:pt idx="6852">
                  <c:v>0.77944712130754001</c:v>
                </c:pt>
                <c:pt idx="6853">
                  <c:v>0.19450735602689201</c:v>
                </c:pt>
                <c:pt idx="6854">
                  <c:v>0.14472524834343201</c:v>
                </c:pt>
                <c:pt idx="6855">
                  <c:v>0.89975388154256697</c:v>
                </c:pt>
                <c:pt idx="6856">
                  <c:v>0.63010079825716203</c:v>
                </c:pt>
                <c:pt idx="6857">
                  <c:v>0.88315984564808103</c:v>
                </c:pt>
                <c:pt idx="6858">
                  <c:v>0.66328887004613502</c:v>
                </c:pt>
                <c:pt idx="6859">
                  <c:v>0.19450735602689201</c:v>
                </c:pt>
                <c:pt idx="6860">
                  <c:v>-7.5145727258513401E-2</c:v>
                </c:pt>
                <c:pt idx="6861">
                  <c:v>-0.11663081699473</c:v>
                </c:pt>
                <c:pt idx="6862">
                  <c:v>-0.11248230802110799</c:v>
                </c:pt>
                <c:pt idx="6863">
                  <c:v>-4.19576554695405E-2</c:v>
                </c:pt>
                <c:pt idx="6864">
                  <c:v>3.6759432402973299E-3</c:v>
                </c:pt>
                <c:pt idx="6865">
                  <c:v>-0.124927834941973</c:v>
                </c:pt>
                <c:pt idx="6866">
                  <c:v>-5.44031823904053E-2</c:v>
                </c:pt>
                <c:pt idx="6867">
                  <c:v>2.4418488108405401E-2</c:v>
                </c:pt>
                <c:pt idx="6868">
                  <c:v>-0.16226441570456701</c:v>
                </c:pt>
                <c:pt idx="6869">
                  <c:v>-2.5363619575054001E-2</c:v>
                </c:pt>
                <c:pt idx="6870">
                  <c:v>-4.6106164443162102E-2</c:v>
                </c:pt>
                <c:pt idx="6871">
                  <c:v>-0.104185290073865</c:v>
                </c:pt>
                <c:pt idx="6872">
                  <c:v>-0.25353161312424299</c:v>
                </c:pt>
                <c:pt idx="6873">
                  <c:v>-0.44021451693721603</c:v>
                </c:pt>
                <c:pt idx="6874">
                  <c:v>-0.44021451693721603</c:v>
                </c:pt>
                <c:pt idx="6875">
                  <c:v>-0.51903618743602697</c:v>
                </c:pt>
                <c:pt idx="6876">
                  <c:v>-0.62274891177656699</c:v>
                </c:pt>
                <c:pt idx="6877">
                  <c:v>-0.62689742075018895</c:v>
                </c:pt>
                <c:pt idx="6878">
                  <c:v>-0.77624374380056704</c:v>
                </c:pt>
                <c:pt idx="6879">
                  <c:v>-0.66008549253916204</c:v>
                </c:pt>
                <c:pt idx="6880">
                  <c:v>-0.684976546380892</c:v>
                </c:pt>
                <c:pt idx="6881">
                  <c:v>-0.76794672585332402</c:v>
                </c:pt>
                <c:pt idx="6882">
                  <c:v>-0.73475865406435104</c:v>
                </c:pt>
                <c:pt idx="6883">
                  <c:v>-0.75135268995883697</c:v>
                </c:pt>
                <c:pt idx="6884">
                  <c:v>-0.74305567201159395</c:v>
                </c:pt>
                <c:pt idx="6885">
                  <c:v>-0.66838251048640496</c:v>
                </c:pt>
                <c:pt idx="6886">
                  <c:v>-0.67667952843364798</c:v>
                </c:pt>
                <c:pt idx="6887">
                  <c:v>-0.72231312714348594</c:v>
                </c:pt>
                <c:pt idx="6888">
                  <c:v>-0.69327356432813503</c:v>
                </c:pt>
                <c:pt idx="6889">
                  <c:v>-0.73061014509072897</c:v>
                </c:pt>
                <c:pt idx="6890">
                  <c:v>-0.72646163611710801</c:v>
                </c:pt>
                <c:pt idx="6891">
                  <c:v>-0.68082803740727005</c:v>
                </c:pt>
                <c:pt idx="6892">
                  <c:v>-0.78454076174780996</c:v>
                </c:pt>
                <c:pt idx="6893">
                  <c:v>-0.74720418098521602</c:v>
                </c:pt>
                <c:pt idx="6894">
                  <c:v>-0.76794672585332402</c:v>
                </c:pt>
                <c:pt idx="6895">
                  <c:v>-0.780392252774189</c:v>
                </c:pt>
                <c:pt idx="6896">
                  <c:v>-0.83432286943126999</c:v>
                </c:pt>
                <c:pt idx="6897">
                  <c:v>-0.85921392327299995</c:v>
                </c:pt>
                <c:pt idx="6898">
                  <c:v>-0.86751094122024297</c:v>
                </c:pt>
                <c:pt idx="6899">
                  <c:v>-0.84676839635213497</c:v>
                </c:pt>
                <c:pt idx="6900">
                  <c:v>-0.84261988737851301</c:v>
                </c:pt>
                <c:pt idx="6901">
                  <c:v>-0.83847137840489205</c:v>
                </c:pt>
                <c:pt idx="6902">
                  <c:v>-0.85921392327299995</c:v>
                </c:pt>
                <c:pt idx="6903">
                  <c:v>-0.87580795916748599</c:v>
                </c:pt>
                <c:pt idx="6904">
                  <c:v>-0.86336243224662101</c:v>
                </c:pt>
                <c:pt idx="6905">
                  <c:v>-0.84676839635213497</c:v>
                </c:pt>
                <c:pt idx="6906">
                  <c:v>-0.87165945019386404</c:v>
                </c:pt>
                <c:pt idx="6907">
                  <c:v>-0.896550504035594</c:v>
                </c:pt>
                <c:pt idx="6908">
                  <c:v>-0.28257117593959402</c:v>
                </c:pt>
                <c:pt idx="6909">
                  <c:v>-0.26182863107148602</c:v>
                </c:pt>
                <c:pt idx="6910">
                  <c:v>-0.245234595177</c:v>
                </c:pt>
                <c:pt idx="6911">
                  <c:v>-0.236937577229757</c:v>
                </c:pt>
                <c:pt idx="6912">
                  <c:v>-0.245234595177</c:v>
                </c:pt>
                <c:pt idx="6913">
                  <c:v>-0.25353161312424299</c:v>
                </c:pt>
                <c:pt idx="6914">
                  <c:v>-0.36139284643840502</c:v>
                </c:pt>
                <c:pt idx="6915">
                  <c:v>-0.207898014414405</c:v>
                </c:pt>
                <c:pt idx="6916">
                  <c:v>-0.149818888783703</c:v>
                </c:pt>
                <c:pt idx="6917">
                  <c:v>0.36874473291900001</c:v>
                </c:pt>
                <c:pt idx="6918">
                  <c:v>7.0052086818243306E-2</c:v>
                </c:pt>
                <c:pt idx="6919">
                  <c:v>7.8349104765486496E-2</c:v>
                </c:pt>
                <c:pt idx="6920">
                  <c:v>0.73796203157132401</c:v>
                </c:pt>
                <c:pt idx="6921">
                  <c:v>0.202804373974135</c:v>
                </c:pt>
                <c:pt idx="6922">
                  <c:v>0.182061829106027</c:v>
                </c:pt>
                <c:pt idx="6923">
                  <c:v>0.27332902652570301</c:v>
                </c:pt>
                <c:pt idx="6924">
                  <c:v>0.66743737901975697</c:v>
                </c:pt>
                <c:pt idx="6925">
                  <c:v>0.63839781620440506</c:v>
                </c:pt>
                <c:pt idx="6926">
                  <c:v>0.50149702007489205</c:v>
                </c:pt>
                <c:pt idx="6927">
                  <c:v>0.55542763673197304</c:v>
                </c:pt>
                <c:pt idx="6928">
                  <c:v>0.76700159438667503</c:v>
                </c:pt>
                <c:pt idx="6929">
                  <c:v>0.58446719954732396</c:v>
                </c:pt>
                <c:pt idx="6930">
                  <c:v>0.59691272646818905</c:v>
                </c:pt>
                <c:pt idx="6931">
                  <c:v>1.1071793302236499</c:v>
                </c:pt>
                <c:pt idx="6932">
                  <c:v>0.82922922899100004</c:v>
                </c:pt>
                <c:pt idx="6933">
                  <c:v>0.70062545080872896</c:v>
                </c:pt>
                <c:pt idx="6934">
                  <c:v>1.03250616869846</c:v>
                </c:pt>
                <c:pt idx="6935">
                  <c:v>1.1113278391972701</c:v>
                </c:pt>
                <c:pt idx="6936">
                  <c:v>0.91219940846343195</c:v>
                </c:pt>
                <c:pt idx="6937">
                  <c:v>1.03250616869846</c:v>
                </c:pt>
                <c:pt idx="6938">
                  <c:v>0.79189264822840499</c:v>
                </c:pt>
                <c:pt idx="6939">
                  <c:v>0.70477395978235102</c:v>
                </c:pt>
                <c:pt idx="6940">
                  <c:v>1.136218893039</c:v>
                </c:pt>
                <c:pt idx="6941">
                  <c:v>1.1942980186697001</c:v>
                </c:pt>
                <c:pt idx="6942">
                  <c:v>1.1071793302236499</c:v>
                </c:pt>
                <c:pt idx="6943">
                  <c:v>1.0283576597248401</c:v>
                </c:pt>
                <c:pt idx="6944">
                  <c:v>0.49320000212764797</c:v>
                </c:pt>
                <c:pt idx="6945">
                  <c:v>-9.1739763152999906E-2</c:v>
                </c:pt>
                <c:pt idx="6946">
                  <c:v>0.19450735602689201</c:v>
                </c:pt>
                <c:pt idx="6947">
                  <c:v>0.31896262523553998</c:v>
                </c:pt>
                <c:pt idx="6948">
                  <c:v>7.0052086818243306E-2</c:v>
                </c:pt>
                <c:pt idx="6949">
                  <c:v>0.13642823039618901</c:v>
                </c:pt>
                <c:pt idx="6950">
                  <c:v>0.25673499063121602</c:v>
                </c:pt>
                <c:pt idx="6951">
                  <c:v>0.16961630218516199</c:v>
                </c:pt>
                <c:pt idx="6952">
                  <c:v>0.19450735602689201</c:v>
                </c:pt>
                <c:pt idx="6953">
                  <c:v>0.24428946371035101</c:v>
                </c:pt>
                <c:pt idx="6954">
                  <c:v>0.39778429573435098</c:v>
                </c:pt>
                <c:pt idx="6955">
                  <c:v>9.9091649633594597E-2</c:v>
                </c:pt>
                <c:pt idx="6956">
                  <c:v>0.173764811158784</c:v>
                </c:pt>
                <c:pt idx="6957">
                  <c:v>0.31481411626191902</c:v>
                </c:pt>
                <c:pt idx="6958">
                  <c:v>0.37289324189262102</c:v>
                </c:pt>
                <c:pt idx="6959">
                  <c:v>0.20695288294775699</c:v>
                </c:pt>
                <c:pt idx="6960">
                  <c:v>0.25258648165759501</c:v>
                </c:pt>
                <c:pt idx="6961">
                  <c:v>0.153022266290676</c:v>
                </c:pt>
                <c:pt idx="6962">
                  <c:v>0.19450735602689201</c:v>
                </c:pt>
                <c:pt idx="6963">
                  <c:v>0.24014095473673</c:v>
                </c:pt>
                <c:pt idx="6964">
                  <c:v>0.132279721422568</c:v>
                </c:pt>
                <c:pt idx="6965">
                  <c:v>0.119834194501703</c:v>
                </c:pt>
                <c:pt idx="6966">
                  <c:v>6.1755068870999998E-2</c:v>
                </c:pt>
                <c:pt idx="6967">
                  <c:v>-2.5363619575054001E-2</c:v>
                </c:pt>
                <c:pt idx="6968">
                  <c:v>-7.9294236232135107E-2</c:v>
                </c:pt>
                <c:pt idx="6969">
                  <c:v>-4.6106164443162102E-2</c:v>
                </c:pt>
                <c:pt idx="6970">
                  <c:v>-7.9294236232135107E-2</c:v>
                </c:pt>
                <c:pt idx="6971">
                  <c:v>-5.44031823904053E-2</c:v>
                </c:pt>
                <c:pt idx="6972">
                  <c:v>-0.34065030157029702</c:v>
                </c:pt>
                <c:pt idx="6973">
                  <c:v>-0.27012564901872999</c:v>
                </c:pt>
                <c:pt idx="6974">
                  <c:v>-0.24938310415062101</c:v>
                </c:pt>
                <c:pt idx="6975">
                  <c:v>-0.52733320538327</c:v>
                </c:pt>
                <c:pt idx="6976">
                  <c:v>-0.42776899001635099</c:v>
                </c:pt>
                <c:pt idx="6977">
                  <c:v>-0.43606600796359402</c:v>
                </c:pt>
                <c:pt idx="6978">
                  <c:v>-0.48169960667343198</c:v>
                </c:pt>
                <c:pt idx="6979">
                  <c:v>-0.59370934896121597</c:v>
                </c:pt>
                <c:pt idx="6980">
                  <c:v>-0.548075750251378</c:v>
                </c:pt>
                <c:pt idx="6981">
                  <c:v>-0.51488767846240502</c:v>
                </c:pt>
                <c:pt idx="6982">
                  <c:v>-0.51488767846240502</c:v>
                </c:pt>
                <c:pt idx="6983">
                  <c:v>-0.52733320538327</c:v>
                </c:pt>
                <c:pt idx="6984">
                  <c:v>-0.65593698356553998</c:v>
                </c:pt>
                <c:pt idx="6985">
                  <c:v>-0.65178847459191902</c:v>
                </c:pt>
                <c:pt idx="6986">
                  <c:v>-0.63519443869743197</c:v>
                </c:pt>
                <c:pt idx="6987">
                  <c:v>-0.73061014509072897</c:v>
                </c:pt>
                <c:pt idx="6988">
                  <c:v>-0.67253101946002702</c:v>
                </c:pt>
                <c:pt idx="6989">
                  <c:v>-0.68082803740727005</c:v>
                </c:pt>
                <c:pt idx="6990">
                  <c:v>-0.65593698356553998</c:v>
                </c:pt>
                <c:pt idx="6991">
                  <c:v>-0.67667952843364798</c:v>
                </c:pt>
                <c:pt idx="6992">
                  <c:v>-0.69742207330175598</c:v>
                </c:pt>
                <c:pt idx="6993">
                  <c:v>-0.66838251048640496</c:v>
                </c:pt>
                <c:pt idx="6994">
                  <c:v>-0.69327356432813503</c:v>
                </c:pt>
                <c:pt idx="6995">
                  <c:v>-0.70157058227537805</c:v>
                </c:pt>
                <c:pt idx="6996">
                  <c:v>-0.759649707906081</c:v>
                </c:pt>
                <c:pt idx="6997">
                  <c:v>-0.76794672585332402</c:v>
                </c:pt>
                <c:pt idx="6998">
                  <c:v>-0.76379821687970195</c:v>
                </c:pt>
                <c:pt idx="6999">
                  <c:v>-0.73890716303797299</c:v>
                </c:pt>
                <c:pt idx="7000">
                  <c:v>-0.75550119893245904</c:v>
                </c:pt>
                <c:pt idx="7001">
                  <c:v>-0.759649707906081</c:v>
                </c:pt>
                <c:pt idx="7002">
                  <c:v>-0.78454076174780996</c:v>
                </c:pt>
                <c:pt idx="7003">
                  <c:v>-0.71401610919624303</c:v>
                </c:pt>
                <c:pt idx="7004">
                  <c:v>-0.53148171435689195</c:v>
                </c:pt>
                <c:pt idx="7005">
                  <c:v>-0.43606600796359402</c:v>
                </c:pt>
                <c:pt idx="7006">
                  <c:v>-0.41947197206910802</c:v>
                </c:pt>
                <c:pt idx="7007">
                  <c:v>-0.390432409253757</c:v>
                </c:pt>
                <c:pt idx="7008">
                  <c:v>-0.40702644514824299</c:v>
                </c:pt>
                <c:pt idx="7009">
                  <c:v>-0.39458091822737801</c:v>
                </c:pt>
                <c:pt idx="7010">
                  <c:v>-0.47340258872618901</c:v>
                </c:pt>
                <c:pt idx="7011">
                  <c:v>-0.55222425922499996</c:v>
                </c:pt>
                <c:pt idx="7012">
                  <c:v>-0.54392724127775605</c:v>
                </c:pt>
                <c:pt idx="7013">
                  <c:v>-0.40702644514824299</c:v>
                </c:pt>
                <c:pt idx="7014">
                  <c:v>-6.6848709311270196E-2</c:v>
                </c:pt>
                <c:pt idx="7015">
                  <c:v>-0.32405626567581097</c:v>
                </c:pt>
                <c:pt idx="7016">
                  <c:v>-0.29916521183408101</c:v>
                </c:pt>
                <c:pt idx="7017">
                  <c:v>-0.11248230802110799</c:v>
                </c:pt>
                <c:pt idx="7018">
                  <c:v>-0.36968986438564799</c:v>
                </c:pt>
                <c:pt idx="7019">
                  <c:v>-0.21204652338802699</c:v>
                </c:pt>
                <c:pt idx="7020">
                  <c:v>0.78774413925478304</c:v>
                </c:pt>
                <c:pt idx="7021">
                  <c:v>0.48905149315402702</c:v>
                </c:pt>
                <c:pt idx="7022">
                  <c:v>0.161319284237919</c:v>
                </c:pt>
                <c:pt idx="7023">
                  <c:v>0.28162604447294598</c:v>
                </c:pt>
                <c:pt idx="7024">
                  <c:v>6.59035778446216E-2</c:v>
                </c:pt>
                <c:pt idx="7025">
                  <c:v>6.1755068870999998E-2</c:v>
                </c:pt>
                <c:pt idx="7026">
                  <c:v>0.123982703475324</c:v>
                </c:pt>
                <c:pt idx="7027">
                  <c:v>0.30236858934105398</c:v>
                </c:pt>
                <c:pt idx="7028">
                  <c:v>0.31896262523553998</c:v>
                </c:pt>
                <c:pt idx="7029">
                  <c:v>0.44756640341781101</c:v>
                </c:pt>
                <c:pt idx="7030">
                  <c:v>0.41022982265521601</c:v>
                </c:pt>
                <c:pt idx="7031">
                  <c:v>0.41022982265521601</c:v>
                </c:pt>
                <c:pt idx="7032">
                  <c:v>0.15717077526429701</c:v>
                </c:pt>
                <c:pt idx="7033">
                  <c:v>0.21524990089500001</c:v>
                </c:pt>
                <c:pt idx="7034">
                  <c:v>0.32311113420916199</c:v>
                </c:pt>
                <c:pt idx="7035">
                  <c:v>0.364596223945378</c:v>
                </c:pt>
                <c:pt idx="7036">
                  <c:v>0.33555666113002702</c:v>
                </c:pt>
                <c:pt idx="7037">
                  <c:v>0.33970517010364898</c:v>
                </c:pt>
                <c:pt idx="7038">
                  <c:v>0.37704175086624298</c:v>
                </c:pt>
                <c:pt idx="7039">
                  <c:v>0.35629920599813503</c:v>
                </c:pt>
                <c:pt idx="7040">
                  <c:v>0.580318690573702</c:v>
                </c:pt>
                <c:pt idx="7041">
                  <c:v>0.61350676236267498</c:v>
                </c:pt>
                <c:pt idx="7042">
                  <c:v>0.68817992388786497</c:v>
                </c:pt>
                <c:pt idx="7043">
                  <c:v>0.464160439312297</c:v>
                </c:pt>
                <c:pt idx="7044">
                  <c:v>0.29407157139381102</c:v>
                </c:pt>
                <c:pt idx="7045">
                  <c:v>0.28577455344656699</c:v>
                </c:pt>
                <c:pt idx="7046">
                  <c:v>0.31066560728829701</c:v>
                </c:pt>
                <c:pt idx="7047">
                  <c:v>0.43512087649694597</c:v>
                </c:pt>
                <c:pt idx="7048">
                  <c:v>0.31481411626191902</c:v>
                </c:pt>
                <c:pt idx="7049">
                  <c:v>0.49320000212764797</c:v>
                </c:pt>
                <c:pt idx="7050">
                  <c:v>0.248437972683973</c:v>
                </c:pt>
                <c:pt idx="7051">
                  <c:v>0.74211054054494596</c:v>
                </c:pt>
                <c:pt idx="7052">
                  <c:v>0.269180517552081</c:v>
                </c:pt>
                <c:pt idx="7053">
                  <c:v>0.306517098314676</c:v>
                </c:pt>
                <c:pt idx="7054">
                  <c:v>0.50979403802213497</c:v>
                </c:pt>
                <c:pt idx="7055">
                  <c:v>0.306517098314676</c:v>
                </c:pt>
                <c:pt idx="7056">
                  <c:v>0.43512087649694597</c:v>
                </c:pt>
                <c:pt idx="7057">
                  <c:v>1.19729611875406E-2</c:v>
                </c:pt>
                <c:pt idx="7058">
                  <c:v>0.464160439312297</c:v>
                </c:pt>
                <c:pt idx="7059">
                  <c:v>0.211101391921378</c:v>
                </c:pt>
                <c:pt idx="7060">
                  <c:v>0.31481411626191902</c:v>
                </c:pt>
                <c:pt idx="7061">
                  <c:v>-2.5363619575054001E-2</c:v>
                </c:pt>
                <c:pt idx="7062">
                  <c:v>-9.1739763152999906E-2</c:v>
                </c:pt>
                <c:pt idx="7063">
                  <c:v>-0.108333799047486</c:v>
                </c:pt>
                <c:pt idx="7064">
                  <c:v>-0.11663081699473</c:v>
                </c:pt>
                <c:pt idx="7065">
                  <c:v>-0.27012564901872999</c:v>
                </c:pt>
                <c:pt idx="7066">
                  <c:v>-0.39872942720100002</c:v>
                </c:pt>
                <c:pt idx="7067">
                  <c:v>-0.664234001512783</c:v>
                </c:pt>
                <c:pt idx="7068">
                  <c:v>-0.61445189382932397</c:v>
                </c:pt>
                <c:pt idx="7069">
                  <c:v>-0.56466978614586505</c:v>
                </c:pt>
                <c:pt idx="7070">
                  <c:v>-0.548075750251378</c:v>
                </c:pt>
                <c:pt idx="7071">
                  <c:v>-0.56881829511948601</c:v>
                </c:pt>
                <c:pt idx="7072">
                  <c:v>-0.61445189382932397</c:v>
                </c:pt>
                <c:pt idx="7073">
                  <c:v>-0.69327356432813503</c:v>
                </c:pt>
                <c:pt idx="7074">
                  <c:v>-0.63934294767105404</c:v>
                </c:pt>
                <c:pt idx="7075">
                  <c:v>-0.61030338485570201</c:v>
                </c:pt>
                <c:pt idx="7076">
                  <c:v>-0.684976546380892</c:v>
                </c:pt>
                <c:pt idx="7077">
                  <c:v>-0.73475865406435104</c:v>
                </c:pt>
                <c:pt idx="7078">
                  <c:v>-0.70157058227537805</c:v>
                </c:pt>
                <c:pt idx="7079">
                  <c:v>-0.65178847459191902</c:v>
                </c:pt>
                <c:pt idx="7080">
                  <c:v>-0.66008549253916204</c:v>
                </c:pt>
                <c:pt idx="7081">
                  <c:v>-0.78454076174780996</c:v>
                </c:pt>
                <c:pt idx="7082">
                  <c:v>-0.76794672585332402</c:v>
                </c:pt>
                <c:pt idx="7083">
                  <c:v>-0.82602585148402696</c:v>
                </c:pt>
                <c:pt idx="7084">
                  <c:v>-0.75550119893245904</c:v>
                </c:pt>
                <c:pt idx="7085">
                  <c:v>7.0052086818243306E-2</c:v>
                </c:pt>
                <c:pt idx="7086">
                  <c:v>-0.52318469640964804</c:v>
                </c:pt>
                <c:pt idx="7087">
                  <c:v>-0.52318469640964804</c:v>
                </c:pt>
                <c:pt idx="7088">
                  <c:v>-0.58541233101397305</c:v>
                </c:pt>
                <c:pt idx="7089">
                  <c:v>-0.62689742075018895</c:v>
                </c:pt>
                <c:pt idx="7090">
                  <c:v>-0.61445189382932397</c:v>
                </c:pt>
                <c:pt idx="7091">
                  <c:v>-0.67667952843364798</c:v>
                </c:pt>
                <c:pt idx="7092">
                  <c:v>-0.411174954121865</c:v>
                </c:pt>
                <c:pt idx="7093">
                  <c:v>0.14057673936981099</c:v>
                </c:pt>
                <c:pt idx="7094">
                  <c:v>0.19450735602689201</c:v>
                </c:pt>
                <c:pt idx="7095">
                  <c:v>0.22769542781586499</c:v>
                </c:pt>
                <c:pt idx="7096">
                  <c:v>-0.45680855283170202</c:v>
                </c:pt>
                <c:pt idx="7097">
                  <c:v>-0.48584811564705399</c:v>
                </c:pt>
                <c:pt idx="7098">
                  <c:v>-0.67667952843364798</c:v>
                </c:pt>
                <c:pt idx="7099">
                  <c:v>-0.18300696057267599</c:v>
                </c:pt>
                <c:pt idx="7100">
                  <c:v>-0.469254079752567</c:v>
                </c:pt>
                <c:pt idx="7101">
                  <c:v>-0.66008549253916204</c:v>
                </c:pt>
                <c:pt idx="7102">
                  <c:v>-0.50659066051516199</c:v>
                </c:pt>
                <c:pt idx="7103">
                  <c:v>-1.45659921547451</c:v>
                </c:pt>
                <c:pt idx="7104">
                  <c:v>2.7499888837778101</c:v>
                </c:pt>
                <c:pt idx="7105">
                  <c:v>1.6381884788472201</c:v>
                </c:pt>
                <c:pt idx="7106">
                  <c:v>1.2357831084059201</c:v>
                </c:pt>
                <c:pt idx="7107">
                  <c:v>4.1012524002891897E-2</c:v>
                </c:pt>
                <c:pt idx="7108">
                  <c:v>-2.5363619575054001E-2</c:v>
                </c:pt>
                <c:pt idx="7109">
                  <c:v>4.9309541950135198E-2</c:v>
                </c:pt>
                <c:pt idx="7110">
                  <c:v>3.6864015029270301E-2</c:v>
                </c:pt>
                <c:pt idx="7111">
                  <c:v>-0.20374950544078399</c:v>
                </c:pt>
                <c:pt idx="7112">
                  <c:v>0.28162604447294598</c:v>
                </c:pt>
                <c:pt idx="7113">
                  <c:v>1.79583181984484</c:v>
                </c:pt>
                <c:pt idx="7114">
                  <c:v>2.2189797351542402</c:v>
                </c:pt>
                <c:pt idx="7115">
                  <c:v>1.7999803288184599</c:v>
                </c:pt>
                <c:pt idx="7116">
                  <c:v>1.60500040705824</c:v>
                </c:pt>
                <c:pt idx="7117">
                  <c:v>1.39342644940354</c:v>
                </c:pt>
                <c:pt idx="7118">
                  <c:v>1.3187532878783499</c:v>
                </c:pt>
                <c:pt idx="7119">
                  <c:v>1.26897118019489</c:v>
                </c:pt>
                <c:pt idx="7120">
                  <c:v>1.3021592519838601</c:v>
                </c:pt>
                <c:pt idx="7121">
                  <c:v>1.39342644940354</c:v>
                </c:pt>
                <c:pt idx="7122">
                  <c:v>1.26482267122127</c:v>
                </c:pt>
                <c:pt idx="7123">
                  <c:v>1.3229017968519701</c:v>
                </c:pt>
                <c:pt idx="7124">
                  <c:v>1.31045626993111</c:v>
                </c:pt>
                <c:pt idx="7125">
                  <c:v>1.3021592519838601</c:v>
                </c:pt>
                <c:pt idx="7126">
                  <c:v>1.3229017968519701</c:v>
                </c:pt>
                <c:pt idx="7127">
                  <c:v>1.4017234673507799</c:v>
                </c:pt>
                <c:pt idx="7128">
                  <c:v>1.3851294314563001</c:v>
                </c:pt>
                <c:pt idx="7129">
                  <c:v>1.5137332096385701</c:v>
                </c:pt>
                <c:pt idx="7130">
                  <c:v>1.5759608442428901</c:v>
                </c:pt>
                <c:pt idx="7131">
                  <c:v>1.56351531732203</c:v>
                </c:pt>
                <c:pt idx="7132">
                  <c:v>1.5718123352692699</c:v>
                </c:pt>
                <c:pt idx="7133">
                  <c:v>1.16525845585435</c:v>
                </c:pt>
                <c:pt idx="7134">
                  <c:v>0.97857555204137803</c:v>
                </c:pt>
                <c:pt idx="7135">
                  <c:v>1.2523771443003999</c:v>
                </c:pt>
                <c:pt idx="7136">
                  <c:v>1.136218893039</c:v>
                </c:pt>
                <c:pt idx="7137">
                  <c:v>1.1445159109862399</c:v>
                </c:pt>
                <c:pt idx="7138">
                  <c:v>1.16110994688073</c:v>
                </c:pt>
                <c:pt idx="7139">
                  <c:v>1.14036740201262</c:v>
                </c:pt>
                <c:pt idx="7140">
                  <c:v>-0.489996624620675</c:v>
                </c:pt>
                <c:pt idx="7141">
                  <c:v>0.23599244576310799</c:v>
                </c:pt>
                <c:pt idx="7142">
                  <c:v>0.58861570852094602</c:v>
                </c:pt>
                <c:pt idx="7143">
                  <c:v>0.949535989226027</c:v>
                </c:pt>
                <c:pt idx="7144">
                  <c:v>1.0076151148567301</c:v>
                </c:pt>
                <c:pt idx="7145">
                  <c:v>0.78359563028116197</c:v>
                </c:pt>
                <c:pt idx="7146">
                  <c:v>0.88315984564808103</c:v>
                </c:pt>
                <c:pt idx="7147">
                  <c:v>0.464160439312297</c:v>
                </c:pt>
                <c:pt idx="7148">
                  <c:v>0.43097236752332402</c:v>
                </c:pt>
                <c:pt idx="7149">
                  <c:v>0.161319284237919</c:v>
                </c:pt>
                <c:pt idx="7150">
                  <c:v>-7.0997218284891805E-2</c:v>
                </c:pt>
                <c:pt idx="7151">
                  <c:v>-9.5888272126621502E-2</c:v>
                </c:pt>
                <c:pt idx="7152">
                  <c:v>0.40193280470797299</c:v>
                </c:pt>
                <c:pt idx="7153">
                  <c:v>0.25673499063121602</c:v>
                </c:pt>
                <c:pt idx="7154">
                  <c:v>2.4418488108405401E-2</c:v>
                </c:pt>
                <c:pt idx="7155">
                  <c:v>-5.44031823904053E-2</c:v>
                </c:pt>
                <c:pt idx="7156">
                  <c:v>-0.19545248749353999</c:v>
                </c:pt>
                <c:pt idx="7157">
                  <c:v>-0.353095828491162</c:v>
                </c:pt>
                <c:pt idx="7158">
                  <c:v>-2.5363619575054001E-2</c:v>
                </c:pt>
                <c:pt idx="7159">
                  <c:v>-0.47340258872618901</c:v>
                </c:pt>
                <c:pt idx="7160">
                  <c:v>-0.18300696057267599</c:v>
                </c:pt>
                <c:pt idx="7161">
                  <c:v>-0.411174954121865</c:v>
                </c:pt>
                <c:pt idx="7162">
                  <c:v>-0.55637276819862103</c:v>
                </c:pt>
                <c:pt idx="7163">
                  <c:v>-0.67667952843364798</c:v>
                </c:pt>
                <c:pt idx="7164">
                  <c:v>-0.96707515658716203</c:v>
                </c:pt>
                <c:pt idx="7165">
                  <c:v>-0.57296680409310796</c:v>
                </c:pt>
                <c:pt idx="7166">
                  <c:v>-0.53977873230413498</c:v>
                </c:pt>
                <c:pt idx="7167">
                  <c:v>-0.67667952843364798</c:v>
                </c:pt>
                <c:pt idx="7168">
                  <c:v>-0.74305567201159395</c:v>
                </c:pt>
                <c:pt idx="7169">
                  <c:v>-0.67667952843364798</c:v>
                </c:pt>
                <c:pt idx="7170">
                  <c:v>-0.75135268995883697</c:v>
                </c:pt>
                <c:pt idx="7171">
                  <c:v>-0.684976546380892</c:v>
                </c:pt>
                <c:pt idx="7172">
                  <c:v>-0.77624374380056704</c:v>
                </c:pt>
                <c:pt idx="7173">
                  <c:v>-0.76794672585332402</c:v>
                </c:pt>
                <c:pt idx="7174">
                  <c:v>-0.83432286943126999</c:v>
                </c:pt>
                <c:pt idx="7175">
                  <c:v>-0.82187734251040501</c:v>
                </c:pt>
                <c:pt idx="7176">
                  <c:v>-0.83017436045764803</c:v>
                </c:pt>
                <c:pt idx="7177">
                  <c:v>-0.90484752198283702</c:v>
                </c:pt>
                <c:pt idx="7178">
                  <c:v>-0.93388708479818905</c:v>
                </c:pt>
                <c:pt idx="7179">
                  <c:v>-0.87165945019386404</c:v>
                </c:pt>
                <c:pt idx="7180">
                  <c:v>-0.53977873230413498</c:v>
                </c:pt>
                <c:pt idx="7181">
                  <c:v>-0.28257117593959402</c:v>
                </c:pt>
                <c:pt idx="7182">
                  <c:v>-0.32820477464943199</c:v>
                </c:pt>
                <c:pt idx="7183">
                  <c:v>-0.40702644514824299</c:v>
                </c:pt>
                <c:pt idx="7184">
                  <c:v>-0.36139284643840502</c:v>
                </c:pt>
                <c:pt idx="7185">
                  <c:v>-0.49829364256791903</c:v>
                </c:pt>
                <c:pt idx="7186">
                  <c:v>-0.53148171435689195</c:v>
                </c:pt>
                <c:pt idx="7187">
                  <c:v>-0.49829364256791903</c:v>
                </c:pt>
                <c:pt idx="7188">
                  <c:v>-0.53977873230413498</c:v>
                </c:pt>
                <c:pt idx="7189">
                  <c:v>-0.44021451693721603</c:v>
                </c:pt>
                <c:pt idx="7190">
                  <c:v>-0.31990775670218902</c:v>
                </c:pt>
                <c:pt idx="7191">
                  <c:v>0.182061829106027</c:v>
                </c:pt>
                <c:pt idx="7192">
                  <c:v>-4.6106164443162102E-2</c:v>
                </c:pt>
                <c:pt idx="7193">
                  <c:v>-0.19545248749353999</c:v>
                </c:pt>
                <c:pt idx="7194">
                  <c:v>-3.3660637522297199E-2</c:v>
                </c:pt>
                <c:pt idx="7195">
                  <c:v>0.41437833162883803</c:v>
                </c:pt>
                <c:pt idx="7196">
                  <c:v>0.48490298418040501</c:v>
                </c:pt>
                <c:pt idx="7197">
                  <c:v>0.45586342136505398</c:v>
                </c:pt>
                <c:pt idx="7198">
                  <c:v>9.4943140659973002E-2</c:v>
                </c:pt>
                <c:pt idx="7199">
                  <c:v>-0.27012564901872999</c:v>
                </c:pt>
                <c:pt idx="7200">
                  <c:v>0.53053658289024297</c:v>
                </c:pt>
                <c:pt idx="7201">
                  <c:v>0.76700159438667503</c:v>
                </c:pt>
                <c:pt idx="7202">
                  <c:v>0.79189264822840499</c:v>
                </c:pt>
                <c:pt idx="7203">
                  <c:v>0.57202167262645898</c:v>
                </c:pt>
                <c:pt idx="7204">
                  <c:v>0.928793444357919</c:v>
                </c:pt>
                <c:pt idx="7205">
                  <c:v>1.3809809224826799</c:v>
                </c:pt>
                <c:pt idx="7206">
                  <c:v>0.75870457643943201</c:v>
                </c:pt>
                <c:pt idx="7207">
                  <c:v>0.86241730077997303</c:v>
                </c:pt>
                <c:pt idx="7208">
                  <c:v>0.77944712130754001</c:v>
                </c:pt>
                <c:pt idx="7209">
                  <c:v>0.93709046230516202</c:v>
                </c:pt>
                <c:pt idx="7210">
                  <c:v>0.50564552904851301</c:v>
                </c:pt>
                <c:pt idx="7211">
                  <c:v>0.601061235441811</c:v>
                </c:pt>
                <c:pt idx="7212">
                  <c:v>0.11153717655445899</c:v>
                </c:pt>
                <c:pt idx="7213">
                  <c:v>0.53053658289024297</c:v>
                </c:pt>
                <c:pt idx="7214">
                  <c:v>0.19035884705327</c:v>
                </c:pt>
                <c:pt idx="7215">
                  <c:v>0.11153717655445899</c:v>
                </c:pt>
                <c:pt idx="7216">
                  <c:v>0.63839781620440506</c:v>
                </c:pt>
                <c:pt idx="7217">
                  <c:v>0.173764811158784</c:v>
                </c:pt>
                <c:pt idx="7218">
                  <c:v>0.15717077526429701</c:v>
                </c:pt>
                <c:pt idx="7219">
                  <c:v>0.464160439312297</c:v>
                </c:pt>
                <c:pt idx="7220">
                  <c:v>0.48490298418040501</c:v>
                </c:pt>
                <c:pt idx="7221">
                  <c:v>2.0281483223676502</c:v>
                </c:pt>
                <c:pt idx="7222">
                  <c:v>1.64233698782084</c:v>
                </c:pt>
                <c:pt idx="7223">
                  <c:v>1.1279218750917599</c:v>
                </c:pt>
                <c:pt idx="7224">
                  <c:v>1.3146047789047299</c:v>
                </c:pt>
                <c:pt idx="7225">
                  <c:v>1.22748609045868</c:v>
                </c:pt>
                <c:pt idx="7226">
                  <c:v>1.3394958327464599</c:v>
                </c:pt>
                <c:pt idx="7227">
                  <c:v>1.3394958327464599</c:v>
                </c:pt>
                <c:pt idx="7228">
                  <c:v>1.1528129289334901</c:v>
                </c:pt>
                <c:pt idx="7229">
                  <c:v>0.98272406101499998</c:v>
                </c:pt>
                <c:pt idx="7230">
                  <c:v>0.82093221104375602</c:v>
                </c:pt>
                <c:pt idx="7231">
                  <c:v>0.75870457643943201</c:v>
                </c:pt>
                <c:pt idx="7232">
                  <c:v>0.79604115720202695</c:v>
                </c:pt>
                <c:pt idx="7233">
                  <c:v>1.3851294314563001</c:v>
                </c:pt>
                <c:pt idx="7234">
                  <c:v>1.41831750324527</c:v>
                </c:pt>
                <c:pt idx="7235">
                  <c:v>1.7667922570294901</c:v>
                </c:pt>
                <c:pt idx="7236">
                  <c:v>1.4224660122188899</c:v>
                </c:pt>
                <c:pt idx="7237">
                  <c:v>1.37268390453543</c:v>
                </c:pt>
                <c:pt idx="7238">
                  <c:v>1.2316345994322999</c:v>
                </c:pt>
                <c:pt idx="7239">
                  <c:v>1.22333758148505</c:v>
                </c:pt>
                <c:pt idx="7240">
                  <c:v>1.60500040705824</c:v>
                </c:pt>
                <c:pt idx="7241">
                  <c:v>0.949535989226027</c:v>
                </c:pt>
                <c:pt idx="7242">
                  <c:v>1.5469212814275399</c:v>
                </c:pt>
                <c:pt idx="7243">
                  <c:v>0.76700159438667503</c:v>
                </c:pt>
                <c:pt idx="7244">
                  <c:v>0.75455606746581105</c:v>
                </c:pt>
                <c:pt idx="7245">
                  <c:v>0.82093221104375602</c:v>
                </c:pt>
                <c:pt idx="7246">
                  <c:v>0.75455606746581105</c:v>
                </c:pt>
                <c:pt idx="7247">
                  <c:v>0.66328887004613502</c:v>
                </c:pt>
                <c:pt idx="7248">
                  <c:v>0.94538748025240504</c:v>
                </c:pt>
                <c:pt idx="7249">
                  <c:v>0.95783300717327002</c:v>
                </c:pt>
                <c:pt idx="7250">
                  <c:v>0.56787316365283802</c:v>
                </c:pt>
                <c:pt idx="7251">
                  <c:v>0.28162604447294598</c:v>
                </c:pt>
                <c:pt idx="7252">
                  <c:v>7.8244522139189494E-3</c:v>
                </c:pt>
                <c:pt idx="7253">
                  <c:v>2.8566997082027101E-2</c:v>
                </c:pt>
                <c:pt idx="7254">
                  <c:v>-2.5363619575054001E-2</c:v>
                </c:pt>
                <c:pt idx="7255">
                  <c:v>-0.17470994262543199</c:v>
                </c:pt>
                <c:pt idx="7256">
                  <c:v>-0.120779325968351</c:v>
                </c:pt>
                <c:pt idx="7257">
                  <c:v>-0.25768012209786501</c:v>
                </c:pt>
                <c:pt idx="7258">
                  <c:v>-0.45680855283170202</c:v>
                </c:pt>
                <c:pt idx="7259">
                  <c:v>-0.45680855283170202</c:v>
                </c:pt>
                <c:pt idx="7260">
                  <c:v>-0.46095706180532398</c:v>
                </c:pt>
                <c:pt idx="7261">
                  <c:v>-0.50659066051516199</c:v>
                </c:pt>
                <c:pt idx="7262">
                  <c:v>-0.73890716303797299</c:v>
                </c:pt>
                <c:pt idx="7263">
                  <c:v>-0.664234001512783</c:v>
                </c:pt>
                <c:pt idx="7264">
                  <c:v>-0.66838251048640496</c:v>
                </c:pt>
                <c:pt idx="7265">
                  <c:v>-0.68912505535451296</c:v>
                </c:pt>
                <c:pt idx="7266">
                  <c:v>-0.73890716303797299</c:v>
                </c:pt>
                <c:pt idx="7267">
                  <c:v>-0.80943181558954003</c:v>
                </c:pt>
                <c:pt idx="7268">
                  <c:v>-0.83432286943126999</c:v>
                </c:pt>
                <c:pt idx="7269">
                  <c:v>-0.84676839635213497</c:v>
                </c:pt>
                <c:pt idx="7270">
                  <c:v>-0.90484752198283702</c:v>
                </c:pt>
                <c:pt idx="7271">
                  <c:v>-0.759649707906081</c:v>
                </c:pt>
                <c:pt idx="7272">
                  <c:v>-0.801134797642297</c:v>
                </c:pt>
                <c:pt idx="7273">
                  <c:v>-0.85921392327299995</c:v>
                </c:pt>
                <c:pt idx="7274">
                  <c:v>-0.83017436045764803</c:v>
                </c:pt>
                <c:pt idx="7275">
                  <c:v>-0.83847137840489205</c:v>
                </c:pt>
                <c:pt idx="7276">
                  <c:v>-0.53977873230413498</c:v>
                </c:pt>
                <c:pt idx="7277">
                  <c:v>-9.1739763152999906E-2</c:v>
                </c:pt>
                <c:pt idx="7278">
                  <c:v>-0.54392724127775605</c:v>
                </c:pt>
                <c:pt idx="7279">
                  <c:v>-0.54392724127775605</c:v>
                </c:pt>
                <c:pt idx="7280">
                  <c:v>-0.548075750251378</c:v>
                </c:pt>
                <c:pt idx="7281">
                  <c:v>-0.52733320538327</c:v>
                </c:pt>
                <c:pt idx="7282">
                  <c:v>-0.56052127717224298</c:v>
                </c:pt>
                <c:pt idx="7283">
                  <c:v>-0.57296680409310796</c:v>
                </c:pt>
                <c:pt idx="7284">
                  <c:v>-0.55637276819862103</c:v>
                </c:pt>
                <c:pt idx="7285">
                  <c:v>-0.56052127717224298</c:v>
                </c:pt>
                <c:pt idx="7286">
                  <c:v>-0.469254079752567</c:v>
                </c:pt>
                <c:pt idx="7287">
                  <c:v>-9.5888272126621502E-2</c:v>
                </c:pt>
                <c:pt idx="7288">
                  <c:v>-6.6848709311270196E-2</c:v>
                </c:pt>
                <c:pt idx="7289">
                  <c:v>-0.19130397851991901</c:v>
                </c:pt>
                <c:pt idx="7290">
                  <c:v>-5.44031823904053E-2</c:v>
                </c:pt>
                <c:pt idx="7291">
                  <c:v>0.16961630218516199</c:v>
                </c:pt>
                <c:pt idx="7292">
                  <c:v>0.17791332013240499</c:v>
                </c:pt>
                <c:pt idx="7293">
                  <c:v>0.269180517552081</c:v>
                </c:pt>
                <c:pt idx="7294">
                  <c:v>0.19450735602689201</c:v>
                </c:pt>
                <c:pt idx="7295">
                  <c:v>0.182061829106027</c:v>
                </c:pt>
                <c:pt idx="7296">
                  <c:v>-4.6106164443162102E-2</c:v>
                </c:pt>
                <c:pt idx="7297">
                  <c:v>-0.17470994262543199</c:v>
                </c:pt>
                <c:pt idx="7298">
                  <c:v>0.19035884705327</c:v>
                </c:pt>
                <c:pt idx="7299">
                  <c:v>1.7667922570294901</c:v>
                </c:pt>
                <c:pt idx="7300">
                  <c:v>0.80018966617564802</c:v>
                </c:pt>
                <c:pt idx="7301">
                  <c:v>0.57617018160008104</c:v>
                </c:pt>
                <c:pt idx="7302">
                  <c:v>0.79189264822840499</c:v>
                </c:pt>
                <c:pt idx="7303">
                  <c:v>-0.245234595177</c:v>
                </c:pt>
                <c:pt idx="7304">
                  <c:v>0.31481411626191902</c:v>
                </c:pt>
                <c:pt idx="7305">
                  <c:v>-9.1739763152999906E-2</c:v>
                </c:pt>
                <c:pt idx="7306">
                  <c:v>0.119834194501703</c:v>
                </c:pt>
                <c:pt idx="7307">
                  <c:v>3.2715506055648699E-2</c:v>
                </c:pt>
                <c:pt idx="7308">
                  <c:v>-0.207898014414405</c:v>
                </c:pt>
                <c:pt idx="7309">
                  <c:v>1.2565256532740301</c:v>
                </c:pt>
                <c:pt idx="7310">
                  <c:v>1.2357831084059201</c:v>
                </c:pt>
                <c:pt idx="7311">
                  <c:v>0.696476941835108</c:v>
                </c:pt>
                <c:pt idx="7312">
                  <c:v>0.70062545080872896</c:v>
                </c:pt>
                <c:pt idx="7313">
                  <c:v>-0.274274157992351</c:v>
                </c:pt>
                <c:pt idx="7314">
                  <c:v>1.19729611875406E-2</c:v>
                </c:pt>
                <c:pt idx="7315">
                  <c:v>8.6646122712729701E-2</c:v>
                </c:pt>
                <c:pt idx="7316">
                  <c:v>-0.14152187083645901</c:v>
                </c:pt>
                <c:pt idx="7317">
                  <c:v>-0.129076343915595</c:v>
                </c:pt>
                <c:pt idx="7318">
                  <c:v>-0.27012564901872999</c:v>
                </c:pt>
                <c:pt idx="7319">
                  <c:v>-0.26597714004510797</c:v>
                </c:pt>
                <c:pt idx="7320">
                  <c:v>-0.448511534884459</c:v>
                </c:pt>
                <c:pt idx="7321">
                  <c:v>-0.36968986438564799</c:v>
                </c:pt>
                <c:pt idx="7322">
                  <c:v>-0.100036781100243</c:v>
                </c:pt>
                <c:pt idx="7323">
                  <c:v>-0.19130397851991901</c:v>
                </c:pt>
                <c:pt idx="7324">
                  <c:v>-0.19960099646716201</c:v>
                </c:pt>
                <c:pt idx="7325">
                  <c:v>-0.16641292467818899</c:v>
                </c:pt>
                <c:pt idx="7326">
                  <c:v>-0.245234595177</c:v>
                </c:pt>
                <c:pt idx="7327">
                  <c:v>-4.7256573332428599E-4</c:v>
                </c:pt>
                <c:pt idx="7328">
                  <c:v>0.30236858934105398</c:v>
                </c:pt>
                <c:pt idx="7329">
                  <c:v>0.19035884705327</c:v>
                </c:pt>
                <c:pt idx="7330">
                  <c:v>0.24428946371035101</c:v>
                </c:pt>
                <c:pt idx="7331">
                  <c:v>-5.44031823904053E-2</c:v>
                </c:pt>
                <c:pt idx="7332">
                  <c:v>0.72966501362408098</c:v>
                </c:pt>
                <c:pt idx="7333">
                  <c:v>0.68403141491424302</c:v>
                </c:pt>
                <c:pt idx="7334">
                  <c:v>0.31896262523553998</c:v>
                </c:pt>
                <c:pt idx="7335">
                  <c:v>4.5161032976513499E-2</c:v>
                </c:pt>
                <c:pt idx="7336">
                  <c:v>-3.3660637522297199E-2</c:v>
                </c:pt>
                <c:pt idx="7337">
                  <c:v>1.61214701611622E-2</c:v>
                </c:pt>
                <c:pt idx="7338">
                  <c:v>-0.16226441570456701</c:v>
                </c:pt>
                <c:pt idx="7339">
                  <c:v>-0.25353161312424299</c:v>
                </c:pt>
                <c:pt idx="7340">
                  <c:v>-0.15396739775732399</c:v>
                </c:pt>
                <c:pt idx="7341">
                  <c:v>-0.332353283623054</c:v>
                </c:pt>
                <c:pt idx="7342">
                  <c:v>-0.29916521183408101</c:v>
                </c:pt>
                <c:pt idx="7343">
                  <c:v>-0.53148171435689195</c:v>
                </c:pt>
                <c:pt idx="7344">
                  <c:v>-0.58126382204035099</c:v>
                </c:pt>
                <c:pt idx="7345">
                  <c:v>-0.60615487588208095</c:v>
                </c:pt>
                <c:pt idx="7346">
                  <c:v>-0.56466978614586505</c:v>
                </c:pt>
                <c:pt idx="7347">
                  <c:v>-0.61030338485570201</c:v>
                </c:pt>
                <c:pt idx="7348">
                  <c:v>-0.71401610919624303</c:v>
                </c:pt>
                <c:pt idx="7349">
                  <c:v>-0.759649707906081</c:v>
                </c:pt>
                <c:pt idx="7350">
                  <c:v>-0.74305567201159395</c:v>
                </c:pt>
                <c:pt idx="7351">
                  <c:v>-0.74305567201159395</c:v>
                </c:pt>
                <c:pt idx="7352">
                  <c:v>-0.759649707906081</c:v>
                </c:pt>
                <c:pt idx="7353">
                  <c:v>-0.80528330661591896</c:v>
                </c:pt>
                <c:pt idx="7354">
                  <c:v>-0.78868927072143202</c:v>
                </c:pt>
                <c:pt idx="7355">
                  <c:v>-0.83847137840489205</c:v>
                </c:pt>
                <c:pt idx="7356">
                  <c:v>-0.91314453993008105</c:v>
                </c:pt>
                <c:pt idx="7357">
                  <c:v>-0.92144155787732396</c:v>
                </c:pt>
                <c:pt idx="7358">
                  <c:v>-0.87995646814110795</c:v>
                </c:pt>
                <c:pt idx="7359">
                  <c:v>-0.91314453993008105</c:v>
                </c:pt>
                <c:pt idx="7360">
                  <c:v>-0.69742207330175598</c:v>
                </c:pt>
                <c:pt idx="7361">
                  <c:v>-0.19960099646716201</c:v>
                </c:pt>
                <c:pt idx="7362">
                  <c:v>-0.59370934896121597</c:v>
                </c:pt>
                <c:pt idx="7363">
                  <c:v>-0.67253101946002702</c:v>
                </c:pt>
                <c:pt idx="7364">
                  <c:v>-0.72646163611710801</c:v>
                </c:pt>
                <c:pt idx="7365">
                  <c:v>-0.67253101946002702</c:v>
                </c:pt>
                <c:pt idx="7366">
                  <c:v>-0.78454076174780996</c:v>
                </c:pt>
                <c:pt idx="7367">
                  <c:v>-0.73475865406435104</c:v>
                </c:pt>
                <c:pt idx="7368">
                  <c:v>-0.68082803740727005</c:v>
                </c:pt>
                <c:pt idx="7369">
                  <c:v>-0.70571909124900001</c:v>
                </c:pt>
                <c:pt idx="7370">
                  <c:v>-0.643491456644675</c:v>
                </c:pt>
                <c:pt idx="7371">
                  <c:v>-0.67253101946002702</c:v>
                </c:pt>
                <c:pt idx="7372">
                  <c:v>-0.66008549253916204</c:v>
                </c:pt>
                <c:pt idx="7373">
                  <c:v>-0.469254079752567</c:v>
                </c:pt>
                <c:pt idx="7374">
                  <c:v>-0.19130397851991901</c:v>
                </c:pt>
                <c:pt idx="7375">
                  <c:v>0.103240158607216</c:v>
                </c:pt>
                <c:pt idx="7376">
                  <c:v>0.132279721422568</c:v>
                </c:pt>
                <c:pt idx="7377">
                  <c:v>-0.21204652338802699</c:v>
                </c:pt>
                <c:pt idx="7378">
                  <c:v>-0.31990775670218902</c:v>
                </c:pt>
                <c:pt idx="7379">
                  <c:v>-0.30331372080770302</c:v>
                </c:pt>
                <c:pt idx="7380">
                  <c:v>-3.3660637522297199E-2</c:v>
                </c:pt>
                <c:pt idx="7381">
                  <c:v>0.28162604447294598</c:v>
                </c:pt>
                <c:pt idx="7382">
                  <c:v>0.66328887004613502</c:v>
                </c:pt>
                <c:pt idx="7383">
                  <c:v>0.464160439312297</c:v>
                </c:pt>
                <c:pt idx="7384">
                  <c:v>0.31896262523553998</c:v>
                </c:pt>
                <c:pt idx="7385">
                  <c:v>0.34385367907726999</c:v>
                </c:pt>
                <c:pt idx="7386">
                  <c:v>0.83752624693824296</c:v>
                </c:pt>
                <c:pt idx="7387">
                  <c:v>0.153022266290676</c:v>
                </c:pt>
                <c:pt idx="7388">
                  <c:v>0.65914036107251295</c:v>
                </c:pt>
                <c:pt idx="7389">
                  <c:v>0.46001193033867499</c:v>
                </c:pt>
                <c:pt idx="7390">
                  <c:v>-0.120779325968351</c:v>
                </c:pt>
                <c:pt idx="7391">
                  <c:v>-4.19576554695405E-2</c:v>
                </c:pt>
                <c:pt idx="7392">
                  <c:v>-0.20374950544078399</c:v>
                </c:pt>
                <c:pt idx="7393">
                  <c:v>-0.187155469546297</c:v>
                </c:pt>
                <c:pt idx="7394">
                  <c:v>-0.42776899001635099</c:v>
                </c:pt>
                <c:pt idx="7395">
                  <c:v>-0.35724433746478401</c:v>
                </c:pt>
                <c:pt idx="7396">
                  <c:v>1.289713725063</c:v>
                </c:pt>
                <c:pt idx="7397">
                  <c:v>1.3477928506937</c:v>
                </c:pt>
                <c:pt idx="7398">
                  <c:v>1.4224660122188899</c:v>
                </c:pt>
                <c:pt idx="7399">
                  <c:v>0.95368449819964796</c:v>
                </c:pt>
                <c:pt idx="7400">
                  <c:v>1.33119881479922</c:v>
                </c:pt>
                <c:pt idx="7401">
                  <c:v>1.5925548801373799</c:v>
                </c:pt>
                <c:pt idx="7402">
                  <c:v>1.5759608442428901</c:v>
                </c:pt>
                <c:pt idx="7403">
                  <c:v>1.56351531732203</c:v>
                </c:pt>
                <c:pt idx="7404">
                  <c:v>1.0822882763819199</c:v>
                </c:pt>
                <c:pt idx="7405">
                  <c:v>1.136218893039</c:v>
                </c:pt>
                <c:pt idx="7406">
                  <c:v>1.09473380330278</c:v>
                </c:pt>
                <c:pt idx="7407">
                  <c:v>1.58010935321651</c:v>
                </c:pt>
                <c:pt idx="7408">
                  <c:v>1.4266145211925101</c:v>
                </c:pt>
                <c:pt idx="7409">
                  <c:v>1.3975749583771599</c:v>
                </c:pt>
                <c:pt idx="7410">
                  <c:v>1.2357831084059201</c:v>
                </c:pt>
                <c:pt idx="7411">
                  <c:v>1.2980107430102401</c:v>
                </c:pt>
                <c:pt idx="7412">
                  <c:v>1.2399316173795389</c:v>
                </c:pt>
                <c:pt idx="7413">
                  <c:v>1.43076303016613</c:v>
                </c:pt>
                <c:pt idx="7414">
                  <c:v>1.0076151148567301</c:v>
                </c:pt>
                <c:pt idx="7415">
                  <c:v>1.4888421557968401</c:v>
                </c:pt>
                <c:pt idx="7416">
                  <c:v>1.2523771443003999</c:v>
                </c:pt>
                <c:pt idx="7417">
                  <c:v>1.33119881479922</c:v>
                </c:pt>
                <c:pt idx="7418">
                  <c:v>1.31045626993111</c:v>
                </c:pt>
                <c:pt idx="7419">
                  <c:v>1.4432085570869999</c:v>
                </c:pt>
                <c:pt idx="7420">
                  <c:v>1.5137332096385701</c:v>
                </c:pt>
                <c:pt idx="7421">
                  <c:v>1.01591213280397</c:v>
                </c:pt>
                <c:pt idx="7422">
                  <c:v>1.43076303016613</c:v>
                </c:pt>
                <c:pt idx="7423">
                  <c:v>0.949535989226027</c:v>
                </c:pt>
                <c:pt idx="7424">
                  <c:v>0.93709046230516202</c:v>
                </c:pt>
                <c:pt idx="7425">
                  <c:v>0.79189264822840499</c:v>
                </c:pt>
                <c:pt idx="7426">
                  <c:v>0.86241730077997303</c:v>
                </c:pt>
                <c:pt idx="7427">
                  <c:v>0.70477395978235102</c:v>
                </c:pt>
                <c:pt idx="7428">
                  <c:v>0.40193280470797299</c:v>
                </c:pt>
                <c:pt idx="7429">
                  <c:v>0.78774413925478304</c:v>
                </c:pt>
                <c:pt idx="7430">
                  <c:v>0.219398409868622</c:v>
                </c:pt>
                <c:pt idx="7431">
                  <c:v>5.34580509237568E-2</c:v>
                </c:pt>
                <c:pt idx="7432">
                  <c:v>7.8244522139189494E-3</c:v>
                </c:pt>
                <c:pt idx="7433">
                  <c:v>-0.25768012209786501</c:v>
                </c:pt>
                <c:pt idx="7434">
                  <c:v>-0.332353283623054</c:v>
                </c:pt>
                <c:pt idx="7435">
                  <c:v>-0.22449205030889199</c:v>
                </c:pt>
                <c:pt idx="7436">
                  <c:v>-0.13322485288921601</c:v>
                </c:pt>
                <c:pt idx="7437">
                  <c:v>2.4418488108405401E-2</c:v>
                </c:pt>
                <c:pt idx="7438">
                  <c:v>-0.41947197206910802</c:v>
                </c:pt>
                <c:pt idx="7439">
                  <c:v>-0.236937577229757</c:v>
                </c:pt>
                <c:pt idx="7440">
                  <c:v>-0.36139284643840502</c:v>
                </c:pt>
                <c:pt idx="7441">
                  <c:v>-0.29916521183408101</c:v>
                </c:pt>
                <c:pt idx="7442">
                  <c:v>-0.40287793617462098</c:v>
                </c:pt>
                <c:pt idx="7443">
                  <c:v>-0.25768012209786501</c:v>
                </c:pt>
                <c:pt idx="7444">
                  <c:v>-0.236937577229757</c:v>
                </c:pt>
                <c:pt idx="7445">
                  <c:v>-0.332353283623054</c:v>
                </c:pt>
                <c:pt idx="7446">
                  <c:v>-0.37798688233289202</c:v>
                </c:pt>
                <c:pt idx="7447">
                  <c:v>-0.39458091822737801</c:v>
                </c:pt>
                <c:pt idx="7448">
                  <c:v>-0.38628390028013498</c:v>
                </c:pt>
                <c:pt idx="7449">
                  <c:v>-0.431917498989973</c:v>
                </c:pt>
                <c:pt idx="7450">
                  <c:v>-0.36554135541202698</c:v>
                </c:pt>
                <c:pt idx="7451">
                  <c:v>-0.353095828491162</c:v>
                </c:pt>
                <c:pt idx="7452">
                  <c:v>-0.31161073875494599</c:v>
                </c:pt>
                <c:pt idx="7453">
                  <c:v>-0.49414513359429701</c:v>
                </c:pt>
                <c:pt idx="7454">
                  <c:v>-0.52733320538327</c:v>
                </c:pt>
                <c:pt idx="7455">
                  <c:v>-0.469254079752567</c:v>
                </c:pt>
                <c:pt idx="7456">
                  <c:v>-0.158115906730946</c:v>
                </c:pt>
                <c:pt idx="7457">
                  <c:v>7.8244522139189494E-3</c:v>
                </c:pt>
                <c:pt idx="7458">
                  <c:v>-0.29916521183408101</c:v>
                </c:pt>
                <c:pt idx="7459">
                  <c:v>-0.36139284643840502</c:v>
                </c:pt>
                <c:pt idx="7460">
                  <c:v>-0.39872942720100002</c:v>
                </c:pt>
                <c:pt idx="7461">
                  <c:v>-0.34065030157029702</c:v>
                </c:pt>
                <c:pt idx="7462">
                  <c:v>-0.274274157992351</c:v>
                </c:pt>
                <c:pt idx="7463">
                  <c:v>-0.29086819388683799</c:v>
                </c:pt>
                <c:pt idx="7464">
                  <c:v>-0.25353161312424299</c:v>
                </c:pt>
                <c:pt idx="7465">
                  <c:v>-0.27842266696597301</c:v>
                </c:pt>
                <c:pt idx="7466">
                  <c:v>-0.29086819388683799</c:v>
                </c:pt>
                <c:pt idx="7467">
                  <c:v>9.0794631686351407E-2</c:v>
                </c:pt>
                <c:pt idx="7468">
                  <c:v>-0.24108608620337801</c:v>
                </c:pt>
                <c:pt idx="7469">
                  <c:v>-0.30746222978132398</c:v>
                </c:pt>
                <c:pt idx="7470">
                  <c:v>-0.16226441570456701</c:v>
                </c:pt>
                <c:pt idx="7471">
                  <c:v>-3.3660637522297199E-2</c:v>
                </c:pt>
                <c:pt idx="7472">
                  <c:v>0.119834194501703</c:v>
                </c:pt>
                <c:pt idx="7473">
                  <c:v>4.9309541950135198E-2</c:v>
                </c:pt>
                <c:pt idx="7474">
                  <c:v>-8.7695836805675303E-3</c:v>
                </c:pt>
                <c:pt idx="7475">
                  <c:v>0.119834194501703</c:v>
                </c:pt>
                <c:pt idx="7476">
                  <c:v>-9.1739763152999906E-2</c:v>
                </c:pt>
                <c:pt idx="7477">
                  <c:v>0.19035884705327</c:v>
                </c:pt>
                <c:pt idx="7478">
                  <c:v>0.29822008036743203</c:v>
                </c:pt>
                <c:pt idx="7479">
                  <c:v>0.64254632517802701</c:v>
                </c:pt>
                <c:pt idx="7480">
                  <c:v>1.19844652764332</c:v>
                </c:pt>
                <c:pt idx="7481">
                  <c:v>1.31045626993111</c:v>
                </c:pt>
                <c:pt idx="7482">
                  <c:v>1.6091489160318599</c:v>
                </c:pt>
                <c:pt idx="7483">
                  <c:v>1.3975749583771599</c:v>
                </c:pt>
                <c:pt idx="7484">
                  <c:v>1.3229017968519701</c:v>
                </c:pt>
                <c:pt idx="7485">
                  <c:v>1.03665467767208</c:v>
                </c:pt>
                <c:pt idx="7486">
                  <c:v>1.22333758148505</c:v>
                </c:pt>
                <c:pt idx="7487">
                  <c:v>1.32705030582559</c:v>
                </c:pt>
                <c:pt idx="7488">
                  <c:v>1.2399316173795389</c:v>
                </c:pt>
                <c:pt idx="7489">
                  <c:v>1.11547634817089</c:v>
                </c:pt>
                <c:pt idx="7490">
                  <c:v>0.78359563028116197</c:v>
                </c:pt>
                <c:pt idx="7491">
                  <c:v>3.110909164482889</c:v>
                </c:pt>
                <c:pt idx="7492">
                  <c:v>2.55500896201759</c:v>
                </c:pt>
                <c:pt idx="7493">
                  <c:v>2.1857916633652699</c:v>
                </c:pt>
                <c:pt idx="7494">
                  <c:v>1.7460497121613801</c:v>
                </c:pt>
                <c:pt idx="7495">
                  <c:v>1.6962676044779199</c:v>
                </c:pt>
                <c:pt idx="7496">
                  <c:v>1.8248713826601899</c:v>
                </c:pt>
                <c:pt idx="7497">
                  <c:v>1.85805945444916</c:v>
                </c:pt>
                <c:pt idx="7498">
                  <c:v>1.5386242634803</c:v>
                </c:pt>
                <c:pt idx="7499">
                  <c:v>1.4639511019551099</c:v>
                </c:pt>
                <c:pt idx="7500">
                  <c:v>1.41002048529803</c:v>
                </c:pt>
                <c:pt idx="7501">
                  <c:v>1.5054361916913199</c:v>
                </c:pt>
                <c:pt idx="7502">
                  <c:v>1.6091489160318599</c:v>
                </c:pt>
                <c:pt idx="7503">
                  <c:v>1.3477928506937</c:v>
                </c:pt>
                <c:pt idx="7504">
                  <c:v>1.5054361916913199</c:v>
                </c:pt>
                <c:pt idx="7505">
                  <c:v>1.45980259298149</c:v>
                </c:pt>
                <c:pt idx="7506">
                  <c:v>1.5884063711637599</c:v>
                </c:pt>
                <c:pt idx="7507">
                  <c:v>1.5469212814275399</c:v>
                </c:pt>
                <c:pt idx="7508">
                  <c:v>1.60500040705824</c:v>
                </c:pt>
                <c:pt idx="7509">
                  <c:v>1.70871313139878</c:v>
                </c:pt>
                <c:pt idx="7510">
                  <c:v>1.3560898686409499</c:v>
                </c:pt>
                <c:pt idx="7511">
                  <c:v>1.36853539556181</c:v>
                </c:pt>
                <c:pt idx="7512">
                  <c:v>1.0739912584346789</c:v>
                </c:pt>
                <c:pt idx="7513">
                  <c:v>-0.77209523482694598</c:v>
                </c:pt>
                <c:pt idx="7514">
                  <c:v>0.62595228928353996</c:v>
                </c:pt>
                <c:pt idx="7515">
                  <c:v>0.61350676236267498</c:v>
                </c:pt>
                <c:pt idx="7516">
                  <c:v>0.28577455344656699</c:v>
                </c:pt>
                <c:pt idx="7517">
                  <c:v>0.85412028283272901</c:v>
                </c:pt>
                <c:pt idx="7518">
                  <c:v>0.25258648165759501</c:v>
                </c:pt>
                <c:pt idx="7519">
                  <c:v>0.21524990089500001</c:v>
                </c:pt>
                <c:pt idx="7520">
                  <c:v>0.60935825338905403</c:v>
                </c:pt>
                <c:pt idx="7521">
                  <c:v>0.66328887004613502</c:v>
                </c:pt>
                <c:pt idx="7522">
                  <c:v>0.559576145705594</c:v>
                </c:pt>
                <c:pt idx="7523">
                  <c:v>0.73381352259770205</c:v>
                </c:pt>
                <c:pt idx="7524">
                  <c:v>0.43097236752332402</c:v>
                </c:pt>
                <c:pt idx="7525">
                  <c:v>0.88730835462170199</c:v>
                </c:pt>
                <c:pt idx="7526">
                  <c:v>0.41852684060245898</c:v>
                </c:pt>
                <c:pt idx="7527">
                  <c:v>0.43512087649694597</c:v>
                </c:pt>
                <c:pt idx="7528">
                  <c:v>0.30236858934105398</c:v>
                </c:pt>
                <c:pt idx="7529">
                  <c:v>0.36874473291900001</c:v>
                </c:pt>
                <c:pt idx="7530">
                  <c:v>0.60935825338905403</c:v>
                </c:pt>
                <c:pt idx="7531">
                  <c:v>0.40193280470797299</c:v>
                </c:pt>
                <c:pt idx="7532">
                  <c:v>5.34580509237568E-2</c:v>
                </c:pt>
                <c:pt idx="7533">
                  <c:v>0.211101391921378</c:v>
                </c:pt>
                <c:pt idx="7534">
                  <c:v>0.14057673936981099</c:v>
                </c:pt>
                <c:pt idx="7535">
                  <c:v>0.211101391921378</c:v>
                </c:pt>
                <c:pt idx="7536">
                  <c:v>5.7606559897378402E-2</c:v>
                </c:pt>
                <c:pt idx="7537">
                  <c:v>1.61214701611622E-2</c:v>
                </c:pt>
                <c:pt idx="7538">
                  <c:v>5.7606559897378402E-2</c:v>
                </c:pt>
                <c:pt idx="7539">
                  <c:v>-0.13737336186283799</c:v>
                </c:pt>
                <c:pt idx="7540">
                  <c:v>-8.7695836805675303E-3</c:v>
                </c:pt>
                <c:pt idx="7541">
                  <c:v>0.13642823039618901</c:v>
                </c:pt>
                <c:pt idx="7542">
                  <c:v>3.6759432402973299E-3</c:v>
                </c:pt>
                <c:pt idx="7543">
                  <c:v>-8.3442745205756702E-2</c:v>
                </c:pt>
                <c:pt idx="7544">
                  <c:v>-0.14567037981008099</c:v>
                </c:pt>
                <c:pt idx="7545">
                  <c:v>-0.104185290073865</c:v>
                </c:pt>
                <c:pt idx="7546">
                  <c:v>-0.31575924772856701</c:v>
                </c:pt>
                <c:pt idx="7547">
                  <c:v>-0.27012564901872999</c:v>
                </c:pt>
                <c:pt idx="7548">
                  <c:v>-0.32820477464943199</c:v>
                </c:pt>
                <c:pt idx="7549">
                  <c:v>-0.31161073875494599</c:v>
                </c:pt>
                <c:pt idx="7550">
                  <c:v>-0.67667952843364798</c:v>
                </c:pt>
                <c:pt idx="7551">
                  <c:v>-0.59370934896121597</c:v>
                </c:pt>
                <c:pt idx="7552">
                  <c:v>-0.78454076174780996</c:v>
                </c:pt>
                <c:pt idx="7553">
                  <c:v>-0.63934294767105404</c:v>
                </c:pt>
                <c:pt idx="7554">
                  <c:v>-0.51073916948878395</c:v>
                </c:pt>
                <c:pt idx="7555">
                  <c:v>-0.65593698356553998</c:v>
                </c:pt>
                <c:pt idx="7556">
                  <c:v>-0.54392724127775605</c:v>
                </c:pt>
                <c:pt idx="7557">
                  <c:v>-0.59785785793483703</c:v>
                </c:pt>
                <c:pt idx="7558">
                  <c:v>-0.45680855283170202</c:v>
                </c:pt>
                <c:pt idx="7559">
                  <c:v>-0.62274891177656699</c:v>
                </c:pt>
                <c:pt idx="7560">
                  <c:v>-0.71816461816986399</c:v>
                </c:pt>
                <c:pt idx="7561">
                  <c:v>-0.61030338485570201</c:v>
                </c:pt>
                <c:pt idx="7562">
                  <c:v>-0.72646163611710801</c:v>
                </c:pt>
                <c:pt idx="7563">
                  <c:v>-0.67667952843364798</c:v>
                </c:pt>
                <c:pt idx="7564">
                  <c:v>-0.684976546380892</c:v>
                </c:pt>
                <c:pt idx="7565">
                  <c:v>-0.684976546380892</c:v>
                </c:pt>
                <c:pt idx="7566">
                  <c:v>-0.56881829511948601</c:v>
                </c:pt>
                <c:pt idx="7567">
                  <c:v>-0.51488767846240502</c:v>
                </c:pt>
                <c:pt idx="7568">
                  <c:v>-0.36139284643840502</c:v>
                </c:pt>
                <c:pt idx="7569">
                  <c:v>-0.62274891177656699</c:v>
                </c:pt>
                <c:pt idx="7570">
                  <c:v>-0.62274891177656699</c:v>
                </c:pt>
                <c:pt idx="7571">
                  <c:v>-0.548075750251378</c:v>
                </c:pt>
                <c:pt idx="7572">
                  <c:v>-0.74305567201159395</c:v>
                </c:pt>
                <c:pt idx="7573">
                  <c:v>-0.50659066051516199</c:v>
                </c:pt>
                <c:pt idx="7574">
                  <c:v>-0.51073916948878395</c:v>
                </c:pt>
                <c:pt idx="7575">
                  <c:v>-0.36554135541202698</c:v>
                </c:pt>
                <c:pt idx="7576">
                  <c:v>-0.47755109769981102</c:v>
                </c:pt>
                <c:pt idx="7577">
                  <c:v>-0.40287793617462098</c:v>
                </c:pt>
                <c:pt idx="7578">
                  <c:v>-0.120779325968351</c:v>
                </c:pt>
                <c:pt idx="7579">
                  <c:v>-0.15396739775732399</c:v>
                </c:pt>
                <c:pt idx="7580">
                  <c:v>8.2497613739108105E-2</c:v>
                </c:pt>
                <c:pt idx="7581">
                  <c:v>0.33140815215640501</c:v>
                </c:pt>
                <c:pt idx="7582">
                  <c:v>0.52223956494299995</c:v>
                </c:pt>
                <c:pt idx="7583">
                  <c:v>-5.8551691364026999E-2</c:v>
                </c:pt>
                <c:pt idx="7584">
                  <c:v>-2.1215110601432399E-2</c:v>
                </c:pt>
                <c:pt idx="7585">
                  <c:v>-0.11663081699473</c:v>
                </c:pt>
                <c:pt idx="7586">
                  <c:v>-0.19130397851991901</c:v>
                </c:pt>
                <c:pt idx="7587">
                  <c:v>-9.1739763152999906E-2</c:v>
                </c:pt>
                <c:pt idx="7588">
                  <c:v>-4.19576554695405E-2</c:v>
                </c:pt>
                <c:pt idx="7589">
                  <c:v>6.1755068870999998E-2</c:v>
                </c:pt>
                <c:pt idx="7590">
                  <c:v>-0.14567037981008099</c:v>
                </c:pt>
                <c:pt idx="7591">
                  <c:v>-2.5363619575054001E-2</c:v>
                </c:pt>
                <c:pt idx="7592">
                  <c:v>-6.6848709311270196E-2</c:v>
                </c:pt>
                <c:pt idx="7593">
                  <c:v>-2.1215110601432399E-2</c:v>
                </c:pt>
                <c:pt idx="7594">
                  <c:v>0.12813121244894601</c:v>
                </c:pt>
                <c:pt idx="7595">
                  <c:v>-9.5888272126621502E-2</c:v>
                </c:pt>
                <c:pt idx="7596">
                  <c:v>0.29822008036743203</c:v>
                </c:pt>
                <c:pt idx="7597">
                  <c:v>-0.13322485288921601</c:v>
                </c:pt>
                <c:pt idx="7598">
                  <c:v>-4.6106164443162102E-2</c:v>
                </c:pt>
                <c:pt idx="7599">
                  <c:v>-6.6848709311270196E-2</c:v>
                </c:pt>
                <c:pt idx="7600">
                  <c:v>-0.19545248749353999</c:v>
                </c:pt>
                <c:pt idx="7601">
                  <c:v>-0.21204652338802699</c:v>
                </c:pt>
                <c:pt idx="7602">
                  <c:v>-0.216195032361649</c:v>
                </c:pt>
                <c:pt idx="7603">
                  <c:v>-0.27842266696597301</c:v>
                </c:pt>
                <c:pt idx="7604">
                  <c:v>-0.22449205030889199</c:v>
                </c:pt>
                <c:pt idx="7605">
                  <c:v>-0.30331372080770302</c:v>
                </c:pt>
                <c:pt idx="7606">
                  <c:v>-0.18300696057267599</c:v>
                </c:pt>
                <c:pt idx="7607">
                  <c:v>-0.100036781100243</c:v>
                </c:pt>
                <c:pt idx="7608">
                  <c:v>-0.36554135541202698</c:v>
                </c:pt>
                <c:pt idx="7609">
                  <c:v>-0.27842266696597301</c:v>
                </c:pt>
                <c:pt idx="7610">
                  <c:v>-0.29086819388683799</c:v>
                </c:pt>
                <c:pt idx="7611">
                  <c:v>-0.469254079752567</c:v>
                </c:pt>
                <c:pt idx="7612">
                  <c:v>-0.16641292467818899</c:v>
                </c:pt>
                <c:pt idx="7613">
                  <c:v>-0.37383837335927</c:v>
                </c:pt>
                <c:pt idx="7614">
                  <c:v>-0.411174954121865</c:v>
                </c:pt>
                <c:pt idx="7615">
                  <c:v>-0.19130397851991901</c:v>
                </c:pt>
                <c:pt idx="7616">
                  <c:v>-0.36968986438564799</c:v>
                </c:pt>
                <c:pt idx="7617">
                  <c:v>-0.13322485288921601</c:v>
                </c:pt>
                <c:pt idx="7618">
                  <c:v>-0.448511534884459</c:v>
                </c:pt>
                <c:pt idx="7619">
                  <c:v>-0.30746222978132398</c:v>
                </c:pt>
                <c:pt idx="7620">
                  <c:v>-0.36968986438564799</c:v>
                </c:pt>
                <c:pt idx="7621">
                  <c:v>-9.1739763152999906E-2</c:v>
                </c:pt>
                <c:pt idx="7622">
                  <c:v>-0.295016702860459</c:v>
                </c:pt>
                <c:pt idx="7623">
                  <c:v>-0.45266004385808101</c:v>
                </c:pt>
                <c:pt idx="7624">
                  <c:v>-0.39458091822737801</c:v>
                </c:pt>
                <c:pt idx="7625">
                  <c:v>-0.53148171435689195</c:v>
                </c:pt>
                <c:pt idx="7626">
                  <c:v>-0.124927834941973</c:v>
                </c:pt>
                <c:pt idx="7627">
                  <c:v>-3.3660637522297199E-2</c:v>
                </c:pt>
                <c:pt idx="7628">
                  <c:v>-0.50244215154154004</c:v>
                </c:pt>
                <c:pt idx="7629">
                  <c:v>-0.47340258872618901</c:v>
                </c:pt>
                <c:pt idx="7630">
                  <c:v>-0.14152187083645901</c:v>
                </c:pt>
                <c:pt idx="7631">
                  <c:v>-0.52733320538327</c:v>
                </c:pt>
                <c:pt idx="7632">
                  <c:v>-0.56881829511948601</c:v>
                </c:pt>
                <c:pt idx="7633">
                  <c:v>-0.53977873230413498</c:v>
                </c:pt>
                <c:pt idx="7634">
                  <c:v>-0.88825348608835097</c:v>
                </c:pt>
                <c:pt idx="7635">
                  <c:v>-0.75550119893245904</c:v>
                </c:pt>
                <c:pt idx="7636">
                  <c:v>-0.81358032456316198</c:v>
                </c:pt>
                <c:pt idx="7637">
                  <c:v>-0.63104592972381002</c:v>
                </c:pt>
                <c:pt idx="7638">
                  <c:v>-0.31990775670218902</c:v>
                </c:pt>
                <c:pt idx="7639">
                  <c:v>-0.57711531306672903</c:v>
                </c:pt>
                <c:pt idx="7640">
                  <c:v>-0.61445189382932397</c:v>
                </c:pt>
                <c:pt idx="7641">
                  <c:v>-0.56052127717224298</c:v>
                </c:pt>
                <c:pt idx="7642">
                  <c:v>-0.68082803740727005</c:v>
                </c:pt>
                <c:pt idx="7643">
                  <c:v>-0.68082803740727005</c:v>
                </c:pt>
                <c:pt idx="7644">
                  <c:v>-0.74305567201159395</c:v>
                </c:pt>
                <c:pt idx="7645">
                  <c:v>-0.45266004385808101</c:v>
                </c:pt>
                <c:pt idx="7646">
                  <c:v>-0.78454076174780996</c:v>
                </c:pt>
                <c:pt idx="7647">
                  <c:v>-0.87995646814110795</c:v>
                </c:pt>
                <c:pt idx="7648">
                  <c:v>-0.77209523482694598</c:v>
                </c:pt>
                <c:pt idx="7649">
                  <c:v>-0.83017436045764803</c:v>
                </c:pt>
                <c:pt idx="7650">
                  <c:v>-0.51903618743602697</c:v>
                </c:pt>
                <c:pt idx="7651">
                  <c:v>-0.53563022333051302</c:v>
                </c:pt>
                <c:pt idx="7652">
                  <c:v>-0.63934294767105404</c:v>
                </c:pt>
                <c:pt idx="7653">
                  <c:v>-0.61445189382932397</c:v>
                </c:pt>
                <c:pt idx="7654">
                  <c:v>-0.56881829511948601</c:v>
                </c:pt>
                <c:pt idx="7655">
                  <c:v>-0.56881829511948601</c:v>
                </c:pt>
                <c:pt idx="7656">
                  <c:v>-0.68912505535451296</c:v>
                </c:pt>
                <c:pt idx="7657">
                  <c:v>-0.77624374380056704</c:v>
                </c:pt>
                <c:pt idx="7658">
                  <c:v>-0.48584811564705399</c:v>
                </c:pt>
                <c:pt idx="7659">
                  <c:v>-0.69742207330175598</c:v>
                </c:pt>
                <c:pt idx="7660">
                  <c:v>-0.469254079752567</c:v>
                </c:pt>
                <c:pt idx="7661">
                  <c:v>-0.79698628866867505</c:v>
                </c:pt>
                <c:pt idx="7662">
                  <c:v>-0.61860040280294604</c:v>
                </c:pt>
                <c:pt idx="7663">
                  <c:v>-0.431917498989973</c:v>
                </c:pt>
                <c:pt idx="7664">
                  <c:v>-0.57296680409310796</c:v>
                </c:pt>
                <c:pt idx="7665">
                  <c:v>-0.62689742075018895</c:v>
                </c:pt>
                <c:pt idx="7666">
                  <c:v>-0.59785785793483703</c:v>
                </c:pt>
                <c:pt idx="7667">
                  <c:v>-0.39458091822737801</c:v>
                </c:pt>
                <c:pt idx="7668">
                  <c:v>-0.18300696057267599</c:v>
                </c:pt>
                <c:pt idx="7669">
                  <c:v>0.37289324189262102</c:v>
                </c:pt>
                <c:pt idx="7670">
                  <c:v>-0.149818888783703</c:v>
                </c:pt>
                <c:pt idx="7671">
                  <c:v>-0.31575924772856701</c:v>
                </c:pt>
                <c:pt idx="7672">
                  <c:v>-0.24108608620337801</c:v>
                </c:pt>
                <c:pt idx="7673">
                  <c:v>-0.187155469546297</c:v>
                </c:pt>
                <c:pt idx="7674">
                  <c:v>-0.158115906730946</c:v>
                </c:pt>
                <c:pt idx="7675">
                  <c:v>-0.11663081699473</c:v>
                </c:pt>
                <c:pt idx="7676">
                  <c:v>-0.21204652338802699</c:v>
                </c:pt>
                <c:pt idx="7677">
                  <c:v>-5.8551691364026999E-2</c:v>
                </c:pt>
                <c:pt idx="7678">
                  <c:v>7.8244522139189494E-3</c:v>
                </c:pt>
                <c:pt idx="7679">
                  <c:v>0.11568568552808101</c:v>
                </c:pt>
                <c:pt idx="7680">
                  <c:v>4.1012524002891897E-2</c:v>
                </c:pt>
                <c:pt idx="7681">
                  <c:v>0.14887375731705399</c:v>
                </c:pt>
                <c:pt idx="7682">
                  <c:v>-2.5363619575054001E-2</c:v>
                </c:pt>
                <c:pt idx="7683">
                  <c:v>-0.20374950544078399</c:v>
                </c:pt>
                <c:pt idx="7684">
                  <c:v>-0.120779325968351</c:v>
                </c:pt>
                <c:pt idx="7685">
                  <c:v>-0.20374950544078399</c:v>
                </c:pt>
                <c:pt idx="7686">
                  <c:v>-1.7066601627810801E-2</c:v>
                </c:pt>
                <c:pt idx="7687">
                  <c:v>-0.13322485288921601</c:v>
                </c:pt>
                <c:pt idx="7688">
                  <c:v>-0.20374950544078399</c:v>
                </c:pt>
                <c:pt idx="7689">
                  <c:v>4.5161032976513499E-2</c:v>
                </c:pt>
                <c:pt idx="7690">
                  <c:v>0.11153717655445899</c:v>
                </c:pt>
                <c:pt idx="7691">
                  <c:v>0.19450735602689201</c:v>
                </c:pt>
                <c:pt idx="7692">
                  <c:v>0.31896262523553998</c:v>
                </c:pt>
                <c:pt idx="7693">
                  <c:v>0.46830894828591901</c:v>
                </c:pt>
                <c:pt idx="7694">
                  <c:v>0.25258648165759501</c:v>
                </c:pt>
                <c:pt idx="7695">
                  <c:v>-0.17470994262543199</c:v>
                </c:pt>
                <c:pt idx="7696">
                  <c:v>2.4418488108405401E-2</c:v>
                </c:pt>
                <c:pt idx="7697">
                  <c:v>-4.62107470694591E-3</c:v>
                </c:pt>
                <c:pt idx="7698">
                  <c:v>-7.5145727258513401E-2</c:v>
                </c:pt>
                <c:pt idx="7699">
                  <c:v>0.107388667580838</c:v>
                </c:pt>
                <c:pt idx="7700">
                  <c:v>-3.7809146495918898E-2</c:v>
                </c:pt>
                <c:pt idx="7701">
                  <c:v>8.2497613739108105E-2</c:v>
                </c:pt>
                <c:pt idx="7702">
                  <c:v>-0.13322485288921601</c:v>
                </c:pt>
                <c:pt idx="7703">
                  <c:v>2.4418488108405401E-2</c:v>
                </c:pt>
                <c:pt idx="7704">
                  <c:v>-0.124927834941973</c:v>
                </c:pt>
                <c:pt idx="7705">
                  <c:v>-1.29180926541891E-2</c:v>
                </c:pt>
                <c:pt idx="7706">
                  <c:v>-6.2700200337648601E-2</c:v>
                </c:pt>
                <c:pt idx="7707">
                  <c:v>-5.0254673416783698E-2</c:v>
                </c:pt>
                <c:pt idx="7708">
                  <c:v>-0.14567037981008099</c:v>
                </c:pt>
                <c:pt idx="7709">
                  <c:v>-0.332353283623054</c:v>
                </c:pt>
                <c:pt idx="7710">
                  <c:v>-0.178858451599054</c:v>
                </c:pt>
                <c:pt idx="7711">
                  <c:v>-0.236937577229757</c:v>
                </c:pt>
                <c:pt idx="7712">
                  <c:v>-0.489996624620675</c:v>
                </c:pt>
                <c:pt idx="7713">
                  <c:v>-0.236937577229757</c:v>
                </c:pt>
                <c:pt idx="7714">
                  <c:v>-0.353095828491162</c:v>
                </c:pt>
                <c:pt idx="7715">
                  <c:v>-0.29086819388683799</c:v>
                </c:pt>
                <c:pt idx="7716">
                  <c:v>-0.295016702860459</c:v>
                </c:pt>
                <c:pt idx="7717">
                  <c:v>-0.469254079752567</c:v>
                </c:pt>
                <c:pt idx="7718">
                  <c:v>-0.55637276819862103</c:v>
                </c:pt>
                <c:pt idx="7719">
                  <c:v>-0.31161073875494599</c:v>
                </c:pt>
                <c:pt idx="7720">
                  <c:v>-0.66838251048640496</c:v>
                </c:pt>
                <c:pt idx="7721">
                  <c:v>-0.52318469640964804</c:v>
                </c:pt>
                <c:pt idx="7722">
                  <c:v>-0.58541233101397305</c:v>
                </c:pt>
                <c:pt idx="7723">
                  <c:v>-0.39872942720100002</c:v>
                </c:pt>
                <c:pt idx="7724">
                  <c:v>-0.66008549253916204</c:v>
                </c:pt>
                <c:pt idx="7725">
                  <c:v>-0.57711531306672903</c:v>
                </c:pt>
                <c:pt idx="7726">
                  <c:v>-0.68912505535451296</c:v>
                </c:pt>
                <c:pt idx="7727">
                  <c:v>-0.76794672585332402</c:v>
                </c:pt>
                <c:pt idx="7728">
                  <c:v>-0.57711531306672903</c:v>
                </c:pt>
                <c:pt idx="7729">
                  <c:v>-0.74720418098521602</c:v>
                </c:pt>
                <c:pt idx="7730">
                  <c:v>-0.63519443869743197</c:v>
                </c:pt>
                <c:pt idx="7731">
                  <c:v>-0.92973857582456698</c:v>
                </c:pt>
                <c:pt idx="7732">
                  <c:v>-0.81772883353678305</c:v>
                </c:pt>
                <c:pt idx="7733">
                  <c:v>-0.73061014509072897</c:v>
                </c:pt>
                <c:pt idx="7734">
                  <c:v>-0.55637276819862103</c:v>
                </c:pt>
                <c:pt idx="7735">
                  <c:v>-0.35724433746478401</c:v>
                </c:pt>
                <c:pt idx="7736">
                  <c:v>-0.41532346309548601</c:v>
                </c:pt>
                <c:pt idx="7737">
                  <c:v>-0.53977873230413498</c:v>
                </c:pt>
                <c:pt idx="7738">
                  <c:v>-0.56881829511948601</c:v>
                </c:pt>
                <c:pt idx="7739">
                  <c:v>-0.58956083998759401</c:v>
                </c:pt>
                <c:pt idx="7740">
                  <c:v>-0.65593698356553998</c:v>
                </c:pt>
                <c:pt idx="7741">
                  <c:v>-0.69742207330175598</c:v>
                </c:pt>
                <c:pt idx="7742">
                  <c:v>-0.50659066051516199</c:v>
                </c:pt>
                <c:pt idx="7743">
                  <c:v>-5.8551691364026999E-2</c:v>
                </c:pt>
                <c:pt idx="7744">
                  <c:v>-0.26597714004510797</c:v>
                </c:pt>
                <c:pt idx="7745">
                  <c:v>-0.26597714004510797</c:v>
                </c:pt>
                <c:pt idx="7746">
                  <c:v>-0.52318469640964804</c:v>
                </c:pt>
                <c:pt idx="7747">
                  <c:v>-0.60200636690845899</c:v>
                </c:pt>
                <c:pt idx="7748">
                  <c:v>-0.39458091822737801</c:v>
                </c:pt>
                <c:pt idx="7749">
                  <c:v>-0.42362048104272898</c:v>
                </c:pt>
                <c:pt idx="7750">
                  <c:v>-0.48169960667343198</c:v>
                </c:pt>
                <c:pt idx="7751">
                  <c:v>-0.54392724127775605</c:v>
                </c:pt>
                <c:pt idx="7752">
                  <c:v>-0.37383837335927</c:v>
                </c:pt>
                <c:pt idx="7753">
                  <c:v>-0.36554135541202698</c:v>
                </c:pt>
                <c:pt idx="7754">
                  <c:v>-0.489996624620675</c:v>
                </c:pt>
                <c:pt idx="7755">
                  <c:v>-0.295016702860459</c:v>
                </c:pt>
                <c:pt idx="7756">
                  <c:v>-0.31990775670218902</c:v>
                </c:pt>
                <c:pt idx="7757">
                  <c:v>7.8244522139189494E-3</c:v>
                </c:pt>
                <c:pt idx="7758">
                  <c:v>-0.13737336186283799</c:v>
                </c:pt>
                <c:pt idx="7759">
                  <c:v>1.61214701611622E-2</c:v>
                </c:pt>
                <c:pt idx="7760">
                  <c:v>7.4200595791864901E-2</c:v>
                </c:pt>
                <c:pt idx="7761">
                  <c:v>-9.5888272126621502E-2</c:v>
                </c:pt>
                <c:pt idx="7762">
                  <c:v>4.9309541950135198E-2</c:v>
                </c:pt>
                <c:pt idx="7763">
                  <c:v>0.153022266290676</c:v>
                </c:pt>
                <c:pt idx="7764">
                  <c:v>2.8566997082027101E-2</c:v>
                </c:pt>
                <c:pt idx="7765">
                  <c:v>0.26503200857845899</c:v>
                </c:pt>
                <c:pt idx="7766">
                  <c:v>0.32311113420916199</c:v>
                </c:pt>
                <c:pt idx="7767">
                  <c:v>0.289923062420189</c:v>
                </c:pt>
                <c:pt idx="7768">
                  <c:v>0.35215069702451302</c:v>
                </c:pt>
                <c:pt idx="7769">
                  <c:v>0.66328887004613502</c:v>
                </c:pt>
                <c:pt idx="7770">
                  <c:v>0.406081313681594</c:v>
                </c:pt>
                <c:pt idx="7771">
                  <c:v>0.44756640341781101</c:v>
                </c:pt>
                <c:pt idx="7772">
                  <c:v>0.464160439312297</c:v>
                </c:pt>
                <c:pt idx="7773">
                  <c:v>0.44756640341781101</c:v>
                </c:pt>
                <c:pt idx="7774">
                  <c:v>0.59691272646818905</c:v>
                </c:pt>
                <c:pt idx="7775">
                  <c:v>0.56787316365283802</c:v>
                </c:pt>
                <c:pt idx="7776">
                  <c:v>0.57202167262645898</c:v>
                </c:pt>
                <c:pt idx="7777">
                  <c:v>0.47245745725954003</c:v>
                </c:pt>
                <c:pt idx="7778">
                  <c:v>0.65914036107251295</c:v>
                </c:pt>
                <c:pt idx="7779">
                  <c:v>0.67988290594062095</c:v>
                </c:pt>
                <c:pt idx="7780">
                  <c:v>0.52638807391662101</c:v>
                </c:pt>
                <c:pt idx="7781">
                  <c:v>0.57617018160008104</c:v>
                </c:pt>
                <c:pt idx="7782">
                  <c:v>0.59276421749456698</c:v>
                </c:pt>
                <c:pt idx="7783">
                  <c:v>0.51394254699575703</c:v>
                </c:pt>
                <c:pt idx="7784">
                  <c:v>0.31896262523553998</c:v>
                </c:pt>
                <c:pt idx="7785">
                  <c:v>0.39778429573435098</c:v>
                </c:pt>
                <c:pt idx="7786">
                  <c:v>0.33140815215640501</c:v>
                </c:pt>
                <c:pt idx="7787">
                  <c:v>-1.1122729706639201</c:v>
                </c:pt>
                <c:pt idx="7788">
                  <c:v>-1.01685726427062</c:v>
                </c:pt>
                <c:pt idx="7789">
                  <c:v>-1.0251542822178601</c:v>
                </c:pt>
                <c:pt idx="7790">
                  <c:v>-0.83017436045764803</c:v>
                </c:pt>
                <c:pt idx="7791">
                  <c:v>-0.46095706180532398</c:v>
                </c:pt>
                <c:pt idx="7792">
                  <c:v>-0.77209523482694598</c:v>
                </c:pt>
                <c:pt idx="7793">
                  <c:v>-0.71816461816986399</c:v>
                </c:pt>
                <c:pt idx="7794">
                  <c:v>-0.89240199506197204</c:v>
                </c:pt>
                <c:pt idx="7795">
                  <c:v>-0.73890716303797299</c:v>
                </c:pt>
                <c:pt idx="7796">
                  <c:v>-0.83847137840489205</c:v>
                </c:pt>
                <c:pt idx="7797">
                  <c:v>-0.91314453993008105</c:v>
                </c:pt>
                <c:pt idx="7798">
                  <c:v>-0.95877813863991801</c:v>
                </c:pt>
                <c:pt idx="7799">
                  <c:v>-0.95462962966629705</c:v>
                </c:pt>
                <c:pt idx="7800">
                  <c:v>-0.91314453993008105</c:v>
                </c:pt>
                <c:pt idx="7801">
                  <c:v>-1.05419384503322</c:v>
                </c:pt>
                <c:pt idx="7802">
                  <c:v>-0.84261988737851301</c:v>
                </c:pt>
                <c:pt idx="7803">
                  <c:v>-0.77209523482694598</c:v>
                </c:pt>
                <c:pt idx="7804">
                  <c:v>-0.664234001512783</c:v>
                </c:pt>
                <c:pt idx="7805">
                  <c:v>-0.66008549253916204</c:v>
                </c:pt>
                <c:pt idx="7806">
                  <c:v>-0.76379821687970195</c:v>
                </c:pt>
                <c:pt idx="7807">
                  <c:v>-0.61445189382932397</c:v>
                </c:pt>
                <c:pt idx="7808">
                  <c:v>-0.50659066051516199</c:v>
                </c:pt>
                <c:pt idx="7809">
                  <c:v>-0.78454076174780996</c:v>
                </c:pt>
                <c:pt idx="7810">
                  <c:v>-0.353095828491162</c:v>
                </c:pt>
                <c:pt idx="7811">
                  <c:v>-0.43606600796359402</c:v>
                </c:pt>
                <c:pt idx="7812">
                  <c:v>-0.49414513359429701</c:v>
                </c:pt>
                <c:pt idx="7813">
                  <c:v>0.173764811158784</c:v>
                </c:pt>
                <c:pt idx="7814">
                  <c:v>0.14887375731705399</c:v>
                </c:pt>
                <c:pt idx="7815">
                  <c:v>0.173764811158784</c:v>
                </c:pt>
                <c:pt idx="7816">
                  <c:v>0.19450735602689201</c:v>
                </c:pt>
                <c:pt idx="7817">
                  <c:v>0.327259643182784</c:v>
                </c:pt>
                <c:pt idx="7818">
                  <c:v>0.40193280470797299</c:v>
                </c:pt>
                <c:pt idx="7819">
                  <c:v>0.43512087649694597</c:v>
                </c:pt>
                <c:pt idx="7820">
                  <c:v>0.50149702007489205</c:v>
                </c:pt>
                <c:pt idx="7821">
                  <c:v>0.73381352259770205</c:v>
                </c:pt>
                <c:pt idx="7822">
                  <c:v>0.48905149315402702</c:v>
                </c:pt>
                <c:pt idx="7823">
                  <c:v>0.45171491239143202</c:v>
                </c:pt>
                <c:pt idx="7824">
                  <c:v>0.48905149315402702</c:v>
                </c:pt>
                <c:pt idx="7825">
                  <c:v>0.73796203157132401</c:v>
                </c:pt>
                <c:pt idx="7826">
                  <c:v>0.717219486703216</c:v>
                </c:pt>
                <c:pt idx="7827">
                  <c:v>1.0034666058831101</c:v>
                </c:pt>
                <c:pt idx="7828">
                  <c:v>1.0242091507512201</c:v>
                </c:pt>
                <c:pt idx="7829">
                  <c:v>0.55542763673197304</c:v>
                </c:pt>
                <c:pt idx="7830">
                  <c:v>0.406081313681594</c:v>
                </c:pt>
                <c:pt idx="7831">
                  <c:v>1.11547634817089</c:v>
                </c:pt>
                <c:pt idx="7832">
                  <c:v>1.1071793302236499</c:v>
                </c:pt>
                <c:pt idx="7833">
                  <c:v>1.0698427494610501</c:v>
                </c:pt>
                <c:pt idx="7834">
                  <c:v>1.0988823122764</c:v>
                </c:pt>
                <c:pt idx="7835">
                  <c:v>1.0283576597248401</c:v>
                </c:pt>
                <c:pt idx="7836">
                  <c:v>1.18185249174884</c:v>
                </c:pt>
                <c:pt idx="7837">
                  <c:v>1.2938622340366199</c:v>
                </c:pt>
                <c:pt idx="7838">
                  <c:v>1.2772681981421301</c:v>
                </c:pt>
                <c:pt idx="7839">
                  <c:v>1.45565408400786</c:v>
                </c:pt>
                <c:pt idx="7840">
                  <c:v>1.4639511019551099</c:v>
                </c:pt>
                <c:pt idx="7841">
                  <c:v>1.36853539556181</c:v>
                </c:pt>
                <c:pt idx="7842">
                  <c:v>1.30630776095749</c:v>
                </c:pt>
                <c:pt idx="7843">
                  <c:v>0.93294195333153995</c:v>
                </c:pt>
                <c:pt idx="7844">
                  <c:v>1.0449516956193201</c:v>
                </c:pt>
                <c:pt idx="7845">
                  <c:v>0.99102107896224301</c:v>
                </c:pt>
                <c:pt idx="7846">
                  <c:v>0.82508072001737798</c:v>
                </c:pt>
                <c:pt idx="7847">
                  <c:v>0.73381352259770205</c:v>
                </c:pt>
                <c:pt idx="7848">
                  <c:v>0.77944712130754001</c:v>
                </c:pt>
                <c:pt idx="7849">
                  <c:v>0.65084334312527004</c:v>
                </c:pt>
                <c:pt idx="7850">
                  <c:v>0.57202167262645898</c:v>
                </c:pt>
                <c:pt idx="7851">
                  <c:v>-7.0997218284891805E-2</c:v>
                </c:pt>
                <c:pt idx="7852">
                  <c:v>5.34580509237568E-2</c:v>
                </c:pt>
                <c:pt idx="7853">
                  <c:v>0.33555666113002702</c:v>
                </c:pt>
                <c:pt idx="7854">
                  <c:v>0.153022266290676</c:v>
                </c:pt>
                <c:pt idx="7855">
                  <c:v>0.16961630218516199</c:v>
                </c:pt>
                <c:pt idx="7856">
                  <c:v>0.19035884705327</c:v>
                </c:pt>
                <c:pt idx="7857">
                  <c:v>0.29407157139381102</c:v>
                </c:pt>
                <c:pt idx="7858">
                  <c:v>0.211101391921378</c:v>
                </c:pt>
                <c:pt idx="7859">
                  <c:v>4.1012524002891897E-2</c:v>
                </c:pt>
                <c:pt idx="7860">
                  <c:v>-7.9294236232135107E-2</c:v>
                </c:pt>
                <c:pt idx="7861">
                  <c:v>-0.24108608620337801</c:v>
                </c:pt>
                <c:pt idx="7862">
                  <c:v>-0.34479881054391898</c:v>
                </c:pt>
                <c:pt idx="7863">
                  <c:v>-0.32820477464943199</c:v>
                </c:pt>
                <c:pt idx="7864">
                  <c:v>-0.43606600796359402</c:v>
                </c:pt>
                <c:pt idx="7865">
                  <c:v>-0.42776899001635099</c:v>
                </c:pt>
                <c:pt idx="7866">
                  <c:v>-0.664234001512783</c:v>
                </c:pt>
                <c:pt idx="7867">
                  <c:v>-0.68912505535451296</c:v>
                </c:pt>
                <c:pt idx="7868">
                  <c:v>-0.90069901300921595</c:v>
                </c:pt>
                <c:pt idx="7869">
                  <c:v>-0.79698628866867505</c:v>
                </c:pt>
                <c:pt idx="7870">
                  <c:v>-0.684976546380892</c:v>
                </c:pt>
                <c:pt idx="7871">
                  <c:v>-0.79698628866867505</c:v>
                </c:pt>
                <c:pt idx="7872">
                  <c:v>-0.95877813863991801</c:v>
                </c:pt>
                <c:pt idx="7873">
                  <c:v>-1.0500453360595901</c:v>
                </c:pt>
                <c:pt idx="7874">
                  <c:v>-1.0458968270859701</c:v>
                </c:pt>
                <c:pt idx="7875">
                  <c:v>-1.012708755297</c:v>
                </c:pt>
                <c:pt idx="7876">
                  <c:v>-0.95462962966629705</c:v>
                </c:pt>
                <c:pt idx="7877">
                  <c:v>-0.95877813863991801</c:v>
                </c:pt>
                <c:pt idx="7878">
                  <c:v>-0.85506541429937799</c:v>
                </c:pt>
                <c:pt idx="7879">
                  <c:v>-0.93803559377181001</c:v>
                </c:pt>
                <c:pt idx="7880">
                  <c:v>-0.81772883353678305</c:v>
                </c:pt>
                <c:pt idx="7881">
                  <c:v>-1.05834235400684</c:v>
                </c:pt>
                <c:pt idx="7882">
                  <c:v>-1.03759980913873</c:v>
                </c:pt>
                <c:pt idx="7883">
                  <c:v>-1.1081244616903001</c:v>
                </c:pt>
                <c:pt idx="7884">
                  <c:v>-0.97122366556078299</c:v>
                </c:pt>
                <c:pt idx="7885">
                  <c:v>-0.98366919248164797</c:v>
                </c:pt>
                <c:pt idx="7886">
                  <c:v>-0.80943181558954003</c:v>
                </c:pt>
                <c:pt idx="7887">
                  <c:v>-0.51903618743602697</c:v>
                </c:pt>
                <c:pt idx="7888">
                  <c:v>-0.68912505535451296</c:v>
                </c:pt>
                <c:pt idx="7889">
                  <c:v>-0.74720418098521602</c:v>
                </c:pt>
                <c:pt idx="7890">
                  <c:v>-0.83432286943126999</c:v>
                </c:pt>
                <c:pt idx="7891">
                  <c:v>-0.643491456644675</c:v>
                </c:pt>
                <c:pt idx="7892">
                  <c:v>-0.78454076174780996</c:v>
                </c:pt>
                <c:pt idx="7893">
                  <c:v>-0.81358032456316198</c:v>
                </c:pt>
                <c:pt idx="7894">
                  <c:v>-0.85091690532575603</c:v>
                </c:pt>
                <c:pt idx="7895">
                  <c:v>-0.84676839635213497</c:v>
                </c:pt>
                <c:pt idx="7896">
                  <c:v>-0.79283777969505398</c:v>
                </c:pt>
                <c:pt idx="7897">
                  <c:v>0.16961630218516199</c:v>
                </c:pt>
                <c:pt idx="7898">
                  <c:v>-0.32405626567581097</c:v>
                </c:pt>
                <c:pt idx="7899">
                  <c:v>-0.32820477464943199</c:v>
                </c:pt>
                <c:pt idx="7900">
                  <c:v>-6.2700200337648601E-2</c:v>
                </c:pt>
                <c:pt idx="7901">
                  <c:v>0.107388667580838</c:v>
                </c:pt>
                <c:pt idx="7902">
                  <c:v>-0.13737336186283799</c:v>
                </c:pt>
                <c:pt idx="7903">
                  <c:v>5.7606559897378402E-2</c:v>
                </c:pt>
                <c:pt idx="7904">
                  <c:v>-8.7591254179378297E-2</c:v>
                </c:pt>
                <c:pt idx="7905">
                  <c:v>-0.19130397851991901</c:v>
                </c:pt>
                <c:pt idx="7906">
                  <c:v>0.41437833162883803</c:v>
                </c:pt>
                <c:pt idx="7907">
                  <c:v>0.37704175086624298</c:v>
                </c:pt>
                <c:pt idx="7908">
                  <c:v>0.14887375731705399</c:v>
                </c:pt>
                <c:pt idx="7909">
                  <c:v>0.173764811158784</c:v>
                </c:pt>
                <c:pt idx="7910">
                  <c:v>0.22354691884224301</c:v>
                </c:pt>
                <c:pt idx="7911">
                  <c:v>0.46830894828591901</c:v>
                </c:pt>
                <c:pt idx="7912">
                  <c:v>0.22354691884224301</c:v>
                </c:pt>
                <c:pt idx="7913">
                  <c:v>0.39363578676073002</c:v>
                </c:pt>
                <c:pt idx="7914">
                  <c:v>0.36874473291900001</c:v>
                </c:pt>
                <c:pt idx="7915">
                  <c:v>0.385338768813486</c:v>
                </c:pt>
                <c:pt idx="7916">
                  <c:v>0.559576145705594</c:v>
                </c:pt>
                <c:pt idx="7917">
                  <c:v>0.601061235441811</c:v>
                </c:pt>
                <c:pt idx="7918">
                  <c:v>0.47660596623316198</c:v>
                </c:pt>
                <c:pt idx="7919">
                  <c:v>0.84997177385910805</c:v>
                </c:pt>
                <c:pt idx="7920">
                  <c:v>0.94123897127878298</c:v>
                </c:pt>
                <c:pt idx="7921">
                  <c:v>0.98272406101499998</c:v>
                </c:pt>
                <c:pt idx="7922">
                  <c:v>0.92049642641067497</c:v>
                </c:pt>
                <c:pt idx="7923">
                  <c:v>0.78359563028116197</c:v>
                </c:pt>
                <c:pt idx="7924">
                  <c:v>1.19844652764332</c:v>
                </c:pt>
                <c:pt idx="7925">
                  <c:v>1.30630776095749</c:v>
                </c:pt>
                <c:pt idx="7926">
                  <c:v>1.0615457315138099</c:v>
                </c:pt>
                <c:pt idx="7927">
                  <c:v>0.76285308541305397</c:v>
                </c:pt>
                <c:pt idx="7928">
                  <c:v>1.20674354559057</c:v>
                </c:pt>
                <c:pt idx="7929">
                  <c:v>1.2731196891685099</c:v>
                </c:pt>
                <c:pt idx="7930">
                  <c:v>1.2814167071157601</c:v>
                </c:pt>
                <c:pt idx="7931">
                  <c:v>1.15696143790711</c:v>
                </c:pt>
                <c:pt idx="7932">
                  <c:v>1.45980259298149</c:v>
                </c:pt>
                <c:pt idx="7933">
                  <c:v>1.2108920545641899</c:v>
                </c:pt>
                <c:pt idx="7934">
                  <c:v>1.33119881479922</c:v>
                </c:pt>
                <c:pt idx="7935">
                  <c:v>1.16110994688073</c:v>
                </c:pt>
                <c:pt idx="7936">
                  <c:v>1.2938622340366199</c:v>
                </c:pt>
                <c:pt idx="7937">
                  <c:v>1.32705030582559</c:v>
                </c:pt>
                <c:pt idx="7938">
                  <c:v>1.1030308212500299</c:v>
                </c:pt>
                <c:pt idx="7939">
                  <c:v>1.0408031866456999</c:v>
                </c:pt>
                <c:pt idx="7940">
                  <c:v>-1.929529238467379</c:v>
                </c:pt>
                <c:pt idx="7941">
                  <c:v>1.61214701611622E-2</c:v>
                </c:pt>
                <c:pt idx="7942">
                  <c:v>-0.25768012209786501</c:v>
                </c:pt>
                <c:pt idx="7943">
                  <c:v>0.42682385854970301</c:v>
                </c:pt>
                <c:pt idx="7944">
                  <c:v>0.949535989226027</c:v>
                </c:pt>
                <c:pt idx="7945">
                  <c:v>2.0945244659455899</c:v>
                </c:pt>
                <c:pt idx="7946">
                  <c:v>1.2772681981421301</c:v>
                </c:pt>
                <c:pt idx="7947">
                  <c:v>1.0408031866456999</c:v>
                </c:pt>
                <c:pt idx="7948">
                  <c:v>0.248437972683973</c:v>
                </c:pt>
                <c:pt idx="7949">
                  <c:v>0.86241730077997303</c:v>
                </c:pt>
                <c:pt idx="7950">
                  <c:v>0.63010079825716203</c:v>
                </c:pt>
                <c:pt idx="7951">
                  <c:v>0.75040755849218899</c:v>
                </c:pt>
                <c:pt idx="7952">
                  <c:v>0.43926938547056699</c:v>
                </c:pt>
                <c:pt idx="7953">
                  <c:v>0.68817992388786497</c:v>
                </c:pt>
                <c:pt idx="7954">
                  <c:v>0.35629920599813503</c:v>
                </c:pt>
                <c:pt idx="7955">
                  <c:v>0.406081313681594</c:v>
                </c:pt>
                <c:pt idx="7956">
                  <c:v>-5.0254673416783698E-2</c:v>
                </c:pt>
                <c:pt idx="7957">
                  <c:v>-0.16641292467818899</c:v>
                </c:pt>
                <c:pt idx="7958">
                  <c:v>-6.6848709311270196E-2</c:v>
                </c:pt>
                <c:pt idx="7959">
                  <c:v>3.6864015029270301E-2</c:v>
                </c:pt>
                <c:pt idx="7960">
                  <c:v>-9.5888272126621502E-2</c:v>
                </c:pt>
                <c:pt idx="7961">
                  <c:v>-0.11663081699473</c:v>
                </c:pt>
                <c:pt idx="7962">
                  <c:v>-0.295016702860459</c:v>
                </c:pt>
                <c:pt idx="7963">
                  <c:v>-0.34065030157029702</c:v>
                </c:pt>
                <c:pt idx="7964">
                  <c:v>-0.50244215154154004</c:v>
                </c:pt>
                <c:pt idx="7965">
                  <c:v>-0.45680855283170202</c:v>
                </c:pt>
                <c:pt idx="7966">
                  <c:v>-0.49414513359429701</c:v>
                </c:pt>
                <c:pt idx="7967">
                  <c:v>-0.56881829511948601</c:v>
                </c:pt>
                <c:pt idx="7968">
                  <c:v>-0.47340258872618901</c:v>
                </c:pt>
                <c:pt idx="7969">
                  <c:v>-0.44436302591083798</c:v>
                </c:pt>
                <c:pt idx="7970">
                  <c:v>-0.431917498989973</c:v>
                </c:pt>
                <c:pt idx="7971">
                  <c:v>-0.48169960667343198</c:v>
                </c:pt>
                <c:pt idx="7972">
                  <c:v>-0.55637276819862103</c:v>
                </c:pt>
                <c:pt idx="7973">
                  <c:v>-0.68912505535451296</c:v>
                </c:pt>
                <c:pt idx="7974">
                  <c:v>-0.50659066051516199</c:v>
                </c:pt>
                <c:pt idx="7975">
                  <c:v>-0.77209523482694598</c:v>
                </c:pt>
                <c:pt idx="7976">
                  <c:v>-0.66838251048640496</c:v>
                </c:pt>
                <c:pt idx="7977">
                  <c:v>-0.643491456644675</c:v>
                </c:pt>
                <c:pt idx="7978">
                  <c:v>-0.72646163611710801</c:v>
                </c:pt>
                <c:pt idx="7979">
                  <c:v>-0.72231312714348594</c:v>
                </c:pt>
                <c:pt idx="7980">
                  <c:v>-0.31161073875494599</c:v>
                </c:pt>
                <c:pt idx="7981">
                  <c:v>1.61214701611622E-2</c:v>
                </c:pt>
                <c:pt idx="7982">
                  <c:v>-0.48169960667343198</c:v>
                </c:pt>
                <c:pt idx="7983">
                  <c:v>-0.49414513359429701</c:v>
                </c:pt>
                <c:pt idx="7984">
                  <c:v>-0.49829364256791903</c:v>
                </c:pt>
                <c:pt idx="7985">
                  <c:v>-0.37798688233289202</c:v>
                </c:pt>
                <c:pt idx="7986">
                  <c:v>-0.51073916948878395</c:v>
                </c:pt>
                <c:pt idx="7987">
                  <c:v>-0.49829364256791903</c:v>
                </c:pt>
                <c:pt idx="7988">
                  <c:v>-0.390432409253757</c:v>
                </c:pt>
                <c:pt idx="7989">
                  <c:v>-0.52318469640964804</c:v>
                </c:pt>
                <c:pt idx="7990">
                  <c:v>-0.45680855283170202</c:v>
                </c:pt>
                <c:pt idx="7991">
                  <c:v>0.153022266290676</c:v>
                </c:pt>
                <c:pt idx="7992">
                  <c:v>0.123982703475324</c:v>
                </c:pt>
                <c:pt idx="7993">
                  <c:v>-0.149818888783703</c:v>
                </c:pt>
                <c:pt idx="7994">
                  <c:v>0.15717077526429701</c:v>
                </c:pt>
                <c:pt idx="7995">
                  <c:v>0.153022266290676</c:v>
                </c:pt>
                <c:pt idx="7996">
                  <c:v>0.28577455344656699</c:v>
                </c:pt>
                <c:pt idx="7997">
                  <c:v>0.19865586500051299</c:v>
                </c:pt>
                <c:pt idx="7998">
                  <c:v>0.12813121244894601</c:v>
                </c:pt>
                <c:pt idx="7999">
                  <c:v>6.1755068870999998E-2</c:v>
                </c:pt>
                <c:pt idx="8000">
                  <c:v>0.46001193033867499</c:v>
                </c:pt>
                <c:pt idx="8001">
                  <c:v>0.56372465467921595</c:v>
                </c:pt>
                <c:pt idx="8002">
                  <c:v>0.43512087649694597</c:v>
                </c:pt>
                <c:pt idx="8003">
                  <c:v>0.60520974441543196</c:v>
                </c:pt>
                <c:pt idx="8004">
                  <c:v>0.57202167262645898</c:v>
                </c:pt>
                <c:pt idx="8005">
                  <c:v>0.70062545080872896</c:v>
                </c:pt>
                <c:pt idx="8006">
                  <c:v>0.66743737901975697</c:v>
                </c:pt>
                <c:pt idx="8007">
                  <c:v>0.63424930723078399</c:v>
                </c:pt>
                <c:pt idx="8008">
                  <c:v>0.84582326488548598</c:v>
                </c:pt>
                <c:pt idx="8009">
                  <c:v>0.89560537256894601</c:v>
                </c:pt>
                <c:pt idx="8010">
                  <c:v>0.99516958793586396</c:v>
                </c:pt>
                <c:pt idx="8011">
                  <c:v>0.99931809690948603</c:v>
                </c:pt>
                <c:pt idx="8012">
                  <c:v>0.49734851110126999</c:v>
                </c:pt>
                <c:pt idx="8013">
                  <c:v>1.2150405635378101</c:v>
                </c:pt>
                <c:pt idx="8014">
                  <c:v>1.1279218750917599</c:v>
                </c:pt>
                <c:pt idx="8015">
                  <c:v>1.45565408400786</c:v>
                </c:pt>
                <c:pt idx="8016">
                  <c:v>1.3146047789047299</c:v>
                </c:pt>
                <c:pt idx="8017">
                  <c:v>1.2108920545641899</c:v>
                </c:pt>
                <c:pt idx="8018">
                  <c:v>1.5012876827177</c:v>
                </c:pt>
                <c:pt idx="8019">
                  <c:v>1.2938622340366199</c:v>
                </c:pt>
                <c:pt idx="8020">
                  <c:v>1.30630776095749</c:v>
                </c:pt>
                <c:pt idx="8021">
                  <c:v>1.4017234673507799</c:v>
                </c:pt>
                <c:pt idx="8022">
                  <c:v>1.3021592519838601</c:v>
                </c:pt>
                <c:pt idx="8023">
                  <c:v>0.92049642641067497</c:v>
                </c:pt>
                <c:pt idx="8024">
                  <c:v>1.1320703840653801</c:v>
                </c:pt>
                <c:pt idx="8025">
                  <c:v>1.1320703840653801</c:v>
                </c:pt>
                <c:pt idx="8026">
                  <c:v>1.41831750324527</c:v>
                </c:pt>
                <c:pt idx="8027">
                  <c:v>1.1113278391972701</c:v>
                </c:pt>
                <c:pt idx="8028">
                  <c:v>1.1694069648279699</c:v>
                </c:pt>
                <c:pt idx="8029">
                  <c:v>1.11962485714451</c:v>
                </c:pt>
                <c:pt idx="8030">
                  <c:v>1.2772681981421301</c:v>
                </c:pt>
                <c:pt idx="8031">
                  <c:v>1.3353473237728399</c:v>
                </c:pt>
                <c:pt idx="8032">
                  <c:v>1.5261787365594299</c:v>
                </c:pt>
                <c:pt idx="8033">
                  <c:v>1.05739722254019</c:v>
                </c:pt>
                <c:pt idx="8034">
                  <c:v>1.14036740201262</c:v>
                </c:pt>
                <c:pt idx="8035">
                  <c:v>1.0988823122764</c:v>
                </c:pt>
                <c:pt idx="8036">
                  <c:v>1.5593668083484</c:v>
                </c:pt>
                <c:pt idx="8037">
                  <c:v>1.5593668083484</c:v>
                </c:pt>
                <c:pt idx="8038">
                  <c:v>1.3477928506937</c:v>
                </c:pt>
                <c:pt idx="8039">
                  <c:v>1.2980107430102401</c:v>
                </c:pt>
                <c:pt idx="8040">
                  <c:v>1.51788171861219</c:v>
                </c:pt>
                <c:pt idx="8041">
                  <c:v>0.812635193096513</c:v>
                </c:pt>
                <c:pt idx="8042">
                  <c:v>1.0408031866456999</c:v>
                </c:pt>
                <c:pt idx="8043">
                  <c:v>0.27332902652570301</c:v>
                </c:pt>
                <c:pt idx="8044">
                  <c:v>0.364596223945378</c:v>
                </c:pt>
                <c:pt idx="8045">
                  <c:v>-0.108333799047486</c:v>
                </c:pt>
                <c:pt idx="8046">
                  <c:v>0.53883360083748599</c:v>
                </c:pt>
                <c:pt idx="8047">
                  <c:v>-4.62107470694591E-3</c:v>
                </c:pt>
                <c:pt idx="8048">
                  <c:v>-0.11248230802110799</c:v>
                </c:pt>
                <c:pt idx="8049">
                  <c:v>0.16961630218516199</c:v>
                </c:pt>
                <c:pt idx="8050">
                  <c:v>-0.48584811564705399</c:v>
                </c:pt>
                <c:pt idx="8051">
                  <c:v>-0.29916521183408101</c:v>
                </c:pt>
                <c:pt idx="8052">
                  <c:v>-0.60615487588208095</c:v>
                </c:pt>
                <c:pt idx="8053">
                  <c:v>-0.411174954121865</c:v>
                </c:pt>
                <c:pt idx="8054">
                  <c:v>-0.71816461816986399</c:v>
                </c:pt>
                <c:pt idx="8055">
                  <c:v>-0.60615487588208095</c:v>
                </c:pt>
                <c:pt idx="8056">
                  <c:v>-0.83017436045764803</c:v>
                </c:pt>
                <c:pt idx="8057">
                  <c:v>-0.71401610919624303</c:v>
                </c:pt>
                <c:pt idx="8058">
                  <c:v>-0.85091690532575603</c:v>
                </c:pt>
                <c:pt idx="8059">
                  <c:v>-0.97122366556078299</c:v>
                </c:pt>
                <c:pt idx="8060">
                  <c:v>-0.90899603095645898</c:v>
                </c:pt>
                <c:pt idx="8061">
                  <c:v>-0.95462962966629705</c:v>
                </c:pt>
                <c:pt idx="8062">
                  <c:v>-0.70986760022262096</c:v>
                </c:pt>
                <c:pt idx="8063">
                  <c:v>-0.73475865406435104</c:v>
                </c:pt>
                <c:pt idx="8064">
                  <c:v>-0.70986760022262096</c:v>
                </c:pt>
                <c:pt idx="8065">
                  <c:v>-0.69327356432813503</c:v>
                </c:pt>
                <c:pt idx="8066">
                  <c:v>-0.71401610919624303</c:v>
                </c:pt>
                <c:pt idx="8067">
                  <c:v>-0.87165945019386404</c:v>
                </c:pt>
                <c:pt idx="8068">
                  <c:v>-0.75550119893245904</c:v>
                </c:pt>
                <c:pt idx="8069">
                  <c:v>-0.83432286943126999</c:v>
                </c:pt>
                <c:pt idx="8070">
                  <c:v>-0.85506541429937799</c:v>
                </c:pt>
                <c:pt idx="8071">
                  <c:v>-0.80528330661591896</c:v>
                </c:pt>
                <c:pt idx="8072">
                  <c:v>-0.93388708479818905</c:v>
                </c:pt>
                <c:pt idx="8073">
                  <c:v>-0.39872942720100002</c:v>
                </c:pt>
                <c:pt idx="8074">
                  <c:v>-0.92559006685094503</c:v>
                </c:pt>
                <c:pt idx="8075">
                  <c:v>-0.896550504035594</c:v>
                </c:pt>
                <c:pt idx="8076">
                  <c:v>-0.72231312714348594</c:v>
                </c:pt>
                <c:pt idx="8077">
                  <c:v>-0.24108608620337801</c:v>
                </c:pt>
                <c:pt idx="8078">
                  <c:v>-0.448511534884459</c:v>
                </c:pt>
                <c:pt idx="8079">
                  <c:v>-0.61030338485570201</c:v>
                </c:pt>
                <c:pt idx="8080">
                  <c:v>-0.63104592972381002</c:v>
                </c:pt>
                <c:pt idx="8081">
                  <c:v>-0.62274891177656699</c:v>
                </c:pt>
                <c:pt idx="8082">
                  <c:v>-0.70571909124900001</c:v>
                </c:pt>
                <c:pt idx="8083">
                  <c:v>-0.62689742075018895</c:v>
                </c:pt>
                <c:pt idx="8084">
                  <c:v>-0.63934294767105404</c:v>
                </c:pt>
                <c:pt idx="8085">
                  <c:v>-0.63104592972381002</c:v>
                </c:pt>
                <c:pt idx="8086">
                  <c:v>-0.50244215154154004</c:v>
                </c:pt>
                <c:pt idx="8087">
                  <c:v>-3.3660637522297199E-2</c:v>
                </c:pt>
                <c:pt idx="8088">
                  <c:v>-0.29086819388683799</c:v>
                </c:pt>
                <c:pt idx="8089">
                  <c:v>-0.33650179259667501</c:v>
                </c:pt>
                <c:pt idx="8090">
                  <c:v>-0.24938310415062101</c:v>
                </c:pt>
                <c:pt idx="8091">
                  <c:v>7.8244522139189494E-3</c:v>
                </c:pt>
                <c:pt idx="8092">
                  <c:v>-2.5363619575054001E-2</c:v>
                </c:pt>
                <c:pt idx="8093">
                  <c:v>-0.15396739775732399</c:v>
                </c:pt>
                <c:pt idx="8094">
                  <c:v>0.717219486703216</c:v>
                </c:pt>
                <c:pt idx="8095">
                  <c:v>0.20695288294775699</c:v>
                </c:pt>
                <c:pt idx="8096">
                  <c:v>0.88730835462170199</c:v>
                </c:pt>
                <c:pt idx="8097">
                  <c:v>0.406081313681594</c:v>
                </c:pt>
                <c:pt idx="8098">
                  <c:v>0.53468509186386504</c:v>
                </c:pt>
                <c:pt idx="8099">
                  <c:v>0.53468509186386504</c:v>
                </c:pt>
                <c:pt idx="8100">
                  <c:v>0.48490298418040501</c:v>
                </c:pt>
                <c:pt idx="8101">
                  <c:v>0.84582326488548598</c:v>
                </c:pt>
                <c:pt idx="8102">
                  <c:v>0.82508072001737798</c:v>
                </c:pt>
                <c:pt idx="8103">
                  <c:v>0.72136799567683796</c:v>
                </c:pt>
                <c:pt idx="8104">
                  <c:v>1.47224811990235</c:v>
                </c:pt>
                <c:pt idx="8105">
                  <c:v>1.3643868865881901</c:v>
                </c:pt>
                <c:pt idx="8106">
                  <c:v>1.1113278391972701</c:v>
                </c:pt>
                <c:pt idx="8107">
                  <c:v>1.4058719763244001</c:v>
                </c:pt>
                <c:pt idx="8108">
                  <c:v>1.4680996109287301</c:v>
                </c:pt>
                <c:pt idx="8109">
                  <c:v>1.5593668083484</c:v>
                </c:pt>
                <c:pt idx="8110">
                  <c:v>1.64648549679446</c:v>
                </c:pt>
                <c:pt idx="8111">
                  <c:v>1.5552182993747801</c:v>
                </c:pt>
                <c:pt idx="8112">
                  <c:v>1.24822863532678</c:v>
                </c:pt>
                <c:pt idx="8113">
                  <c:v>0.97442704306775596</c:v>
                </c:pt>
                <c:pt idx="8114">
                  <c:v>1.3394958327464599</c:v>
                </c:pt>
                <c:pt idx="8115">
                  <c:v>1.39342644940354</c:v>
                </c:pt>
                <c:pt idx="8116">
                  <c:v>1.3851294314563001</c:v>
                </c:pt>
                <c:pt idx="8117">
                  <c:v>1.3436443417200801</c:v>
                </c:pt>
                <c:pt idx="8118">
                  <c:v>1.6589310237153201</c:v>
                </c:pt>
                <c:pt idx="8119">
                  <c:v>1.3353473237728399</c:v>
                </c:pt>
                <c:pt idx="8120">
                  <c:v>1.36853539556181</c:v>
                </c:pt>
                <c:pt idx="8121">
                  <c:v>1.3851294314563001</c:v>
                </c:pt>
                <c:pt idx="8122">
                  <c:v>1.43491153913976</c:v>
                </c:pt>
                <c:pt idx="8123">
                  <c:v>1.77508927497673</c:v>
                </c:pt>
                <c:pt idx="8124">
                  <c:v>1.5967033891110001</c:v>
                </c:pt>
                <c:pt idx="8125">
                  <c:v>1.9617721787897</c:v>
                </c:pt>
                <c:pt idx="8126">
                  <c:v>2.7997709914612701</c:v>
                </c:pt>
                <c:pt idx="8127">
                  <c:v>2.2438707889959701</c:v>
                </c:pt>
                <c:pt idx="8128">
                  <c:v>1.87465349034365</c:v>
                </c:pt>
                <c:pt idx="8129">
                  <c:v>1.64233698782084</c:v>
                </c:pt>
                <c:pt idx="8130">
                  <c:v>1.0615457315138099</c:v>
                </c:pt>
                <c:pt idx="8131">
                  <c:v>0.96198151614689098</c:v>
                </c:pt>
                <c:pt idx="8132">
                  <c:v>1.289713725063</c:v>
                </c:pt>
                <c:pt idx="8133">
                  <c:v>1.24408012635316</c:v>
                </c:pt>
                <c:pt idx="8134">
                  <c:v>0.94538748025240504</c:v>
                </c:pt>
                <c:pt idx="8135">
                  <c:v>1.01591213280397</c:v>
                </c:pt>
                <c:pt idx="8136">
                  <c:v>-0.27842266696597301</c:v>
                </c:pt>
                <c:pt idx="8137">
                  <c:v>0.75455606746581105</c:v>
                </c:pt>
                <c:pt idx="8138">
                  <c:v>0.289923062420189</c:v>
                </c:pt>
                <c:pt idx="8139">
                  <c:v>0.19450735602689201</c:v>
                </c:pt>
                <c:pt idx="8140">
                  <c:v>0.74625904951856703</c:v>
                </c:pt>
                <c:pt idx="8141">
                  <c:v>0.67988290594062095</c:v>
                </c:pt>
                <c:pt idx="8142">
                  <c:v>0.66743737901975697</c:v>
                </c:pt>
                <c:pt idx="8143">
                  <c:v>0.32311113420916199</c:v>
                </c:pt>
                <c:pt idx="8144">
                  <c:v>0.43512087649694597</c:v>
                </c:pt>
                <c:pt idx="8145">
                  <c:v>0.33970517010364898</c:v>
                </c:pt>
                <c:pt idx="8146">
                  <c:v>0.39363578676073002</c:v>
                </c:pt>
                <c:pt idx="8147">
                  <c:v>0.31481411626191902</c:v>
                </c:pt>
                <c:pt idx="8148">
                  <c:v>8.6646122712729701E-2</c:v>
                </c:pt>
                <c:pt idx="8149">
                  <c:v>0.14057673936981099</c:v>
                </c:pt>
                <c:pt idx="8150">
                  <c:v>0.27747753549932402</c:v>
                </c:pt>
                <c:pt idx="8151">
                  <c:v>3.6759432402973299E-3</c:v>
                </c:pt>
                <c:pt idx="8152">
                  <c:v>-4.6106164443162102E-2</c:v>
                </c:pt>
                <c:pt idx="8153">
                  <c:v>-7.9294236232135107E-2</c:v>
                </c:pt>
                <c:pt idx="8154">
                  <c:v>-0.16641292467818899</c:v>
                </c:pt>
                <c:pt idx="8155">
                  <c:v>-0.178858451599054</c:v>
                </c:pt>
                <c:pt idx="8156">
                  <c:v>-0.29916521183408101</c:v>
                </c:pt>
                <c:pt idx="8157">
                  <c:v>-0.30331372080770302</c:v>
                </c:pt>
                <c:pt idx="8158">
                  <c:v>-0.52318469640964804</c:v>
                </c:pt>
                <c:pt idx="8159">
                  <c:v>-0.33650179259667501</c:v>
                </c:pt>
                <c:pt idx="8160">
                  <c:v>-9.1739763152999906E-2</c:v>
                </c:pt>
                <c:pt idx="8161">
                  <c:v>-0.42362048104272898</c:v>
                </c:pt>
                <c:pt idx="8162">
                  <c:v>-0.44436302591083798</c:v>
                </c:pt>
                <c:pt idx="8163">
                  <c:v>-0.50659066051516199</c:v>
                </c:pt>
                <c:pt idx="8164">
                  <c:v>-0.62689742075018895</c:v>
                </c:pt>
                <c:pt idx="8165">
                  <c:v>-0.40287793617462098</c:v>
                </c:pt>
                <c:pt idx="8166">
                  <c:v>-0.53977873230413498</c:v>
                </c:pt>
                <c:pt idx="8167">
                  <c:v>-0.46095706180532398</c:v>
                </c:pt>
                <c:pt idx="8168">
                  <c:v>-0.62274891177656699</c:v>
                </c:pt>
                <c:pt idx="8169">
                  <c:v>-0.390432409253757</c:v>
                </c:pt>
                <c:pt idx="8170">
                  <c:v>-0.32405626567581097</c:v>
                </c:pt>
                <c:pt idx="8171">
                  <c:v>-0.52733320538327</c:v>
                </c:pt>
                <c:pt idx="8172">
                  <c:v>-0.53563022333051302</c:v>
                </c:pt>
                <c:pt idx="8173">
                  <c:v>-0.51903618743602697</c:v>
                </c:pt>
                <c:pt idx="8174">
                  <c:v>-0.50244215154154004</c:v>
                </c:pt>
                <c:pt idx="8175">
                  <c:v>-0.37798688233289202</c:v>
                </c:pt>
                <c:pt idx="8176">
                  <c:v>-0.46510557077894599</c:v>
                </c:pt>
                <c:pt idx="8177">
                  <c:v>-0.58541233101397305</c:v>
                </c:pt>
                <c:pt idx="8178">
                  <c:v>-0.61860040280294604</c:v>
                </c:pt>
                <c:pt idx="8179">
                  <c:v>-0.62274891177656699</c:v>
                </c:pt>
                <c:pt idx="8180">
                  <c:v>-0.35724433746478401</c:v>
                </c:pt>
                <c:pt idx="8181">
                  <c:v>-0.47755109769981102</c:v>
                </c:pt>
                <c:pt idx="8182">
                  <c:v>-0.39458091822737801</c:v>
                </c:pt>
                <c:pt idx="8183">
                  <c:v>-0.58541233101397305</c:v>
                </c:pt>
                <c:pt idx="8184">
                  <c:v>-0.42362048104272898</c:v>
                </c:pt>
                <c:pt idx="8185">
                  <c:v>-0.38213539130651297</c:v>
                </c:pt>
                <c:pt idx="8186">
                  <c:v>-0.41532346309548601</c:v>
                </c:pt>
                <c:pt idx="8187">
                  <c:v>-7.5145727258513401E-2</c:v>
                </c:pt>
                <c:pt idx="8188">
                  <c:v>-0.13322485288921601</c:v>
                </c:pt>
                <c:pt idx="8189">
                  <c:v>-0.13322485288921601</c:v>
                </c:pt>
                <c:pt idx="8190">
                  <c:v>-0.23278906825613499</c:v>
                </c:pt>
                <c:pt idx="8191">
                  <c:v>-0.274274157992351</c:v>
                </c:pt>
                <c:pt idx="8192">
                  <c:v>-0.22864055928251301</c:v>
                </c:pt>
                <c:pt idx="8193">
                  <c:v>-0.16226441570456701</c:v>
                </c:pt>
                <c:pt idx="8194">
                  <c:v>-8.7695836805675303E-3</c:v>
                </c:pt>
                <c:pt idx="8195">
                  <c:v>-0.16226441570456701</c:v>
                </c:pt>
                <c:pt idx="8196">
                  <c:v>-0.187155469546297</c:v>
                </c:pt>
                <c:pt idx="8197">
                  <c:v>-0.207898014414405</c:v>
                </c:pt>
                <c:pt idx="8198">
                  <c:v>0.55542763673197304</c:v>
                </c:pt>
                <c:pt idx="8199">
                  <c:v>0.72551650465045903</c:v>
                </c:pt>
                <c:pt idx="8200">
                  <c:v>0.79604115720202695</c:v>
                </c:pt>
                <c:pt idx="8201">
                  <c:v>0.696476941835108</c:v>
                </c:pt>
                <c:pt idx="8202">
                  <c:v>0.47660596623316198</c:v>
                </c:pt>
                <c:pt idx="8203">
                  <c:v>0.37704175086624298</c:v>
                </c:pt>
                <c:pt idx="8204">
                  <c:v>0.67158588799337804</c:v>
                </c:pt>
                <c:pt idx="8205">
                  <c:v>0.80433817514926997</c:v>
                </c:pt>
                <c:pt idx="8206">
                  <c:v>0.36044771497175698</c:v>
                </c:pt>
                <c:pt idx="8207">
                  <c:v>0.90805089948980999</c:v>
                </c:pt>
                <c:pt idx="8208">
                  <c:v>0.82922922899100004</c:v>
                </c:pt>
                <c:pt idx="8209">
                  <c:v>0.92049642641067497</c:v>
                </c:pt>
                <c:pt idx="8210">
                  <c:v>0.74211054054494596</c:v>
                </c:pt>
                <c:pt idx="8211">
                  <c:v>0.71307097772959405</c:v>
                </c:pt>
                <c:pt idx="8212">
                  <c:v>0.559576145705594</c:v>
                </c:pt>
                <c:pt idx="8213">
                  <c:v>0.306517098314676</c:v>
                </c:pt>
                <c:pt idx="8214">
                  <c:v>0.580318690573702</c:v>
                </c:pt>
                <c:pt idx="8215">
                  <c:v>0.64669483415164797</c:v>
                </c:pt>
                <c:pt idx="8216">
                  <c:v>0.76700159438667503</c:v>
                </c:pt>
                <c:pt idx="8217">
                  <c:v>0.63424930723078399</c:v>
                </c:pt>
                <c:pt idx="8218">
                  <c:v>0.61350676236267498</c:v>
                </c:pt>
                <c:pt idx="8219">
                  <c:v>0.39778429573435098</c:v>
                </c:pt>
                <c:pt idx="8220">
                  <c:v>0.601061235441811</c:v>
                </c:pt>
                <c:pt idx="8221">
                  <c:v>0.33555666113002702</c:v>
                </c:pt>
                <c:pt idx="8222">
                  <c:v>-0.149818888783703</c:v>
                </c:pt>
                <c:pt idx="8223">
                  <c:v>0.19865586500051299</c:v>
                </c:pt>
                <c:pt idx="8224">
                  <c:v>8.2497613739108105E-2</c:v>
                </c:pt>
                <c:pt idx="8225">
                  <c:v>-3.3660637522297199E-2</c:v>
                </c:pt>
                <c:pt idx="8226">
                  <c:v>-2.95121285486756E-2</c:v>
                </c:pt>
                <c:pt idx="8227">
                  <c:v>0.107388667580838</c:v>
                </c:pt>
                <c:pt idx="8228">
                  <c:v>0.22354691884224301</c:v>
                </c:pt>
                <c:pt idx="8229">
                  <c:v>-0.158115906730946</c:v>
                </c:pt>
                <c:pt idx="8230">
                  <c:v>7.0052086818243306E-2</c:v>
                </c:pt>
                <c:pt idx="8231">
                  <c:v>0.34385367907726999</c:v>
                </c:pt>
                <c:pt idx="8232">
                  <c:v>0.32311113420916199</c:v>
                </c:pt>
                <c:pt idx="8233">
                  <c:v>-1.7066601627810801E-2</c:v>
                </c:pt>
                <c:pt idx="8234">
                  <c:v>0.22769542781586499</c:v>
                </c:pt>
                <c:pt idx="8235">
                  <c:v>0.53468509186386504</c:v>
                </c:pt>
                <c:pt idx="8236">
                  <c:v>0.38119025983986499</c:v>
                </c:pt>
                <c:pt idx="8237">
                  <c:v>0.27332902652570301</c:v>
                </c:pt>
                <c:pt idx="8238">
                  <c:v>0.28577455344656699</c:v>
                </c:pt>
                <c:pt idx="8239">
                  <c:v>0.72136799567683796</c:v>
                </c:pt>
                <c:pt idx="8240">
                  <c:v>0.47660596623316198</c:v>
                </c:pt>
                <c:pt idx="8241">
                  <c:v>0.103240158607216</c:v>
                </c:pt>
                <c:pt idx="8242">
                  <c:v>0.14057673936981099</c:v>
                </c:pt>
                <c:pt idx="8243">
                  <c:v>-6.6848709311270196E-2</c:v>
                </c:pt>
                <c:pt idx="8244">
                  <c:v>9.0794631686351407E-2</c:v>
                </c:pt>
                <c:pt idx="8245">
                  <c:v>0.19035884705327</c:v>
                </c:pt>
                <c:pt idx="8246">
                  <c:v>0.14887375731705399</c:v>
                </c:pt>
                <c:pt idx="8247">
                  <c:v>9.9091649633594597E-2</c:v>
                </c:pt>
                <c:pt idx="8248">
                  <c:v>-0.120779325968351</c:v>
                </c:pt>
                <c:pt idx="8249">
                  <c:v>-0.14567037981008099</c:v>
                </c:pt>
                <c:pt idx="8250">
                  <c:v>-0.22864055928251301</c:v>
                </c:pt>
                <c:pt idx="8251">
                  <c:v>-6.6848709311270196E-2</c:v>
                </c:pt>
                <c:pt idx="8252">
                  <c:v>0.35629920599813503</c:v>
                </c:pt>
                <c:pt idx="8253">
                  <c:v>7.8349104765486496E-2</c:v>
                </c:pt>
                <c:pt idx="8254">
                  <c:v>0.16961630218516199</c:v>
                </c:pt>
                <c:pt idx="8255">
                  <c:v>8.2497613739108105E-2</c:v>
                </c:pt>
                <c:pt idx="8256">
                  <c:v>-0.29916521183408101</c:v>
                </c:pt>
                <c:pt idx="8257">
                  <c:v>-0.353095828491162</c:v>
                </c:pt>
                <c:pt idx="8258">
                  <c:v>-0.411174954121865</c:v>
                </c:pt>
                <c:pt idx="8259">
                  <c:v>-0.23278906825613499</c:v>
                </c:pt>
                <c:pt idx="8260">
                  <c:v>-0.37798688233289202</c:v>
                </c:pt>
                <c:pt idx="8261">
                  <c:v>-0.31575924772856701</c:v>
                </c:pt>
                <c:pt idx="8262">
                  <c:v>-0.46095706180532398</c:v>
                </c:pt>
                <c:pt idx="8263">
                  <c:v>-0.48169960667343198</c:v>
                </c:pt>
                <c:pt idx="8264">
                  <c:v>-0.23278906825613499</c:v>
                </c:pt>
                <c:pt idx="8265">
                  <c:v>-0.63519443869743197</c:v>
                </c:pt>
                <c:pt idx="8266">
                  <c:v>-0.39458091822737801</c:v>
                </c:pt>
                <c:pt idx="8267">
                  <c:v>-0.37798688233289202</c:v>
                </c:pt>
                <c:pt idx="8268">
                  <c:v>-0.36968986438564799</c:v>
                </c:pt>
                <c:pt idx="8269">
                  <c:v>-0.31990775670218902</c:v>
                </c:pt>
                <c:pt idx="8270">
                  <c:v>-0.36554135541202698</c:v>
                </c:pt>
                <c:pt idx="8271">
                  <c:v>-0.411174954121865</c:v>
                </c:pt>
                <c:pt idx="8272">
                  <c:v>-0.46510557077894599</c:v>
                </c:pt>
                <c:pt idx="8273">
                  <c:v>-0.56881829511948601</c:v>
                </c:pt>
                <c:pt idx="8274">
                  <c:v>-0.46510557077894599</c:v>
                </c:pt>
                <c:pt idx="8275">
                  <c:v>-0.49414513359429701</c:v>
                </c:pt>
                <c:pt idx="8276">
                  <c:v>-0.53977873230413498</c:v>
                </c:pt>
                <c:pt idx="8277">
                  <c:v>-0.52318469640964804</c:v>
                </c:pt>
                <c:pt idx="8278">
                  <c:v>-0.42362048104272898</c:v>
                </c:pt>
                <c:pt idx="8279">
                  <c:v>-0.48169960667343198</c:v>
                </c:pt>
                <c:pt idx="8280">
                  <c:v>-0.22864055928251301</c:v>
                </c:pt>
                <c:pt idx="8281">
                  <c:v>-0.17470994262543199</c:v>
                </c:pt>
                <c:pt idx="8282">
                  <c:v>-0.26597714004510797</c:v>
                </c:pt>
                <c:pt idx="8283">
                  <c:v>7.4200595791864901E-2</c:v>
                </c:pt>
                <c:pt idx="8284">
                  <c:v>0.19450735602689201</c:v>
                </c:pt>
                <c:pt idx="8285">
                  <c:v>-0.19960099646716201</c:v>
                </c:pt>
                <c:pt idx="8286">
                  <c:v>-0.22449205030889199</c:v>
                </c:pt>
                <c:pt idx="8287">
                  <c:v>-0.19545248749353999</c:v>
                </c:pt>
                <c:pt idx="8288">
                  <c:v>-0.216195032361649</c:v>
                </c:pt>
                <c:pt idx="8289">
                  <c:v>-0.216195032361649</c:v>
                </c:pt>
                <c:pt idx="8290">
                  <c:v>-0.22034354133527001</c:v>
                </c:pt>
                <c:pt idx="8291">
                  <c:v>-0.20374950544078399</c:v>
                </c:pt>
                <c:pt idx="8292">
                  <c:v>0.16546779321154101</c:v>
                </c:pt>
                <c:pt idx="8293">
                  <c:v>4.9309541950135198E-2</c:v>
                </c:pt>
                <c:pt idx="8294">
                  <c:v>0.26088349960483798</c:v>
                </c:pt>
                <c:pt idx="8295">
                  <c:v>0.559576145705594</c:v>
                </c:pt>
                <c:pt idx="8296">
                  <c:v>3.6759432402973299E-3</c:v>
                </c:pt>
                <c:pt idx="8297">
                  <c:v>0.443417894444189</c:v>
                </c:pt>
                <c:pt idx="8298">
                  <c:v>0.52638807391662101</c:v>
                </c:pt>
                <c:pt idx="8299">
                  <c:v>0.97857555204137803</c:v>
                </c:pt>
                <c:pt idx="8300">
                  <c:v>1.43906004811338</c:v>
                </c:pt>
                <c:pt idx="8301">
                  <c:v>0.97442704306775596</c:v>
                </c:pt>
                <c:pt idx="8302">
                  <c:v>1.24822863532678</c:v>
                </c:pt>
                <c:pt idx="8303">
                  <c:v>1.2980107430102401</c:v>
                </c:pt>
                <c:pt idx="8304">
                  <c:v>0.72136799567683796</c:v>
                </c:pt>
                <c:pt idx="8305">
                  <c:v>0.85412028283272901</c:v>
                </c:pt>
                <c:pt idx="8306">
                  <c:v>0.56372465467921595</c:v>
                </c:pt>
                <c:pt idx="8307">
                  <c:v>0.970278534094135</c:v>
                </c:pt>
                <c:pt idx="8308">
                  <c:v>1.01176362383035</c:v>
                </c:pt>
                <c:pt idx="8309">
                  <c:v>0.90390239051618904</c:v>
                </c:pt>
                <c:pt idx="8310">
                  <c:v>1.136218893039</c:v>
                </c:pt>
                <c:pt idx="8311">
                  <c:v>0.91634791743705402</c:v>
                </c:pt>
                <c:pt idx="8312">
                  <c:v>0.99102107896224301</c:v>
                </c:pt>
                <c:pt idx="8313">
                  <c:v>1.0076151148567301</c:v>
                </c:pt>
                <c:pt idx="8314">
                  <c:v>1.16525845585435</c:v>
                </c:pt>
                <c:pt idx="8315">
                  <c:v>0.406081313681594</c:v>
                </c:pt>
                <c:pt idx="8316">
                  <c:v>0.70062545080872896</c:v>
                </c:pt>
                <c:pt idx="8317">
                  <c:v>0.928793444357919</c:v>
                </c:pt>
                <c:pt idx="8318">
                  <c:v>1.3353473237728399</c:v>
                </c:pt>
                <c:pt idx="8319">
                  <c:v>1.5054361916913199</c:v>
                </c:pt>
                <c:pt idx="8320">
                  <c:v>1.1901495096960799</c:v>
                </c:pt>
                <c:pt idx="8321">
                  <c:v>1.2523771443003999</c:v>
                </c:pt>
                <c:pt idx="8322">
                  <c:v>1.2523771443003999</c:v>
                </c:pt>
                <c:pt idx="8323">
                  <c:v>0.93709046230516202</c:v>
                </c:pt>
                <c:pt idx="8324">
                  <c:v>-0.71816461816986399</c:v>
                </c:pt>
                <c:pt idx="8325">
                  <c:v>0.35629920599813503</c:v>
                </c:pt>
                <c:pt idx="8326">
                  <c:v>-0.19130397851991901</c:v>
                </c:pt>
                <c:pt idx="8327">
                  <c:v>0.289923062420189</c:v>
                </c:pt>
                <c:pt idx="8328">
                  <c:v>0.161319284237919</c:v>
                </c:pt>
                <c:pt idx="8329">
                  <c:v>0.12813121244894601</c:v>
                </c:pt>
                <c:pt idx="8330">
                  <c:v>-4.7256573332428599E-4</c:v>
                </c:pt>
                <c:pt idx="8331">
                  <c:v>0.11153717655445899</c:v>
                </c:pt>
                <c:pt idx="8332">
                  <c:v>-0.11663081699473</c:v>
                </c:pt>
                <c:pt idx="8333">
                  <c:v>-1.7066601627810801E-2</c:v>
                </c:pt>
                <c:pt idx="8334">
                  <c:v>4.9309541950135198E-2</c:v>
                </c:pt>
                <c:pt idx="8335">
                  <c:v>3.6864015029270301E-2</c:v>
                </c:pt>
                <c:pt idx="8336">
                  <c:v>0.211101391921378</c:v>
                </c:pt>
                <c:pt idx="8337">
                  <c:v>-3.3660637522297199E-2</c:v>
                </c:pt>
                <c:pt idx="8338">
                  <c:v>-0.34894731951753999</c:v>
                </c:pt>
                <c:pt idx="8339">
                  <c:v>-0.178858451599054</c:v>
                </c:pt>
                <c:pt idx="8340">
                  <c:v>-0.18300696057267599</c:v>
                </c:pt>
                <c:pt idx="8341">
                  <c:v>9.4943140659973002E-2</c:v>
                </c:pt>
                <c:pt idx="8342">
                  <c:v>0.161319284237919</c:v>
                </c:pt>
                <c:pt idx="8343">
                  <c:v>3.6864015029270301E-2</c:v>
                </c:pt>
                <c:pt idx="8344">
                  <c:v>-0.29916521183408101</c:v>
                </c:pt>
                <c:pt idx="8345">
                  <c:v>-0.245234595177</c:v>
                </c:pt>
                <c:pt idx="8346">
                  <c:v>-0.45680855283170202</c:v>
                </c:pt>
                <c:pt idx="8347">
                  <c:v>-0.44021451693721603</c:v>
                </c:pt>
                <c:pt idx="8348">
                  <c:v>-0.45680855283170202</c:v>
                </c:pt>
                <c:pt idx="8349">
                  <c:v>-0.48169960667343198</c:v>
                </c:pt>
                <c:pt idx="8350">
                  <c:v>-0.52733320538327</c:v>
                </c:pt>
                <c:pt idx="8351">
                  <c:v>-0.53148171435689195</c:v>
                </c:pt>
                <c:pt idx="8352">
                  <c:v>-0.46095706180532398</c:v>
                </c:pt>
                <c:pt idx="8353">
                  <c:v>-0.43606600796359402</c:v>
                </c:pt>
                <c:pt idx="8354">
                  <c:v>-0.42776899001635099</c:v>
                </c:pt>
                <c:pt idx="8355">
                  <c:v>-0.34065030157029702</c:v>
                </c:pt>
                <c:pt idx="8356">
                  <c:v>-0.39872942720100002</c:v>
                </c:pt>
                <c:pt idx="8357">
                  <c:v>0.327259643182784</c:v>
                </c:pt>
                <c:pt idx="8358">
                  <c:v>0.24014095473673</c:v>
                </c:pt>
                <c:pt idx="8359">
                  <c:v>-0.236937577229757</c:v>
                </c:pt>
                <c:pt idx="8360">
                  <c:v>-0.120779325968351</c:v>
                </c:pt>
                <c:pt idx="8361">
                  <c:v>-0.236937577229757</c:v>
                </c:pt>
                <c:pt idx="8362">
                  <c:v>-0.120779325968351</c:v>
                </c:pt>
                <c:pt idx="8363">
                  <c:v>-0.14567037981008099</c:v>
                </c:pt>
                <c:pt idx="8364">
                  <c:v>-0.28257117593959402</c:v>
                </c:pt>
                <c:pt idx="8365">
                  <c:v>-0.27012564901872999</c:v>
                </c:pt>
                <c:pt idx="8366">
                  <c:v>-0.36139284643840502</c:v>
                </c:pt>
                <c:pt idx="8367">
                  <c:v>-0.19545248749353999</c:v>
                </c:pt>
                <c:pt idx="8368">
                  <c:v>-3.3660637522297199E-2</c:v>
                </c:pt>
                <c:pt idx="8369">
                  <c:v>-0.20374950544078399</c:v>
                </c:pt>
                <c:pt idx="8370">
                  <c:v>-0.100036781100243</c:v>
                </c:pt>
                <c:pt idx="8371">
                  <c:v>0.56372465467921595</c:v>
                </c:pt>
                <c:pt idx="8372">
                  <c:v>0.34385367907726999</c:v>
                </c:pt>
                <c:pt idx="8373">
                  <c:v>0.68817992388786497</c:v>
                </c:pt>
                <c:pt idx="8374">
                  <c:v>0.37289324189262102</c:v>
                </c:pt>
                <c:pt idx="8375">
                  <c:v>7.8349104765486496E-2</c:v>
                </c:pt>
                <c:pt idx="8376">
                  <c:v>0.25258648165759501</c:v>
                </c:pt>
                <c:pt idx="8377">
                  <c:v>0.81678370207013495</c:v>
                </c:pt>
                <c:pt idx="8378">
                  <c:v>0.57202167262645898</c:v>
                </c:pt>
                <c:pt idx="8379">
                  <c:v>0.31896262523553998</c:v>
                </c:pt>
                <c:pt idx="8380">
                  <c:v>0.55542763673197304</c:v>
                </c:pt>
                <c:pt idx="8381">
                  <c:v>0.77529861233391895</c:v>
                </c:pt>
                <c:pt idx="8382">
                  <c:v>0.75455606746581105</c:v>
                </c:pt>
                <c:pt idx="8383">
                  <c:v>0.90390239051618904</c:v>
                </c:pt>
                <c:pt idx="8384">
                  <c:v>0.85412028283272901</c:v>
                </c:pt>
                <c:pt idx="8385">
                  <c:v>0.95783300717327002</c:v>
                </c:pt>
                <c:pt idx="8386">
                  <c:v>1.7419012031877601</c:v>
                </c:pt>
                <c:pt idx="8387">
                  <c:v>2.0074057774995402</c:v>
                </c:pt>
                <c:pt idx="8388">
                  <c:v>1.4929906647704601</c:v>
                </c:pt>
                <c:pt idx="8389">
                  <c:v>1.39342644940354</c:v>
                </c:pt>
                <c:pt idx="8390">
                  <c:v>1.2814167071157601</c:v>
                </c:pt>
                <c:pt idx="8391">
                  <c:v>1.5386242634803</c:v>
                </c:pt>
                <c:pt idx="8392">
                  <c:v>1.28556521608938</c:v>
                </c:pt>
                <c:pt idx="8393">
                  <c:v>1.5676638262956499</c:v>
                </c:pt>
                <c:pt idx="8394">
                  <c:v>1.3229017968519701</c:v>
                </c:pt>
                <c:pt idx="8395">
                  <c:v>1.3353473237728399</c:v>
                </c:pt>
                <c:pt idx="8396">
                  <c:v>1.5344757545066701</c:v>
                </c:pt>
                <c:pt idx="8397">
                  <c:v>1.21918907251143</c:v>
                </c:pt>
                <c:pt idx="8398">
                  <c:v>1.62574295192635</c:v>
                </c:pt>
                <c:pt idx="8399">
                  <c:v>1.62159444295273</c:v>
                </c:pt>
                <c:pt idx="8400">
                  <c:v>1.5261787365594299</c:v>
                </c:pt>
                <c:pt idx="8401">
                  <c:v>1.2150405635378101</c:v>
                </c:pt>
                <c:pt idx="8402">
                  <c:v>1.72530716729327</c:v>
                </c:pt>
                <c:pt idx="8403">
                  <c:v>2.8702956440128391</c:v>
                </c:pt>
                <c:pt idx="8404">
                  <c:v>2.5633059799648401</c:v>
                </c:pt>
                <c:pt idx="8405">
                  <c:v>2.3226924594947791</c:v>
                </c:pt>
                <c:pt idx="8406">
                  <c:v>2.29780140565305</c:v>
                </c:pt>
                <c:pt idx="8407">
                  <c:v>2.3351379864156501</c:v>
                </c:pt>
                <c:pt idx="8408">
                  <c:v>2.3102469325739192</c:v>
                </c:pt>
                <c:pt idx="8409">
                  <c:v>2.3309894774420301</c:v>
                </c:pt>
                <c:pt idx="8410">
                  <c:v>1.98666323263143</c:v>
                </c:pt>
                <c:pt idx="8411">
                  <c:v>1.8456139275282999</c:v>
                </c:pt>
                <c:pt idx="8412">
                  <c:v>1.87465349034365</c:v>
                </c:pt>
                <c:pt idx="8413">
                  <c:v>1.97836621468419</c:v>
                </c:pt>
                <c:pt idx="8414">
                  <c:v>1.8622079634227799</c:v>
                </c:pt>
                <c:pt idx="8415">
                  <c:v>1.9659206877633191</c:v>
                </c:pt>
                <c:pt idx="8416">
                  <c:v>1.9493266518688399</c:v>
                </c:pt>
                <c:pt idx="8417">
                  <c:v>2.08622744799835</c:v>
                </c:pt>
                <c:pt idx="8418">
                  <c:v>1.6506340057680799</c:v>
                </c:pt>
                <c:pt idx="8419">
                  <c:v>1.5967033891110001</c:v>
                </c:pt>
                <c:pt idx="8420">
                  <c:v>1.68797058653067</c:v>
                </c:pt>
                <c:pt idx="8421">
                  <c:v>1.83316840060743</c:v>
                </c:pt>
                <c:pt idx="8422">
                  <c:v>1.58010935321651</c:v>
                </c:pt>
                <c:pt idx="8423">
                  <c:v>1.15696143790711</c:v>
                </c:pt>
                <c:pt idx="8424">
                  <c:v>1.4017234673507799</c:v>
                </c:pt>
                <c:pt idx="8425">
                  <c:v>1.62159444295273</c:v>
                </c:pt>
                <c:pt idx="8426">
                  <c:v>1.3146047789047299</c:v>
                </c:pt>
                <c:pt idx="8427">
                  <c:v>1.6921190955043</c:v>
                </c:pt>
                <c:pt idx="8428">
                  <c:v>1.43491153913976</c:v>
                </c:pt>
                <c:pt idx="8429">
                  <c:v>1.26482267122127</c:v>
                </c:pt>
                <c:pt idx="8430">
                  <c:v>1.1279218750917599</c:v>
                </c:pt>
                <c:pt idx="8431">
                  <c:v>1.11547634817089</c:v>
                </c:pt>
                <c:pt idx="8432">
                  <c:v>1.1279218750917599</c:v>
                </c:pt>
                <c:pt idx="8433">
                  <c:v>1.2565256532740301</c:v>
                </c:pt>
                <c:pt idx="8434">
                  <c:v>1.0615457315138099</c:v>
                </c:pt>
                <c:pt idx="8435">
                  <c:v>0.92049642641067497</c:v>
                </c:pt>
                <c:pt idx="8436">
                  <c:v>0.80848668412289104</c:v>
                </c:pt>
                <c:pt idx="8437">
                  <c:v>0.99516958793586396</c:v>
                </c:pt>
                <c:pt idx="8438">
                  <c:v>0.93709046230516202</c:v>
                </c:pt>
                <c:pt idx="8439">
                  <c:v>0.92049642641067497</c:v>
                </c:pt>
                <c:pt idx="8440">
                  <c:v>0.75455606746581105</c:v>
                </c:pt>
                <c:pt idx="8441">
                  <c:v>0.60520974441543196</c:v>
                </c:pt>
                <c:pt idx="8442">
                  <c:v>0.37289324189262102</c:v>
                </c:pt>
                <c:pt idx="8443">
                  <c:v>0.66743737901975697</c:v>
                </c:pt>
                <c:pt idx="8444">
                  <c:v>0.50564552904851301</c:v>
                </c:pt>
                <c:pt idx="8445">
                  <c:v>0.48905149315402702</c:v>
                </c:pt>
                <c:pt idx="8446">
                  <c:v>0.54713061878472902</c:v>
                </c:pt>
                <c:pt idx="8447">
                  <c:v>0.59276421749456698</c:v>
                </c:pt>
                <c:pt idx="8448">
                  <c:v>0.89560537256894601</c:v>
                </c:pt>
                <c:pt idx="8449">
                  <c:v>0.76285308541305397</c:v>
                </c:pt>
                <c:pt idx="8450">
                  <c:v>0.49320000212764797</c:v>
                </c:pt>
                <c:pt idx="8451">
                  <c:v>0.35215069702451302</c:v>
                </c:pt>
                <c:pt idx="8452">
                  <c:v>0.443417894444189</c:v>
                </c:pt>
                <c:pt idx="8453">
                  <c:v>0.36874473291900001</c:v>
                </c:pt>
                <c:pt idx="8454">
                  <c:v>0.43512087649694597</c:v>
                </c:pt>
                <c:pt idx="8455">
                  <c:v>0.57202167262645898</c:v>
                </c:pt>
                <c:pt idx="8456">
                  <c:v>0.37289324189262102</c:v>
                </c:pt>
                <c:pt idx="8457">
                  <c:v>0.39778429573435098</c:v>
                </c:pt>
                <c:pt idx="8458">
                  <c:v>0.41022982265521601</c:v>
                </c:pt>
                <c:pt idx="8459">
                  <c:v>0.49734851110126999</c:v>
                </c:pt>
                <c:pt idx="8460">
                  <c:v>0.55127912775835097</c:v>
                </c:pt>
                <c:pt idx="8461">
                  <c:v>0.41852684060245898</c:v>
                </c:pt>
                <c:pt idx="8462">
                  <c:v>0.22354691884224301</c:v>
                </c:pt>
                <c:pt idx="8463">
                  <c:v>0.33970517010364898</c:v>
                </c:pt>
                <c:pt idx="8464">
                  <c:v>0.29822008036743203</c:v>
                </c:pt>
                <c:pt idx="8465">
                  <c:v>0.24428946371035101</c:v>
                </c:pt>
                <c:pt idx="8466">
                  <c:v>0.41852684060245898</c:v>
                </c:pt>
                <c:pt idx="8467">
                  <c:v>0.43097236752332402</c:v>
                </c:pt>
                <c:pt idx="8468">
                  <c:v>0.50564552904851301</c:v>
                </c:pt>
                <c:pt idx="8469">
                  <c:v>0.443417894444189</c:v>
                </c:pt>
                <c:pt idx="8470">
                  <c:v>0.29822008036743203</c:v>
                </c:pt>
                <c:pt idx="8471">
                  <c:v>0.25673499063121602</c:v>
                </c:pt>
                <c:pt idx="8472">
                  <c:v>0.83752624693824296</c:v>
                </c:pt>
                <c:pt idx="8473">
                  <c:v>0.928793444357919</c:v>
                </c:pt>
                <c:pt idx="8474">
                  <c:v>0.98272406101499998</c:v>
                </c:pt>
                <c:pt idx="8475">
                  <c:v>1.1237733661181299</c:v>
                </c:pt>
                <c:pt idx="8476">
                  <c:v>1.1030308212500299</c:v>
                </c:pt>
                <c:pt idx="8477">
                  <c:v>1.20259503661695</c:v>
                </c:pt>
                <c:pt idx="8478">
                  <c:v>1.48054513784959</c:v>
                </c:pt>
                <c:pt idx="8479">
                  <c:v>1.4888421557968401</c:v>
                </c:pt>
                <c:pt idx="8480">
                  <c:v>1.2731196891685099</c:v>
                </c:pt>
                <c:pt idx="8481">
                  <c:v>1.0615457315138099</c:v>
                </c:pt>
                <c:pt idx="8482">
                  <c:v>1.24822863532678</c:v>
                </c:pt>
                <c:pt idx="8483">
                  <c:v>1.2606741622476501</c:v>
                </c:pt>
                <c:pt idx="8484">
                  <c:v>1.3187532878783499</c:v>
                </c:pt>
                <c:pt idx="8485">
                  <c:v>1.47639662887597</c:v>
                </c:pt>
                <c:pt idx="8486">
                  <c:v>1.45565408400786</c:v>
                </c:pt>
                <c:pt idx="8487">
                  <c:v>1.3768324135090499</c:v>
                </c:pt>
                <c:pt idx="8488">
                  <c:v>1.1942980186697001</c:v>
                </c:pt>
                <c:pt idx="8489">
                  <c:v>1.4473570660606201</c:v>
                </c:pt>
                <c:pt idx="8490">
                  <c:v>1.5469212814275399</c:v>
                </c:pt>
                <c:pt idx="8491">
                  <c:v>1.5344757545066701</c:v>
                </c:pt>
                <c:pt idx="8492">
                  <c:v>1.4432085570869999</c:v>
                </c:pt>
                <c:pt idx="8493">
                  <c:v>1.4846936468232199</c:v>
                </c:pt>
                <c:pt idx="8494">
                  <c:v>1.39342644940354</c:v>
                </c:pt>
                <c:pt idx="8495">
                  <c:v>1.1237733661181299</c:v>
                </c:pt>
                <c:pt idx="8496">
                  <c:v>1.39342644940354</c:v>
                </c:pt>
                <c:pt idx="8497">
                  <c:v>1.7004161134515401</c:v>
                </c:pt>
                <c:pt idx="8498">
                  <c:v>1.75434673010862</c:v>
                </c:pt>
                <c:pt idx="8499">
                  <c:v>1.7626437480558601</c:v>
                </c:pt>
                <c:pt idx="8500">
                  <c:v>1.43491153913976</c:v>
                </c:pt>
                <c:pt idx="8501">
                  <c:v>1.48054513784959</c:v>
                </c:pt>
                <c:pt idx="8502">
                  <c:v>1.5012876827177</c:v>
                </c:pt>
                <c:pt idx="8503">
                  <c:v>1.60500040705824</c:v>
                </c:pt>
                <c:pt idx="8504">
                  <c:v>1.3768324135090499</c:v>
                </c:pt>
                <c:pt idx="8505">
                  <c:v>1.3146047789047299</c:v>
                </c:pt>
                <c:pt idx="8506">
                  <c:v>1.3229017968519701</c:v>
                </c:pt>
                <c:pt idx="8507">
                  <c:v>1.3146047789047299</c:v>
                </c:pt>
                <c:pt idx="8508">
                  <c:v>1.3229017968519701</c:v>
                </c:pt>
                <c:pt idx="8509">
                  <c:v>1.30630776095749</c:v>
                </c:pt>
                <c:pt idx="8510">
                  <c:v>1.7377526942141299</c:v>
                </c:pt>
                <c:pt idx="8511">
                  <c:v>1.73360418524051</c:v>
                </c:pt>
                <c:pt idx="8512">
                  <c:v>1.75434673010862</c:v>
                </c:pt>
                <c:pt idx="8513">
                  <c:v>1.45565408400786</c:v>
                </c:pt>
                <c:pt idx="8514">
                  <c:v>1.4473570660606201</c:v>
                </c:pt>
                <c:pt idx="8515">
                  <c:v>1.45150557503424</c:v>
                </c:pt>
                <c:pt idx="8516">
                  <c:v>1.6381884788472201</c:v>
                </c:pt>
                <c:pt idx="8517">
                  <c:v>1.64233698782084</c:v>
                </c:pt>
                <c:pt idx="8518">
                  <c:v>1.7584952390822399</c:v>
                </c:pt>
                <c:pt idx="8519">
                  <c:v>1.11962485714451</c:v>
                </c:pt>
                <c:pt idx="8520">
                  <c:v>1.83731690958105</c:v>
                </c:pt>
                <c:pt idx="8521">
                  <c:v>1.3643868865881901</c:v>
                </c:pt>
                <c:pt idx="8522">
                  <c:v>1.2316345994322999</c:v>
                </c:pt>
                <c:pt idx="8523">
                  <c:v>1.4846936468232199</c:v>
                </c:pt>
                <c:pt idx="8524">
                  <c:v>1.03250616869846</c:v>
                </c:pt>
                <c:pt idx="8525">
                  <c:v>1.11962485714451</c:v>
                </c:pt>
                <c:pt idx="8526">
                  <c:v>1.2980107430102401</c:v>
                </c:pt>
                <c:pt idx="8527">
                  <c:v>1.0408031866456999</c:v>
                </c:pt>
                <c:pt idx="8528">
                  <c:v>0.56372465467921595</c:v>
                </c:pt>
                <c:pt idx="8529">
                  <c:v>0.57202167262645898</c:v>
                </c:pt>
                <c:pt idx="8530">
                  <c:v>0.54713061878472902</c:v>
                </c:pt>
                <c:pt idx="8531">
                  <c:v>0.33970517010364898</c:v>
                </c:pt>
                <c:pt idx="8532">
                  <c:v>0.327259643182784</c:v>
                </c:pt>
                <c:pt idx="8533">
                  <c:v>0.202804373974135</c:v>
                </c:pt>
                <c:pt idx="8534">
                  <c:v>0.123982703475324</c:v>
                </c:pt>
                <c:pt idx="8535">
                  <c:v>0.33140815215640501</c:v>
                </c:pt>
                <c:pt idx="8536">
                  <c:v>-0.178858451599054</c:v>
                </c:pt>
                <c:pt idx="8537">
                  <c:v>0.31066560728829701</c:v>
                </c:pt>
                <c:pt idx="8538">
                  <c:v>-8.7695836805675303E-3</c:v>
                </c:pt>
                <c:pt idx="8539">
                  <c:v>7.8244522139189494E-3</c:v>
                </c:pt>
                <c:pt idx="8540">
                  <c:v>-4.7256573332428599E-4</c:v>
                </c:pt>
                <c:pt idx="8541">
                  <c:v>-2.1215110601432399E-2</c:v>
                </c:pt>
                <c:pt idx="8542">
                  <c:v>-7.9294236232135107E-2</c:v>
                </c:pt>
                <c:pt idx="8543">
                  <c:v>-2.1215110601432399E-2</c:v>
                </c:pt>
                <c:pt idx="8544">
                  <c:v>-4.7256573332428599E-4</c:v>
                </c:pt>
                <c:pt idx="8545">
                  <c:v>-0.100036781100243</c:v>
                </c:pt>
                <c:pt idx="8546">
                  <c:v>-4.7256573332428599E-4</c:v>
                </c:pt>
                <c:pt idx="8547">
                  <c:v>-2.1215110601432399E-2</c:v>
                </c:pt>
                <c:pt idx="8548">
                  <c:v>-0.108333799047486</c:v>
                </c:pt>
                <c:pt idx="8549">
                  <c:v>-7.5145727258513401E-2</c:v>
                </c:pt>
                <c:pt idx="8550">
                  <c:v>0.27332902652570301</c:v>
                </c:pt>
                <c:pt idx="8551">
                  <c:v>0.36044771497175698</c:v>
                </c:pt>
                <c:pt idx="8552">
                  <c:v>0.14057673936981099</c:v>
                </c:pt>
                <c:pt idx="8553">
                  <c:v>0.23599244576310799</c:v>
                </c:pt>
                <c:pt idx="8554">
                  <c:v>2.8566997082027101E-2</c:v>
                </c:pt>
                <c:pt idx="8555">
                  <c:v>0.11153717655445899</c:v>
                </c:pt>
                <c:pt idx="8556">
                  <c:v>0.15717077526429701</c:v>
                </c:pt>
                <c:pt idx="8557">
                  <c:v>7.0052086818243306E-2</c:v>
                </c:pt>
                <c:pt idx="8558">
                  <c:v>0.123982703475324</c:v>
                </c:pt>
                <c:pt idx="8559">
                  <c:v>4.5161032976513499E-2</c:v>
                </c:pt>
                <c:pt idx="8560">
                  <c:v>7.4200595791864901E-2</c:v>
                </c:pt>
                <c:pt idx="8561">
                  <c:v>8.6646122712729701E-2</c:v>
                </c:pt>
                <c:pt idx="8562">
                  <c:v>7.8349104765486496E-2</c:v>
                </c:pt>
                <c:pt idx="8563">
                  <c:v>-3.7809146495918898E-2</c:v>
                </c:pt>
                <c:pt idx="8564">
                  <c:v>0.26503200857845899</c:v>
                </c:pt>
                <c:pt idx="8565">
                  <c:v>0.61350676236267498</c:v>
                </c:pt>
                <c:pt idx="8566">
                  <c:v>0.94538748025240504</c:v>
                </c:pt>
                <c:pt idx="8567">
                  <c:v>8.2497613739108105E-2</c:v>
                </c:pt>
                <c:pt idx="8568">
                  <c:v>0.65499185209889199</c:v>
                </c:pt>
                <c:pt idx="8569">
                  <c:v>0.202804373974135</c:v>
                </c:pt>
                <c:pt idx="8570">
                  <c:v>0.289923062420189</c:v>
                </c:pt>
                <c:pt idx="8571">
                  <c:v>0.57202167262645898</c:v>
                </c:pt>
                <c:pt idx="8572">
                  <c:v>0.54713061878472902</c:v>
                </c:pt>
                <c:pt idx="8573">
                  <c:v>0.58446719954732396</c:v>
                </c:pt>
                <c:pt idx="8574">
                  <c:v>0.94123897127878298</c:v>
                </c:pt>
                <c:pt idx="8575">
                  <c:v>1.15696143790711</c:v>
                </c:pt>
                <c:pt idx="8576">
                  <c:v>1.6506340057680799</c:v>
                </c:pt>
                <c:pt idx="8577">
                  <c:v>1.5344757545066701</c:v>
                </c:pt>
                <c:pt idx="8578">
                  <c:v>1.5095847006649501</c:v>
                </c:pt>
                <c:pt idx="8579">
                  <c:v>1.4432085570869999</c:v>
                </c:pt>
                <c:pt idx="8580">
                  <c:v>1.1694069648279699</c:v>
                </c:pt>
                <c:pt idx="8581">
                  <c:v>1.18185249174884</c:v>
                </c:pt>
                <c:pt idx="8582">
                  <c:v>1.4058719763244001</c:v>
                </c:pt>
                <c:pt idx="8583">
                  <c:v>1.3146047789047299</c:v>
                </c:pt>
                <c:pt idx="8584">
                  <c:v>1.47639662887597</c:v>
                </c:pt>
                <c:pt idx="8585">
                  <c:v>1.3560898686409499</c:v>
                </c:pt>
                <c:pt idx="8586">
                  <c:v>1.4639511019551099</c:v>
                </c:pt>
                <c:pt idx="8587">
                  <c:v>1.3394958327464599</c:v>
                </c:pt>
                <c:pt idx="8588">
                  <c:v>1.41002048529803</c:v>
                </c:pt>
                <c:pt idx="8589">
                  <c:v>1.5137332096385701</c:v>
                </c:pt>
                <c:pt idx="8590">
                  <c:v>0.98687256998862105</c:v>
                </c:pt>
                <c:pt idx="8591">
                  <c:v>1.45565408400786</c:v>
                </c:pt>
                <c:pt idx="8592">
                  <c:v>1.0076151148567301</c:v>
                </c:pt>
                <c:pt idx="8593">
                  <c:v>1.3809809224826799</c:v>
                </c:pt>
                <c:pt idx="8594">
                  <c:v>1.5303272455330501</c:v>
                </c:pt>
                <c:pt idx="8595">
                  <c:v>1.5718123352692699</c:v>
                </c:pt>
                <c:pt idx="8596">
                  <c:v>1.54277277245392</c:v>
                </c:pt>
                <c:pt idx="8597">
                  <c:v>1.58010935321651</c:v>
                </c:pt>
                <c:pt idx="8598">
                  <c:v>0.78359563028116197</c:v>
                </c:pt>
                <c:pt idx="8599">
                  <c:v>3.1067606555092691</c:v>
                </c:pt>
                <c:pt idx="8600">
                  <c:v>2.27705886078494</c:v>
                </c:pt>
                <c:pt idx="8601">
                  <c:v>2.0281483223676502</c:v>
                </c:pt>
                <c:pt idx="8602">
                  <c:v>1.6298914608999699</c:v>
                </c:pt>
                <c:pt idx="8603">
                  <c:v>1.22333758148505</c:v>
                </c:pt>
                <c:pt idx="8604">
                  <c:v>1.22333758148505</c:v>
                </c:pt>
                <c:pt idx="8605">
                  <c:v>1.4680996109287301</c:v>
                </c:pt>
                <c:pt idx="8606">
                  <c:v>1.3021592519838601</c:v>
                </c:pt>
                <c:pt idx="8607">
                  <c:v>1.26482267122127</c:v>
                </c:pt>
                <c:pt idx="8608">
                  <c:v>1.2565256532740301</c:v>
                </c:pt>
                <c:pt idx="8609">
                  <c:v>1.20259503661695</c:v>
                </c:pt>
                <c:pt idx="8610">
                  <c:v>1.26482267122127</c:v>
                </c:pt>
                <c:pt idx="8611">
                  <c:v>1.4680996109287301</c:v>
                </c:pt>
                <c:pt idx="8612">
                  <c:v>1.54277277245392</c:v>
                </c:pt>
                <c:pt idx="8613">
                  <c:v>1.6547825147416999</c:v>
                </c:pt>
                <c:pt idx="8614">
                  <c:v>1.62159444295273</c:v>
                </c:pt>
                <c:pt idx="8615">
                  <c:v>0.89145686359532395</c:v>
                </c:pt>
                <c:pt idx="8616">
                  <c:v>1.5676638262956499</c:v>
                </c:pt>
                <c:pt idx="8617">
                  <c:v>1.4639511019551099</c:v>
                </c:pt>
                <c:pt idx="8618">
                  <c:v>1.43906004811338</c:v>
                </c:pt>
                <c:pt idx="8619">
                  <c:v>1.2814167071157601</c:v>
                </c:pt>
                <c:pt idx="8620">
                  <c:v>1.3187532878783499</c:v>
                </c:pt>
                <c:pt idx="8621">
                  <c:v>1.3187532878783499</c:v>
                </c:pt>
                <c:pt idx="8622">
                  <c:v>1.2606741622476501</c:v>
                </c:pt>
                <c:pt idx="8623">
                  <c:v>1.2980107430102401</c:v>
                </c:pt>
                <c:pt idx="8624">
                  <c:v>0.89560537256894601</c:v>
                </c:pt>
                <c:pt idx="8625">
                  <c:v>0.96613002512051305</c:v>
                </c:pt>
                <c:pt idx="8626">
                  <c:v>0.77529861233391895</c:v>
                </c:pt>
                <c:pt idx="8627">
                  <c:v>0.70477395978235102</c:v>
                </c:pt>
                <c:pt idx="8628">
                  <c:v>0.89560537256894601</c:v>
                </c:pt>
                <c:pt idx="8629">
                  <c:v>0.41437833162883803</c:v>
                </c:pt>
                <c:pt idx="8630">
                  <c:v>0.50149702007489205</c:v>
                </c:pt>
                <c:pt idx="8631">
                  <c:v>0.28162604447294598</c:v>
                </c:pt>
                <c:pt idx="8632">
                  <c:v>0.248437972683973</c:v>
                </c:pt>
                <c:pt idx="8633">
                  <c:v>0.31066560728829701</c:v>
                </c:pt>
                <c:pt idx="8634">
                  <c:v>0.21524990089500001</c:v>
                </c:pt>
                <c:pt idx="8635">
                  <c:v>0.23599244576310799</c:v>
                </c:pt>
                <c:pt idx="8636">
                  <c:v>6.59035778446216E-2</c:v>
                </c:pt>
                <c:pt idx="8637">
                  <c:v>0.19035884705327</c:v>
                </c:pt>
                <c:pt idx="8638">
                  <c:v>0.11153717655445899</c:v>
                </c:pt>
                <c:pt idx="8639">
                  <c:v>-7.0997218284891805E-2</c:v>
                </c:pt>
                <c:pt idx="8640">
                  <c:v>-8.3442745205756702E-2</c:v>
                </c:pt>
                <c:pt idx="8641">
                  <c:v>-0.120779325968351</c:v>
                </c:pt>
                <c:pt idx="8642">
                  <c:v>-0.21204652338802699</c:v>
                </c:pt>
                <c:pt idx="8643">
                  <c:v>8.2497613739108105E-2</c:v>
                </c:pt>
                <c:pt idx="8644">
                  <c:v>-0.17470994262543199</c:v>
                </c:pt>
                <c:pt idx="8645">
                  <c:v>-0.120779325968351</c:v>
                </c:pt>
                <c:pt idx="8646">
                  <c:v>0.55542763673197304</c:v>
                </c:pt>
                <c:pt idx="8647">
                  <c:v>0.49320000212764797</c:v>
                </c:pt>
                <c:pt idx="8648">
                  <c:v>0.219398409868622</c:v>
                </c:pt>
                <c:pt idx="8649">
                  <c:v>0.27747753549932402</c:v>
                </c:pt>
                <c:pt idx="8650">
                  <c:v>0.385338768813486</c:v>
                </c:pt>
                <c:pt idx="8651">
                  <c:v>0.211101391921378</c:v>
                </c:pt>
                <c:pt idx="8652">
                  <c:v>0.21524990089500001</c:v>
                </c:pt>
                <c:pt idx="8653">
                  <c:v>0.14887375731705399</c:v>
                </c:pt>
                <c:pt idx="8654">
                  <c:v>0.19450735602689201</c:v>
                </c:pt>
                <c:pt idx="8655">
                  <c:v>8.6646122712729701E-2</c:v>
                </c:pt>
                <c:pt idx="8656">
                  <c:v>4.1012524002891897E-2</c:v>
                </c:pt>
                <c:pt idx="8657">
                  <c:v>-7.5145727258513401E-2</c:v>
                </c:pt>
                <c:pt idx="8658">
                  <c:v>-7.9294236232135107E-2</c:v>
                </c:pt>
                <c:pt idx="8659">
                  <c:v>-8.3442745205756702E-2</c:v>
                </c:pt>
                <c:pt idx="8660">
                  <c:v>0.11153717655445899</c:v>
                </c:pt>
                <c:pt idx="8661">
                  <c:v>0.33970517010364898</c:v>
                </c:pt>
                <c:pt idx="8662">
                  <c:v>6.1755068870999998E-2</c:v>
                </c:pt>
                <c:pt idx="8663">
                  <c:v>0.11568568552808101</c:v>
                </c:pt>
                <c:pt idx="8664">
                  <c:v>0.289923062420189</c:v>
                </c:pt>
                <c:pt idx="8665">
                  <c:v>0.26503200857845899</c:v>
                </c:pt>
                <c:pt idx="8666">
                  <c:v>0.33555666113002702</c:v>
                </c:pt>
                <c:pt idx="8667">
                  <c:v>0.25258648165759501</c:v>
                </c:pt>
                <c:pt idx="8668">
                  <c:v>7.8349104765486496E-2</c:v>
                </c:pt>
                <c:pt idx="8669">
                  <c:v>5.7606559897378402E-2</c:v>
                </c:pt>
                <c:pt idx="8670">
                  <c:v>6.1755068870999998E-2</c:v>
                </c:pt>
                <c:pt idx="8671">
                  <c:v>0.52638807391662101</c:v>
                </c:pt>
                <c:pt idx="8672">
                  <c:v>0.43097236752332402</c:v>
                </c:pt>
                <c:pt idx="8673">
                  <c:v>0.49734851110126999</c:v>
                </c:pt>
                <c:pt idx="8674">
                  <c:v>0.68817992388786497</c:v>
                </c:pt>
                <c:pt idx="8675">
                  <c:v>0.81678370207013495</c:v>
                </c:pt>
                <c:pt idx="8676">
                  <c:v>0.73381352259770205</c:v>
                </c:pt>
                <c:pt idx="8677">
                  <c:v>0.833377737964621</c:v>
                </c:pt>
                <c:pt idx="8678">
                  <c:v>0.74211054054494596</c:v>
                </c:pt>
                <c:pt idx="8679">
                  <c:v>0.78774413925478304</c:v>
                </c:pt>
                <c:pt idx="8680">
                  <c:v>0.68817992388786497</c:v>
                </c:pt>
                <c:pt idx="8681">
                  <c:v>0.99516958793586396</c:v>
                </c:pt>
                <c:pt idx="8682">
                  <c:v>1.0739912584346789</c:v>
                </c:pt>
                <c:pt idx="8683">
                  <c:v>1.0905852943291601</c:v>
                </c:pt>
                <c:pt idx="8684">
                  <c:v>1.1445159109862399</c:v>
                </c:pt>
                <c:pt idx="8685">
                  <c:v>1.14036740201262</c:v>
                </c:pt>
                <c:pt idx="8686">
                  <c:v>1.38927794042992</c:v>
                </c:pt>
                <c:pt idx="8687">
                  <c:v>1.3477928506937</c:v>
                </c:pt>
                <c:pt idx="8688">
                  <c:v>1.289713725063</c:v>
                </c:pt>
                <c:pt idx="8689">
                  <c:v>1.14036740201262</c:v>
                </c:pt>
                <c:pt idx="8690">
                  <c:v>1.0283576597248401</c:v>
                </c:pt>
                <c:pt idx="8691">
                  <c:v>0.89560537256894601</c:v>
                </c:pt>
                <c:pt idx="8692">
                  <c:v>0.95783300717327002</c:v>
                </c:pt>
                <c:pt idx="8693">
                  <c:v>0.99931809690948603</c:v>
                </c:pt>
                <c:pt idx="8694">
                  <c:v>1.37268390453543</c:v>
                </c:pt>
                <c:pt idx="8695">
                  <c:v>1.32705030582559</c:v>
                </c:pt>
                <c:pt idx="8696">
                  <c:v>1.0988823122764</c:v>
                </c:pt>
                <c:pt idx="8697">
                  <c:v>1.0034666058831101</c:v>
                </c:pt>
                <c:pt idx="8698">
                  <c:v>1.0242091507512201</c:v>
                </c:pt>
                <c:pt idx="8699">
                  <c:v>0.98687256998862105</c:v>
                </c:pt>
                <c:pt idx="8700">
                  <c:v>1.11547634817089</c:v>
                </c:pt>
                <c:pt idx="8701">
                  <c:v>1.2565256532740301</c:v>
                </c:pt>
                <c:pt idx="8702">
                  <c:v>1.1735554738015901</c:v>
                </c:pt>
                <c:pt idx="8703">
                  <c:v>1.18600100072246</c:v>
                </c:pt>
                <c:pt idx="8704">
                  <c:v>1.065694240487429</c:v>
                </c:pt>
                <c:pt idx="8705">
                  <c:v>1.14036740201262</c:v>
                </c:pt>
                <c:pt idx="8706">
                  <c:v>1.2606741622476501</c:v>
                </c:pt>
                <c:pt idx="8707">
                  <c:v>1.15696143790711</c:v>
                </c:pt>
                <c:pt idx="8708">
                  <c:v>1.11962485714451</c:v>
                </c:pt>
                <c:pt idx="8709">
                  <c:v>0.99102107896224301</c:v>
                </c:pt>
                <c:pt idx="8710">
                  <c:v>0.95368449819964796</c:v>
                </c:pt>
                <c:pt idx="8711">
                  <c:v>0.51394254699575703</c:v>
                </c:pt>
                <c:pt idx="8712">
                  <c:v>0.77944712130754001</c:v>
                </c:pt>
                <c:pt idx="8713">
                  <c:v>0.696476941835108</c:v>
                </c:pt>
                <c:pt idx="8714">
                  <c:v>0.89560537256894601</c:v>
                </c:pt>
                <c:pt idx="8715">
                  <c:v>0.675734396967</c:v>
                </c:pt>
                <c:pt idx="8716">
                  <c:v>0.87071431872721605</c:v>
                </c:pt>
                <c:pt idx="8717">
                  <c:v>0.91634791743705402</c:v>
                </c:pt>
                <c:pt idx="8718">
                  <c:v>0.95368449819964796</c:v>
                </c:pt>
                <c:pt idx="8719">
                  <c:v>0.970278534094135</c:v>
                </c:pt>
                <c:pt idx="8720">
                  <c:v>0.70477395978235102</c:v>
                </c:pt>
                <c:pt idx="8721">
                  <c:v>0.72551650465045903</c:v>
                </c:pt>
                <c:pt idx="8722">
                  <c:v>0.55127912775835097</c:v>
                </c:pt>
                <c:pt idx="8723">
                  <c:v>0.24014095473673</c:v>
                </c:pt>
                <c:pt idx="8724">
                  <c:v>0.41022982265521601</c:v>
                </c:pt>
                <c:pt idx="8725">
                  <c:v>-0.14567037981008099</c:v>
                </c:pt>
                <c:pt idx="8726">
                  <c:v>-2.5363619575054001E-2</c:v>
                </c:pt>
                <c:pt idx="8727">
                  <c:v>-5.44031823904053E-2</c:v>
                </c:pt>
                <c:pt idx="8728">
                  <c:v>-0.27842266696597301</c:v>
                </c:pt>
                <c:pt idx="8729">
                  <c:v>-0.25353161312424299</c:v>
                </c:pt>
                <c:pt idx="8730">
                  <c:v>-0.27842266696597301</c:v>
                </c:pt>
                <c:pt idx="8731">
                  <c:v>-0.28257117593959402</c:v>
                </c:pt>
                <c:pt idx="8732">
                  <c:v>-0.353095828491162</c:v>
                </c:pt>
                <c:pt idx="8733">
                  <c:v>-4.6106164443162102E-2</c:v>
                </c:pt>
                <c:pt idx="8734">
                  <c:v>-0.37383837335927</c:v>
                </c:pt>
                <c:pt idx="8735">
                  <c:v>-0.30746222978132398</c:v>
                </c:pt>
                <c:pt idx="8736">
                  <c:v>-0.40287793617462098</c:v>
                </c:pt>
                <c:pt idx="8737">
                  <c:v>-0.39872942720100002</c:v>
                </c:pt>
                <c:pt idx="8738">
                  <c:v>-0.41532346309548601</c:v>
                </c:pt>
                <c:pt idx="8739">
                  <c:v>-0.49829364256791903</c:v>
                </c:pt>
                <c:pt idx="8740">
                  <c:v>-0.42776899001635099</c:v>
                </c:pt>
                <c:pt idx="8741">
                  <c:v>-0.44021451693721603</c:v>
                </c:pt>
                <c:pt idx="8742">
                  <c:v>-0.48169960667343198</c:v>
                </c:pt>
                <c:pt idx="8743">
                  <c:v>-0.52733320538327</c:v>
                </c:pt>
                <c:pt idx="8744">
                  <c:v>-0.52318469640964804</c:v>
                </c:pt>
                <c:pt idx="8745">
                  <c:v>-0.51903618743602697</c:v>
                </c:pt>
                <c:pt idx="8746">
                  <c:v>-0.44021451693721603</c:v>
                </c:pt>
                <c:pt idx="8747">
                  <c:v>-0.54392724127775605</c:v>
                </c:pt>
                <c:pt idx="8748">
                  <c:v>-0.49829364256791903</c:v>
                </c:pt>
                <c:pt idx="8749">
                  <c:v>-0.42362048104272898</c:v>
                </c:pt>
                <c:pt idx="8750">
                  <c:v>-0.53148171435689195</c:v>
                </c:pt>
                <c:pt idx="8751">
                  <c:v>-0.53977873230413498</c:v>
                </c:pt>
                <c:pt idx="8752">
                  <c:v>-0.55637276819862103</c:v>
                </c:pt>
                <c:pt idx="8753">
                  <c:v>-0.53977873230413498</c:v>
                </c:pt>
                <c:pt idx="8754">
                  <c:v>-0.44021451693721603</c:v>
                </c:pt>
                <c:pt idx="8755">
                  <c:v>-0.51073916948878395</c:v>
                </c:pt>
                <c:pt idx="8756">
                  <c:v>-0.51073916948878395</c:v>
                </c:pt>
                <c:pt idx="8757">
                  <c:v>-0.42362048104272898</c:v>
                </c:pt>
                <c:pt idx="8758">
                  <c:v>-0.66838251048640496</c:v>
                </c:pt>
                <c:pt idx="8759">
                  <c:v>-0.81772883353678305</c:v>
                </c:pt>
                <c:pt idx="8760">
                  <c:v>-0.489996624620675</c:v>
                </c:pt>
                <c:pt idx="8761">
                  <c:v>-0.62689742075018895</c:v>
                </c:pt>
                <c:pt idx="8762">
                  <c:v>-0.39872942720100002</c:v>
                </c:pt>
                <c:pt idx="8763">
                  <c:v>-0.37798688233289202</c:v>
                </c:pt>
                <c:pt idx="8764">
                  <c:v>-0.19130397851991901</c:v>
                </c:pt>
                <c:pt idx="8765">
                  <c:v>-0.124927834941973</c:v>
                </c:pt>
                <c:pt idx="8766">
                  <c:v>-0.29086819388683799</c:v>
                </c:pt>
                <c:pt idx="8767">
                  <c:v>-0.19130397851991901</c:v>
                </c:pt>
                <c:pt idx="8768">
                  <c:v>-0.26597714004510797</c:v>
                </c:pt>
                <c:pt idx="8769">
                  <c:v>-0.18300696057267599</c:v>
                </c:pt>
                <c:pt idx="8770">
                  <c:v>-0.124927834941973</c:v>
                </c:pt>
                <c:pt idx="8771">
                  <c:v>-0.18300696057267599</c:v>
                </c:pt>
                <c:pt idx="8772">
                  <c:v>-0.13322485288921601</c:v>
                </c:pt>
                <c:pt idx="8773">
                  <c:v>-0.19130397851991901</c:v>
                </c:pt>
                <c:pt idx="8774">
                  <c:v>0.41437833162883803</c:v>
                </c:pt>
                <c:pt idx="8775">
                  <c:v>0.219398409868622</c:v>
                </c:pt>
                <c:pt idx="8776">
                  <c:v>0.48075447520678399</c:v>
                </c:pt>
                <c:pt idx="8777">
                  <c:v>0.696476941835108</c:v>
                </c:pt>
                <c:pt idx="8778">
                  <c:v>0.50979403802213497</c:v>
                </c:pt>
                <c:pt idx="8779">
                  <c:v>0.812635193096513</c:v>
                </c:pt>
                <c:pt idx="8780">
                  <c:v>0.82922922899100004</c:v>
                </c:pt>
                <c:pt idx="8781">
                  <c:v>0.75455606746581105</c:v>
                </c:pt>
                <c:pt idx="8782">
                  <c:v>0.91634791743705402</c:v>
                </c:pt>
                <c:pt idx="8783">
                  <c:v>0.65499185209889199</c:v>
                </c:pt>
                <c:pt idx="8784">
                  <c:v>0.580318690573702</c:v>
                </c:pt>
                <c:pt idx="8785">
                  <c:v>0.38119025983986499</c:v>
                </c:pt>
                <c:pt idx="8786">
                  <c:v>0.601061235441811</c:v>
                </c:pt>
                <c:pt idx="8787">
                  <c:v>0.59691272646818905</c:v>
                </c:pt>
                <c:pt idx="8788">
                  <c:v>0.601061235441811</c:v>
                </c:pt>
                <c:pt idx="8789">
                  <c:v>0.580318690573702</c:v>
                </c:pt>
                <c:pt idx="8790">
                  <c:v>0.50564552904851301</c:v>
                </c:pt>
                <c:pt idx="8791">
                  <c:v>0.60935825338905403</c:v>
                </c:pt>
                <c:pt idx="8792">
                  <c:v>0.85412028283272901</c:v>
                </c:pt>
                <c:pt idx="8793">
                  <c:v>0.90390239051618904</c:v>
                </c:pt>
                <c:pt idx="8794">
                  <c:v>0.96198151614689098</c:v>
                </c:pt>
                <c:pt idx="8795">
                  <c:v>1.01176362383035</c:v>
                </c:pt>
                <c:pt idx="8796">
                  <c:v>0.43926938547056699</c:v>
                </c:pt>
                <c:pt idx="8797">
                  <c:v>0.19450735602689201</c:v>
                </c:pt>
                <c:pt idx="8798">
                  <c:v>0.123982703475324</c:v>
                </c:pt>
                <c:pt idx="8799">
                  <c:v>0.47660596623316198</c:v>
                </c:pt>
                <c:pt idx="8800">
                  <c:v>0.51394254699575703</c:v>
                </c:pt>
                <c:pt idx="8801">
                  <c:v>1.01176362383035</c:v>
                </c:pt>
                <c:pt idx="8802">
                  <c:v>0.64669483415164797</c:v>
                </c:pt>
                <c:pt idx="8803">
                  <c:v>0.443417894444189</c:v>
                </c:pt>
                <c:pt idx="8804">
                  <c:v>0.42267534957608099</c:v>
                </c:pt>
                <c:pt idx="8805">
                  <c:v>0.65499185209889199</c:v>
                </c:pt>
                <c:pt idx="8806">
                  <c:v>0.56787316365283802</c:v>
                </c:pt>
                <c:pt idx="8807">
                  <c:v>0.364596223945378</c:v>
                </c:pt>
                <c:pt idx="8808">
                  <c:v>0.38119025983986499</c:v>
                </c:pt>
                <c:pt idx="8809">
                  <c:v>1.0864367853555399</c:v>
                </c:pt>
                <c:pt idx="8810">
                  <c:v>0.27747753549932402</c:v>
                </c:pt>
                <c:pt idx="8811">
                  <c:v>0.53883360083748599</c:v>
                </c:pt>
                <c:pt idx="8812">
                  <c:v>0.50149702007489205</c:v>
                </c:pt>
                <c:pt idx="8813">
                  <c:v>0.161319284237919</c:v>
                </c:pt>
                <c:pt idx="8814">
                  <c:v>0.80848668412289104</c:v>
                </c:pt>
                <c:pt idx="8815">
                  <c:v>0.48905149315402702</c:v>
                </c:pt>
                <c:pt idx="8816">
                  <c:v>0.36874473291900001</c:v>
                </c:pt>
                <c:pt idx="8817">
                  <c:v>0.48075447520678399</c:v>
                </c:pt>
                <c:pt idx="8818">
                  <c:v>0.28577455344656699</c:v>
                </c:pt>
                <c:pt idx="8819">
                  <c:v>0.219398409868622</c:v>
                </c:pt>
                <c:pt idx="8820">
                  <c:v>0.161319284237919</c:v>
                </c:pt>
                <c:pt idx="8821">
                  <c:v>5.7606559897378402E-2</c:v>
                </c:pt>
                <c:pt idx="8822">
                  <c:v>0.22354691884224301</c:v>
                </c:pt>
                <c:pt idx="8823">
                  <c:v>0.153022266290676</c:v>
                </c:pt>
                <c:pt idx="8824">
                  <c:v>-4.6106164443162102E-2</c:v>
                </c:pt>
                <c:pt idx="8825">
                  <c:v>2.0269979134783799E-2</c:v>
                </c:pt>
                <c:pt idx="8826">
                  <c:v>-4.19576554695405E-2</c:v>
                </c:pt>
                <c:pt idx="8827">
                  <c:v>-4.7256573332428599E-4</c:v>
                </c:pt>
                <c:pt idx="8828">
                  <c:v>-1.29180926541891E-2</c:v>
                </c:pt>
                <c:pt idx="8829">
                  <c:v>-2.5363619575054001E-2</c:v>
                </c:pt>
                <c:pt idx="8830">
                  <c:v>-1.7066601627810801E-2</c:v>
                </c:pt>
                <c:pt idx="8831">
                  <c:v>-3.3660637522297199E-2</c:v>
                </c:pt>
                <c:pt idx="8832">
                  <c:v>-0.108333799047486</c:v>
                </c:pt>
                <c:pt idx="8833">
                  <c:v>-8.7591254179378297E-2</c:v>
                </c:pt>
                <c:pt idx="8834">
                  <c:v>-0.17470994262543199</c:v>
                </c:pt>
                <c:pt idx="8835">
                  <c:v>-4.7256573332428599E-4</c:v>
                </c:pt>
                <c:pt idx="8836">
                  <c:v>6.59035778446216E-2</c:v>
                </c:pt>
                <c:pt idx="8837">
                  <c:v>3.6759432402973299E-3</c:v>
                </c:pt>
                <c:pt idx="8838">
                  <c:v>-9.5888272126621502E-2</c:v>
                </c:pt>
                <c:pt idx="8839">
                  <c:v>-0.104185290073865</c:v>
                </c:pt>
                <c:pt idx="8840">
                  <c:v>-0.13737336186283799</c:v>
                </c:pt>
                <c:pt idx="8841">
                  <c:v>-0.25353161312424299</c:v>
                </c:pt>
                <c:pt idx="8842">
                  <c:v>-0.31161073875494599</c:v>
                </c:pt>
                <c:pt idx="8843">
                  <c:v>-0.27012564901872999</c:v>
                </c:pt>
                <c:pt idx="8844">
                  <c:v>-0.28671968491321598</c:v>
                </c:pt>
                <c:pt idx="8845">
                  <c:v>-0.31575924772856701</c:v>
                </c:pt>
                <c:pt idx="8846">
                  <c:v>-0.25768012209786501</c:v>
                </c:pt>
                <c:pt idx="8847">
                  <c:v>-0.23278906825613499</c:v>
                </c:pt>
                <c:pt idx="8848">
                  <c:v>-0.22034354133527001</c:v>
                </c:pt>
                <c:pt idx="8849">
                  <c:v>-0.22034354133527001</c:v>
                </c:pt>
                <c:pt idx="8850">
                  <c:v>-0.295016702860459</c:v>
                </c:pt>
                <c:pt idx="8851">
                  <c:v>-0.19130397851991901</c:v>
                </c:pt>
                <c:pt idx="8852">
                  <c:v>-0.236937577229757</c:v>
                </c:pt>
                <c:pt idx="8853">
                  <c:v>-0.14152187083645901</c:v>
                </c:pt>
                <c:pt idx="8854">
                  <c:v>-0.21204652338802699</c:v>
                </c:pt>
                <c:pt idx="8855">
                  <c:v>-0.29086819388683799</c:v>
                </c:pt>
                <c:pt idx="8856">
                  <c:v>-8.7695836805675303E-3</c:v>
                </c:pt>
                <c:pt idx="8857">
                  <c:v>0.211101391921378</c:v>
                </c:pt>
                <c:pt idx="8858">
                  <c:v>0.18621033807964901</c:v>
                </c:pt>
                <c:pt idx="8859">
                  <c:v>5.34580509237568E-2</c:v>
                </c:pt>
                <c:pt idx="8860">
                  <c:v>0.27747753549932402</c:v>
                </c:pt>
                <c:pt idx="8861">
                  <c:v>0.11153717655445899</c:v>
                </c:pt>
                <c:pt idx="8862">
                  <c:v>0.123982703475324</c:v>
                </c:pt>
                <c:pt idx="8863">
                  <c:v>0.16961630218516199</c:v>
                </c:pt>
                <c:pt idx="8864">
                  <c:v>4.5161032976513499E-2</c:v>
                </c:pt>
                <c:pt idx="8865">
                  <c:v>0.46830894828591901</c:v>
                </c:pt>
                <c:pt idx="8866">
                  <c:v>0.19450735602689201</c:v>
                </c:pt>
                <c:pt idx="8867">
                  <c:v>9.0794631686351407E-2</c:v>
                </c:pt>
                <c:pt idx="8868">
                  <c:v>0.16961630218516199</c:v>
                </c:pt>
                <c:pt idx="8869">
                  <c:v>0.31481411626191902</c:v>
                </c:pt>
                <c:pt idx="8870">
                  <c:v>1.136218893039</c:v>
                </c:pt>
                <c:pt idx="8871">
                  <c:v>1.17770398277522</c:v>
                </c:pt>
                <c:pt idx="8872">
                  <c:v>1.18185249174884</c:v>
                </c:pt>
                <c:pt idx="8873">
                  <c:v>0.92049642641067497</c:v>
                </c:pt>
                <c:pt idx="8874">
                  <c:v>0.87071431872721605</c:v>
                </c:pt>
                <c:pt idx="8875">
                  <c:v>1.0781397674083</c:v>
                </c:pt>
                <c:pt idx="8876">
                  <c:v>1.0781397674083</c:v>
                </c:pt>
                <c:pt idx="8877">
                  <c:v>1.0781397674083</c:v>
                </c:pt>
                <c:pt idx="8878">
                  <c:v>-0.75135268995883697</c:v>
                </c:pt>
                <c:pt idx="8879">
                  <c:v>0.86241730077997303</c:v>
                </c:pt>
                <c:pt idx="8880">
                  <c:v>0.86241730077997303</c:v>
                </c:pt>
                <c:pt idx="8881">
                  <c:v>0.78774413925478304</c:v>
                </c:pt>
                <c:pt idx="8882">
                  <c:v>0.70062545080872896</c:v>
                </c:pt>
                <c:pt idx="8883">
                  <c:v>0.58861570852094602</c:v>
                </c:pt>
                <c:pt idx="8884">
                  <c:v>0.72136799567683796</c:v>
                </c:pt>
                <c:pt idx="8885">
                  <c:v>0.70062545080872896</c:v>
                </c:pt>
                <c:pt idx="8886">
                  <c:v>0.72551650465045903</c:v>
                </c:pt>
                <c:pt idx="8887">
                  <c:v>0.87486282770083701</c:v>
                </c:pt>
                <c:pt idx="8888">
                  <c:v>0.82922922899100004</c:v>
                </c:pt>
                <c:pt idx="8889">
                  <c:v>0.26088349960483798</c:v>
                </c:pt>
                <c:pt idx="8890">
                  <c:v>1.45565408400786</c:v>
                </c:pt>
                <c:pt idx="8891">
                  <c:v>1.0200606417775899</c:v>
                </c:pt>
                <c:pt idx="8892">
                  <c:v>0.73381352259770205</c:v>
                </c:pt>
                <c:pt idx="8893">
                  <c:v>0.31481411626191902</c:v>
                </c:pt>
                <c:pt idx="8894">
                  <c:v>0.49734851110126999</c:v>
                </c:pt>
                <c:pt idx="8895">
                  <c:v>0.248437972683973</c:v>
                </c:pt>
                <c:pt idx="8896">
                  <c:v>0.26088349960483798</c:v>
                </c:pt>
                <c:pt idx="8897">
                  <c:v>-0.63934294767105404</c:v>
                </c:pt>
                <c:pt idx="8898">
                  <c:v>2.0239998133940298</c:v>
                </c:pt>
                <c:pt idx="8899">
                  <c:v>1.8290198916338101</c:v>
                </c:pt>
                <c:pt idx="8900">
                  <c:v>0.39363578676073002</c:v>
                </c:pt>
                <c:pt idx="8901">
                  <c:v>0.29822008036743203</c:v>
                </c:pt>
                <c:pt idx="8902">
                  <c:v>5.7606559897378402E-2</c:v>
                </c:pt>
                <c:pt idx="8903">
                  <c:v>0.123982703475324</c:v>
                </c:pt>
                <c:pt idx="8904">
                  <c:v>-5.0254673416783698E-2</c:v>
                </c:pt>
                <c:pt idx="8905">
                  <c:v>-0.11663081699473</c:v>
                </c:pt>
                <c:pt idx="8906">
                  <c:v>-9.1739763152999906E-2</c:v>
                </c:pt>
                <c:pt idx="8907">
                  <c:v>-0.24938310415062101</c:v>
                </c:pt>
                <c:pt idx="8908">
                  <c:v>-0.24938310415062101</c:v>
                </c:pt>
                <c:pt idx="8909">
                  <c:v>-0.295016702860459</c:v>
                </c:pt>
                <c:pt idx="8910">
                  <c:v>-0.24938310415062101</c:v>
                </c:pt>
                <c:pt idx="8911">
                  <c:v>-0.27012564901872999</c:v>
                </c:pt>
                <c:pt idx="8912">
                  <c:v>-0.29916521183408101</c:v>
                </c:pt>
                <c:pt idx="8913">
                  <c:v>-0.29916521183408101</c:v>
                </c:pt>
                <c:pt idx="8914">
                  <c:v>-0.31575924772856701</c:v>
                </c:pt>
                <c:pt idx="8915">
                  <c:v>-0.32405626567581097</c:v>
                </c:pt>
                <c:pt idx="8916">
                  <c:v>-0.32820477464943199</c:v>
                </c:pt>
                <c:pt idx="8917">
                  <c:v>-0.390432409253757</c:v>
                </c:pt>
                <c:pt idx="8918">
                  <c:v>-0.22449205030889199</c:v>
                </c:pt>
                <c:pt idx="8919">
                  <c:v>-0.29916521183408101</c:v>
                </c:pt>
                <c:pt idx="8920">
                  <c:v>-0.31161073875494599</c:v>
                </c:pt>
                <c:pt idx="8921">
                  <c:v>-0.40287793617462098</c:v>
                </c:pt>
                <c:pt idx="8922">
                  <c:v>-0.32405626567581097</c:v>
                </c:pt>
                <c:pt idx="8923">
                  <c:v>-0.332353283623054</c:v>
                </c:pt>
                <c:pt idx="8924">
                  <c:v>-0.42362048104272898</c:v>
                </c:pt>
                <c:pt idx="8925">
                  <c:v>-0.31990775670218902</c:v>
                </c:pt>
                <c:pt idx="8926">
                  <c:v>-0.40287793617462098</c:v>
                </c:pt>
                <c:pt idx="8927">
                  <c:v>-0.47340258872618901</c:v>
                </c:pt>
                <c:pt idx="8928">
                  <c:v>-0.47755109769981102</c:v>
                </c:pt>
                <c:pt idx="8929">
                  <c:v>-0.36139284643840502</c:v>
                </c:pt>
                <c:pt idx="8930">
                  <c:v>-0.108333799047486</c:v>
                </c:pt>
                <c:pt idx="8931">
                  <c:v>-0.36968986438564799</c:v>
                </c:pt>
                <c:pt idx="8932">
                  <c:v>-0.32820477464943199</c:v>
                </c:pt>
                <c:pt idx="8933">
                  <c:v>-0.129076343915595</c:v>
                </c:pt>
                <c:pt idx="8934">
                  <c:v>-0.129076343915595</c:v>
                </c:pt>
                <c:pt idx="8935">
                  <c:v>-0.22449205030889199</c:v>
                </c:pt>
                <c:pt idx="8936">
                  <c:v>-0.22449205030889199</c:v>
                </c:pt>
                <c:pt idx="8937">
                  <c:v>-0.15396739775732399</c:v>
                </c:pt>
                <c:pt idx="8938">
                  <c:v>-0.14152187083645901</c:v>
                </c:pt>
                <c:pt idx="8939">
                  <c:v>-0.20374950544078399</c:v>
                </c:pt>
                <c:pt idx="8940">
                  <c:v>-0.129076343915595</c:v>
                </c:pt>
                <c:pt idx="8941">
                  <c:v>-3.3660637522297199E-2</c:v>
                </c:pt>
                <c:pt idx="8942">
                  <c:v>-0.11248230802110799</c:v>
                </c:pt>
                <c:pt idx="8943">
                  <c:v>-5.44031823904053E-2</c:v>
                </c:pt>
                <c:pt idx="8944">
                  <c:v>-0.14567037981008099</c:v>
                </c:pt>
                <c:pt idx="8945">
                  <c:v>-0.104185290073865</c:v>
                </c:pt>
                <c:pt idx="8946">
                  <c:v>-2.1215110601432399E-2</c:v>
                </c:pt>
                <c:pt idx="8947">
                  <c:v>2.8566997082027101E-2</c:v>
                </c:pt>
                <c:pt idx="8948">
                  <c:v>2.8566997082027101E-2</c:v>
                </c:pt>
                <c:pt idx="8949">
                  <c:v>4.9309541950135198E-2</c:v>
                </c:pt>
                <c:pt idx="8950">
                  <c:v>0.19865586500051299</c:v>
                </c:pt>
                <c:pt idx="8951">
                  <c:v>0.27747753549932402</c:v>
                </c:pt>
                <c:pt idx="8952">
                  <c:v>0.306517098314676</c:v>
                </c:pt>
                <c:pt idx="8953">
                  <c:v>0.53883360083748599</c:v>
                </c:pt>
                <c:pt idx="8954">
                  <c:v>0.79604115720202695</c:v>
                </c:pt>
                <c:pt idx="8955">
                  <c:v>0.55542763673197304</c:v>
                </c:pt>
                <c:pt idx="8956">
                  <c:v>0.45171491239143202</c:v>
                </c:pt>
                <c:pt idx="8957">
                  <c:v>0.46830894828591901</c:v>
                </c:pt>
                <c:pt idx="8958">
                  <c:v>0.327259643182784</c:v>
                </c:pt>
                <c:pt idx="8959">
                  <c:v>1.58425786219013</c:v>
                </c:pt>
                <c:pt idx="8960">
                  <c:v>1.7875348018975901</c:v>
                </c:pt>
                <c:pt idx="8961">
                  <c:v>1.5054361916913199</c:v>
                </c:pt>
                <c:pt idx="8962">
                  <c:v>1.66307953268895</c:v>
                </c:pt>
                <c:pt idx="8963">
                  <c:v>1.6381884788472201</c:v>
                </c:pt>
                <c:pt idx="8964">
                  <c:v>1.85805945444916</c:v>
                </c:pt>
                <c:pt idx="8965">
                  <c:v>1.6547825147416999</c:v>
                </c:pt>
                <c:pt idx="8966">
                  <c:v>1.5718123352692699</c:v>
                </c:pt>
                <c:pt idx="8967">
                  <c:v>1.5759608442428901</c:v>
                </c:pt>
                <c:pt idx="8968">
                  <c:v>1.6174459339791101</c:v>
                </c:pt>
                <c:pt idx="8969">
                  <c:v>1.58010935321651</c:v>
                </c:pt>
                <c:pt idx="8970">
                  <c:v>1.3975749583771599</c:v>
                </c:pt>
                <c:pt idx="8971">
                  <c:v>1.43491153913976</c:v>
                </c:pt>
                <c:pt idx="8972">
                  <c:v>1.5386242634803</c:v>
                </c:pt>
                <c:pt idx="8973">
                  <c:v>1.5552182993747801</c:v>
                </c:pt>
                <c:pt idx="8974">
                  <c:v>1.6962676044779199</c:v>
                </c:pt>
                <c:pt idx="8975">
                  <c:v>1.7584952390822399</c:v>
                </c:pt>
                <c:pt idx="8976">
                  <c:v>1.5303272455330501</c:v>
                </c:pt>
                <c:pt idx="8977">
                  <c:v>1.66307953268895</c:v>
                </c:pt>
                <c:pt idx="8978">
                  <c:v>1.2150405635378101</c:v>
                </c:pt>
                <c:pt idx="8979">
                  <c:v>1.19844652764332</c:v>
                </c:pt>
                <c:pt idx="8980">
                  <c:v>1.2108920545641899</c:v>
                </c:pt>
                <c:pt idx="8981">
                  <c:v>1.2938622340366199</c:v>
                </c:pt>
                <c:pt idx="8982">
                  <c:v>1.37268390453543</c:v>
                </c:pt>
                <c:pt idx="8983">
                  <c:v>1.20259503661695</c:v>
                </c:pt>
                <c:pt idx="8984">
                  <c:v>1.0076151148567301</c:v>
                </c:pt>
                <c:pt idx="8985">
                  <c:v>0.95783300717327002</c:v>
                </c:pt>
                <c:pt idx="8986">
                  <c:v>0.99931809690948603</c:v>
                </c:pt>
                <c:pt idx="8987">
                  <c:v>0.98272406101499998</c:v>
                </c:pt>
                <c:pt idx="8988">
                  <c:v>0.96198151614689098</c:v>
                </c:pt>
                <c:pt idx="8989">
                  <c:v>0.99931809690948603</c:v>
                </c:pt>
                <c:pt idx="8990">
                  <c:v>0.84582326488548598</c:v>
                </c:pt>
                <c:pt idx="8991">
                  <c:v>1.01176362383035</c:v>
                </c:pt>
                <c:pt idx="8992">
                  <c:v>0.75040755849218899</c:v>
                </c:pt>
                <c:pt idx="8993">
                  <c:v>0.84997177385910805</c:v>
                </c:pt>
                <c:pt idx="8994">
                  <c:v>0.90390239051618904</c:v>
                </c:pt>
                <c:pt idx="8995">
                  <c:v>0.78774413925478304</c:v>
                </c:pt>
                <c:pt idx="8996">
                  <c:v>0.35215069702451302</c:v>
                </c:pt>
                <c:pt idx="8997">
                  <c:v>0.59691272646818905</c:v>
                </c:pt>
                <c:pt idx="8998">
                  <c:v>0.58861570852094602</c:v>
                </c:pt>
                <c:pt idx="8999">
                  <c:v>0.71307097772959405</c:v>
                </c:pt>
                <c:pt idx="9000">
                  <c:v>0.65914036107251295</c:v>
                </c:pt>
                <c:pt idx="9001">
                  <c:v>0.66328887004613502</c:v>
                </c:pt>
                <c:pt idx="9002">
                  <c:v>0.89975388154256697</c:v>
                </c:pt>
                <c:pt idx="9003">
                  <c:v>0.64669483415164797</c:v>
                </c:pt>
                <c:pt idx="9004">
                  <c:v>0.71307097772959405</c:v>
                </c:pt>
                <c:pt idx="9005">
                  <c:v>1.1113278391972701</c:v>
                </c:pt>
                <c:pt idx="9006">
                  <c:v>1.1445159109862399</c:v>
                </c:pt>
                <c:pt idx="9007">
                  <c:v>1.1735554738015901</c:v>
                </c:pt>
                <c:pt idx="9008">
                  <c:v>0.93294195333153995</c:v>
                </c:pt>
                <c:pt idx="9009">
                  <c:v>1.03250616869846</c:v>
                </c:pt>
                <c:pt idx="9010">
                  <c:v>0.95368449819964796</c:v>
                </c:pt>
                <c:pt idx="9011">
                  <c:v>0.95783300717327002</c:v>
                </c:pt>
                <c:pt idx="9012">
                  <c:v>1.1942980186697001</c:v>
                </c:pt>
                <c:pt idx="9013">
                  <c:v>1.20259503661695</c:v>
                </c:pt>
                <c:pt idx="9014">
                  <c:v>1.1320703840653801</c:v>
                </c:pt>
                <c:pt idx="9015">
                  <c:v>1.1901495096960799</c:v>
                </c:pt>
                <c:pt idx="9016">
                  <c:v>0.99931809690948603</c:v>
                </c:pt>
                <c:pt idx="9017">
                  <c:v>1.3146047789047299</c:v>
                </c:pt>
                <c:pt idx="9018">
                  <c:v>1.22748609045868</c:v>
                </c:pt>
                <c:pt idx="9019">
                  <c:v>1.1113278391972701</c:v>
                </c:pt>
                <c:pt idx="9020">
                  <c:v>1.05739722254019</c:v>
                </c:pt>
                <c:pt idx="9021">
                  <c:v>1.1320703840653801</c:v>
                </c:pt>
                <c:pt idx="9022">
                  <c:v>0.93294195333153995</c:v>
                </c:pt>
                <c:pt idx="9023">
                  <c:v>1.0283576597248401</c:v>
                </c:pt>
                <c:pt idx="9024">
                  <c:v>0.98687256998862105</c:v>
                </c:pt>
                <c:pt idx="9025">
                  <c:v>1.24822863532678</c:v>
                </c:pt>
                <c:pt idx="9026">
                  <c:v>1.3477928506937</c:v>
                </c:pt>
                <c:pt idx="9027">
                  <c:v>1.26482267122127</c:v>
                </c:pt>
                <c:pt idx="9028">
                  <c:v>1.49713917374408</c:v>
                </c:pt>
                <c:pt idx="9029">
                  <c:v>1.62159444295273</c:v>
                </c:pt>
                <c:pt idx="9030">
                  <c:v>1.6091489160318599</c:v>
                </c:pt>
                <c:pt idx="9031">
                  <c:v>1.5386242634803</c:v>
                </c:pt>
                <c:pt idx="9032">
                  <c:v>1.33119881479922</c:v>
                </c:pt>
                <c:pt idx="9033">
                  <c:v>1.43906004811338</c:v>
                </c:pt>
                <c:pt idx="9034">
                  <c:v>1.4888421557968401</c:v>
                </c:pt>
                <c:pt idx="9035">
                  <c:v>1.4639511019551099</c:v>
                </c:pt>
                <c:pt idx="9036">
                  <c:v>1.5718123352692699</c:v>
                </c:pt>
                <c:pt idx="9037">
                  <c:v>1.4888421557968401</c:v>
                </c:pt>
                <c:pt idx="9038">
                  <c:v>1.5386242634803</c:v>
                </c:pt>
                <c:pt idx="9039">
                  <c:v>1.5967033891110001</c:v>
                </c:pt>
                <c:pt idx="9040">
                  <c:v>1.6132974250054899</c:v>
                </c:pt>
                <c:pt idx="9041">
                  <c:v>1.5925548801373799</c:v>
                </c:pt>
                <c:pt idx="9042">
                  <c:v>1.6547825147416999</c:v>
                </c:pt>
                <c:pt idx="9043">
                  <c:v>1.6547825147416999</c:v>
                </c:pt>
                <c:pt idx="9044">
                  <c:v>1.66722804166257</c:v>
                </c:pt>
                <c:pt idx="9045">
                  <c:v>1.68382207755705</c:v>
                </c:pt>
                <c:pt idx="9046">
                  <c:v>1.4680996109287301</c:v>
                </c:pt>
                <c:pt idx="9047">
                  <c:v>1.47224811990235</c:v>
                </c:pt>
                <c:pt idx="9048">
                  <c:v>1.2814167071157601</c:v>
                </c:pt>
                <c:pt idx="9049">
                  <c:v>1.89954454418538</c:v>
                </c:pt>
                <c:pt idx="9050">
                  <c:v>1.68797058653067</c:v>
                </c:pt>
                <c:pt idx="9051">
                  <c:v>1.2399316173795389</c:v>
                </c:pt>
                <c:pt idx="9052">
                  <c:v>1.28556521608938</c:v>
                </c:pt>
                <c:pt idx="9053">
                  <c:v>1.39342644940354</c:v>
                </c:pt>
                <c:pt idx="9054">
                  <c:v>1.41831750324527</c:v>
                </c:pt>
                <c:pt idx="9055">
                  <c:v>1.5261787365594299</c:v>
                </c:pt>
                <c:pt idx="9056">
                  <c:v>1.3353473237728399</c:v>
                </c:pt>
                <c:pt idx="9057">
                  <c:v>1.31045626993111</c:v>
                </c:pt>
                <c:pt idx="9058">
                  <c:v>1.31045626993111</c:v>
                </c:pt>
                <c:pt idx="9059">
                  <c:v>1.8622079634227799</c:v>
                </c:pt>
                <c:pt idx="9060">
                  <c:v>1.70871313139878</c:v>
                </c:pt>
                <c:pt idx="9061">
                  <c:v>1.77094076600311</c:v>
                </c:pt>
                <c:pt idx="9062">
                  <c:v>1.75434673010862</c:v>
                </c:pt>
                <c:pt idx="9063">
                  <c:v>1.9078415621326199</c:v>
                </c:pt>
                <c:pt idx="9064">
                  <c:v>1.92443559802711</c:v>
                </c:pt>
                <c:pt idx="9065">
                  <c:v>1.67137655063619</c:v>
                </c:pt>
                <c:pt idx="9066">
                  <c:v>1.6755250596098099</c:v>
                </c:pt>
                <c:pt idx="9067">
                  <c:v>1.6796735685834301</c:v>
                </c:pt>
                <c:pt idx="9068">
                  <c:v>1.2523771443003999</c:v>
                </c:pt>
                <c:pt idx="9069">
                  <c:v>1.2399316173795389</c:v>
                </c:pt>
                <c:pt idx="9070">
                  <c:v>1.4266145211925101</c:v>
                </c:pt>
                <c:pt idx="9071">
                  <c:v>1.3394958327464599</c:v>
                </c:pt>
                <c:pt idx="9072">
                  <c:v>1.5884063711637599</c:v>
                </c:pt>
                <c:pt idx="9073">
                  <c:v>1.62574295192635</c:v>
                </c:pt>
                <c:pt idx="9074">
                  <c:v>1.58010935321651</c:v>
                </c:pt>
                <c:pt idx="9075">
                  <c:v>0.72136799567683796</c:v>
                </c:pt>
                <c:pt idx="9076">
                  <c:v>1.21918907251143</c:v>
                </c:pt>
                <c:pt idx="9077">
                  <c:v>0.92464493538429704</c:v>
                </c:pt>
                <c:pt idx="9078">
                  <c:v>0.63010079825716203</c:v>
                </c:pt>
                <c:pt idx="9079">
                  <c:v>0.66328887004613502</c:v>
                </c:pt>
                <c:pt idx="9080">
                  <c:v>0.75870457643943201</c:v>
                </c:pt>
                <c:pt idx="9081">
                  <c:v>0.84997177385910805</c:v>
                </c:pt>
                <c:pt idx="9082">
                  <c:v>1.2814167071157601</c:v>
                </c:pt>
                <c:pt idx="9083">
                  <c:v>0.87486282770083701</c:v>
                </c:pt>
                <c:pt idx="9084">
                  <c:v>0.833377737964621</c:v>
                </c:pt>
                <c:pt idx="9085">
                  <c:v>0.97857555204137803</c:v>
                </c:pt>
                <c:pt idx="9086">
                  <c:v>0.75040755849218899</c:v>
                </c:pt>
                <c:pt idx="9087">
                  <c:v>0.77115010336029699</c:v>
                </c:pt>
                <c:pt idx="9088">
                  <c:v>0.83752624693824296</c:v>
                </c:pt>
                <c:pt idx="9089">
                  <c:v>0.53883360083748599</c:v>
                </c:pt>
                <c:pt idx="9090">
                  <c:v>0.52638807391662101</c:v>
                </c:pt>
                <c:pt idx="9091">
                  <c:v>0.55542763673197304</c:v>
                </c:pt>
                <c:pt idx="9092">
                  <c:v>0.219398409868622</c:v>
                </c:pt>
                <c:pt idx="9093">
                  <c:v>0.21524990089500001</c:v>
                </c:pt>
                <c:pt idx="9094">
                  <c:v>0.202804373974135</c:v>
                </c:pt>
                <c:pt idx="9095">
                  <c:v>0.41022982265521601</c:v>
                </c:pt>
                <c:pt idx="9096">
                  <c:v>0.33970517010364898</c:v>
                </c:pt>
                <c:pt idx="9097">
                  <c:v>0.306517098314676</c:v>
                </c:pt>
                <c:pt idx="9098">
                  <c:v>0.18621033807964901</c:v>
                </c:pt>
                <c:pt idx="9099">
                  <c:v>0.19035884705327</c:v>
                </c:pt>
                <c:pt idx="9100">
                  <c:v>0.306517098314676</c:v>
                </c:pt>
                <c:pt idx="9101">
                  <c:v>0.306517098314676</c:v>
                </c:pt>
                <c:pt idx="9102">
                  <c:v>0.248437972683973</c:v>
                </c:pt>
                <c:pt idx="9103">
                  <c:v>-4.7256573332428599E-4</c:v>
                </c:pt>
                <c:pt idx="9104">
                  <c:v>8.2497613739108105E-2</c:v>
                </c:pt>
                <c:pt idx="9105">
                  <c:v>0.119834194501703</c:v>
                </c:pt>
                <c:pt idx="9106">
                  <c:v>0.45171491239143202</c:v>
                </c:pt>
                <c:pt idx="9107">
                  <c:v>0.67158588799337804</c:v>
                </c:pt>
                <c:pt idx="9108">
                  <c:v>0.68403141491424302</c:v>
                </c:pt>
                <c:pt idx="9109">
                  <c:v>0.45171491239143202</c:v>
                </c:pt>
                <c:pt idx="9110">
                  <c:v>0.64254632517802701</c:v>
                </c:pt>
                <c:pt idx="9111">
                  <c:v>0.42267534957608099</c:v>
                </c:pt>
                <c:pt idx="9112">
                  <c:v>0.54298210981110795</c:v>
                </c:pt>
                <c:pt idx="9113">
                  <c:v>0.41022982265521601</c:v>
                </c:pt>
                <c:pt idx="9114">
                  <c:v>0.19035884705327</c:v>
                </c:pt>
                <c:pt idx="9115">
                  <c:v>0.31066560728829701</c:v>
                </c:pt>
                <c:pt idx="9116">
                  <c:v>0.21524990089500001</c:v>
                </c:pt>
                <c:pt idx="9117">
                  <c:v>0.812635193096513</c:v>
                </c:pt>
                <c:pt idx="9118">
                  <c:v>0.66328887004613502</c:v>
                </c:pt>
                <c:pt idx="9119">
                  <c:v>0.833377737964621</c:v>
                </c:pt>
                <c:pt idx="9120">
                  <c:v>0.64254632517802701</c:v>
                </c:pt>
                <c:pt idx="9121">
                  <c:v>0.82922922899100004</c:v>
                </c:pt>
                <c:pt idx="9122">
                  <c:v>1.0698427494610501</c:v>
                </c:pt>
                <c:pt idx="9123">
                  <c:v>0.84997177385910805</c:v>
                </c:pt>
                <c:pt idx="9124">
                  <c:v>1.2772681981421301</c:v>
                </c:pt>
                <c:pt idx="9125">
                  <c:v>1.5884063711637599</c:v>
                </c:pt>
                <c:pt idx="9126">
                  <c:v>1.5012876827177</c:v>
                </c:pt>
                <c:pt idx="9127">
                  <c:v>1.45150557503424</c:v>
                </c:pt>
                <c:pt idx="9128">
                  <c:v>1.6796735685834301</c:v>
                </c:pt>
                <c:pt idx="9129">
                  <c:v>1.68797058653067</c:v>
                </c:pt>
                <c:pt idx="9130">
                  <c:v>1.5510697904011601</c:v>
                </c:pt>
                <c:pt idx="9131">
                  <c:v>1.7128616403724</c:v>
                </c:pt>
                <c:pt idx="9132">
                  <c:v>1.58010935321651</c:v>
                </c:pt>
                <c:pt idx="9133">
                  <c:v>1.62574295192635</c:v>
                </c:pt>
                <c:pt idx="9134">
                  <c:v>1.19844652764332</c:v>
                </c:pt>
                <c:pt idx="9135">
                  <c:v>1.62574295192635</c:v>
                </c:pt>
                <c:pt idx="9136">
                  <c:v>1.7833862929239701</c:v>
                </c:pt>
                <c:pt idx="9137">
                  <c:v>1.8248713826601899</c:v>
                </c:pt>
                <c:pt idx="9138">
                  <c:v>1.3146047789047299</c:v>
                </c:pt>
                <c:pt idx="9139">
                  <c:v>1.7999803288184599</c:v>
                </c:pt>
                <c:pt idx="9140">
                  <c:v>1.48054513784959</c:v>
                </c:pt>
                <c:pt idx="9141">
                  <c:v>1.3394958327464599</c:v>
                </c:pt>
                <c:pt idx="9142">
                  <c:v>1.5718123352692699</c:v>
                </c:pt>
                <c:pt idx="9143">
                  <c:v>1.4473570660606201</c:v>
                </c:pt>
                <c:pt idx="9144">
                  <c:v>1.45980259298149</c:v>
                </c:pt>
                <c:pt idx="9145">
                  <c:v>1.70871313139878</c:v>
                </c:pt>
                <c:pt idx="9146">
                  <c:v>1.51788171861219</c:v>
                </c:pt>
                <c:pt idx="9147">
                  <c:v>1.32705030582559</c:v>
                </c:pt>
                <c:pt idx="9148">
                  <c:v>1.3477928506937</c:v>
                </c:pt>
                <c:pt idx="9149">
                  <c:v>1.3021592519838601</c:v>
                </c:pt>
                <c:pt idx="9150">
                  <c:v>1.3394958327464599</c:v>
                </c:pt>
                <c:pt idx="9151">
                  <c:v>1.70456462242516</c:v>
                </c:pt>
                <c:pt idx="9152">
                  <c:v>1.3353473237728399</c:v>
                </c:pt>
                <c:pt idx="9153">
                  <c:v>1.6755250596098099</c:v>
                </c:pt>
                <c:pt idx="9154">
                  <c:v>1.62159444295273</c:v>
                </c:pt>
                <c:pt idx="9155">
                  <c:v>1.31045626993111</c:v>
                </c:pt>
                <c:pt idx="9156">
                  <c:v>1.2772681981421301</c:v>
                </c:pt>
                <c:pt idx="9157">
                  <c:v>1.3187532878783499</c:v>
                </c:pt>
                <c:pt idx="9158">
                  <c:v>1.5552182993747801</c:v>
                </c:pt>
                <c:pt idx="9159">
                  <c:v>1.4929906647704601</c:v>
                </c:pt>
                <c:pt idx="9160">
                  <c:v>1.19844652764332</c:v>
                </c:pt>
                <c:pt idx="9161">
                  <c:v>1.3851294314563001</c:v>
                </c:pt>
                <c:pt idx="9162">
                  <c:v>1.3353473237728399</c:v>
                </c:pt>
                <c:pt idx="9163">
                  <c:v>1.2606741622476501</c:v>
                </c:pt>
                <c:pt idx="9164">
                  <c:v>1.2814167071157601</c:v>
                </c:pt>
                <c:pt idx="9165">
                  <c:v>1.21918907251143</c:v>
                </c:pt>
                <c:pt idx="9166">
                  <c:v>1.22748609045868</c:v>
                </c:pt>
                <c:pt idx="9167">
                  <c:v>1.2731196891685099</c:v>
                </c:pt>
                <c:pt idx="9168">
                  <c:v>1.11547634817089</c:v>
                </c:pt>
                <c:pt idx="9169">
                  <c:v>1.0822882763819199</c:v>
                </c:pt>
                <c:pt idx="9170">
                  <c:v>1.0034666058831101</c:v>
                </c:pt>
                <c:pt idx="9171">
                  <c:v>0.61350676236267498</c:v>
                </c:pt>
                <c:pt idx="9172">
                  <c:v>0.92049642641067497</c:v>
                </c:pt>
                <c:pt idx="9173">
                  <c:v>0.89975388154256697</c:v>
                </c:pt>
                <c:pt idx="9174">
                  <c:v>0.66328887004613502</c:v>
                </c:pt>
                <c:pt idx="9175">
                  <c:v>0.812635193096513</c:v>
                </c:pt>
                <c:pt idx="9176">
                  <c:v>0.91634791743705402</c:v>
                </c:pt>
                <c:pt idx="9177">
                  <c:v>1.01591213280397</c:v>
                </c:pt>
                <c:pt idx="9178">
                  <c:v>0.70477395978235102</c:v>
                </c:pt>
                <c:pt idx="9179">
                  <c:v>0.76700159438667503</c:v>
                </c:pt>
                <c:pt idx="9180">
                  <c:v>0.60520974441543196</c:v>
                </c:pt>
                <c:pt idx="9181">
                  <c:v>0.44756640341781101</c:v>
                </c:pt>
                <c:pt idx="9182">
                  <c:v>0.36044771497175698</c:v>
                </c:pt>
                <c:pt idx="9183">
                  <c:v>0.11568568552808101</c:v>
                </c:pt>
                <c:pt idx="9184">
                  <c:v>-4.7256573332428599E-4</c:v>
                </c:pt>
                <c:pt idx="9185">
                  <c:v>-0.29086819388683799</c:v>
                </c:pt>
                <c:pt idx="9186">
                  <c:v>-7.9294236232135107E-2</c:v>
                </c:pt>
                <c:pt idx="9187">
                  <c:v>-6.2700200337648601E-2</c:v>
                </c:pt>
                <c:pt idx="9188">
                  <c:v>-0.411174954121865</c:v>
                </c:pt>
                <c:pt idx="9189">
                  <c:v>-0.17470994262543199</c:v>
                </c:pt>
                <c:pt idx="9190">
                  <c:v>-0.18300696057267599</c:v>
                </c:pt>
                <c:pt idx="9191">
                  <c:v>-0.25353161312424299</c:v>
                </c:pt>
                <c:pt idx="9192">
                  <c:v>-0.27012564901872999</c:v>
                </c:pt>
                <c:pt idx="9193">
                  <c:v>-0.32820477464943199</c:v>
                </c:pt>
                <c:pt idx="9194">
                  <c:v>-0.24108608620337801</c:v>
                </c:pt>
                <c:pt idx="9195">
                  <c:v>-0.431917498989973</c:v>
                </c:pt>
                <c:pt idx="9196">
                  <c:v>-0.26182863107148602</c:v>
                </c:pt>
                <c:pt idx="9197">
                  <c:v>-0.26182863107148602</c:v>
                </c:pt>
                <c:pt idx="9198">
                  <c:v>-0.51488767846240502</c:v>
                </c:pt>
                <c:pt idx="9199">
                  <c:v>-0.11248230802110799</c:v>
                </c:pt>
                <c:pt idx="9200">
                  <c:v>-0.16641292467818899</c:v>
                </c:pt>
                <c:pt idx="9201">
                  <c:v>-0.37798688233289202</c:v>
                </c:pt>
                <c:pt idx="9202">
                  <c:v>-0.100036781100243</c:v>
                </c:pt>
                <c:pt idx="9203">
                  <c:v>0.32311113420916199</c:v>
                </c:pt>
                <c:pt idx="9204">
                  <c:v>-4.19576554695405E-2</c:v>
                </c:pt>
                <c:pt idx="9205">
                  <c:v>2.4418488108405401E-2</c:v>
                </c:pt>
                <c:pt idx="9206">
                  <c:v>3.6759432402973299E-3</c:v>
                </c:pt>
                <c:pt idx="9207">
                  <c:v>-0.33650179259667501</c:v>
                </c:pt>
                <c:pt idx="9208">
                  <c:v>-0.17056143365181101</c:v>
                </c:pt>
                <c:pt idx="9209">
                  <c:v>-8.3442745205756702E-2</c:v>
                </c:pt>
                <c:pt idx="9210">
                  <c:v>-0.332353283623054</c:v>
                </c:pt>
                <c:pt idx="9211">
                  <c:v>-0.19130397851991901</c:v>
                </c:pt>
                <c:pt idx="9212">
                  <c:v>-0.11248230802110799</c:v>
                </c:pt>
                <c:pt idx="9213">
                  <c:v>-0.16641292467818899</c:v>
                </c:pt>
                <c:pt idx="9214">
                  <c:v>-2.95121285486756E-2</c:v>
                </c:pt>
                <c:pt idx="9215">
                  <c:v>-0.13737336186283799</c:v>
                </c:pt>
                <c:pt idx="9216">
                  <c:v>-0.19545248749353999</c:v>
                </c:pt>
                <c:pt idx="9217">
                  <c:v>0.182061829106027</c:v>
                </c:pt>
                <c:pt idx="9218">
                  <c:v>0.33970517010364898</c:v>
                </c:pt>
                <c:pt idx="9219">
                  <c:v>0.29822008036743203</c:v>
                </c:pt>
                <c:pt idx="9220">
                  <c:v>0.53883360083748599</c:v>
                </c:pt>
                <c:pt idx="9221">
                  <c:v>0.406081313681594</c:v>
                </c:pt>
                <c:pt idx="9222">
                  <c:v>0.83752624693824296</c:v>
                </c:pt>
                <c:pt idx="9223">
                  <c:v>0.75040755849218899</c:v>
                </c:pt>
                <c:pt idx="9224">
                  <c:v>1.0491002045929501</c:v>
                </c:pt>
                <c:pt idx="9225">
                  <c:v>1.11547634817089</c:v>
                </c:pt>
                <c:pt idx="9226">
                  <c:v>1.5054361916913199</c:v>
                </c:pt>
                <c:pt idx="9227">
                  <c:v>1.4846936468232199</c:v>
                </c:pt>
                <c:pt idx="9228">
                  <c:v>1.30630776095749</c:v>
                </c:pt>
                <c:pt idx="9229">
                  <c:v>1.289713725063</c:v>
                </c:pt>
                <c:pt idx="9230">
                  <c:v>1.2980107430102401</c:v>
                </c:pt>
                <c:pt idx="9231">
                  <c:v>1.45565408400786</c:v>
                </c:pt>
                <c:pt idx="9232">
                  <c:v>1.4432085570869999</c:v>
                </c:pt>
                <c:pt idx="9233">
                  <c:v>1.47224811990235</c:v>
                </c:pt>
                <c:pt idx="9234">
                  <c:v>1.7626437480558601</c:v>
                </c:pt>
                <c:pt idx="9235">
                  <c:v>1.5593668083484</c:v>
                </c:pt>
                <c:pt idx="9236">
                  <c:v>1.6381884788472201</c:v>
                </c:pt>
                <c:pt idx="9237">
                  <c:v>1.43076303016613</c:v>
                </c:pt>
                <c:pt idx="9238">
                  <c:v>1.5344757545066701</c:v>
                </c:pt>
                <c:pt idx="9239">
                  <c:v>1.5510697904011601</c:v>
                </c:pt>
                <c:pt idx="9240">
                  <c:v>1.51788171861219</c:v>
                </c:pt>
                <c:pt idx="9241">
                  <c:v>1.62159444295273</c:v>
                </c:pt>
                <c:pt idx="9242">
                  <c:v>1.28556521608938</c:v>
                </c:pt>
                <c:pt idx="9243">
                  <c:v>1.7211586583196501</c:v>
                </c:pt>
                <c:pt idx="9244">
                  <c:v>1.8207228736865699</c:v>
                </c:pt>
                <c:pt idx="9245">
                  <c:v>1.8663564723963999</c:v>
                </c:pt>
                <c:pt idx="9246">
                  <c:v>1.83316840060743</c:v>
                </c:pt>
                <c:pt idx="9247">
                  <c:v>1.8870990172645099</c:v>
                </c:pt>
                <c:pt idx="9248">
                  <c:v>1.79168331087122</c:v>
                </c:pt>
                <c:pt idx="9249">
                  <c:v>1.87465349034365</c:v>
                </c:pt>
                <c:pt idx="9250">
                  <c:v>1.8829505082908899</c:v>
                </c:pt>
                <c:pt idx="9251">
                  <c:v>1.83731690958105</c:v>
                </c:pt>
                <c:pt idx="9252">
                  <c:v>1.8705049813700301</c:v>
                </c:pt>
                <c:pt idx="9253">
                  <c:v>1.8829505082908899</c:v>
                </c:pt>
                <c:pt idx="9254">
                  <c:v>1.91613858007986</c:v>
                </c:pt>
                <c:pt idx="9255">
                  <c:v>1.8912475262381301</c:v>
                </c:pt>
                <c:pt idx="9256">
                  <c:v>2.0032572685259198</c:v>
                </c:pt>
                <c:pt idx="9257">
                  <c:v>1.98666323263143</c:v>
                </c:pt>
                <c:pt idx="9258">
                  <c:v>1.77094076600311</c:v>
                </c:pt>
                <c:pt idx="9259">
                  <c:v>1.6547825147416999</c:v>
                </c:pt>
                <c:pt idx="9260">
                  <c:v>1.1486644199598599</c:v>
                </c:pt>
                <c:pt idx="9261">
                  <c:v>1.7419012031877601</c:v>
                </c:pt>
                <c:pt idx="9262">
                  <c:v>1.85805945444916</c:v>
                </c:pt>
                <c:pt idx="9263">
                  <c:v>1.87465349034365</c:v>
                </c:pt>
                <c:pt idx="9264">
                  <c:v>1.9036930531589991</c:v>
                </c:pt>
                <c:pt idx="9265">
                  <c:v>1.83731690958105</c:v>
                </c:pt>
                <c:pt idx="9266">
                  <c:v>1.81657436471295</c:v>
                </c:pt>
                <c:pt idx="9267">
                  <c:v>1.6755250596098099</c:v>
                </c:pt>
                <c:pt idx="9268">
                  <c:v>1.89539603521176</c:v>
                </c:pt>
                <c:pt idx="9269">
                  <c:v>1.5386242634803</c:v>
                </c:pt>
                <c:pt idx="9270">
                  <c:v>1.4888421557968401</c:v>
                </c:pt>
                <c:pt idx="9271">
                  <c:v>1.3768324135090499</c:v>
                </c:pt>
                <c:pt idx="9272">
                  <c:v>1.0905852943291601</c:v>
                </c:pt>
                <c:pt idx="9273">
                  <c:v>0.86656580975359399</c:v>
                </c:pt>
                <c:pt idx="9274">
                  <c:v>0.80433817514926997</c:v>
                </c:pt>
                <c:pt idx="9275">
                  <c:v>0.72551650465045903</c:v>
                </c:pt>
                <c:pt idx="9276">
                  <c:v>0.35215069702451302</c:v>
                </c:pt>
                <c:pt idx="9277">
                  <c:v>0.24428946371035101</c:v>
                </c:pt>
                <c:pt idx="9278">
                  <c:v>0.25673499063121602</c:v>
                </c:pt>
                <c:pt idx="9279">
                  <c:v>0.153022266290676</c:v>
                </c:pt>
                <c:pt idx="9280">
                  <c:v>0.269180517552081</c:v>
                </c:pt>
                <c:pt idx="9281">
                  <c:v>0.27747753549932402</c:v>
                </c:pt>
                <c:pt idx="9282">
                  <c:v>4.9309541950135198E-2</c:v>
                </c:pt>
                <c:pt idx="9283">
                  <c:v>-4.62107470694591E-3</c:v>
                </c:pt>
                <c:pt idx="9284">
                  <c:v>-6.2700200337648601E-2</c:v>
                </c:pt>
                <c:pt idx="9285">
                  <c:v>-6.6848709311270196E-2</c:v>
                </c:pt>
                <c:pt idx="9286">
                  <c:v>-7.5145727258513401E-2</c:v>
                </c:pt>
                <c:pt idx="9287">
                  <c:v>-5.44031823904053E-2</c:v>
                </c:pt>
                <c:pt idx="9288">
                  <c:v>0.12813121244894601</c:v>
                </c:pt>
                <c:pt idx="9289">
                  <c:v>0.11568568552808101</c:v>
                </c:pt>
                <c:pt idx="9290">
                  <c:v>0.33555666113002702</c:v>
                </c:pt>
                <c:pt idx="9291">
                  <c:v>6.1755068870999998E-2</c:v>
                </c:pt>
                <c:pt idx="9292">
                  <c:v>8.6646122712729701E-2</c:v>
                </c:pt>
                <c:pt idx="9293">
                  <c:v>7.8349104765486496E-2</c:v>
                </c:pt>
                <c:pt idx="9294">
                  <c:v>2.8566997082027101E-2</c:v>
                </c:pt>
                <c:pt idx="9295">
                  <c:v>-2.95121285486756E-2</c:v>
                </c:pt>
                <c:pt idx="9296">
                  <c:v>6.1755068870999998E-2</c:v>
                </c:pt>
                <c:pt idx="9297">
                  <c:v>0.19865586500051299</c:v>
                </c:pt>
                <c:pt idx="9298">
                  <c:v>0.49734851110126999</c:v>
                </c:pt>
                <c:pt idx="9299">
                  <c:v>0.62180378030991901</c:v>
                </c:pt>
                <c:pt idx="9300">
                  <c:v>0.53883360083748599</c:v>
                </c:pt>
                <c:pt idx="9301">
                  <c:v>0.53883360083748599</c:v>
                </c:pt>
                <c:pt idx="9302">
                  <c:v>1.0408031866456999</c:v>
                </c:pt>
                <c:pt idx="9303">
                  <c:v>0.75870457643943201</c:v>
                </c:pt>
                <c:pt idx="9304">
                  <c:v>0.58861570852094602</c:v>
                </c:pt>
                <c:pt idx="9305">
                  <c:v>0.69232843286148604</c:v>
                </c:pt>
                <c:pt idx="9306">
                  <c:v>0.65084334312527004</c:v>
                </c:pt>
                <c:pt idx="9307">
                  <c:v>0.63010079825716203</c:v>
                </c:pt>
                <c:pt idx="9308">
                  <c:v>0.68817992388786497</c:v>
                </c:pt>
                <c:pt idx="9309">
                  <c:v>0.64669483415164797</c:v>
                </c:pt>
                <c:pt idx="9310">
                  <c:v>0.85826879180635096</c:v>
                </c:pt>
                <c:pt idx="9311">
                  <c:v>0.87486282770083701</c:v>
                </c:pt>
                <c:pt idx="9312">
                  <c:v>0.80433817514926997</c:v>
                </c:pt>
                <c:pt idx="9313">
                  <c:v>1.3229017968519701</c:v>
                </c:pt>
                <c:pt idx="9314">
                  <c:v>0.96613002512051305</c:v>
                </c:pt>
                <c:pt idx="9315">
                  <c:v>0.91634791743705402</c:v>
                </c:pt>
                <c:pt idx="9316">
                  <c:v>1.3602383776145699</c:v>
                </c:pt>
                <c:pt idx="9317">
                  <c:v>1.6091489160318599</c:v>
                </c:pt>
                <c:pt idx="9318">
                  <c:v>1.19844652764332</c:v>
                </c:pt>
                <c:pt idx="9319">
                  <c:v>1.3146047789047299</c:v>
                </c:pt>
                <c:pt idx="9320">
                  <c:v>1.4058719763244001</c:v>
                </c:pt>
                <c:pt idx="9321">
                  <c:v>1.5552182993747801</c:v>
                </c:pt>
                <c:pt idx="9322">
                  <c:v>1.8248713826601899</c:v>
                </c:pt>
                <c:pt idx="9323">
                  <c:v>1.8290198916338101</c:v>
                </c:pt>
                <c:pt idx="9324">
                  <c:v>1.7999803288184599</c:v>
                </c:pt>
                <c:pt idx="9325">
                  <c:v>1.7419012031877601</c:v>
                </c:pt>
                <c:pt idx="9326">
                  <c:v>1.7792377839503499</c:v>
                </c:pt>
                <c:pt idx="9327">
                  <c:v>1.4639511019551099</c:v>
                </c:pt>
                <c:pt idx="9328">
                  <c:v>1.4473570660606201</c:v>
                </c:pt>
                <c:pt idx="9329">
                  <c:v>1.7584952390822399</c:v>
                </c:pt>
                <c:pt idx="9330">
                  <c:v>1.5469212814275399</c:v>
                </c:pt>
                <c:pt idx="9331">
                  <c:v>1.3394958327464599</c:v>
                </c:pt>
                <c:pt idx="9332">
                  <c:v>1.56351531732203</c:v>
                </c:pt>
                <c:pt idx="9333">
                  <c:v>1.3809809224826799</c:v>
                </c:pt>
                <c:pt idx="9334">
                  <c:v>1.3643868865881901</c:v>
                </c:pt>
                <c:pt idx="9335">
                  <c:v>1.43491153913976</c:v>
                </c:pt>
                <c:pt idx="9336">
                  <c:v>1.6962676044779199</c:v>
                </c:pt>
                <c:pt idx="9337">
                  <c:v>1.79583181984484</c:v>
                </c:pt>
                <c:pt idx="9338">
                  <c:v>1.47639662887597</c:v>
                </c:pt>
                <c:pt idx="9339">
                  <c:v>1.47224811990235</c:v>
                </c:pt>
                <c:pt idx="9340">
                  <c:v>1.60500040705824</c:v>
                </c:pt>
                <c:pt idx="9341">
                  <c:v>2.0737819210774902</c:v>
                </c:pt>
                <c:pt idx="9342">
                  <c:v>1.3643868865881901</c:v>
                </c:pt>
                <c:pt idx="9343">
                  <c:v>1.3146047789047299</c:v>
                </c:pt>
                <c:pt idx="9344">
                  <c:v>1.3436443417200801</c:v>
                </c:pt>
                <c:pt idx="9345">
                  <c:v>1.5012876827177</c:v>
                </c:pt>
                <c:pt idx="9346">
                  <c:v>1.6547825147416999</c:v>
                </c:pt>
                <c:pt idx="9347">
                  <c:v>1.43491153913976</c:v>
                </c:pt>
                <c:pt idx="9348">
                  <c:v>1.3560898686409499</c:v>
                </c:pt>
                <c:pt idx="9349">
                  <c:v>3.3017405772694799</c:v>
                </c:pt>
                <c:pt idx="9350">
                  <c:v>2.38492009409911</c:v>
                </c:pt>
                <c:pt idx="9351">
                  <c:v>2.2895043877058101</c:v>
                </c:pt>
                <c:pt idx="9352">
                  <c:v>2.3932171120463499</c:v>
                </c:pt>
                <c:pt idx="9353">
                  <c:v>2.4554447466506701</c:v>
                </c:pt>
                <c:pt idx="9354">
                  <c:v>2.2687618428377001</c:v>
                </c:pt>
                <c:pt idx="9355">
                  <c:v>1.9991087595523001</c:v>
                </c:pt>
                <c:pt idx="9356">
                  <c:v>2.11111850184008</c:v>
                </c:pt>
                <c:pt idx="9357">
                  <c:v>2.10696999286646</c:v>
                </c:pt>
                <c:pt idx="9358">
                  <c:v>2.0488908672357602</c:v>
                </c:pt>
                <c:pt idx="9359">
                  <c:v>2.1152670108136991</c:v>
                </c:pt>
                <c:pt idx="9360">
                  <c:v>2.10696999286646</c:v>
                </c:pt>
                <c:pt idx="9361">
                  <c:v>2.0198513044204001</c:v>
                </c:pt>
                <c:pt idx="9362">
                  <c:v>1.97836621468419</c:v>
                </c:pt>
                <c:pt idx="9363">
                  <c:v>1.5012876827177</c:v>
                </c:pt>
                <c:pt idx="9364">
                  <c:v>1.28556521608938</c:v>
                </c:pt>
                <c:pt idx="9365">
                  <c:v>1.0988823122764</c:v>
                </c:pt>
                <c:pt idx="9366">
                  <c:v>0.97442704306775596</c:v>
                </c:pt>
                <c:pt idx="9367">
                  <c:v>0.91634791743705402</c:v>
                </c:pt>
                <c:pt idx="9368">
                  <c:v>0.36874473291900001</c:v>
                </c:pt>
                <c:pt idx="9369">
                  <c:v>0.29407157139381102</c:v>
                </c:pt>
                <c:pt idx="9370">
                  <c:v>0.34385367907726999</c:v>
                </c:pt>
                <c:pt idx="9371">
                  <c:v>0.33970517010364898</c:v>
                </c:pt>
                <c:pt idx="9372">
                  <c:v>-8.3442745205756702E-2</c:v>
                </c:pt>
                <c:pt idx="9373">
                  <c:v>-0.216195032361649</c:v>
                </c:pt>
                <c:pt idx="9374">
                  <c:v>-2.1215110601432399E-2</c:v>
                </c:pt>
                <c:pt idx="9375">
                  <c:v>-8.7591254179378297E-2</c:v>
                </c:pt>
                <c:pt idx="9376">
                  <c:v>-4.19576554695405E-2</c:v>
                </c:pt>
                <c:pt idx="9377">
                  <c:v>-6.6848709311270196E-2</c:v>
                </c:pt>
                <c:pt idx="9378">
                  <c:v>-7.0997218284891805E-2</c:v>
                </c:pt>
                <c:pt idx="9379">
                  <c:v>-5.0254673416783698E-2</c:v>
                </c:pt>
                <c:pt idx="9380">
                  <c:v>-6.6848709311270196E-2</c:v>
                </c:pt>
                <c:pt idx="9381">
                  <c:v>-3.7809146495918898E-2</c:v>
                </c:pt>
                <c:pt idx="9382">
                  <c:v>-2.95121285486756E-2</c:v>
                </c:pt>
                <c:pt idx="9383">
                  <c:v>-4.6106164443162102E-2</c:v>
                </c:pt>
                <c:pt idx="9384">
                  <c:v>-7.5145727258513401E-2</c:v>
                </c:pt>
                <c:pt idx="9385">
                  <c:v>-2.1215110601432399E-2</c:v>
                </c:pt>
                <c:pt idx="9386">
                  <c:v>-5.8551691364026999E-2</c:v>
                </c:pt>
                <c:pt idx="9387">
                  <c:v>-2.5363619575054001E-2</c:v>
                </c:pt>
                <c:pt idx="9388">
                  <c:v>-2.5363619575054001E-2</c:v>
                </c:pt>
                <c:pt idx="9389">
                  <c:v>-7.0997218284891805E-2</c:v>
                </c:pt>
                <c:pt idx="9390">
                  <c:v>-6.6848709311270196E-2</c:v>
                </c:pt>
                <c:pt idx="9391">
                  <c:v>-9.5888272126621502E-2</c:v>
                </c:pt>
                <c:pt idx="9392">
                  <c:v>-8.7591254179378297E-2</c:v>
                </c:pt>
                <c:pt idx="9393">
                  <c:v>-6.6848709311270196E-2</c:v>
                </c:pt>
                <c:pt idx="9394">
                  <c:v>0.26088349960483798</c:v>
                </c:pt>
                <c:pt idx="9395">
                  <c:v>0.32311113420916199</c:v>
                </c:pt>
                <c:pt idx="9396">
                  <c:v>5.7606559897378402E-2</c:v>
                </c:pt>
                <c:pt idx="9397">
                  <c:v>0.12813121244894601</c:v>
                </c:pt>
                <c:pt idx="9398">
                  <c:v>0.119834194501703</c:v>
                </c:pt>
                <c:pt idx="9399">
                  <c:v>0.14057673936981099</c:v>
                </c:pt>
                <c:pt idx="9400">
                  <c:v>0.123982703475324</c:v>
                </c:pt>
                <c:pt idx="9401">
                  <c:v>0.103240158607216</c:v>
                </c:pt>
                <c:pt idx="9402">
                  <c:v>9.4943140659973002E-2</c:v>
                </c:pt>
                <c:pt idx="9403">
                  <c:v>5.7606559897378402E-2</c:v>
                </c:pt>
                <c:pt idx="9404">
                  <c:v>0.107388667580838</c:v>
                </c:pt>
                <c:pt idx="9405">
                  <c:v>0.14887375731705399</c:v>
                </c:pt>
                <c:pt idx="9406">
                  <c:v>0.39363578676073002</c:v>
                </c:pt>
                <c:pt idx="9407">
                  <c:v>0.47245745725954003</c:v>
                </c:pt>
                <c:pt idx="9408">
                  <c:v>0.89975388154256697</c:v>
                </c:pt>
                <c:pt idx="9409">
                  <c:v>1.1528129289334901</c:v>
                </c:pt>
                <c:pt idx="9410">
                  <c:v>1.3187532878783499</c:v>
                </c:pt>
                <c:pt idx="9411">
                  <c:v>1.18600100072246</c:v>
                </c:pt>
                <c:pt idx="9412">
                  <c:v>1.289713725063</c:v>
                </c:pt>
                <c:pt idx="9413">
                  <c:v>1.36853539556181</c:v>
                </c:pt>
                <c:pt idx="9414">
                  <c:v>1.2108920545641899</c:v>
                </c:pt>
                <c:pt idx="9415">
                  <c:v>1.2731196891685099</c:v>
                </c:pt>
                <c:pt idx="9416">
                  <c:v>1.2606741622476501</c:v>
                </c:pt>
                <c:pt idx="9417">
                  <c:v>1.45565408400786</c:v>
                </c:pt>
                <c:pt idx="9418">
                  <c:v>1.5676638262956499</c:v>
                </c:pt>
                <c:pt idx="9419">
                  <c:v>1.6381884788472201</c:v>
                </c:pt>
                <c:pt idx="9420">
                  <c:v>1.4680996109287301</c:v>
                </c:pt>
                <c:pt idx="9421">
                  <c:v>1.6340399698735899</c:v>
                </c:pt>
                <c:pt idx="9422">
                  <c:v>1.70456462242516</c:v>
                </c:pt>
                <c:pt idx="9423">
                  <c:v>2.38077158512549</c:v>
                </c:pt>
                <c:pt idx="9424">
                  <c:v>1.8207228736865699</c:v>
                </c:pt>
                <c:pt idx="9425">
                  <c:v>0.56372465467921595</c:v>
                </c:pt>
                <c:pt idx="9426">
                  <c:v>3.3390771580320799</c:v>
                </c:pt>
                <c:pt idx="9427">
                  <c:v>2.812216518382129</c:v>
                </c:pt>
                <c:pt idx="9428">
                  <c:v>2.0737819210774902</c:v>
                </c:pt>
                <c:pt idx="9429">
                  <c:v>1.98251472365781</c:v>
                </c:pt>
                <c:pt idx="9430">
                  <c:v>2.0820789390247292</c:v>
                </c:pt>
                <c:pt idx="9431">
                  <c:v>2.1567521005499191</c:v>
                </c:pt>
                <c:pt idx="9432">
                  <c:v>2.0281483223676502</c:v>
                </c:pt>
                <c:pt idx="9433">
                  <c:v>2.0779304300511101</c:v>
                </c:pt>
                <c:pt idx="9434">
                  <c:v>2.0364453403148892</c:v>
                </c:pt>
                <c:pt idx="9435">
                  <c:v>2.13186104670819</c:v>
                </c:pt>
                <c:pt idx="9436">
                  <c:v>2.1526035915763</c:v>
                </c:pt>
                <c:pt idx="9437">
                  <c:v>2.2231282441278601</c:v>
                </c:pt>
                <c:pt idx="9438">
                  <c:v>2.0281483223676502</c:v>
                </c:pt>
                <c:pt idx="9439">
                  <c:v>2.181643154391649</c:v>
                </c:pt>
                <c:pt idx="9440">
                  <c:v>2.06548490313024</c:v>
                </c:pt>
                <c:pt idx="9441">
                  <c:v>2.0986729749192188</c:v>
                </c:pt>
                <c:pt idx="9442">
                  <c:v>2.0530393762093802</c:v>
                </c:pt>
                <c:pt idx="9443">
                  <c:v>2.09037595697197</c:v>
                </c:pt>
                <c:pt idx="9444">
                  <c:v>2.2106827172069998</c:v>
                </c:pt>
                <c:pt idx="9445">
                  <c:v>2.397365621019969</c:v>
                </c:pt>
                <c:pt idx="9446">
                  <c:v>2.4761872915187801</c:v>
                </c:pt>
                <c:pt idx="9447">
                  <c:v>2.2604648248904602</c:v>
                </c:pt>
                <c:pt idx="9448">
                  <c:v>2.0115542864731601</c:v>
                </c:pt>
                <c:pt idx="9449">
                  <c:v>2.40566263896722</c:v>
                </c:pt>
                <c:pt idx="9450">
                  <c:v>2.2314252620751098</c:v>
                </c:pt>
                <c:pt idx="9451">
                  <c:v>2.4222566748616989</c:v>
                </c:pt>
                <c:pt idx="9452">
                  <c:v>2.0613363941566201</c:v>
                </c:pt>
                <c:pt idx="9453">
                  <c:v>2.06963341210386</c:v>
                </c:pt>
                <c:pt idx="9454">
                  <c:v>2.1360095556818091</c:v>
                </c:pt>
                <c:pt idx="9455">
                  <c:v>2.0779304300511101</c:v>
                </c:pt>
                <c:pt idx="9456">
                  <c:v>1.94517814289522</c:v>
                </c:pt>
                <c:pt idx="9457">
                  <c:v>2.0571878851830001</c:v>
                </c:pt>
                <c:pt idx="9458">
                  <c:v>2.1235640287609399</c:v>
                </c:pt>
                <c:pt idx="9459">
                  <c:v>0.96198151614689098</c:v>
                </c:pt>
                <c:pt idx="9460">
                  <c:v>0.67988290594062095</c:v>
                </c:pt>
                <c:pt idx="9461">
                  <c:v>0.45586342136505398</c:v>
                </c:pt>
                <c:pt idx="9462">
                  <c:v>0.54298210981110795</c:v>
                </c:pt>
                <c:pt idx="9463">
                  <c:v>0.55542763673197304</c:v>
                </c:pt>
                <c:pt idx="9464">
                  <c:v>0.48490298418040501</c:v>
                </c:pt>
                <c:pt idx="9465">
                  <c:v>0.24428946371035101</c:v>
                </c:pt>
                <c:pt idx="9466">
                  <c:v>0.48490298418040501</c:v>
                </c:pt>
                <c:pt idx="9467">
                  <c:v>0.327259643182784</c:v>
                </c:pt>
                <c:pt idx="9468">
                  <c:v>0.35629920599813503</c:v>
                </c:pt>
                <c:pt idx="9469">
                  <c:v>0.38119025983986499</c:v>
                </c:pt>
                <c:pt idx="9470">
                  <c:v>0.327259643182784</c:v>
                </c:pt>
                <c:pt idx="9471">
                  <c:v>0.36044771497175698</c:v>
                </c:pt>
                <c:pt idx="9472">
                  <c:v>0.36044771497175698</c:v>
                </c:pt>
                <c:pt idx="9473">
                  <c:v>0.364596223945378</c:v>
                </c:pt>
                <c:pt idx="9474">
                  <c:v>0.231843936789486</c:v>
                </c:pt>
                <c:pt idx="9475">
                  <c:v>0.348002188050892</c:v>
                </c:pt>
                <c:pt idx="9476">
                  <c:v>-7.5145727258513401E-2</c:v>
                </c:pt>
                <c:pt idx="9477">
                  <c:v>-1.29180926541891E-2</c:v>
                </c:pt>
                <c:pt idx="9478">
                  <c:v>-5.0254673416783698E-2</c:v>
                </c:pt>
                <c:pt idx="9479">
                  <c:v>4.5161032976513499E-2</c:v>
                </c:pt>
                <c:pt idx="9480">
                  <c:v>2.0269979134783799E-2</c:v>
                </c:pt>
                <c:pt idx="9481">
                  <c:v>4.9309541950135198E-2</c:v>
                </c:pt>
                <c:pt idx="9482">
                  <c:v>2.0269979134783799E-2</c:v>
                </c:pt>
                <c:pt idx="9483">
                  <c:v>3.6759432402973299E-3</c:v>
                </c:pt>
                <c:pt idx="9484">
                  <c:v>-4.7256573332428599E-4</c:v>
                </c:pt>
                <c:pt idx="9485">
                  <c:v>-5.0254673416783698E-2</c:v>
                </c:pt>
                <c:pt idx="9486">
                  <c:v>7.8244522139189494E-3</c:v>
                </c:pt>
                <c:pt idx="9487">
                  <c:v>-0.13737336186283799</c:v>
                </c:pt>
                <c:pt idx="9488">
                  <c:v>-4.6106164443162102E-2</c:v>
                </c:pt>
                <c:pt idx="9489">
                  <c:v>-0.104185290073865</c:v>
                </c:pt>
                <c:pt idx="9490">
                  <c:v>-9.1739763152999906E-2</c:v>
                </c:pt>
                <c:pt idx="9491">
                  <c:v>-0.15396739775732399</c:v>
                </c:pt>
                <c:pt idx="9492">
                  <c:v>-0.120779325968351</c:v>
                </c:pt>
                <c:pt idx="9493">
                  <c:v>-0.19130397851991901</c:v>
                </c:pt>
                <c:pt idx="9494">
                  <c:v>-0.108333799047486</c:v>
                </c:pt>
                <c:pt idx="9495">
                  <c:v>-0.21204652338802699</c:v>
                </c:pt>
                <c:pt idx="9496">
                  <c:v>-0.353095828491162</c:v>
                </c:pt>
                <c:pt idx="9497">
                  <c:v>-0.21204652338802699</c:v>
                </c:pt>
                <c:pt idx="9498">
                  <c:v>-0.21204652338802699</c:v>
                </c:pt>
                <c:pt idx="9499">
                  <c:v>-0.178858451599054</c:v>
                </c:pt>
                <c:pt idx="9500">
                  <c:v>-0.24938310415062101</c:v>
                </c:pt>
                <c:pt idx="9501">
                  <c:v>-0.178858451599054</c:v>
                </c:pt>
                <c:pt idx="9502">
                  <c:v>-0.20374950544078399</c:v>
                </c:pt>
                <c:pt idx="9503">
                  <c:v>-0.411174954121865</c:v>
                </c:pt>
                <c:pt idx="9504">
                  <c:v>-0.30331372080770302</c:v>
                </c:pt>
                <c:pt idx="9505">
                  <c:v>-0.15396739775732399</c:v>
                </c:pt>
                <c:pt idx="9506">
                  <c:v>-0.19960099646716201</c:v>
                </c:pt>
                <c:pt idx="9507">
                  <c:v>-0.187155469546297</c:v>
                </c:pt>
                <c:pt idx="9508">
                  <c:v>-0.216195032361649</c:v>
                </c:pt>
                <c:pt idx="9509">
                  <c:v>-0.16226441570456701</c:v>
                </c:pt>
                <c:pt idx="9510">
                  <c:v>9.4943140659973002E-2</c:v>
                </c:pt>
                <c:pt idx="9511">
                  <c:v>1.19729611875406E-2</c:v>
                </c:pt>
                <c:pt idx="9512">
                  <c:v>2.0269979134783799E-2</c:v>
                </c:pt>
                <c:pt idx="9513">
                  <c:v>-0.120779325968351</c:v>
                </c:pt>
                <c:pt idx="9514">
                  <c:v>-0.22034354133527001</c:v>
                </c:pt>
                <c:pt idx="9515">
                  <c:v>0.20695288294775699</c:v>
                </c:pt>
                <c:pt idx="9516">
                  <c:v>7.4200595791864901E-2</c:v>
                </c:pt>
                <c:pt idx="9517">
                  <c:v>-0.26182863107148602</c:v>
                </c:pt>
                <c:pt idx="9518">
                  <c:v>-0.124927834941973</c:v>
                </c:pt>
                <c:pt idx="9519">
                  <c:v>0.107388667580838</c:v>
                </c:pt>
                <c:pt idx="9520">
                  <c:v>0.85826879180635096</c:v>
                </c:pt>
                <c:pt idx="9521">
                  <c:v>0.47245745725954003</c:v>
                </c:pt>
                <c:pt idx="9522">
                  <c:v>0.406081313681594</c:v>
                </c:pt>
                <c:pt idx="9523">
                  <c:v>0.53883360083748599</c:v>
                </c:pt>
                <c:pt idx="9524">
                  <c:v>0.68817992388786497</c:v>
                </c:pt>
                <c:pt idx="9525">
                  <c:v>0.41852684060245898</c:v>
                </c:pt>
                <c:pt idx="9526">
                  <c:v>0.39778429573435098</c:v>
                </c:pt>
                <c:pt idx="9527">
                  <c:v>0.64669483415164797</c:v>
                </c:pt>
                <c:pt idx="9528">
                  <c:v>0.89145686359532395</c:v>
                </c:pt>
                <c:pt idx="9529">
                  <c:v>1.2357831084059201</c:v>
                </c:pt>
                <c:pt idx="9530">
                  <c:v>1.1942980186697001</c:v>
                </c:pt>
                <c:pt idx="9531">
                  <c:v>0.833377737964621</c:v>
                </c:pt>
                <c:pt idx="9532">
                  <c:v>0.79189264822840499</c:v>
                </c:pt>
                <c:pt idx="9533">
                  <c:v>0.82093221104375602</c:v>
                </c:pt>
                <c:pt idx="9534">
                  <c:v>0.77529861233391895</c:v>
                </c:pt>
                <c:pt idx="9535">
                  <c:v>0.71307097772959405</c:v>
                </c:pt>
                <c:pt idx="9536">
                  <c:v>0.50564552904851301</c:v>
                </c:pt>
                <c:pt idx="9537">
                  <c:v>1.6298914608999699</c:v>
                </c:pt>
                <c:pt idx="9538">
                  <c:v>1.6796735685834301</c:v>
                </c:pt>
                <c:pt idx="9539">
                  <c:v>1.4639511019551099</c:v>
                </c:pt>
                <c:pt idx="9540">
                  <c:v>1.45980259298149</c:v>
                </c:pt>
                <c:pt idx="9541">
                  <c:v>1.4846936468232199</c:v>
                </c:pt>
                <c:pt idx="9542">
                  <c:v>1.49713917374408</c:v>
                </c:pt>
                <c:pt idx="9543">
                  <c:v>1.47224811990235</c:v>
                </c:pt>
                <c:pt idx="9544">
                  <c:v>1.4888421557968401</c:v>
                </c:pt>
                <c:pt idx="9545">
                  <c:v>2.55500896201759</c:v>
                </c:pt>
                <c:pt idx="9546">
                  <c:v>1.8497624365019201</c:v>
                </c:pt>
                <c:pt idx="9547">
                  <c:v>1.1901495096960799</c:v>
                </c:pt>
                <c:pt idx="9548">
                  <c:v>1.3353473237728399</c:v>
                </c:pt>
                <c:pt idx="9549">
                  <c:v>1.3187532878783499</c:v>
                </c:pt>
                <c:pt idx="9550">
                  <c:v>1.19844652764332</c:v>
                </c:pt>
                <c:pt idx="9551">
                  <c:v>1.41416899427165</c:v>
                </c:pt>
                <c:pt idx="9552">
                  <c:v>1.4224660122188899</c:v>
                </c:pt>
                <c:pt idx="9553">
                  <c:v>0.86241730077997303</c:v>
                </c:pt>
                <c:pt idx="9554">
                  <c:v>0.87901133667445897</c:v>
                </c:pt>
                <c:pt idx="9555">
                  <c:v>1.11962485714451</c:v>
                </c:pt>
                <c:pt idx="9556">
                  <c:v>0.54298210981110795</c:v>
                </c:pt>
                <c:pt idx="9557">
                  <c:v>0.33140815215640501</c:v>
                </c:pt>
                <c:pt idx="9558">
                  <c:v>0.75455606746581105</c:v>
                </c:pt>
                <c:pt idx="9559">
                  <c:v>0.39363578676073002</c:v>
                </c:pt>
                <c:pt idx="9560">
                  <c:v>0.37289324189262102</c:v>
                </c:pt>
                <c:pt idx="9561">
                  <c:v>0.63424930723078399</c:v>
                </c:pt>
                <c:pt idx="9562">
                  <c:v>0.45586342136505398</c:v>
                </c:pt>
                <c:pt idx="9563">
                  <c:v>0.30236858934105398</c:v>
                </c:pt>
                <c:pt idx="9564">
                  <c:v>0.42682385854970301</c:v>
                </c:pt>
                <c:pt idx="9565">
                  <c:v>0.32311113420916199</c:v>
                </c:pt>
                <c:pt idx="9566">
                  <c:v>0.35215069702451302</c:v>
                </c:pt>
                <c:pt idx="9567">
                  <c:v>0.32311113420916199</c:v>
                </c:pt>
                <c:pt idx="9568">
                  <c:v>0.14887375731705399</c:v>
                </c:pt>
                <c:pt idx="9569">
                  <c:v>0.37289324189262102</c:v>
                </c:pt>
                <c:pt idx="9570">
                  <c:v>0.26503200857845899</c:v>
                </c:pt>
                <c:pt idx="9571">
                  <c:v>0.306517098314676</c:v>
                </c:pt>
                <c:pt idx="9572">
                  <c:v>-0.24108608620337801</c:v>
                </c:pt>
                <c:pt idx="9573">
                  <c:v>-7.0997218284891805E-2</c:v>
                </c:pt>
                <c:pt idx="9574">
                  <c:v>0.16961630218516199</c:v>
                </c:pt>
                <c:pt idx="9575">
                  <c:v>-2.95121285486756E-2</c:v>
                </c:pt>
                <c:pt idx="9576">
                  <c:v>0.20695288294775699</c:v>
                </c:pt>
                <c:pt idx="9577">
                  <c:v>-0.124927834941973</c:v>
                </c:pt>
                <c:pt idx="9578">
                  <c:v>-7.0997218284891805E-2</c:v>
                </c:pt>
                <c:pt idx="9579">
                  <c:v>0.21524990089500001</c:v>
                </c:pt>
                <c:pt idx="9580">
                  <c:v>5.7606559897378402E-2</c:v>
                </c:pt>
                <c:pt idx="9581">
                  <c:v>1.19729611875406E-2</c:v>
                </c:pt>
                <c:pt idx="9582">
                  <c:v>-0.100036781100243</c:v>
                </c:pt>
                <c:pt idx="9583">
                  <c:v>-8.7591254179378297E-2</c:v>
                </c:pt>
                <c:pt idx="9584">
                  <c:v>-2.1215110601432399E-2</c:v>
                </c:pt>
                <c:pt idx="9585">
                  <c:v>-0.29086819388683799</c:v>
                </c:pt>
                <c:pt idx="9586">
                  <c:v>-0.13322485288921601</c:v>
                </c:pt>
                <c:pt idx="9587">
                  <c:v>-0.32405626567581097</c:v>
                </c:pt>
                <c:pt idx="9588">
                  <c:v>-7.5145727258513401E-2</c:v>
                </c:pt>
                <c:pt idx="9589">
                  <c:v>-0.124927834941973</c:v>
                </c:pt>
                <c:pt idx="9590">
                  <c:v>-0.33650179259667501</c:v>
                </c:pt>
                <c:pt idx="9591">
                  <c:v>-2.1215110601432399E-2</c:v>
                </c:pt>
                <c:pt idx="9592">
                  <c:v>-0.11248230802110799</c:v>
                </c:pt>
                <c:pt idx="9593">
                  <c:v>-0.36968986438564799</c:v>
                </c:pt>
                <c:pt idx="9594">
                  <c:v>-0.22034354133527001</c:v>
                </c:pt>
                <c:pt idx="9595">
                  <c:v>-0.35724433746478401</c:v>
                </c:pt>
                <c:pt idx="9596">
                  <c:v>-4.19576554695405E-2</c:v>
                </c:pt>
                <c:pt idx="9597">
                  <c:v>-0.34479881054391898</c:v>
                </c:pt>
                <c:pt idx="9598">
                  <c:v>-0.31990775670218902</c:v>
                </c:pt>
                <c:pt idx="9599">
                  <c:v>-7.5145727258513401E-2</c:v>
                </c:pt>
                <c:pt idx="9600">
                  <c:v>-0.25768012209786501</c:v>
                </c:pt>
                <c:pt idx="9601">
                  <c:v>-0.178858451599054</c:v>
                </c:pt>
                <c:pt idx="9602">
                  <c:v>-0.34894731951753999</c:v>
                </c:pt>
                <c:pt idx="9603">
                  <c:v>-0.353095828491162</c:v>
                </c:pt>
                <c:pt idx="9604">
                  <c:v>5.7606559897378402E-2</c:v>
                </c:pt>
                <c:pt idx="9605">
                  <c:v>-0.108333799047486</c:v>
                </c:pt>
                <c:pt idx="9606">
                  <c:v>-4.19576554695405E-2</c:v>
                </c:pt>
                <c:pt idx="9607">
                  <c:v>-0.13737336186283799</c:v>
                </c:pt>
                <c:pt idx="9608">
                  <c:v>-0.16226441570456701</c:v>
                </c:pt>
                <c:pt idx="9609">
                  <c:v>5.7606559897378402E-2</c:v>
                </c:pt>
                <c:pt idx="9610">
                  <c:v>3.2715506055648699E-2</c:v>
                </c:pt>
                <c:pt idx="9611">
                  <c:v>0.29822008036743203</c:v>
                </c:pt>
                <c:pt idx="9612">
                  <c:v>-0.16226441570456701</c:v>
                </c:pt>
                <c:pt idx="9613">
                  <c:v>-0.274274157992351</c:v>
                </c:pt>
                <c:pt idx="9614">
                  <c:v>-6.2700200337648601E-2</c:v>
                </c:pt>
                <c:pt idx="9615">
                  <c:v>-4.19576554695405E-2</c:v>
                </c:pt>
                <c:pt idx="9616">
                  <c:v>0.31896262523553998</c:v>
                </c:pt>
                <c:pt idx="9617">
                  <c:v>-0.17056143365181101</c:v>
                </c:pt>
                <c:pt idx="9618">
                  <c:v>-0.245234595177</c:v>
                </c:pt>
                <c:pt idx="9619">
                  <c:v>0.46830894828591901</c:v>
                </c:pt>
                <c:pt idx="9620">
                  <c:v>0.62180378030991901</c:v>
                </c:pt>
                <c:pt idx="9621">
                  <c:v>0.58446719954732396</c:v>
                </c:pt>
                <c:pt idx="9622">
                  <c:v>0.52638807391662101</c:v>
                </c:pt>
                <c:pt idx="9623">
                  <c:v>0.74625904951856703</c:v>
                </c:pt>
                <c:pt idx="9624">
                  <c:v>1.1279218750917599</c:v>
                </c:pt>
                <c:pt idx="9625">
                  <c:v>0.73796203157132401</c:v>
                </c:pt>
                <c:pt idx="9626">
                  <c:v>0.50979403802213497</c:v>
                </c:pt>
                <c:pt idx="9627">
                  <c:v>0.60520974441543196</c:v>
                </c:pt>
                <c:pt idx="9628">
                  <c:v>0.60520974441543196</c:v>
                </c:pt>
                <c:pt idx="9629">
                  <c:v>0.219398409868622</c:v>
                </c:pt>
                <c:pt idx="9630">
                  <c:v>0.65914036107251295</c:v>
                </c:pt>
                <c:pt idx="9631">
                  <c:v>0.74625904951856703</c:v>
                </c:pt>
                <c:pt idx="9632">
                  <c:v>0.95368449819964796</c:v>
                </c:pt>
                <c:pt idx="9633">
                  <c:v>1.0076151148567301</c:v>
                </c:pt>
                <c:pt idx="9634">
                  <c:v>0.82922922899100004</c:v>
                </c:pt>
                <c:pt idx="9635">
                  <c:v>0.76700159438667503</c:v>
                </c:pt>
                <c:pt idx="9636">
                  <c:v>0.717219486703216</c:v>
                </c:pt>
                <c:pt idx="9637">
                  <c:v>0.69232843286148604</c:v>
                </c:pt>
                <c:pt idx="9638">
                  <c:v>0.79604115720202695</c:v>
                </c:pt>
                <c:pt idx="9639">
                  <c:v>0.75455606746581105</c:v>
                </c:pt>
                <c:pt idx="9640">
                  <c:v>1.136218893039</c:v>
                </c:pt>
                <c:pt idx="9641">
                  <c:v>1.01176362383035</c:v>
                </c:pt>
                <c:pt idx="9642">
                  <c:v>1.1445159109862399</c:v>
                </c:pt>
                <c:pt idx="9643">
                  <c:v>0.61765527133629705</c:v>
                </c:pt>
                <c:pt idx="9644">
                  <c:v>0.62180378030991901</c:v>
                </c:pt>
                <c:pt idx="9645">
                  <c:v>0.65914036107251295</c:v>
                </c:pt>
                <c:pt idx="9646">
                  <c:v>0.77529861233391895</c:v>
                </c:pt>
                <c:pt idx="9647">
                  <c:v>0.68817992388786497</c:v>
                </c:pt>
                <c:pt idx="9648">
                  <c:v>0.89145686359532395</c:v>
                </c:pt>
                <c:pt idx="9649">
                  <c:v>0.35629920599813503</c:v>
                </c:pt>
                <c:pt idx="9650">
                  <c:v>0.37704175086624298</c:v>
                </c:pt>
                <c:pt idx="9651">
                  <c:v>0.33140815215640501</c:v>
                </c:pt>
                <c:pt idx="9652">
                  <c:v>0.49734851110126999</c:v>
                </c:pt>
                <c:pt idx="9653">
                  <c:v>0.33555666113002702</c:v>
                </c:pt>
                <c:pt idx="9654">
                  <c:v>0.41022982265521601</c:v>
                </c:pt>
                <c:pt idx="9655">
                  <c:v>0.30236858934105398</c:v>
                </c:pt>
                <c:pt idx="9656">
                  <c:v>0.47660596623316198</c:v>
                </c:pt>
                <c:pt idx="9657">
                  <c:v>0.14887375731705399</c:v>
                </c:pt>
                <c:pt idx="9658">
                  <c:v>0.28162604447294598</c:v>
                </c:pt>
                <c:pt idx="9659">
                  <c:v>0.14887375731705399</c:v>
                </c:pt>
                <c:pt idx="9660">
                  <c:v>-0.16226441570456701</c:v>
                </c:pt>
                <c:pt idx="9661">
                  <c:v>-0.25768012209786501</c:v>
                </c:pt>
                <c:pt idx="9662">
                  <c:v>-5.0254673416783698E-2</c:v>
                </c:pt>
                <c:pt idx="9663">
                  <c:v>-0.245234595177</c:v>
                </c:pt>
                <c:pt idx="9664">
                  <c:v>-0.19960099646716201</c:v>
                </c:pt>
                <c:pt idx="9665">
                  <c:v>-0.33650179259667501</c:v>
                </c:pt>
                <c:pt idx="9666">
                  <c:v>-0.124927834941973</c:v>
                </c:pt>
                <c:pt idx="9667">
                  <c:v>-0.236937577229757</c:v>
                </c:pt>
                <c:pt idx="9668">
                  <c:v>-0.19960099646716201</c:v>
                </c:pt>
                <c:pt idx="9669">
                  <c:v>-0.448511534884459</c:v>
                </c:pt>
                <c:pt idx="9670">
                  <c:v>-0.26182863107148602</c:v>
                </c:pt>
                <c:pt idx="9671">
                  <c:v>-0.34065030157029702</c:v>
                </c:pt>
                <c:pt idx="9672">
                  <c:v>-0.35724433746478401</c:v>
                </c:pt>
                <c:pt idx="9673">
                  <c:v>-0.37798688233289202</c:v>
                </c:pt>
                <c:pt idx="9674">
                  <c:v>-0.41532346309548601</c:v>
                </c:pt>
                <c:pt idx="9675">
                  <c:v>-0.44021451693721603</c:v>
                </c:pt>
                <c:pt idx="9676">
                  <c:v>-0.36139284643840502</c:v>
                </c:pt>
                <c:pt idx="9677">
                  <c:v>-0.31161073875494599</c:v>
                </c:pt>
                <c:pt idx="9678">
                  <c:v>-0.34894731951753999</c:v>
                </c:pt>
                <c:pt idx="9679">
                  <c:v>-0.23278906825613499</c:v>
                </c:pt>
                <c:pt idx="9680">
                  <c:v>-0.51903618743602697</c:v>
                </c:pt>
                <c:pt idx="9681">
                  <c:v>-0.30331372080770302</c:v>
                </c:pt>
                <c:pt idx="9682">
                  <c:v>8.2497613739108105E-2</c:v>
                </c:pt>
                <c:pt idx="9683">
                  <c:v>0.25258648165759501</c:v>
                </c:pt>
                <c:pt idx="9684">
                  <c:v>-0.31990775670218902</c:v>
                </c:pt>
                <c:pt idx="9685">
                  <c:v>-0.19960099646716201</c:v>
                </c:pt>
                <c:pt idx="9686">
                  <c:v>-0.11663081699473</c:v>
                </c:pt>
                <c:pt idx="9687">
                  <c:v>2.8566997082027101E-2</c:v>
                </c:pt>
                <c:pt idx="9688">
                  <c:v>-0.13322485288921601</c:v>
                </c:pt>
                <c:pt idx="9689">
                  <c:v>-0.17056143365181101</c:v>
                </c:pt>
                <c:pt idx="9690">
                  <c:v>-0.21204652338802699</c:v>
                </c:pt>
                <c:pt idx="9691">
                  <c:v>-0.129076343915595</c:v>
                </c:pt>
                <c:pt idx="9692">
                  <c:v>-0.13322485288921601</c:v>
                </c:pt>
                <c:pt idx="9693">
                  <c:v>-0.23278906825613499</c:v>
                </c:pt>
                <c:pt idx="9694">
                  <c:v>2.8566997082027101E-2</c:v>
                </c:pt>
                <c:pt idx="9695">
                  <c:v>0.348002188050892</c:v>
                </c:pt>
                <c:pt idx="9696">
                  <c:v>0.45586342136505398</c:v>
                </c:pt>
                <c:pt idx="9697">
                  <c:v>0.58861570852094602</c:v>
                </c:pt>
                <c:pt idx="9698">
                  <c:v>0.33555666113002702</c:v>
                </c:pt>
                <c:pt idx="9699">
                  <c:v>0.31066560728829701</c:v>
                </c:pt>
                <c:pt idx="9700">
                  <c:v>7.8244522139189494E-3</c:v>
                </c:pt>
                <c:pt idx="9701">
                  <c:v>1.289713725063</c:v>
                </c:pt>
                <c:pt idx="9702">
                  <c:v>1.2399316173795389</c:v>
                </c:pt>
                <c:pt idx="9703">
                  <c:v>1.32705030582559</c:v>
                </c:pt>
                <c:pt idx="9704">
                  <c:v>1.5469212814275399</c:v>
                </c:pt>
                <c:pt idx="9705">
                  <c:v>1.4224660122188899</c:v>
                </c:pt>
                <c:pt idx="9706">
                  <c:v>1.01591213280397</c:v>
                </c:pt>
                <c:pt idx="9707">
                  <c:v>0.99102107896224301</c:v>
                </c:pt>
                <c:pt idx="9708">
                  <c:v>1.1445159109862399</c:v>
                </c:pt>
                <c:pt idx="9709">
                  <c:v>1.15696143790711</c:v>
                </c:pt>
                <c:pt idx="9710">
                  <c:v>1.20674354559057</c:v>
                </c:pt>
                <c:pt idx="9711">
                  <c:v>1.05739722254019</c:v>
                </c:pt>
                <c:pt idx="9712">
                  <c:v>1.1694069648279699</c:v>
                </c:pt>
                <c:pt idx="9713">
                  <c:v>1.4058719763244001</c:v>
                </c:pt>
                <c:pt idx="9714">
                  <c:v>1.6547825147416999</c:v>
                </c:pt>
                <c:pt idx="9715">
                  <c:v>1.70456462242516</c:v>
                </c:pt>
                <c:pt idx="9716">
                  <c:v>1.6921190955043</c:v>
                </c:pt>
                <c:pt idx="9717">
                  <c:v>1.7128616403724</c:v>
                </c:pt>
                <c:pt idx="9718">
                  <c:v>1.73360418524051</c:v>
                </c:pt>
                <c:pt idx="9719">
                  <c:v>1.3477928506937</c:v>
                </c:pt>
                <c:pt idx="9720">
                  <c:v>1.30630776095749</c:v>
                </c:pt>
                <c:pt idx="9721">
                  <c:v>1.7004161134515401</c:v>
                </c:pt>
                <c:pt idx="9722">
                  <c:v>1.4639511019551099</c:v>
                </c:pt>
                <c:pt idx="9723">
                  <c:v>3.12335469140376</c:v>
                </c:pt>
                <c:pt idx="9724">
                  <c:v>3.05697854782581</c:v>
                </c:pt>
                <c:pt idx="9725">
                  <c:v>2.5052268543341301</c:v>
                </c:pt>
                <c:pt idx="9726">
                  <c:v>2.1857916633652699</c:v>
                </c:pt>
                <c:pt idx="9727">
                  <c:v>2.1733461364443998</c:v>
                </c:pt>
                <c:pt idx="9728">
                  <c:v>2.2936528966794301</c:v>
                </c:pt>
                <c:pt idx="9729">
                  <c:v>2.2065342082333799</c:v>
                </c:pt>
                <c:pt idx="9730">
                  <c:v>2.36002904025738</c:v>
                </c:pt>
                <c:pt idx="9731">
                  <c:v>2.04474235826213</c:v>
                </c:pt>
                <c:pt idx="9732">
                  <c:v>1.8705049813700301</c:v>
                </c:pt>
                <c:pt idx="9733">
                  <c:v>1.70456462242516</c:v>
                </c:pt>
                <c:pt idx="9734">
                  <c:v>1.83316840060743</c:v>
                </c:pt>
                <c:pt idx="9735">
                  <c:v>1.5510697904011601</c:v>
                </c:pt>
                <c:pt idx="9736">
                  <c:v>1.5593668083484</c:v>
                </c:pt>
                <c:pt idx="9737">
                  <c:v>1.6132974250054899</c:v>
                </c:pt>
                <c:pt idx="9738">
                  <c:v>1.72530716729327</c:v>
                </c:pt>
                <c:pt idx="9739">
                  <c:v>1.5261787365594299</c:v>
                </c:pt>
                <c:pt idx="9740">
                  <c:v>1.49713917374408</c:v>
                </c:pt>
                <c:pt idx="9741">
                  <c:v>1.7419012031877601</c:v>
                </c:pt>
                <c:pt idx="9742">
                  <c:v>1.7833862929239701</c:v>
                </c:pt>
                <c:pt idx="9743">
                  <c:v>1.68382207755705</c:v>
                </c:pt>
                <c:pt idx="9744">
                  <c:v>1.41002048529803</c:v>
                </c:pt>
                <c:pt idx="9745">
                  <c:v>1.3975749583771599</c:v>
                </c:pt>
                <c:pt idx="9746">
                  <c:v>1.4266145211925101</c:v>
                </c:pt>
                <c:pt idx="9747">
                  <c:v>0.385338768813486</c:v>
                </c:pt>
                <c:pt idx="9748">
                  <c:v>0.55127912775835097</c:v>
                </c:pt>
                <c:pt idx="9749">
                  <c:v>0.58861570852094602</c:v>
                </c:pt>
                <c:pt idx="9750">
                  <c:v>0.601061235441811</c:v>
                </c:pt>
                <c:pt idx="9751">
                  <c:v>0.601061235441811</c:v>
                </c:pt>
                <c:pt idx="9752">
                  <c:v>0.76700159438667503</c:v>
                </c:pt>
                <c:pt idx="9753">
                  <c:v>0.601061235441811</c:v>
                </c:pt>
                <c:pt idx="9754">
                  <c:v>0.65499185209889199</c:v>
                </c:pt>
                <c:pt idx="9755">
                  <c:v>0.63010079825716203</c:v>
                </c:pt>
                <c:pt idx="9756">
                  <c:v>0.132279721422568</c:v>
                </c:pt>
                <c:pt idx="9757">
                  <c:v>9.9091649633594597E-2</c:v>
                </c:pt>
                <c:pt idx="9758">
                  <c:v>0.11568568552808101</c:v>
                </c:pt>
                <c:pt idx="9759">
                  <c:v>-7.0997218284891805E-2</c:v>
                </c:pt>
                <c:pt idx="9760">
                  <c:v>4.9309541950135198E-2</c:v>
                </c:pt>
                <c:pt idx="9761">
                  <c:v>-7.0997218284891805E-2</c:v>
                </c:pt>
                <c:pt idx="9762">
                  <c:v>0.13642823039618901</c:v>
                </c:pt>
                <c:pt idx="9763">
                  <c:v>3.6864015029270301E-2</c:v>
                </c:pt>
                <c:pt idx="9764">
                  <c:v>-4.7256573332428599E-4</c:v>
                </c:pt>
                <c:pt idx="9765">
                  <c:v>-8.7695836805675303E-3</c:v>
                </c:pt>
                <c:pt idx="9766">
                  <c:v>-0.11663081699473</c:v>
                </c:pt>
                <c:pt idx="9767">
                  <c:v>-0.104185290073865</c:v>
                </c:pt>
                <c:pt idx="9768">
                  <c:v>-0.149818888783703</c:v>
                </c:pt>
                <c:pt idx="9769">
                  <c:v>-0.11663081699473</c:v>
                </c:pt>
                <c:pt idx="9770">
                  <c:v>-0.129076343915595</c:v>
                </c:pt>
                <c:pt idx="9771">
                  <c:v>-5.44031823904053E-2</c:v>
                </c:pt>
                <c:pt idx="9772">
                  <c:v>-8.7591254179378297E-2</c:v>
                </c:pt>
                <c:pt idx="9773">
                  <c:v>-0.16226441570456701</c:v>
                </c:pt>
                <c:pt idx="9774">
                  <c:v>-0.104185290073865</c:v>
                </c:pt>
                <c:pt idx="9775">
                  <c:v>-0.100036781100243</c:v>
                </c:pt>
                <c:pt idx="9776">
                  <c:v>-0.30746222978132398</c:v>
                </c:pt>
                <c:pt idx="9777">
                  <c:v>-0.15396739775732399</c:v>
                </c:pt>
                <c:pt idx="9778">
                  <c:v>0.119834194501703</c:v>
                </c:pt>
                <c:pt idx="9779">
                  <c:v>5.34580509237568E-2</c:v>
                </c:pt>
                <c:pt idx="9780">
                  <c:v>0.248437972683973</c:v>
                </c:pt>
                <c:pt idx="9781">
                  <c:v>0.38119025983986499</c:v>
                </c:pt>
                <c:pt idx="9782">
                  <c:v>0.29407157139381102</c:v>
                </c:pt>
                <c:pt idx="9783">
                  <c:v>0.31481411626191902</c:v>
                </c:pt>
                <c:pt idx="9784">
                  <c:v>0.20695288294775699</c:v>
                </c:pt>
                <c:pt idx="9785">
                  <c:v>0.37704175086624298</c:v>
                </c:pt>
                <c:pt idx="9786">
                  <c:v>0.19450735602689201</c:v>
                </c:pt>
                <c:pt idx="9787">
                  <c:v>-3.3660637522297199E-2</c:v>
                </c:pt>
                <c:pt idx="9788">
                  <c:v>-5.0254673416783698E-2</c:v>
                </c:pt>
                <c:pt idx="9789">
                  <c:v>9.4943140659973002E-2</c:v>
                </c:pt>
                <c:pt idx="9790">
                  <c:v>2.4418488108405401E-2</c:v>
                </c:pt>
                <c:pt idx="9791">
                  <c:v>-2.5363619575054001E-2</c:v>
                </c:pt>
                <c:pt idx="9792">
                  <c:v>-6.6848709311270196E-2</c:v>
                </c:pt>
                <c:pt idx="9793">
                  <c:v>0.53053658289024297</c:v>
                </c:pt>
                <c:pt idx="9794">
                  <c:v>0.464160439312297</c:v>
                </c:pt>
                <c:pt idx="9795">
                  <c:v>0.55127912775835097</c:v>
                </c:pt>
                <c:pt idx="9796">
                  <c:v>0.66743737901975697</c:v>
                </c:pt>
                <c:pt idx="9797">
                  <c:v>0.91219940846343195</c:v>
                </c:pt>
                <c:pt idx="9798">
                  <c:v>0.86656580975359399</c:v>
                </c:pt>
                <c:pt idx="9799">
                  <c:v>0.80433817514926997</c:v>
                </c:pt>
                <c:pt idx="9800">
                  <c:v>0.82508072001737798</c:v>
                </c:pt>
                <c:pt idx="9801">
                  <c:v>1.01591213280397</c:v>
                </c:pt>
                <c:pt idx="9802">
                  <c:v>1.0739912584346789</c:v>
                </c:pt>
                <c:pt idx="9803">
                  <c:v>1.64648549679446</c:v>
                </c:pt>
                <c:pt idx="9804">
                  <c:v>1.6506340057680799</c:v>
                </c:pt>
                <c:pt idx="9805">
                  <c:v>1.6298914608999699</c:v>
                </c:pt>
                <c:pt idx="9806">
                  <c:v>1.48054513784959</c:v>
                </c:pt>
                <c:pt idx="9807">
                  <c:v>1.5012876827177</c:v>
                </c:pt>
                <c:pt idx="9808">
                  <c:v>1.5095847006649501</c:v>
                </c:pt>
                <c:pt idx="9809">
                  <c:v>1.39342644940354</c:v>
                </c:pt>
                <c:pt idx="9810">
                  <c:v>1.41002048529803</c:v>
                </c:pt>
                <c:pt idx="9811">
                  <c:v>1.1735554738015901</c:v>
                </c:pt>
                <c:pt idx="9812">
                  <c:v>1.1237733661181299</c:v>
                </c:pt>
                <c:pt idx="9813">
                  <c:v>1.3146047789047299</c:v>
                </c:pt>
                <c:pt idx="9814">
                  <c:v>1.1486644199598599</c:v>
                </c:pt>
                <c:pt idx="9815">
                  <c:v>1.47224811990235</c:v>
                </c:pt>
                <c:pt idx="9816">
                  <c:v>1.21918907251143</c:v>
                </c:pt>
                <c:pt idx="9817">
                  <c:v>2.3932171120463499</c:v>
                </c:pt>
                <c:pt idx="9818">
                  <c:v>2.899335206828189</c:v>
                </c:pt>
                <c:pt idx="9819">
                  <c:v>2.0405938492885101</c:v>
                </c:pt>
                <c:pt idx="9820">
                  <c:v>1.5054361916913199</c:v>
                </c:pt>
                <c:pt idx="9821">
                  <c:v>1.45565408400786</c:v>
                </c:pt>
                <c:pt idx="9822">
                  <c:v>1.4224660122188899</c:v>
                </c:pt>
                <c:pt idx="9823">
                  <c:v>1.43076303016613</c:v>
                </c:pt>
                <c:pt idx="9824">
                  <c:v>1.43906004811338</c:v>
                </c:pt>
                <c:pt idx="9825">
                  <c:v>1.49713917374408</c:v>
                </c:pt>
                <c:pt idx="9826">
                  <c:v>1.4432085570869999</c:v>
                </c:pt>
                <c:pt idx="9827">
                  <c:v>1.6091489160318599</c:v>
                </c:pt>
                <c:pt idx="9828">
                  <c:v>1.6174459339791101</c:v>
                </c:pt>
                <c:pt idx="9829">
                  <c:v>1.6506340057680799</c:v>
                </c:pt>
                <c:pt idx="9830">
                  <c:v>1.5261787365594299</c:v>
                </c:pt>
                <c:pt idx="9831">
                  <c:v>1.2357831084059201</c:v>
                </c:pt>
                <c:pt idx="9832">
                  <c:v>1.3187532878783499</c:v>
                </c:pt>
                <c:pt idx="9833">
                  <c:v>1.18185249174884</c:v>
                </c:pt>
                <c:pt idx="9834">
                  <c:v>1.21918907251143</c:v>
                </c:pt>
                <c:pt idx="9835">
                  <c:v>1.16110994688073</c:v>
                </c:pt>
                <c:pt idx="9836">
                  <c:v>1.14036740201262</c:v>
                </c:pt>
                <c:pt idx="9837">
                  <c:v>1.4846936468232199</c:v>
                </c:pt>
                <c:pt idx="9838">
                  <c:v>1.62159444295273</c:v>
                </c:pt>
                <c:pt idx="9839">
                  <c:v>1.5718123352692699</c:v>
                </c:pt>
                <c:pt idx="9840">
                  <c:v>1.22748609045868</c:v>
                </c:pt>
                <c:pt idx="9841">
                  <c:v>0.95783300717327002</c:v>
                </c:pt>
                <c:pt idx="9842">
                  <c:v>0.19450735602689201</c:v>
                </c:pt>
                <c:pt idx="9843">
                  <c:v>4.9309541950135198E-2</c:v>
                </c:pt>
                <c:pt idx="9844">
                  <c:v>0.161319284237919</c:v>
                </c:pt>
                <c:pt idx="9845">
                  <c:v>0.103240158607216</c:v>
                </c:pt>
                <c:pt idx="9846">
                  <c:v>2.0269979134783799E-2</c:v>
                </c:pt>
                <c:pt idx="9847">
                  <c:v>-5.44031823904053E-2</c:v>
                </c:pt>
                <c:pt idx="9848">
                  <c:v>7.4200595791864901E-2</c:v>
                </c:pt>
                <c:pt idx="9849">
                  <c:v>-0.120779325968351</c:v>
                </c:pt>
                <c:pt idx="9850">
                  <c:v>-0.29916521183408101</c:v>
                </c:pt>
                <c:pt idx="9851">
                  <c:v>-0.33650179259667501</c:v>
                </c:pt>
                <c:pt idx="9852">
                  <c:v>-0.40702644514824299</c:v>
                </c:pt>
                <c:pt idx="9853">
                  <c:v>-0.27842266696597301</c:v>
                </c:pt>
                <c:pt idx="9854">
                  <c:v>-0.42362048104272898</c:v>
                </c:pt>
                <c:pt idx="9855">
                  <c:v>-0.22864055928251301</c:v>
                </c:pt>
                <c:pt idx="9856">
                  <c:v>-0.37798688233289202</c:v>
                </c:pt>
                <c:pt idx="9857">
                  <c:v>-0.35724433746478401</c:v>
                </c:pt>
                <c:pt idx="9858">
                  <c:v>-0.36554135541202698</c:v>
                </c:pt>
                <c:pt idx="9859">
                  <c:v>-0.45266004385808101</c:v>
                </c:pt>
                <c:pt idx="9860">
                  <c:v>-0.41947197206910802</c:v>
                </c:pt>
                <c:pt idx="9861">
                  <c:v>-0.41947197206910802</c:v>
                </c:pt>
                <c:pt idx="9862">
                  <c:v>-0.28671968491321598</c:v>
                </c:pt>
                <c:pt idx="9863">
                  <c:v>-0.34065030157029702</c:v>
                </c:pt>
                <c:pt idx="9864">
                  <c:v>-0.22449205030889199</c:v>
                </c:pt>
                <c:pt idx="9865">
                  <c:v>-0.34894731951753999</c:v>
                </c:pt>
                <c:pt idx="9866">
                  <c:v>-0.34479881054391898</c:v>
                </c:pt>
                <c:pt idx="9867">
                  <c:v>-0.37383837335927</c:v>
                </c:pt>
                <c:pt idx="9868">
                  <c:v>-0.46510557077894599</c:v>
                </c:pt>
                <c:pt idx="9869">
                  <c:v>-0.53563022333051302</c:v>
                </c:pt>
                <c:pt idx="9870">
                  <c:v>-0.56466978614586505</c:v>
                </c:pt>
                <c:pt idx="9871">
                  <c:v>-0.39458091822737801</c:v>
                </c:pt>
                <c:pt idx="9872">
                  <c:v>-0.34894731951753999</c:v>
                </c:pt>
                <c:pt idx="9873">
                  <c:v>6.59035778446216E-2</c:v>
                </c:pt>
                <c:pt idx="9874">
                  <c:v>-0.26597714004510797</c:v>
                </c:pt>
                <c:pt idx="9875">
                  <c:v>-0.33650179259667501</c:v>
                </c:pt>
                <c:pt idx="9876">
                  <c:v>-0.26597714004510797</c:v>
                </c:pt>
                <c:pt idx="9877">
                  <c:v>-0.39458091822737801</c:v>
                </c:pt>
                <c:pt idx="9878">
                  <c:v>-0.37798688233289202</c:v>
                </c:pt>
                <c:pt idx="9879">
                  <c:v>-0.34894731951753999</c:v>
                </c:pt>
                <c:pt idx="9880">
                  <c:v>-0.24108608620337801</c:v>
                </c:pt>
                <c:pt idx="9881">
                  <c:v>-0.28257117593959402</c:v>
                </c:pt>
                <c:pt idx="9882">
                  <c:v>-0.295016702860459</c:v>
                </c:pt>
                <c:pt idx="9883">
                  <c:v>-0.40287793617462098</c:v>
                </c:pt>
                <c:pt idx="9884">
                  <c:v>-0.38213539130651297</c:v>
                </c:pt>
                <c:pt idx="9885">
                  <c:v>-0.36968986438564799</c:v>
                </c:pt>
                <c:pt idx="9886">
                  <c:v>-0.34479881054391898</c:v>
                </c:pt>
                <c:pt idx="9887">
                  <c:v>0.57202167262645898</c:v>
                </c:pt>
                <c:pt idx="9888">
                  <c:v>-0.15396739775732399</c:v>
                </c:pt>
                <c:pt idx="9889">
                  <c:v>-2.5363619575054001E-2</c:v>
                </c:pt>
                <c:pt idx="9890">
                  <c:v>9.9091649633594597E-2</c:v>
                </c:pt>
                <c:pt idx="9891">
                  <c:v>6.59035778446216E-2</c:v>
                </c:pt>
                <c:pt idx="9892">
                  <c:v>1.61214701611622E-2</c:v>
                </c:pt>
                <c:pt idx="9893">
                  <c:v>0.33140815215640501</c:v>
                </c:pt>
                <c:pt idx="9894">
                  <c:v>0.31066560728829701</c:v>
                </c:pt>
                <c:pt idx="9895">
                  <c:v>0.33140815215640501</c:v>
                </c:pt>
                <c:pt idx="9896">
                  <c:v>0.37289324189262102</c:v>
                </c:pt>
                <c:pt idx="9897">
                  <c:v>0.28577455344656699</c:v>
                </c:pt>
                <c:pt idx="9898">
                  <c:v>0.68403141491424302</c:v>
                </c:pt>
                <c:pt idx="9899">
                  <c:v>0.73381352259770205</c:v>
                </c:pt>
                <c:pt idx="9900">
                  <c:v>0.75870457643943201</c:v>
                </c:pt>
                <c:pt idx="9901">
                  <c:v>0.68403141491424302</c:v>
                </c:pt>
                <c:pt idx="9902">
                  <c:v>0.84997177385910805</c:v>
                </c:pt>
                <c:pt idx="9903">
                  <c:v>0.86241730077997303</c:v>
                </c:pt>
                <c:pt idx="9904">
                  <c:v>0.99516958793586396</c:v>
                </c:pt>
                <c:pt idx="9905">
                  <c:v>0.95368449819964796</c:v>
                </c:pt>
                <c:pt idx="9906">
                  <c:v>0.86656580975359399</c:v>
                </c:pt>
                <c:pt idx="9907">
                  <c:v>1.0408031866456999</c:v>
                </c:pt>
                <c:pt idx="9908">
                  <c:v>1.0034666058831101</c:v>
                </c:pt>
                <c:pt idx="9909">
                  <c:v>1.3436443417200801</c:v>
                </c:pt>
                <c:pt idx="9910">
                  <c:v>1.3436443417200801</c:v>
                </c:pt>
                <c:pt idx="9911">
                  <c:v>0.95368449819964796</c:v>
                </c:pt>
                <c:pt idx="9912">
                  <c:v>0.77944712130754001</c:v>
                </c:pt>
                <c:pt idx="9913">
                  <c:v>1.2523771443003999</c:v>
                </c:pt>
                <c:pt idx="9914">
                  <c:v>1.6132974250054899</c:v>
                </c:pt>
                <c:pt idx="9915">
                  <c:v>1.0615457315138099</c:v>
                </c:pt>
                <c:pt idx="9916">
                  <c:v>1.15696143790711</c:v>
                </c:pt>
                <c:pt idx="9917">
                  <c:v>1.15696143790711</c:v>
                </c:pt>
                <c:pt idx="9918">
                  <c:v>1.54277277245392</c:v>
                </c:pt>
                <c:pt idx="9919">
                  <c:v>2.7375433568569401</c:v>
                </c:pt>
                <c:pt idx="9920">
                  <c:v>1.45565408400786</c:v>
                </c:pt>
                <c:pt idx="9921">
                  <c:v>1.5095847006649501</c:v>
                </c:pt>
                <c:pt idx="9922">
                  <c:v>1.4888421557968401</c:v>
                </c:pt>
                <c:pt idx="9923">
                  <c:v>1.49713917374408</c:v>
                </c:pt>
                <c:pt idx="9924">
                  <c:v>1.37268390453543</c:v>
                </c:pt>
                <c:pt idx="9925">
                  <c:v>1.5344757545066701</c:v>
                </c:pt>
                <c:pt idx="9926">
                  <c:v>1.60085189808462</c:v>
                </c:pt>
                <c:pt idx="9927">
                  <c:v>1.6340399698735899</c:v>
                </c:pt>
                <c:pt idx="9928">
                  <c:v>1.5925548801373799</c:v>
                </c:pt>
                <c:pt idx="9929">
                  <c:v>1.66307953268895</c:v>
                </c:pt>
                <c:pt idx="9930">
                  <c:v>1.68797058653067</c:v>
                </c:pt>
                <c:pt idx="9931">
                  <c:v>1.6340399698735899</c:v>
                </c:pt>
                <c:pt idx="9932">
                  <c:v>1.6755250596098099</c:v>
                </c:pt>
                <c:pt idx="9933">
                  <c:v>1.1942980186697001</c:v>
                </c:pt>
                <c:pt idx="9934">
                  <c:v>1.18600100072246</c:v>
                </c:pt>
                <c:pt idx="9935">
                  <c:v>1.18600100072246</c:v>
                </c:pt>
                <c:pt idx="9936">
                  <c:v>1.1942980186697001</c:v>
                </c:pt>
                <c:pt idx="9937">
                  <c:v>0.19035884705327</c:v>
                </c:pt>
                <c:pt idx="9938">
                  <c:v>0.231843936789486</c:v>
                </c:pt>
                <c:pt idx="9939">
                  <c:v>0.153022266290676</c:v>
                </c:pt>
                <c:pt idx="9940">
                  <c:v>0.211101391921378</c:v>
                </c:pt>
                <c:pt idx="9941">
                  <c:v>6.59035778446216E-2</c:v>
                </c:pt>
                <c:pt idx="9942">
                  <c:v>9.9091649633594597E-2</c:v>
                </c:pt>
                <c:pt idx="9943">
                  <c:v>0.16546779321154101</c:v>
                </c:pt>
                <c:pt idx="9944">
                  <c:v>2.8566997082027101E-2</c:v>
                </c:pt>
                <c:pt idx="9945">
                  <c:v>1.19729611875406E-2</c:v>
                </c:pt>
                <c:pt idx="9946">
                  <c:v>-0.46510557077894599</c:v>
                </c:pt>
                <c:pt idx="9947">
                  <c:v>-0.45680855283170202</c:v>
                </c:pt>
                <c:pt idx="9948">
                  <c:v>-0.53977873230413498</c:v>
                </c:pt>
                <c:pt idx="9949">
                  <c:v>-0.46510557077894599</c:v>
                </c:pt>
                <c:pt idx="9950">
                  <c:v>-0.448511534884459</c:v>
                </c:pt>
                <c:pt idx="9951">
                  <c:v>-0.48169960667343198</c:v>
                </c:pt>
                <c:pt idx="9952">
                  <c:v>-0.29086819388683799</c:v>
                </c:pt>
                <c:pt idx="9953">
                  <c:v>-0.37798688233289202</c:v>
                </c:pt>
                <c:pt idx="9954">
                  <c:v>-0.22449205030889199</c:v>
                </c:pt>
                <c:pt idx="9955">
                  <c:v>-0.45680855283170202</c:v>
                </c:pt>
                <c:pt idx="9956">
                  <c:v>-0.26182863107148602</c:v>
                </c:pt>
                <c:pt idx="9957">
                  <c:v>-0.36968986438564799</c:v>
                </c:pt>
                <c:pt idx="9958">
                  <c:v>-0.40287793617462098</c:v>
                </c:pt>
                <c:pt idx="9959">
                  <c:v>-0.35724433746478401</c:v>
                </c:pt>
                <c:pt idx="9960">
                  <c:v>-0.34479881054391898</c:v>
                </c:pt>
                <c:pt idx="9961">
                  <c:v>-0.43606600796359402</c:v>
                </c:pt>
                <c:pt idx="9962">
                  <c:v>-0.44436302591083798</c:v>
                </c:pt>
                <c:pt idx="9963">
                  <c:v>-0.36139284643840502</c:v>
                </c:pt>
                <c:pt idx="9964">
                  <c:v>-0.37383837335927</c:v>
                </c:pt>
                <c:pt idx="9965">
                  <c:v>-0.40702644514824299</c:v>
                </c:pt>
                <c:pt idx="9966">
                  <c:v>-0.49414513359429701</c:v>
                </c:pt>
                <c:pt idx="9967">
                  <c:v>-0.16641292467818899</c:v>
                </c:pt>
                <c:pt idx="9968">
                  <c:v>0.103240158607216</c:v>
                </c:pt>
                <c:pt idx="9969">
                  <c:v>4.9309541950135198E-2</c:v>
                </c:pt>
                <c:pt idx="9970">
                  <c:v>2.0269979134783799E-2</c:v>
                </c:pt>
                <c:pt idx="9971">
                  <c:v>-4.7256573332428599E-4</c:v>
                </c:pt>
                <c:pt idx="9972">
                  <c:v>2.8566997082027101E-2</c:v>
                </c:pt>
                <c:pt idx="9973">
                  <c:v>0.107388667580838</c:v>
                </c:pt>
                <c:pt idx="9974">
                  <c:v>4.9309541950135198E-2</c:v>
                </c:pt>
                <c:pt idx="9975">
                  <c:v>0.33555666113002702</c:v>
                </c:pt>
                <c:pt idx="9976">
                  <c:v>-2.1215110601432399E-2</c:v>
                </c:pt>
                <c:pt idx="9977">
                  <c:v>5.7606559897378402E-2</c:v>
                </c:pt>
                <c:pt idx="9978">
                  <c:v>-3.3660637522297199E-2</c:v>
                </c:pt>
                <c:pt idx="9979">
                  <c:v>0.19450735602689201</c:v>
                </c:pt>
                <c:pt idx="9980">
                  <c:v>-0.158115906730946</c:v>
                </c:pt>
                <c:pt idx="9981">
                  <c:v>1.61214701611622E-2</c:v>
                </c:pt>
                <c:pt idx="9982">
                  <c:v>-0.15396739775732399</c:v>
                </c:pt>
                <c:pt idx="9983">
                  <c:v>0.55542763673197304</c:v>
                </c:pt>
                <c:pt idx="9984">
                  <c:v>2.4418488108405401E-2</c:v>
                </c:pt>
                <c:pt idx="9985">
                  <c:v>-0.124927834941973</c:v>
                </c:pt>
                <c:pt idx="9986">
                  <c:v>9.4943140659973002E-2</c:v>
                </c:pt>
                <c:pt idx="9987">
                  <c:v>0.248437972683973</c:v>
                </c:pt>
                <c:pt idx="9988">
                  <c:v>0.35629920599813503</c:v>
                </c:pt>
                <c:pt idx="9989">
                  <c:v>0.47245745725954003</c:v>
                </c:pt>
                <c:pt idx="9990">
                  <c:v>0.464160439312297</c:v>
                </c:pt>
                <c:pt idx="9991">
                  <c:v>4.9309541950135198E-2</c:v>
                </c:pt>
                <c:pt idx="9992">
                  <c:v>0.35629920599813503</c:v>
                </c:pt>
                <c:pt idx="9993">
                  <c:v>0.59276421749456698</c:v>
                </c:pt>
                <c:pt idx="9994">
                  <c:v>0.580318690573702</c:v>
                </c:pt>
                <c:pt idx="9995">
                  <c:v>0.58446719954732396</c:v>
                </c:pt>
                <c:pt idx="9996">
                  <c:v>0.69232843286148604</c:v>
                </c:pt>
                <c:pt idx="9997">
                  <c:v>0.94538748025240504</c:v>
                </c:pt>
                <c:pt idx="9998">
                  <c:v>0.84582326488548598</c:v>
                </c:pt>
                <c:pt idx="9999">
                  <c:v>0.96198151614689098</c:v>
                </c:pt>
                <c:pt idx="10000">
                  <c:v>1.0449516956193201</c:v>
                </c:pt>
                <c:pt idx="10001">
                  <c:v>1.0905852943291601</c:v>
                </c:pt>
                <c:pt idx="10002">
                  <c:v>1.065694240487429</c:v>
                </c:pt>
                <c:pt idx="10003">
                  <c:v>1.4058719763244001</c:v>
                </c:pt>
                <c:pt idx="10004">
                  <c:v>1.3975749583771599</c:v>
                </c:pt>
                <c:pt idx="10005">
                  <c:v>1.4846936468232199</c:v>
                </c:pt>
                <c:pt idx="10006">
                  <c:v>1.5137332096385701</c:v>
                </c:pt>
                <c:pt idx="10007">
                  <c:v>1.2565256532740301</c:v>
                </c:pt>
                <c:pt idx="10008">
                  <c:v>1.68382207755705</c:v>
                </c:pt>
                <c:pt idx="10009">
                  <c:v>1.4432085570869999</c:v>
                </c:pt>
                <c:pt idx="10010">
                  <c:v>1.58425786219013</c:v>
                </c:pt>
                <c:pt idx="10011">
                  <c:v>0.173764811158784</c:v>
                </c:pt>
                <c:pt idx="10012">
                  <c:v>3.110909164482889</c:v>
                </c:pt>
                <c:pt idx="10013">
                  <c:v>2.7499888837778101</c:v>
                </c:pt>
                <c:pt idx="10014">
                  <c:v>2.2272767531014899</c:v>
                </c:pt>
                <c:pt idx="10015">
                  <c:v>1.9327326159743501</c:v>
                </c:pt>
                <c:pt idx="10016">
                  <c:v>1.8207228736865699</c:v>
                </c:pt>
                <c:pt idx="10017">
                  <c:v>1.89539603521176</c:v>
                </c:pt>
                <c:pt idx="10018">
                  <c:v>1.7875348018975901</c:v>
                </c:pt>
                <c:pt idx="10019">
                  <c:v>1.8207228736865699</c:v>
                </c:pt>
                <c:pt idx="10020">
                  <c:v>1.8207228736865699</c:v>
                </c:pt>
                <c:pt idx="10021">
                  <c:v>1.8041288377920801</c:v>
                </c:pt>
                <c:pt idx="10022">
                  <c:v>1.8414654185546699</c:v>
                </c:pt>
                <c:pt idx="10023">
                  <c:v>1.87880199931727</c:v>
                </c:pt>
                <c:pt idx="10024">
                  <c:v>1.8248713826601899</c:v>
                </c:pt>
                <c:pt idx="10025">
                  <c:v>1.7999803288184599</c:v>
                </c:pt>
                <c:pt idx="10026">
                  <c:v>1.6174459339791101</c:v>
                </c:pt>
                <c:pt idx="10027">
                  <c:v>1.45565408400786</c:v>
                </c:pt>
                <c:pt idx="10028">
                  <c:v>1.3187532878783499</c:v>
                </c:pt>
                <c:pt idx="10029">
                  <c:v>1.3146047789047299</c:v>
                </c:pt>
                <c:pt idx="10030">
                  <c:v>1.33119881479922</c:v>
                </c:pt>
                <c:pt idx="10031">
                  <c:v>1.3768324135090499</c:v>
                </c:pt>
                <c:pt idx="10032">
                  <c:v>1.4017234673507799</c:v>
                </c:pt>
                <c:pt idx="10033">
                  <c:v>0.559576145705594</c:v>
                </c:pt>
                <c:pt idx="10034">
                  <c:v>0.35215069702451302</c:v>
                </c:pt>
                <c:pt idx="10035">
                  <c:v>0.33970517010364898</c:v>
                </c:pt>
                <c:pt idx="10036">
                  <c:v>0.40193280470797299</c:v>
                </c:pt>
                <c:pt idx="10037">
                  <c:v>0.29822008036743203</c:v>
                </c:pt>
                <c:pt idx="10038">
                  <c:v>0.58861570852094602</c:v>
                </c:pt>
                <c:pt idx="10039">
                  <c:v>0.406081313681594</c:v>
                </c:pt>
                <c:pt idx="10040">
                  <c:v>0.39778429573435098</c:v>
                </c:pt>
                <c:pt idx="10041">
                  <c:v>0.19450735602689201</c:v>
                </c:pt>
                <c:pt idx="10042">
                  <c:v>-0.34894731951753999</c:v>
                </c:pt>
                <c:pt idx="10043">
                  <c:v>-0.14567037981008099</c:v>
                </c:pt>
                <c:pt idx="10044">
                  <c:v>-0.39872942720100002</c:v>
                </c:pt>
                <c:pt idx="10045">
                  <c:v>-0.26597714004510797</c:v>
                </c:pt>
                <c:pt idx="10046">
                  <c:v>-0.38213539130651297</c:v>
                </c:pt>
                <c:pt idx="10047">
                  <c:v>-0.353095828491162</c:v>
                </c:pt>
                <c:pt idx="10048">
                  <c:v>-0.353095828491162</c:v>
                </c:pt>
                <c:pt idx="10049">
                  <c:v>-0.37383837335927</c:v>
                </c:pt>
                <c:pt idx="10050">
                  <c:v>-0.63519443869743197</c:v>
                </c:pt>
                <c:pt idx="10051">
                  <c:v>-0.44436302591083798</c:v>
                </c:pt>
                <c:pt idx="10052">
                  <c:v>-0.39872942720100002</c:v>
                </c:pt>
                <c:pt idx="10053">
                  <c:v>-0.50244215154154004</c:v>
                </c:pt>
                <c:pt idx="10054">
                  <c:v>-0.431917498989973</c:v>
                </c:pt>
                <c:pt idx="10055">
                  <c:v>-0.431917498989973</c:v>
                </c:pt>
                <c:pt idx="10056">
                  <c:v>-0.22449205030889199</c:v>
                </c:pt>
                <c:pt idx="10057">
                  <c:v>-0.39458091822737801</c:v>
                </c:pt>
                <c:pt idx="10058">
                  <c:v>-0.32405626567581097</c:v>
                </c:pt>
                <c:pt idx="10059">
                  <c:v>-0.411174954121865</c:v>
                </c:pt>
                <c:pt idx="10060">
                  <c:v>-0.39458091822737801</c:v>
                </c:pt>
                <c:pt idx="10061">
                  <c:v>-0.62689742075018895</c:v>
                </c:pt>
                <c:pt idx="10062">
                  <c:v>-0.61445189382932397</c:v>
                </c:pt>
                <c:pt idx="10063">
                  <c:v>-0.59785785793483703</c:v>
                </c:pt>
                <c:pt idx="10064">
                  <c:v>-0.22034354133527001</c:v>
                </c:pt>
                <c:pt idx="10065">
                  <c:v>3.6759432402973299E-3</c:v>
                </c:pt>
                <c:pt idx="10066">
                  <c:v>-0.31990775670218902</c:v>
                </c:pt>
                <c:pt idx="10067">
                  <c:v>-0.236937577229757</c:v>
                </c:pt>
                <c:pt idx="10068">
                  <c:v>-0.16226441570456701</c:v>
                </c:pt>
                <c:pt idx="10069">
                  <c:v>0.219398409868622</c:v>
                </c:pt>
                <c:pt idx="10070">
                  <c:v>0.103240158607216</c:v>
                </c:pt>
                <c:pt idx="10071">
                  <c:v>0.31066560728829701</c:v>
                </c:pt>
                <c:pt idx="10072">
                  <c:v>4.9309541950135198E-2</c:v>
                </c:pt>
                <c:pt idx="10073">
                  <c:v>0.11568568552808101</c:v>
                </c:pt>
                <c:pt idx="10074">
                  <c:v>-0.16226441570456701</c:v>
                </c:pt>
                <c:pt idx="10075">
                  <c:v>-0.187155469546297</c:v>
                </c:pt>
                <c:pt idx="10076">
                  <c:v>-0.18300696057267599</c:v>
                </c:pt>
                <c:pt idx="10077">
                  <c:v>-9.5888272126621502E-2</c:v>
                </c:pt>
                <c:pt idx="10078">
                  <c:v>-6.2700200337648601E-2</c:v>
                </c:pt>
                <c:pt idx="10079">
                  <c:v>0.82508072001737798</c:v>
                </c:pt>
                <c:pt idx="10080">
                  <c:v>5.34580509237568E-2</c:v>
                </c:pt>
                <c:pt idx="10081">
                  <c:v>3.6864015029270301E-2</c:v>
                </c:pt>
                <c:pt idx="10082">
                  <c:v>0.54298210981110795</c:v>
                </c:pt>
                <c:pt idx="10083">
                  <c:v>0.58861570852094602</c:v>
                </c:pt>
                <c:pt idx="10084">
                  <c:v>0.46001193033867499</c:v>
                </c:pt>
                <c:pt idx="10085">
                  <c:v>0.57617018160008104</c:v>
                </c:pt>
                <c:pt idx="10086">
                  <c:v>0.86656580975359399</c:v>
                </c:pt>
                <c:pt idx="10087">
                  <c:v>0.72966501362408098</c:v>
                </c:pt>
                <c:pt idx="10088">
                  <c:v>0.99516958793586396</c:v>
                </c:pt>
                <c:pt idx="10089">
                  <c:v>0.90805089948980999</c:v>
                </c:pt>
                <c:pt idx="10090">
                  <c:v>0.95368449819964796</c:v>
                </c:pt>
                <c:pt idx="10091">
                  <c:v>0.82922922899100004</c:v>
                </c:pt>
                <c:pt idx="10092">
                  <c:v>0.95783300717327002</c:v>
                </c:pt>
                <c:pt idx="10093">
                  <c:v>1.0408031866456999</c:v>
                </c:pt>
                <c:pt idx="10094">
                  <c:v>1.1445159109862399</c:v>
                </c:pt>
                <c:pt idx="10095">
                  <c:v>1.2523771443003999</c:v>
                </c:pt>
                <c:pt idx="10096">
                  <c:v>1.1694069648279699</c:v>
                </c:pt>
                <c:pt idx="10097">
                  <c:v>1.136218893039</c:v>
                </c:pt>
                <c:pt idx="10098">
                  <c:v>1.17770398277522</c:v>
                </c:pt>
                <c:pt idx="10099">
                  <c:v>1.2108920545641899</c:v>
                </c:pt>
                <c:pt idx="10100">
                  <c:v>1.30630776095749</c:v>
                </c:pt>
                <c:pt idx="10101">
                  <c:v>1.21918907251143</c:v>
                </c:pt>
                <c:pt idx="10102">
                  <c:v>1.5552182993747801</c:v>
                </c:pt>
                <c:pt idx="10103">
                  <c:v>1.4266145211925101</c:v>
                </c:pt>
                <c:pt idx="10104">
                  <c:v>1.73360418524051</c:v>
                </c:pt>
                <c:pt idx="10105">
                  <c:v>1.41002048529803</c:v>
                </c:pt>
                <c:pt idx="10106">
                  <c:v>1.52203022758581</c:v>
                </c:pt>
                <c:pt idx="10107">
                  <c:v>1.5469212814275399</c:v>
                </c:pt>
                <c:pt idx="10108">
                  <c:v>1.48054513784959</c:v>
                </c:pt>
                <c:pt idx="10109">
                  <c:v>1.6547825147416999</c:v>
                </c:pt>
                <c:pt idx="10110">
                  <c:v>1.47639662887597</c:v>
                </c:pt>
                <c:pt idx="10111">
                  <c:v>1.5095847006649501</c:v>
                </c:pt>
                <c:pt idx="10112">
                  <c:v>1.62574295192635</c:v>
                </c:pt>
                <c:pt idx="10113">
                  <c:v>1.3229017968519701</c:v>
                </c:pt>
                <c:pt idx="10114">
                  <c:v>1.6091489160318599</c:v>
                </c:pt>
                <c:pt idx="10115">
                  <c:v>1.7377526942141299</c:v>
                </c:pt>
                <c:pt idx="10116">
                  <c:v>1.8207228736865699</c:v>
                </c:pt>
                <c:pt idx="10117">
                  <c:v>2.8910381888809402</c:v>
                </c:pt>
                <c:pt idx="10118">
                  <c:v>1.85805945444916</c:v>
                </c:pt>
                <c:pt idx="10119">
                  <c:v>1.47639662887597</c:v>
                </c:pt>
                <c:pt idx="10120">
                  <c:v>1.3851294314563001</c:v>
                </c:pt>
                <c:pt idx="10121">
                  <c:v>1.47224811990235</c:v>
                </c:pt>
                <c:pt idx="10122">
                  <c:v>1.3229017968519701</c:v>
                </c:pt>
                <c:pt idx="10123">
                  <c:v>1.49713917374408</c:v>
                </c:pt>
                <c:pt idx="10124">
                  <c:v>1.6589310237153201</c:v>
                </c:pt>
                <c:pt idx="10125">
                  <c:v>1.7626437480558601</c:v>
                </c:pt>
                <c:pt idx="10126">
                  <c:v>1.79583181984484</c:v>
                </c:pt>
                <c:pt idx="10127">
                  <c:v>1.83316840060743</c:v>
                </c:pt>
                <c:pt idx="10128">
                  <c:v>1.7460497121613801</c:v>
                </c:pt>
                <c:pt idx="10129">
                  <c:v>0.79189264822840499</c:v>
                </c:pt>
                <c:pt idx="10130">
                  <c:v>0.31066560728829701</c:v>
                </c:pt>
                <c:pt idx="10131">
                  <c:v>0.32311113420916199</c:v>
                </c:pt>
                <c:pt idx="10132">
                  <c:v>0.35629920599813503</c:v>
                </c:pt>
                <c:pt idx="10133">
                  <c:v>0.35215069702451302</c:v>
                </c:pt>
                <c:pt idx="10134">
                  <c:v>0.55542763673197304</c:v>
                </c:pt>
                <c:pt idx="10135">
                  <c:v>0.40193280470797299</c:v>
                </c:pt>
                <c:pt idx="10136">
                  <c:v>0.248437972683973</c:v>
                </c:pt>
                <c:pt idx="10137">
                  <c:v>0.34385367907726999</c:v>
                </c:pt>
                <c:pt idx="10138">
                  <c:v>0.385338768813486</c:v>
                </c:pt>
                <c:pt idx="10139">
                  <c:v>0.40193280470797299</c:v>
                </c:pt>
                <c:pt idx="10140">
                  <c:v>0.11153717655445899</c:v>
                </c:pt>
                <c:pt idx="10141">
                  <c:v>0.29822008036743203</c:v>
                </c:pt>
                <c:pt idx="10142">
                  <c:v>0.23599244576310799</c:v>
                </c:pt>
                <c:pt idx="10143">
                  <c:v>0.153022266290676</c:v>
                </c:pt>
                <c:pt idx="10144">
                  <c:v>9.9091649633594597E-2</c:v>
                </c:pt>
                <c:pt idx="10145">
                  <c:v>0.13642823039618901</c:v>
                </c:pt>
                <c:pt idx="10146">
                  <c:v>-0.18300696057267599</c:v>
                </c:pt>
                <c:pt idx="10147">
                  <c:v>-0.25353161312424299</c:v>
                </c:pt>
                <c:pt idx="10148">
                  <c:v>-4.62107470694591E-3</c:v>
                </c:pt>
                <c:pt idx="10149">
                  <c:v>4.5161032976513499E-2</c:v>
                </c:pt>
                <c:pt idx="10150">
                  <c:v>-0.30746222978132398</c:v>
                </c:pt>
                <c:pt idx="10151">
                  <c:v>-0.19545248749353999</c:v>
                </c:pt>
                <c:pt idx="10152">
                  <c:v>-0.16641292467818899</c:v>
                </c:pt>
                <c:pt idx="10153">
                  <c:v>-0.29916521183408101</c:v>
                </c:pt>
                <c:pt idx="10154">
                  <c:v>-0.245234595177</c:v>
                </c:pt>
                <c:pt idx="10155">
                  <c:v>-0.13737336186283799</c:v>
                </c:pt>
                <c:pt idx="10156">
                  <c:v>-0.36139284643840502</c:v>
                </c:pt>
                <c:pt idx="10157">
                  <c:v>-0.30331372080770302</c:v>
                </c:pt>
                <c:pt idx="10158">
                  <c:v>-0.44021451693721603</c:v>
                </c:pt>
                <c:pt idx="10159">
                  <c:v>-0.47755109769981102</c:v>
                </c:pt>
                <c:pt idx="10160">
                  <c:v>-0.245234595177</c:v>
                </c:pt>
                <c:pt idx="10161">
                  <c:v>-1.7066601627810801E-2</c:v>
                </c:pt>
                <c:pt idx="10162">
                  <c:v>0.107388667580838</c:v>
                </c:pt>
                <c:pt idx="10163">
                  <c:v>-0.31161073875494599</c:v>
                </c:pt>
                <c:pt idx="10164">
                  <c:v>-0.28671968491321598</c:v>
                </c:pt>
                <c:pt idx="10165">
                  <c:v>-0.38213539130651297</c:v>
                </c:pt>
                <c:pt idx="10166">
                  <c:v>-0.24938310415062101</c:v>
                </c:pt>
                <c:pt idx="10167">
                  <c:v>-0.34479881054391898</c:v>
                </c:pt>
                <c:pt idx="10168">
                  <c:v>-0.59370934896121597</c:v>
                </c:pt>
                <c:pt idx="10169">
                  <c:v>-0.39458091822737801</c:v>
                </c:pt>
                <c:pt idx="10170">
                  <c:v>-0.36968986438564799</c:v>
                </c:pt>
                <c:pt idx="10171">
                  <c:v>-0.49414513359429701</c:v>
                </c:pt>
                <c:pt idx="10172">
                  <c:v>-0.353095828491162</c:v>
                </c:pt>
                <c:pt idx="10173">
                  <c:v>-0.44021451693721603</c:v>
                </c:pt>
                <c:pt idx="10174">
                  <c:v>-0.44021451693721603</c:v>
                </c:pt>
                <c:pt idx="10175">
                  <c:v>-6.6848709311270196E-2</c:v>
                </c:pt>
                <c:pt idx="10176">
                  <c:v>-0.13737336186283799</c:v>
                </c:pt>
                <c:pt idx="10177">
                  <c:v>-8.3442745205756702E-2</c:v>
                </c:pt>
                <c:pt idx="10178">
                  <c:v>1.19729611875406E-2</c:v>
                </c:pt>
                <c:pt idx="10179">
                  <c:v>-2.95121285486756E-2</c:v>
                </c:pt>
                <c:pt idx="10180">
                  <c:v>0.91634791743705402</c:v>
                </c:pt>
                <c:pt idx="10181">
                  <c:v>0.99931809690948603</c:v>
                </c:pt>
                <c:pt idx="10182">
                  <c:v>0.99931809690948603</c:v>
                </c:pt>
                <c:pt idx="10183">
                  <c:v>0.87901133667445897</c:v>
                </c:pt>
                <c:pt idx="10184">
                  <c:v>1.3187532878783499</c:v>
                </c:pt>
                <c:pt idx="10185">
                  <c:v>1.4639511019551099</c:v>
                </c:pt>
                <c:pt idx="10186">
                  <c:v>1.3477928506937</c:v>
                </c:pt>
                <c:pt idx="10187">
                  <c:v>0.95783300717327002</c:v>
                </c:pt>
                <c:pt idx="10188">
                  <c:v>0.93709046230516202</c:v>
                </c:pt>
                <c:pt idx="10189">
                  <c:v>1.11547634817089</c:v>
                </c:pt>
                <c:pt idx="10190">
                  <c:v>1.0200606417775899</c:v>
                </c:pt>
                <c:pt idx="10191">
                  <c:v>0.94538748025240504</c:v>
                </c:pt>
                <c:pt idx="10192">
                  <c:v>1.1237733661181299</c:v>
                </c:pt>
                <c:pt idx="10193">
                  <c:v>1.17770398277522</c:v>
                </c:pt>
                <c:pt idx="10194">
                  <c:v>0.91634791743705402</c:v>
                </c:pt>
                <c:pt idx="10195">
                  <c:v>0.50564552904851301</c:v>
                </c:pt>
                <c:pt idx="10196">
                  <c:v>0.54298210981110795</c:v>
                </c:pt>
                <c:pt idx="10197">
                  <c:v>0.52638807391662101</c:v>
                </c:pt>
                <c:pt idx="10198">
                  <c:v>0.51809105596937799</c:v>
                </c:pt>
                <c:pt idx="10199">
                  <c:v>0.80433817514926997</c:v>
                </c:pt>
                <c:pt idx="10200">
                  <c:v>0.64669483415164797</c:v>
                </c:pt>
                <c:pt idx="10201">
                  <c:v>0.65499185209889199</c:v>
                </c:pt>
                <c:pt idx="10202">
                  <c:v>0.60520974441543196</c:v>
                </c:pt>
                <c:pt idx="10203">
                  <c:v>0.59276421749456698</c:v>
                </c:pt>
                <c:pt idx="10204">
                  <c:v>0.44756640341781101</c:v>
                </c:pt>
                <c:pt idx="10205">
                  <c:v>0.49734851110126999</c:v>
                </c:pt>
                <c:pt idx="10206">
                  <c:v>8.6646122712729701E-2</c:v>
                </c:pt>
                <c:pt idx="10207">
                  <c:v>0.33555666113002702</c:v>
                </c:pt>
                <c:pt idx="10208">
                  <c:v>0.17791332013240499</c:v>
                </c:pt>
                <c:pt idx="10209">
                  <c:v>0.26088349960483798</c:v>
                </c:pt>
                <c:pt idx="10210">
                  <c:v>-8.7695836805675303E-3</c:v>
                </c:pt>
                <c:pt idx="10211">
                  <c:v>0.11153717655445899</c:v>
                </c:pt>
                <c:pt idx="10212">
                  <c:v>1.19729611875406E-2</c:v>
                </c:pt>
                <c:pt idx="10213">
                  <c:v>0.13642823039618901</c:v>
                </c:pt>
                <c:pt idx="10214">
                  <c:v>-1.29180926541891E-2</c:v>
                </c:pt>
                <c:pt idx="10215">
                  <c:v>8.2497613739108105E-2</c:v>
                </c:pt>
                <c:pt idx="10216">
                  <c:v>-0.11248230802110799</c:v>
                </c:pt>
                <c:pt idx="10217">
                  <c:v>2.8566997082027101E-2</c:v>
                </c:pt>
                <c:pt idx="10218">
                  <c:v>-0.100036781100243</c:v>
                </c:pt>
                <c:pt idx="10219">
                  <c:v>-2.95121285486756E-2</c:v>
                </c:pt>
                <c:pt idx="10220">
                  <c:v>-0.120779325968351</c:v>
                </c:pt>
                <c:pt idx="10221">
                  <c:v>-0.27842266696597301</c:v>
                </c:pt>
                <c:pt idx="10222">
                  <c:v>-0.48169960667343198</c:v>
                </c:pt>
                <c:pt idx="10223">
                  <c:v>-0.35724433746478401</c:v>
                </c:pt>
                <c:pt idx="10224">
                  <c:v>-0.45680855283170202</c:v>
                </c:pt>
                <c:pt idx="10225">
                  <c:v>-0.40702644514824299</c:v>
                </c:pt>
                <c:pt idx="10226">
                  <c:v>-0.431917498989973</c:v>
                </c:pt>
                <c:pt idx="10227">
                  <c:v>-0.48584811564705399</c:v>
                </c:pt>
                <c:pt idx="10228">
                  <c:v>-0.41532346309548601</c:v>
                </c:pt>
                <c:pt idx="10229">
                  <c:v>-0.41532346309548601</c:v>
                </c:pt>
                <c:pt idx="10230">
                  <c:v>-0.44021451693721603</c:v>
                </c:pt>
                <c:pt idx="10231">
                  <c:v>-0.42362048104272898</c:v>
                </c:pt>
                <c:pt idx="10232">
                  <c:v>-0.448511534884459</c:v>
                </c:pt>
                <c:pt idx="10233">
                  <c:v>-0.42776899001635099</c:v>
                </c:pt>
                <c:pt idx="10234">
                  <c:v>-0.36554135541202698</c:v>
                </c:pt>
                <c:pt idx="10235">
                  <c:v>-0.55637276819862103</c:v>
                </c:pt>
                <c:pt idx="10236">
                  <c:v>-0.27012564901872999</c:v>
                </c:pt>
                <c:pt idx="10237">
                  <c:v>7.0052086818243306E-2</c:v>
                </c:pt>
                <c:pt idx="10238">
                  <c:v>-5.8551691364026999E-2</c:v>
                </c:pt>
                <c:pt idx="10239">
                  <c:v>-0.31990775670218902</c:v>
                </c:pt>
                <c:pt idx="10240">
                  <c:v>-0.32820477464943199</c:v>
                </c:pt>
                <c:pt idx="10241">
                  <c:v>-0.34894731951753999</c:v>
                </c:pt>
                <c:pt idx="10242">
                  <c:v>-0.353095828491162</c:v>
                </c:pt>
                <c:pt idx="10243">
                  <c:v>-0.28257117593959402</c:v>
                </c:pt>
                <c:pt idx="10244">
                  <c:v>-0.35724433746478401</c:v>
                </c:pt>
                <c:pt idx="10245">
                  <c:v>-0.27012564901872999</c:v>
                </c:pt>
                <c:pt idx="10246">
                  <c:v>-0.39458091822737801</c:v>
                </c:pt>
                <c:pt idx="10247">
                  <c:v>-0.36139284643840502</c:v>
                </c:pt>
                <c:pt idx="10248">
                  <c:v>-0.469254079752567</c:v>
                </c:pt>
                <c:pt idx="10249">
                  <c:v>-0.27012564901872999</c:v>
                </c:pt>
                <c:pt idx="10250">
                  <c:v>-0.353095828491162</c:v>
                </c:pt>
                <c:pt idx="10251">
                  <c:v>-0.39872942720100002</c:v>
                </c:pt>
                <c:pt idx="10252">
                  <c:v>-0.32820477464943199</c:v>
                </c:pt>
                <c:pt idx="10253">
                  <c:v>-0.27842266696597301</c:v>
                </c:pt>
                <c:pt idx="10254">
                  <c:v>-0.295016702860459</c:v>
                </c:pt>
                <c:pt idx="10255">
                  <c:v>-0.187155469546297</c:v>
                </c:pt>
                <c:pt idx="10256">
                  <c:v>-4.6106164443162102E-2</c:v>
                </c:pt>
                <c:pt idx="10257">
                  <c:v>-0.40702644514824299</c:v>
                </c:pt>
                <c:pt idx="10258">
                  <c:v>-0.158115906730946</c:v>
                </c:pt>
                <c:pt idx="10259">
                  <c:v>-0.15396739775732399</c:v>
                </c:pt>
                <c:pt idx="10260">
                  <c:v>-0.20374950544078399</c:v>
                </c:pt>
                <c:pt idx="10261">
                  <c:v>-0.19130397851991901</c:v>
                </c:pt>
                <c:pt idx="10262">
                  <c:v>-0.20374950544078399</c:v>
                </c:pt>
                <c:pt idx="10263">
                  <c:v>-0.13322485288921601</c:v>
                </c:pt>
                <c:pt idx="10264">
                  <c:v>-0.129076343915595</c:v>
                </c:pt>
                <c:pt idx="10265">
                  <c:v>8.6646122712729701E-2</c:v>
                </c:pt>
                <c:pt idx="10266">
                  <c:v>0.58446719954732396</c:v>
                </c:pt>
                <c:pt idx="10267">
                  <c:v>0.49320000212764797</c:v>
                </c:pt>
                <c:pt idx="10268">
                  <c:v>0.59691272646818905</c:v>
                </c:pt>
                <c:pt idx="10269">
                  <c:v>0.53883360083748599</c:v>
                </c:pt>
                <c:pt idx="10270">
                  <c:v>0.717219486703216</c:v>
                </c:pt>
                <c:pt idx="10271">
                  <c:v>0.47660596623316198</c:v>
                </c:pt>
                <c:pt idx="10272">
                  <c:v>0.559576145705594</c:v>
                </c:pt>
                <c:pt idx="10273">
                  <c:v>0.65914036107251295</c:v>
                </c:pt>
                <c:pt idx="10274">
                  <c:v>0.71307097772959405</c:v>
                </c:pt>
                <c:pt idx="10275">
                  <c:v>0.87901133667445897</c:v>
                </c:pt>
                <c:pt idx="10276">
                  <c:v>0.39778429573435098</c:v>
                </c:pt>
                <c:pt idx="10277">
                  <c:v>0.67158588799337804</c:v>
                </c:pt>
                <c:pt idx="10278">
                  <c:v>0.88730835462170199</c:v>
                </c:pt>
                <c:pt idx="10279">
                  <c:v>1.15696143790711</c:v>
                </c:pt>
                <c:pt idx="10280">
                  <c:v>0.96198151614689098</c:v>
                </c:pt>
                <c:pt idx="10281">
                  <c:v>0.63424930723078399</c:v>
                </c:pt>
                <c:pt idx="10282">
                  <c:v>0.63424930723078399</c:v>
                </c:pt>
                <c:pt idx="10283">
                  <c:v>0.70477395978235102</c:v>
                </c:pt>
                <c:pt idx="10284">
                  <c:v>0.833377737964621</c:v>
                </c:pt>
                <c:pt idx="10285">
                  <c:v>0.58861570852094602</c:v>
                </c:pt>
                <c:pt idx="10286">
                  <c:v>0.55127912775835097</c:v>
                </c:pt>
                <c:pt idx="10287">
                  <c:v>0.72966501362408098</c:v>
                </c:pt>
                <c:pt idx="10288">
                  <c:v>0.68403141491424302</c:v>
                </c:pt>
                <c:pt idx="10289">
                  <c:v>0.82508072001737798</c:v>
                </c:pt>
                <c:pt idx="10290">
                  <c:v>0.86656580975359399</c:v>
                </c:pt>
                <c:pt idx="10291">
                  <c:v>0.92049642641067497</c:v>
                </c:pt>
                <c:pt idx="10292">
                  <c:v>0.92464493538429704</c:v>
                </c:pt>
                <c:pt idx="10293">
                  <c:v>0.96198151614689098</c:v>
                </c:pt>
                <c:pt idx="10294">
                  <c:v>0.39778429573435098</c:v>
                </c:pt>
                <c:pt idx="10295">
                  <c:v>0.37704175086624298</c:v>
                </c:pt>
                <c:pt idx="10296">
                  <c:v>0.443417894444189</c:v>
                </c:pt>
                <c:pt idx="10297">
                  <c:v>0.19865586500051299</c:v>
                </c:pt>
                <c:pt idx="10298">
                  <c:v>0.28162604447294598</c:v>
                </c:pt>
                <c:pt idx="10299">
                  <c:v>0.30236858934105398</c:v>
                </c:pt>
                <c:pt idx="10300">
                  <c:v>0.30236858934105398</c:v>
                </c:pt>
                <c:pt idx="10301">
                  <c:v>0.22769542781586499</c:v>
                </c:pt>
                <c:pt idx="10302">
                  <c:v>0.37289324189262102</c:v>
                </c:pt>
                <c:pt idx="10303">
                  <c:v>0.202804373974135</c:v>
                </c:pt>
                <c:pt idx="10304">
                  <c:v>0.385338768813486</c:v>
                </c:pt>
                <c:pt idx="10305">
                  <c:v>-0.11248230802110799</c:v>
                </c:pt>
                <c:pt idx="10306">
                  <c:v>-1.29180926541891E-2</c:v>
                </c:pt>
                <c:pt idx="10307">
                  <c:v>-0.28257117593959402</c:v>
                </c:pt>
                <c:pt idx="10308">
                  <c:v>-6.2700200337648601E-2</c:v>
                </c:pt>
                <c:pt idx="10309">
                  <c:v>-0.28257117593959402</c:v>
                </c:pt>
                <c:pt idx="10310">
                  <c:v>-4.6106164443162102E-2</c:v>
                </c:pt>
                <c:pt idx="10311">
                  <c:v>-0.27842266696597301</c:v>
                </c:pt>
                <c:pt idx="10312">
                  <c:v>-6.6848709311270196E-2</c:v>
                </c:pt>
                <c:pt idx="10313">
                  <c:v>-0.26182863107148602</c:v>
                </c:pt>
                <c:pt idx="10314">
                  <c:v>-0.245234595177</c:v>
                </c:pt>
                <c:pt idx="10315">
                  <c:v>-0.20374950544078399</c:v>
                </c:pt>
                <c:pt idx="10316">
                  <c:v>-0.207898014414405</c:v>
                </c:pt>
                <c:pt idx="10317">
                  <c:v>-0.25768012209786501</c:v>
                </c:pt>
                <c:pt idx="10318">
                  <c:v>-0.20374950544078399</c:v>
                </c:pt>
                <c:pt idx="10319">
                  <c:v>-0.26182863107148602</c:v>
                </c:pt>
                <c:pt idx="10320">
                  <c:v>-0.41947197206910802</c:v>
                </c:pt>
                <c:pt idx="10321">
                  <c:v>-0.16226441570456701</c:v>
                </c:pt>
                <c:pt idx="10322">
                  <c:v>-0.31161073875494599</c:v>
                </c:pt>
                <c:pt idx="10323">
                  <c:v>-0.11248230802110799</c:v>
                </c:pt>
                <c:pt idx="10324">
                  <c:v>-0.44021451693721603</c:v>
                </c:pt>
                <c:pt idx="10325">
                  <c:v>-0.29086819388683799</c:v>
                </c:pt>
                <c:pt idx="10326">
                  <c:v>-0.31161073875494599</c:v>
                </c:pt>
                <c:pt idx="10327">
                  <c:v>0.40193280470797299</c:v>
                </c:pt>
                <c:pt idx="10328">
                  <c:v>0.52223956494299995</c:v>
                </c:pt>
                <c:pt idx="10329">
                  <c:v>0.63424930723078399</c:v>
                </c:pt>
                <c:pt idx="10330">
                  <c:v>0.38119025983986499</c:v>
                </c:pt>
                <c:pt idx="10331">
                  <c:v>0.45586342136505398</c:v>
                </c:pt>
                <c:pt idx="10332">
                  <c:v>0.289923062420189</c:v>
                </c:pt>
                <c:pt idx="10333">
                  <c:v>0.48905149315402702</c:v>
                </c:pt>
                <c:pt idx="10334">
                  <c:v>0.289923062420189</c:v>
                </c:pt>
                <c:pt idx="10335">
                  <c:v>0.63424930723078399</c:v>
                </c:pt>
                <c:pt idx="10336">
                  <c:v>3.2715506055648699E-2</c:v>
                </c:pt>
                <c:pt idx="10337">
                  <c:v>0.37289324189262102</c:v>
                </c:pt>
                <c:pt idx="10338">
                  <c:v>0.173764811158784</c:v>
                </c:pt>
                <c:pt idx="10339">
                  <c:v>0.26503200857845899</c:v>
                </c:pt>
                <c:pt idx="10340">
                  <c:v>0.306517098314676</c:v>
                </c:pt>
                <c:pt idx="10341">
                  <c:v>0.30236858934105398</c:v>
                </c:pt>
                <c:pt idx="10342">
                  <c:v>0.50564552904851301</c:v>
                </c:pt>
                <c:pt idx="10343">
                  <c:v>0.49320000212764797</c:v>
                </c:pt>
                <c:pt idx="10344">
                  <c:v>0.464160439312297</c:v>
                </c:pt>
                <c:pt idx="10345">
                  <c:v>1.0076151148567301</c:v>
                </c:pt>
                <c:pt idx="10346">
                  <c:v>1.30630776095749</c:v>
                </c:pt>
                <c:pt idx="10347">
                  <c:v>1.2606741622476501</c:v>
                </c:pt>
                <c:pt idx="10348">
                  <c:v>1.21918907251143</c:v>
                </c:pt>
                <c:pt idx="10349">
                  <c:v>1.43906004811338</c:v>
                </c:pt>
                <c:pt idx="10350">
                  <c:v>1.32705030582559</c:v>
                </c:pt>
                <c:pt idx="10351">
                  <c:v>1.4058719763244001</c:v>
                </c:pt>
                <c:pt idx="10352">
                  <c:v>1.2938622340366199</c:v>
                </c:pt>
                <c:pt idx="10353">
                  <c:v>1.5137332096385701</c:v>
                </c:pt>
                <c:pt idx="10354">
                  <c:v>1.4888421557968401</c:v>
                </c:pt>
                <c:pt idx="10355">
                  <c:v>1.58425786219013</c:v>
                </c:pt>
                <c:pt idx="10356">
                  <c:v>1.52203022758581</c:v>
                </c:pt>
                <c:pt idx="10357">
                  <c:v>1.5884063711637599</c:v>
                </c:pt>
                <c:pt idx="10358">
                  <c:v>1.66722804166257</c:v>
                </c:pt>
                <c:pt idx="10359">
                  <c:v>1.2731196891685099</c:v>
                </c:pt>
                <c:pt idx="10360">
                  <c:v>1.22333758148505</c:v>
                </c:pt>
                <c:pt idx="10361">
                  <c:v>1.11547634817089</c:v>
                </c:pt>
                <c:pt idx="10362">
                  <c:v>1.5137332096385701</c:v>
                </c:pt>
                <c:pt idx="10363">
                  <c:v>1.33119881479922</c:v>
                </c:pt>
                <c:pt idx="10364">
                  <c:v>1.5386242634803</c:v>
                </c:pt>
                <c:pt idx="10365">
                  <c:v>0.96198151614689098</c:v>
                </c:pt>
                <c:pt idx="10366">
                  <c:v>3.115057673456509</c:v>
                </c:pt>
                <c:pt idx="10367">
                  <c:v>2.8537016081183499</c:v>
                </c:pt>
                <c:pt idx="10368">
                  <c:v>2.6545731773845098</c:v>
                </c:pt>
                <c:pt idx="10369">
                  <c:v>2.4222566748616989</c:v>
                </c:pt>
                <c:pt idx="10370">
                  <c:v>2.1857916633652699</c:v>
                </c:pt>
                <c:pt idx="10371">
                  <c:v>2.1443065736290499</c:v>
                </c:pt>
                <c:pt idx="10372">
                  <c:v>2.12771253773457</c:v>
                </c:pt>
                <c:pt idx="10373">
                  <c:v>2.0364453403148892</c:v>
                </c:pt>
                <c:pt idx="10374">
                  <c:v>2.0945244659455899</c:v>
                </c:pt>
                <c:pt idx="10375">
                  <c:v>2.1567521005499191</c:v>
                </c:pt>
                <c:pt idx="10376">
                  <c:v>2.2604648248904602</c:v>
                </c:pt>
                <c:pt idx="10377">
                  <c:v>2.3351379864156501</c:v>
                </c:pt>
                <c:pt idx="10378">
                  <c:v>2.3475835133365099</c:v>
                </c:pt>
                <c:pt idx="10379">
                  <c:v>2.202385699259759</c:v>
                </c:pt>
                <c:pt idx="10380">
                  <c:v>2.04474235826213</c:v>
                </c:pt>
                <c:pt idx="10381">
                  <c:v>2.1609006095235399</c:v>
                </c:pt>
                <c:pt idx="10382">
                  <c:v>2.09037595697197</c:v>
                </c:pt>
                <c:pt idx="10383">
                  <c:v>2.0239998133940298</c:v>
                </c:pt>
                <c:pt idx="10384">
                  <c:v>2.12771253773457</c:v>
                </c:pt>
                <c:pt idx="10385">
                  <c:v>2.0281483223676502</c:v>
                </c:pt>
                <c:pt idx="10386">
                  <c:v>2.10696999286646</c:v>
                </c:pt>
                <c:pt idx="10387">
                  <c:v>2.1152670108136991</c:v>
                </c:pt>
                <c:pt idx="10388">
                  <c:v>1.9908117416050499</c:v>
                </c:pt>
                <c:pt idx="10389">
                  <c:v>2.0488908672357602</c:v>
                </c:pt>
                <c:pt idx="10390">
                  <c:v>2.0488908672357602</c:v>
                </c:pt>
                <c:pt idx="10391">
                  <c:v>1.9617721787897</c:v>
                </c:pt>
                <c:pt idx="10392">
                  <c:v>1.0200606417775899</c:v>
                </c:pt>
                <c:pt idx="10393">
                  <c:v>0.72136799567683796</c:v>
                </c:pt>
                <c:pt idx="10394">
                  <c:v>0.72551650465045903</c:v>
                </c:pt>
                <c:pt idx="10395">
                  <c:v>0.74211054054494596</c:v>
                </c:pt>
                <c:pt idx="10396">
                  <c:v>0.99102107896224301</c:v>
                </c:pt>
                <c:pt idx="10397">
                  <c:v>1.0200606417775899</c:v>
                </c:pt>
                <c:pt idx="10398">
                  <c:v>0.60520974441543196</c:v>
                </c:pt>
                <c:pt idx="10399">
                  <c:v>0.61765527133629705</c:v>
                </c:pt>
                <c:pt idx="10400">
                  <c:v>0.601061235441811</c:v>
                </c:pt>
                <c:pt idx="10401">
                  <c:v>7.0052086818243306E-2</c:v>
                </c:pt>
                <c:pt idx="10402">
                  <c:v>8.2497613739108105E-2</c:v>
                </c:pt>
                <c:pt idx="10403">
                  <c:v>7.8349104765486496E-2</c:v>
                </c:pt>
                <c:pt idx="10404">
                  <c:v>0.103240158607216</c:v>
                </c:pt>
                <c:pt idx="10405">
                  <c:v>5.7606559897378402E-2</c:v>
                </c:pt>
                <c:pt idx="10406">
                  <c:v>0.123982703475324</c:v>
                </c:pt>
                <c:pt idx="10407">
                  <c:v>9.9091649633594597E-2</c:v>
                </c:pt>
                <c:pt idx="10408">
                  <c:v>0.132279721422568</c:v>
                </c:pt>
                <c:pt idx="10409">
                  <c:v>4.9309541950135198E-2</c:v>
                </c:pt>
                <c:pt idx="10410">
                  <c:v>0.42267534957608099</c:v>
                </c:pt>
                <c:pt idx="10411">
                  <c:v>0.161319284237919</c:v>
                </c:pt>
                <c:pt idx="10412">
                  <c:v>0.19450735602689201</c:v>
                </c:pt>
                <c:pt idx="10413">
                  <c:v>8.6646122712729701E-2</c:v>
                </c:pt>
                <c:pt idx="10414">
                  <c:v>5.7606559897378402E-2</c:v>
                </c:pt>
                <c:pt idx="10415">
                  <c:v>-9.1739763152999906E-2</c:v>
                </c:pt>
                <c:pt idx="10416">
                  <c:v>-0.124927834941973</c:v>
                </c:pt>
                <c:pt idx="10417">
                  <c:v>-0.17470994262543199</c:v>
                </c:pt>
                <c:pt idx="10418">
                  <c:v>-0.120779325968351</c:v>
                </c:pt>
                <c:pt idx="10419">
                  <c:v>3.6864015029270301E-2</c:v>
                </c:pt>
                <c:pt idx="10420">
                  <c:v>-0.22034354133527001</c:v>
                </c:pt>
                <c:pt idx="10421">
                  <c:v>-0.100036781100243</c:v>
                </c:pt>
                <c:pt idx="10422">
                  <c:v>4.9309541950135198E-2</c:v>
                </c:pt>
                <c:pt idx="10423">
                  <c:v>0.80433817514926997</c:v>
                </c:pt>
                <c:pt idx="10424">
                  <c:v>0.68403141491424302</c:v>
                </c:pt>
                <c:pt idx="10425">
                  <c:v>0.73796203157132401</c:v>
                </c:pt>
                <c:pt idx="10426">
                  <c:v>0.39778429573435098</c:v>
                </c:pt>
                <c:pt idx="10427">
                  <c:v>0.80433817514926997</c:v>
                </c:pt>
                <c:pt idx="10428">
                  <c:v>0.49320000212764797</c:v>
                </c:pt>
                <c:pt idx="10429">
                  <c:v>0.675734396967</c:v>
                </c:pt>
                <c:pt idx="10430">
                  <c:v>0.443417894444189</c:v>
                </c:pt>
                <c:pt idx="10431">
                  <c:v>0.57202167262645898</c:v>
                </c:pt>
                <c:pt idx="10432">
                  <c:v>0.53053658289024297</c:v>
                </c:pt>
                <c:pt idx="10433">
                  <c:v>0.45171491239143202</c:v>
                </c:pt>
                <c:pt idx="10434">
                  <c:v>0.43097236752332402</c:v>
                </c:pt>
                <c:pt idx="10435">
                  <c:v>0.56372465467921595</c:v>
                </c:pt>
                <c:pt idx="10436">
                  <c:v>0.19450735602689201</c:v>
                </c:pt>
                <c:pt idx="10437">
                  <c:v>0.30236858934105398</c:v>
                </c:pt>
                <c:pt idx="10438">
                  <c:v>0.84582326488548598</c:v>
                </c:pt>
                <c:pt idx="10439">
                  <c:v>0.86656580975359399</c:v>
                </c:pt>
                <c:pt idx="10440">
                  <c:v>0.79604115720202695</c:v>
                </c:pt>
                <c:pt idx="10441">
                  <c:v>0.95368449819964796</c:v>
                </c:pt>
                <c:pt idx="10442">
                  <c:v>1.6132974250054899</c:v>
                </c:pt>
                <c:pt idx="10443">
                  <c:v>1.2399316173795389</c:v>
                </c:pt>
                <c:pt idx="10444">
                  <c:v>1.45980259298149</c:v>
                </c:pt>
                <c:pt idx="10445">
                  <c:v>1.37268390453543</c:v>
                </c:pt>
                <c:pt idx="10446">
                  <c:v>1.7833862929239701</c:v>
                </c:pt>
                <c:pt idx="10447">
                  <c:v>1.89539603521176</c:v>
                </c:pt>
                <c:pt idx="10448">
                  <c:v>1.6589310237153201</c:v>
                </c:pt>
                <c:pt idx="10449">
                  <c:v>1.35194135966732</c:v>
                </c:pt>
                <c:pt idx="10450">
                  <c:v>1.5303272455330501</c:v>
                </c:pt>
                <c:pt idx="10451">
                  <c:v>1.3851294314563001</c:v>
                </c:pt>
                <c:pt idx="10452">
                  <c:v>1.4058719763244001</c:v>
                </c:pt>
                <c:pt idx="10453">
                  <c:v>1.87465349034365</c:v>
                </c:pt>
                <c:pt idx="10454">
                  <c:v>3.065275565773049</c:v>
                </c:pt>
                <c:pt idx="10455">
                  <c:v>2.31854395052116</c:v>
                </c:pt>
                <c:pt idx="10456">
                  <c:v>2.3309894774420301</c:v>
                </c:pt>
                <c:pt idx="10457">
                  <c:v>1.81657436471295</c:v>
                </c:pt>
                <c:pt idx="10458">
                  <c:v>1.9700691967369499</c:v>
                </c:pt>
                <c:pt idx="10459">
                  <c:v>2.08622744799835</c:v>
                </c:pt>
                <c:pt idx="10460">
                  <c:v>2.08622744799835</c:v>
                </c:pt>
                <c:pt idx="10461">
                  <c:v>2.0945244659455899</c:v>
                </c:pt>
                <c:pt idx="10462">
                  <c:v>2.4429992197298089</c:v>
                </c:pt>
                <c:pt idx="10463">
                  <c:v>2.1609006095235399</c:v>
                </c:pt>
                <c:pt idx="10464">
                  <c:v>2.0986729749192188</c:v>
                </c:pt>
                <c:pt idx="10465">
                  <c:v>2.0032572685259198</c:v>
                </c:pt>
                <c:pt idx="10466">
                  <c:v>2.04474235826213</c:v>
                </c:pt>
                <c:pt idx="10467">
                  <c:v>2.10696999286646</c:v>
                </c:pt>
                <c:pt idx="10468">
                  <c:v>2.0613363941566201</c:v>
                </c:pt>
                <c:pt idx="10469">
                  <c:v>2.0779304300511101</c:v>
                </c:pt>
                <c:pt idx="10470">
                  <c:v>2.08622744799835</c:v>
                </c:pt>
                <c:pt idx="10471">
                  <c:v>2.1235640287609399</c:v>
                </c:pt>
                <c:pt idx="10472">
                  <c:v>2.202385699259759</c:v>
                </c:pt>
                <c:pt idx="10473">
                  <c:v>2.09037595697197</c:v>
                </c:pt>
                <c:pt idx="10474">
                  <c:v>2.2189797351542402</c:v>
                </c:pt>
                <c:pt idx="10475">
                  <c:v>2.27705886078494</c:v>
                </c:pt>
                <c:pt idx="10476">
                  <c:v>2.2106827172069998</c:v>
                </c:pt>
                <c:pt idx="10477">
                  <c:v>2.2687618428377001</c:v>
                </c:pt>
                <c:pt idx="10478">
                  <c:v>2.2397222800223502</c:v>
                </c:pt>
                <c:pt idx="10479">
                  <c:v>1.750198221135</c:v>
                </c:pt>
                <c:pt idx="10480">
                  <c:v>2.1733461364443998</c:v>
                </c:pt>
                <c:pt idx="10481">
                  <c:v>2.1650491184971599</c:v>
                </c:pt>
                <c:pt idx="10482">
                  <c:v>2.1650491184971599</c:v>
                </c:pt>
                <c:pt idx="10483">
                  <c:v>2.17749464541803</c:v>
                </c:pt>
                <c:pt idx="10484">
                  <c:v>2.1401580646554299</c:v>
                </c:pt>
                <c:pt idx="10485">
                  <c:v>2.1235640287609399</c:v>
                </c:pt>
                <c:pt idx="10486">
                  <c:v>1.83316840060743</c:v>
                </c:pt>
                <c:pt idx="10487">
                  <c:v>1.6962676044779199</c:v>
                </c:pt>
                <c:pt idx="10488">
                  <c:v>0.84582326488548598</c:v>
                </c:pt>
                <c:pt idx="10489">
                  <c:v>0.58446719954732396</c:v>
                </c:pt>
                <c:pt idx="10490">
                  <c:v>0.69232843286148604</c:v>
                </c:pt>
                <c:pt idx="10491">
                  <c:v>0.48490298418040501</c:v>
                </c:pt>
                <c:pt idx="10492">
                  <c:v>0.56787316365283802</c:v>
                </c:pt>
                <c:pt idx="10493">
                  <c:v>0.80018966617564802</c:v>
                </c:pt>
                <c:pt idx="10494">
                  <c:v>0.55542763673197304</c:v>
                </c:pt>
                <c:pt idx="10495">
                  <c:v>0.64254632517802701</c:v>
                </c:pt>
                <c:pt idx="10496">
                  <c:v>0.63010079825716203</c:v>
                </c:pt>
                <c:pt idx="10497">
                  <c:v>-1.7066601627810801E-2</c:v>
                </c:pt>
                <c:pt idx="10498">
                  <c:v>0.17791332013240499</c:v>
                </c:pt>
                <c:pt idx="10499">
                  <c:v>3.6759432402973299E-3</c:v>
                </c:pt>
                <c:pt idx="10500">
                  <c:v>9.0794631686351407E-2</c:v>
                </c:pt>
                <c:pt idx="10501">
                  <c:v>3.6864015029270301E-2</c:v>
                </c:pt>
                <c:pt idx="10502">
                  <c:v>5.7606559897378402E-2</c:v>
                </c:pt>
                <c:pt idx="10503">
                  <c:v>4.1012524002891897E-2</c:v>
                </c:pt>
                <c:pt idx="10504">
                  <c:v>4.9309541950135198E-2</c:v>
                </c:pt>
                <c:pt idx="10505">
                  <c:v>-0.129076343915595</c:v>
                </c:pt>
                <c:pt idx="10506">
                  <c:v>9.4943140659973002E-2</c:v>
                </c:pt>
                <c:pt idx="10507">
                  <c:v>-0.11248230802110799</c:v>
                </c:pt>
                <c:pt idx="10508">
                  <c:v>0.28577455344656699</c:v>
                </c:pt>
                <c:pt idx="10509">
                  <c:v>-0.13322485288921601</c:v>
                </c:pt>
                <c:pt idx="10510">
                  <c:v>3.6864015029270301E-2</c:v>
                </c:pt>
                <c:pt idx="10511">
                  <c:v>-0.216195032361649</c:v>
                </c:pt>
                <c:pt idx="10512">
                  <c:v>0.107388667580838</c:v>
                </c:pt>
                <c:pt idx="10513">
                  <c:v>-0.158115906730946</c:v>
                </c:pt>
                <c:pt idx="10514">
                  <c:v>9.9091649633594597E-2</c:v>
                </c:pt>
                <c:pt idx="10515">
                  <c:v>-0.35724433746478401</c:v>
                </c:pt>
                <c:pt idx="10516">
                  <c:v>-0.47755109769981102</c:v>
                </c:pt>
                <c:pt idx="10517">
                  <c:v>-0.40287793617462098</c:v>
                </c:pt>
                <c:pt idx="10518">
                  <c:v>-0.21204652338802699</c:v>
                </c:pt>
                <c:pt idx="10519">
                  <c:v>0.66743737901975697</c:v>
                </c:pt>
                <c:pt idx="10520">
                  <c:v>0.65084334312527004</c:v>
                </c:pt>
                <c:pt idx="10521">
                  <c:v>0.38119025983986499</c:v>
                </c:pt>
                <c:pt idx="10522">
                  <c:v>0.19865586500051299</c:v>
                </c:pt>
                <c:pt idx="10523">
                  <c:v>0.51394254699575703</c:v>
                </c:pt>
                <c:pt idx="10524">
                  <c:v>0.54298210981110795</c:v>
                </c:pt>
                <c:pt idx="10525">
                  <c:v>0.327259643182784</c:v>
                </c:pt>
                <c:pt idx="10526">
                  <c:v>0.443417894444189</c:v>
                </c:pt>
                <c:pt idx="10527">
                  <c:v>0.37289324189262102</c:v>
                </c:pt>
                <c:pt idx="10528">
                  <c:v>0.385338768813486</c:v>
                </c:pt>
                <c:pt idx="10529">
                  <c:v>0.39778429573435098</c:v>
                </c:pt>
                <c:pt idx="10530">
                  <c:v>0.45171491239143202</c:v>
                </c:pt>
                <c:pt idx="10531">
                  <c:v>0.248437972683973</c:v>
                </c:pt>
                <c:pt idx="10532">
                  <c:v>0.48905149315402702</c:v>
                </c:pt>
                <c:pt idx="10533">
                  <c:v>0.33140815215640501</c:v>
                </c:pt>
                <c:pt idx="10534">
                  <c:v>1.1735554738015901</c:v>
                </c:pt>
                <c:pt idx="10535">
                  <c:v>0.97442704306775596</c:v>
                </c:pt>
                <c:pt idx="10536">
                  <c:v>0.85826879180635096</c:v>
                </c:pt>
                <c:pt idx="10537">
                  <c:v>0.99931809690948603</c:v>
                </c:pt>
                <c:pt idx="10538">
                  <c:v>0.47245745725954003</c:v>
                </c:pt>
                <c:pt idx="10539">
                  <c:v>1.3436443417200801</c:v>
                </c:pt>
                <c:pt idx="10540">
                  <c:v>1.28556521608938</c:v>
                </c:pt>
                <c:pt idx="10541">
                  <c:v>1.5676638262956499</c:v>
                </c:pt>
                <c:pt idx="10542">
                  <c:v>1.3436443417200801</c:v>
                </c:pt>
                <c:pt idx="10543">
                  <c:v>1.70871313139878</c:v>
                </c:pt>
                <c:pt idx="10544">
                  <c:v>1.6091489160318599</c:v>
                </c:pt>
                <c:pt idx="10545">
                  <c:v>1.64648549679446</c:v>
                </c:pt>
                <c:pt idx="10546">
                  <c:v>1.5593668083484</c:v>
                </c:pt>
                <c:pt idx="10547">
                  <c:v>1.81657436471295</c:v>
                </c:pt>
                <c:pt idx="10548">
                  <c:v>1.5469212814275399</c:v>
                </c:pt>
                <c:pt idx="10549">
                  <c:v>1.6506340057680799</c:v>
                </c:pt>
                <c:pt idx="10550">
                  <c:v>0.41022982265521601</c:v>
                </c:pt>
                <c:pt idx="10551">
                  <c:v>3.2395129426651601</c:v>
                </c:pt>
                <c:pt idx="10552">
                  <c:v>2.6047910697010499</c:v>
                </c:pt>
                <c:pt idx="10553">
                  <c:v>2.2314252620751098</c:v>
                </c:pt>
                <c:pt idx="10554">
                  <c:v>2.1982371902861302</c:v>
                </c:pt>
                <c:pt idx="10555">
                  <c:v>2.3226924594947791</c:v>
                </c:pt>
                <c:pt idx="10556">
                  <c:v>1.94517814289522</c:v>
                </c:pt>
                <c:pt idx="10557">
                  <c:v>1.9493266518688399</c:v>
                </c:pt>
                <c:pt idx="10558">
                  <c:v>2.1857916633652699</c:v>
                </c:pt>
                <c:pt idx="10559">
                  <c:v>1.9991087595523001</c:v>
                </c:pt>
                <c:pt idx="10560">
                  <c:v>2.1526035915763</c:v>
                </c:pt>
                <c:pt idx="10561">
                  <c:v>2.0737819210774902</c:v>
                </c:pt>
                <c:pt idx="10562">
                  <c:v>2.1691976274707798</c:v>
                </c:pt>
                <c:pt idx="10563">
                  <c:v>1.8829505082908899</c:v>
                </c:pt>
                <c:pt idx="10564">
                  <c:v>1.9991087595523001</c:v>
                </c:pt>
                <c:pt idx="10565">
                  <c:v>1.9617721787897</c:v>
                </c:pt>
                <c:pt idx="10566">
                  <c:v>1.9327326159743501</c:v>
                </c:pt>
                <c:pt idx="10567">
                  <c:v>1.92028708905349</c:v>
                </c:pt>
                <c:pt idx="10568">
                  <c:v>1.83316840060743</c:v>
                </c:pt>
                <c:pt idx="10569">
                  <c:v>1.9078415621326199</c:v>
                </c:pt>
                <c:pt idx="10570">
                  <c:v>1.98251472365781</c:v>
                </c:pt>
                <c:pt idx="10571">
                  <c:v>1.8041288377920801</c:v>
                </c:pt>
                <c:pt idx="10572">
                  <c:v>1.79168331087122</c:v>
                </c:pt>
                <c:pt idx="10573">
                  <c:v>1.6755250596098099</c:v>
                </c:pt>
                <c:pt idx="10574">
                  <c:v>1.47224811990235</c:v>
                </c:pt>
                <c:pt idx="10575">
                  <c:v>1.72530716729327</c:v>
                </c:pt>
                <c:pt idx="10576">
                  <c:v>1.5303272455330501</c:v>
                </c:pt>
                <c:pt idx="10577">
                  <c:v>1.8082773467657001</c:v>
                </c:pt>
                <c:pt idx="10578">
                  <c:v>1.8041288377920801</c:v>
                </c:pt>
                <c:pt idx="10579">
                  <c:v>1.7833862929239701</c:v>
                </c:pt>
                <c:pt idx="10580">
                  <c:v>1.6506340057680799</c:v>
                </c:pt>
                <c:pt idx="10581">
                  <c:v>1.72945567626689</c:v>
                </c:pt>
                <c:pt idx="10582">
                  <c:v>1.72530716729327</c:v>
                </c:pt>
                <c:pt idx="10583">
                  <c:v>1.7667922570294901</c:v>
                </c:pt>
                <c:pt idx="10584">
                  <c:v>0.77529861233391895</c:v>
                </c:pt>
                <c:pt idx="10585">
                  <c:v>0.60935825338905403</c:v>
                </c:pt>
                <c:pt idx="10586">
                  <c:v>0.46830894828591901</c:v>
                </c:pt>
                <c:pt idx="10587">
                  <c:v>0.46830894828591901</c:v>
                </c:pt>
                <c:pt idx="10588">
                  <c:v>0.59276421749456698</c:v>
                </c:pt>
                <c:pt idx="10589">
                  <c:v>0.77529861233391895</c:v>
                </c:pt>
                <c:pt idx="10590">
                  <c:v>0.675734396967</c:v>
                </c:pt>
                <c:pt idx="10591">
                  <c:v>0.75870457643943201</c:v>
                </c:pt>
                <c:pt idx="10592">
                  <c:v>0.72551650465045903</c:v>
                </c:pt>
                <c:pt idx="10593">
                  <c:v>0.12813121244894601</c:v>
                </c:pt>
                <c:pt idx="10594">
                  <c:v>0.107388667580838</c:v>
                </c:pt>
                <c:pt idx="10595">
                  <c:v>-4.7256573332428599E-4</c:v>
                </c:pt>
                <c:pt idx="10596">
                  <c:v>2.0269979134783799E-2</c:v>
                </c:pt>
                <c:pt idx="10597">
                  <c:v>-0.14152187083645901</c:v>
                </c:pt>
                <c:pt idx="10598">
                  <c:v>4.9309541950135198E-2</c:v>
                </c:pt>
                <c:pt idx="10599">
                  <c:v>2.8566997082027101E-2</c:v>
                </c:pt>
                <c:pt idx="10600">
                  <c:v>-0.124927834941973</c:v>
                </c:pt>
                <c:pt idx="10601">
                  <c:v>-0.149818888783703</c:v>
                </c:pt>
                <c:pt idx="10602">
                  <c:v>-8.7695836805675303E-3</c:v>
                </c:pt>
                <c:pt idx="10603">
                  <c:v>-5.0254673416783698E-2</c:v>
                </c:pt>
                <c:pt idx="10604">
                  <c:v>0.107388667580838</c:v>
                </c:pt>
                <c:pt idx="10605">
                  <c:v>4.9309541950135198E-2</c:v>
                </c:pt>
                <c:pt idx="10606">
                  <c:v>0.14887375731705399</c:v>
                </c:pt>
                <c:pt idx="10607">
                  <c:v>-8.7695836805675303E-3</c:v>
                </c:pt>
                <c:pt idx="10608">
                  <c:v>0.14057673936981099</c:v>
                </c:pt>
                <c:pt idx="10609">
                  <c:v>-7.5145727258513401E-2</c:v>
                </c:pt>
                <c:pt idx="10610">
                  <c:v>-5.44031823904053E-2</c:v>
                </c:pt>
                <c:pt idx="10611">
                  <c:v>-0.41532346309548601</c:v>
                </c:pt>
                <c:pt idx="10612">
                  <c:v>-0.26597714004510797</c:v>
                </c:pt>
                <c:pt idx="10613">
                  <c:v>-0.24108608620337801</c:v>
                </c:pt>
                <c:pt idx="10614">
                  <c:v>-0.23278906825613499</c:v>
                </c:pt>
                <c:pt idx="10615">
                  <c:v>0.62180378030991901</c:v>
                </c:pt>
                <c:pt idx="10616">
                  <c:v>0.47660596623316198</c:v>
                </c:pt>
                <c:pt idx="10617">
                  <c:v>0.47660596623316198</c:v>
                </c:pt>
                <c:pt idx="10618">
                  <c:v>0.219398409868622</c:v>
                </c:pt>
                <c:pt idx="10619">
                  <c:v>0.39778429573435098</c:v>
                </c:pt>
                <c:pt idx="10620">
                  <c:v>0.57617018160008104</c:v>
                </c:pt>
                <c:pt idx="10621">
                  <c:v>0.52223956494299995</c:v>
                </c:pt>
                <c:pt idx="10622">
                  <c:v>0.57202167262645898</c:v>
                </c:pt>
                <c:pt idx="10623">
                  <c:v>0.43512087649694597</c:v>
                </c:pt>
                <c:pt idx="10624">
                  <c:v>0.39363578676073002</c:v>
                </c:pt>
                <c:pt idx="10625">
                  <c:v>0.35215069702451302</c:v>
                </c:pt>
                <c:pt idx="10626">
                  <c:v>0.289923062420189</c:v>
                </c:pt>
                <c:pt idx="10627">
                  <c:v>0.39363578676073002</c:v>
                </c:pt>
                <c:pt idx="10628">
                  <c:v>0.43097236752332402</c:v>
                </c:pt>
                <c:pt idx="10629">
                  <c:v>0.49320000212764797</c:v>
                </c:pt>
                <c:pt idx="10630">
                  <c:v>0.89145686359532395</c:v>
                </c:pt>
                <c:pt idx="10631">
                  <c:v>0.67988290594062095</c:v>
                </c:pt>
                <c:pt idx="10632">
                  <c:v>0.63424930723078399</c:v>
                </c:pt>
                <c:pt idx="10633">
                  <c:v>0.98272406101499998</c:v>
                </c:pt>
                <c:pt idx="10634">
                  <c:v>0.98687256998862105</c:v>
                </c:pt>
                <c:pt idx="10635">
                  <c:v>1.22333758148505</c:v>
                </c:pt>
                <c:pt idx="10636">
                  <c:v>1.2731196891685099</c:v>
                </c:pt>
                <c:pt idx="10637">
                  <c:v>1.15696143790711</c:v>
                </c:pt>
                <c:pt idx="10638">
                  <c:v>1.5469212814275399</c:v>
                </c:pt>
                <c:pt idx="10639">
                  <c:v>1.5012876827177</c:v>
                </c:pt>
                <c:pt idx="10640">
                  <c:v>1.5469212814275399</c:v>
                </c:pt>
                <c:pt idx="10641">
                  <c:v>1.47224811990235</c:v>
                </c:pt>
                <c:pt idx="10642">
                  <c:v>1.4058719763244001</c:v>
                </c:pt>
                <c:pt idx="10643">
                  <c:v>1.5386242634803</c:v>
                </c:pt>
                <c:pt idx="10644">
                  <c:v>1.60085189808462</c:v>
                </c:pt>
                <c:pt idx="10645">
                  <c:v>1.4639511019551099</c:v>
                </c:pt>
                <c:pt idx="10646">
                  <c:v>1.4846936468232199</c:v>
                </c:pt>
                <c:pt idx="10647">
                  <c:v>1.47639662887597</c:v>
                </c:pt>
                <c:pt idx="10648">
                  <c:v>1.5593668083484</c:v>
                </c:pt>
                <c:pt idx="10649">
                  <c:v>1.9036930531589991</c:v>
                </c:pt>
                <c:pt idx="10650">
                  <c:v>3.2187703977970501</c:v>
                </c:pt>
                <c:pt idx="10651">
                  <c:v>2.5384149261231101</c:v>
                </c:pt>
                <c:pt idx="10652">
                  <c:v>2.2355737710487298</c:v>
                </c:pt>
                <c:pt idx="10653">
                  <c:v>2.1484550826026698</c:v>
                </c:pt>
                <c:pt idx="10654">
                  <c:v>2.4264051838353189</c:v>
                </c:pt>
                <c:pt idx="10655">
                  <c:v>2.08622744799835</c:v>
                </c:pt>
                <c:pt idx="10656">
                  <c:v>2.12771253773457</c:v>
                </c:pt>
                <c:pt idx="10657">
                  <c:v>2.1691976274707798</c:v>
                </c:pt>
                <c:pt idx="10658">
                  <c:v>2.1235640287609399</c:v>
                </c:pt>
                <c:pt idx="10659">
                  <c:v>2.0737819210774902</c:v>
                </c:pt>
                <c:pt idx="10660">
                  <c:v>2.1733461364443998</c:v>
                </c:pt>
                <c:pt idx="10661">
                  <c:v>2.13186104670819</c:v>
                </c:pt>
                <c:pt idx="10662">
                  <c:v>2.1484550826026698</c:v>
                </c:pt>
                <c:pt idx="10663">
                  <c:v>2.0779304300511101</c:v>
                </c:pt>
                <c:pt idx="10664">
                  <c:v>2.2189797351542402</c:v>
                </c:pt>
                <c:pt idx="10665">
                  <c:v>2.3143954415475401</c:v>
                </c:pt>
                <c:pt idx="10666">
                  <c:v>2.376623076151859</c:v>
                </c:pt>
                <c:pt idx="10667">
                  <c:v>2.3932171120463499</c:v>
                </c:pt>
                <c:pt idx="10668">
                  <c:v>1.93688112494797</c:v>
                </c:pt>
                <c:pt idx="10669">
                  <c:v>1.7792377839503499</c:v>
                </c:pt>
                <c:pt idx="10670">
                  <c:v>1.7170101493460299</c:v>
                </c:pt>
                <c:pt idx="10671">
                  <c:v>1.7377526942141299</c:v>
                </c:pt>
                <c:pt idx="10672">
                  <c:v>1.68382207755705</c:v>
                </c:pt>
                <c:pt idx="10673">
                  <c:v>1.6796735685834301</c:v>
                </c:pt>
                <c:pt idx="10674">
                  <c:v>1.60085189808462</c:v>
                </c:pt>
                <c:pt idx="10675">
                  <c:v>1.5884063711637599</c:v>
                </c:pt>
                <c:pt idx="10676">
                  <c:v>1.5967033891110001</c:v>
                </c:pt>
                <c:pt idx="10677">
                  <c:v>1.62159444295273</c:v>
                </c:pt>
                <c:pt idx="10678">
                  <c:v>1.5718123352692699</c:v>
                </c:pt>
                <c:pt idx="10679">
                  <c:v>1.4846936468232199</c:v>
                </c:pt>
                <c:pt idx="10680">
                  <c:v>0.833377737964621</c:v>
                </c:pt>
                <c:pt idx="10681">
                  <c:v>0.47660596623316198</c:v>
                </c:pt>
                <c:pt idx="10682">
                  <c:v>0.51394254699575703</c:v>
                </c:pt>
                <c:pt idx="10683">
                  <c:v>0.464160439312297</c:v>
                </c:pt>
                <c:pt idx="10684">
                  <c:v>0.51394254699575703</c:v>
                </c:pt>
                <c:pt idx="10685">
                  <c:v>0.42267534957608099</c:v>
                </c:pt>
                <c:pt idx="10686">
                  <c:v>0.56372465467921595</c:v>
                </c:pt>
                <c:pt idx="10687">
                  <c:v>0.41437833162883803</c:v>
                </c:pt>
                <c:pt idx="10688">
                  <c:v>0.55127912775835097</c:v>
                </c:pt>
                <c:pt idx="10689">
                  <c:v>1.19729611875406E-2</c:v>
                </c:pt>
                <c:pt idx="10690">
                  <c:v>0.25673499063121602</c:v>
                </c:pt>
                <c:pt idx="10691">
                  <c:v>-8.3442745205756702E-2</c:v>
                </c:pt>
                <c:pt idx="10692">
                  <c:v>0.11153717655445899</c:v>
                </c:pt>
                <c:pt idx="10693">
                  <c:v>0.11568568552808101</c:v>
                </c:pt>
                <c:pt idx="10694">
                  <c:v>0.11153717655445899</c:v>
                </c:pt>
                <c:pt idx="10695">
                  <c:v>0.12813121244894601</c:v>
                </c:pt>
                <c:pt idx="10696">
                  <c:v>0.119834194501703</c:v>
                </c:pt>
                <c:pt idx="10697">
                  <c:v>-0.178858451599054</c:v>
                </c:pt>
                <c:pt idx="10698">
                  <c:v>-4.19576554695405E-2</c:v>
                </c:pt>
                <c:pt idx="10699">
                  <c:v>-0.22449205030889199</c:v>
                </c:pt>
                <c:pt idx="10700">
                  <c:v>0.161319284237919</c:v>
                </c:pt>
                <c:pt idx="10701">
                  <c:v>-0.14567037981008099</c:v>
                </c:pt>
                <c:pt idx="10702">
                  <c:v>-2.95121285486756E-2</c:v>
                </c:pt>
                <c:pt idx="10703">
                  <c:v>-0.19960099646716201</c:v>
                </c:pt>
                <c:pt idx="10704">
                  <c:v>-0.16226441570456701</c:v>
                </c:pt>
                <c:pt idx="10705">
                  <c:v>3.6759432402973299E-3</c:v>
                </c:pt>
                <c:pt idx="10706">
                  <c:v>0.42267534957608099</c:v>
                </c:pt>
                <c:pt idx="10707">
                  <c:v>-0.120779325968351</c:v>
                </c:pt>
                <c:pt idx="10708">
                  <c:v>-0.22449205030889199</c:v>
                </c:pt>
                <c:pt idx="10709">
                  <c:v>-0.34065030157029702</c:v>
                </c:pt>
                <c:pt idx="10710">
                  <c:v>0.27332902652570301</c:v>
                </c:pt>
                <c:pt idx="10711">
                  <c:v>0.63839781620440506</c:v>
                </c:pt>
                <c:pt idx="10712">
                  <c:v>0.42682385854970301</c:v>
                </c:pt>
                <c:pt idx="10713">
                  <c:v>0.14057673936981099</c:v>
                </c:pt>
                <c:pt idx="10714">
                  <c:v>0.57202167262645898</c:v>
                </c:pt>
                <c:pt idx="10715">
                  <c:v>0.63010079825716203</c:v>
                </c:pt>
                <c:pt idx="10716">
                  <c:v>0.64669483415164797</c:v>
                </c:pt>
                <c:pt idx="10717">
                  <c:v>0.16546779321154101</c:v>
                </c:pt>
                <c:pt idx="10718">
                  <c:v>0.20695288294775699</c:v>
                </c:pt>
                <c:pt idx="10719">
                  <c:v>0.364596223945378</c:v>
                </c:pt>
                <c:pt idx="10720">
                  <c:v>0.53468509186386504</c:v>
                </c:pt>
                <c:pt idx="10721">
                  <c:v>0.42682385854970301</c:v>
                </c:pt>
                <c:pt idx="10722">
                  <c:v>0.28162604447294598</c:v>
                </c:pt>
                <c:pt idx="10723">
                  <c:v>0.219398409868622</c:v>
                </c:pt>
                <c:pt idx="10724">
                  <c:v>0.38948727778710801</c:v>
                </c:pt>
                <c:pt idx="10725">
                  <c:v>0.66743737901975697</c:v>
                </c:pt>
                <c:pt idx="10726">
                  <c:v>0.31896262523553998</c:v>
                </c:pt>
                <c:pt idx="10727">
                  <c:v>0.41852684060245898</c:v>
                </c:pt>
                <c:pt idx="10728">
                  <c:v>0.81678370207013495</c:v>
                </c:pt>
                <c:pt idx="10729">
                  <c:v>0.43926938547056699</c:v>
                </c:pt>
                <c:pt idx="10730">
                  <c:v>1.2772681981421301</c:v>
                </c:pt>
                <c:pt idx="10731">
                  <c:v>1.26482267122127</c:v>
                </c:pt>
                <c:pt idx="10732">
                  <c:v>1.3021592519838601</c:v>
                </c:pt>
                <c:pt idx="10733">
                  <c:v>1.1901495096960799</c:v>
                </c:pt>
                <c:pt idx="10734">
                  <c:v>1.43906004811338</c:v>
                </c:pt>
                <c:pt idx="10735">
                  <c:v>1.6340399698735899</c:v>
                </c:pt>
                <c:pt idx="10736">
                  <c:v>1.43491153913976</c:v>
                </c:pt>
                <c:pt idx="10737">
                  <c:v>1.3436443417200801</c:v>
                </c:pt>
                <c:pt idx="10738">
                  <c:v>1.2357831084059201</c:v>
                </c:pt>
                <c:pt idx="10739">
                  <c:v>1.3146047789047299</c:v>
                </c:pt>
                <c:pt idx="10740">
                  <c:v>1.136218893039</c:v>
                </c:pt>
                <c:pt idx="10741">
                  <c:v>1.30630776095749</c:v>
                </c:pt>
                <c:pt idx="10742">
                  <c:v>1.28556521608938</c:v>
                </c:pt>
                <c:pt idx="10743">
                  <c:v>1.17770398277522</c:v>
                </c:pt>
                <c:pt idx="10744">
                  <c:v>1.2108920545641899</c:v>
                </c:pt>
                <c:pt idx="10745">
                  <c:v>1.26897118019489</c:v>
                </c:pt>
                <c:pt idx="10746">
                  <c:v>2.7582859017250501</c:v>
                </c:pt>
                <c:pt idx="10747">
                  <c:v>2.5176723812550001</c:v>
                </c:pt>
                <c:pt idx="10748">
                  <c:v>1.92028708905349</c:v>
                </c:pt>
                <c:pt idx="10749">
                  <c:v>2.2895043877058101</c:v>
                </c:pt>
                <c:pt idx="10750">
                  <c:v>1.87880199931727</c:v>
                </c:pt>
                <c:pt idx="10751">
                  <c:v>1.95762366981608</c:v>
                </c:pt>
                <c:pt idx="10752">
                  <c:v>1.97836621468419</c:v>
                </c:pt>
                <c:pt idx="10753">
                  <c:v>1.9327326159743501</c:v>
                </c:pt>
                <c:pt idx="10754">
                  <c:v>2.0074057774995402</c:v>
                </c:pt>
                <c:pt idx="10755">
                  <c:v>1.91613858007986</c:v>
                </c:pt>
                <c:pt idx="10756">
                  <c:v>2.0488908672357602</c:v>
                </c:pt>
                <c:pt idx="10757">
                  <c:v>2.06963341210386</c:v>
                </c:pt>
                <c:pt idx="10758">
                  <c:v>1.8414654185546699</c:v>
                </c:pt>
                <c:pt idx="10759">
                  <c:v>1.8248713826601899</c:v>
                </c:pt>
                <c:pt idx="10760">
                  <c:v>1.8456139275282999</c:v>
                </c:pt>
                <c:pt idx="10761">
                  <c:v>1.98666323263143</c:v>
                </c:pt>
                <c:pt idx="10762">
                  <c:v>1.91613858007986</c:v>
                </c:pt>
                <c:pt idx="10763">
                  <c:v>1.8497624365019201</c:v>
                </c:pt>
                <c:pt idx="10764">
                  <c:v>1.9991087595523001</c:v>
                </c:pt>
                <c:pt idx="10765">
                  <c:v>1.9949602505786701</c:v>
                </c:pt>
                <c:pt idx="10766">
                  <c:v>1.7584952390822399</c:v>
                </c:pt>
                <c:pt idx="10767">
                  <c:v>1.7584952390822399</c:v>
                </c:pt>
                <c:pt idx="10768">
                  <c:v>2.0779304300511101</c:v>
                </c:pt>
                <c:pt idx="10769">
                  <c:v>2.12771253773457</c:v>
                </c:pt>
                <c:pt idx="10770">
                  <c:v>2.10696999286646</c:v>
                </c:pt>
                <c:pt idx="10771">
                  <c:v>1.8456139275282999</c:v>
                </c:pt>
                <c:pt idx="10772">
                  <c:v>1.92443559802711</c:v>
                </c:pt>
                <c:pt idx="10773">
                  <c:v>1.8870990172645099</c:v>
                </c:pt>
                <c:pt idx="10774">
                  <c:v>1.9119900711062401</c:v>
                </c:pt>
                <c:pt idx="10775">
                  <c:v>0.89145686359532395</c:v>
                </c:pt>
                <c:pt idx="10776">
                  <c:v>0.31066560728829701</c:v>
                </c:pt>
                <c:pt idx="10777">
                  <c:v>7.4200595791864901E-2</c:v>
                </c:pt>
                <c:pt idx="10778">
                  <c:v>0.202804373974135</c:v>
                </c:pt>
                <c:pt idx="10779">
                  <c:v>0.16961630218516199</c:v>
                </c:pt>
                <c:pt idx="10780">
                  <c:v>0.45586342136505398</c:v>
                </c:pt>
                <c:pt idx="10781">
                  <c:v>0.60935825338905403</c:v>
                </c:pt>
                <c:pt idx="10782">
                  <c:v>0.47660596623316198</c:v>
                </c:pt>
                <c:pt idx="10783">
                  <c:v>0.64254632517802701</c:v>
                </c:pt>
                <c:pt idx="10784">
                  <c:v>0.35215069702451302</c:v>
                </c:pt>
                <c:pt idx="10785">
                  <c:v>0.31066560728829701</c:v>
                </c:pt>
                <c:pt idx="10786">
                  <c:v>0.22769542781586499</c:v>
                </c:pt>
                <c:pt idx="10787">
                  <c:v>0.23599244576310799</c:v>
                </c:pt>
                <c:pt idx="10788">
                  <c:v>0.20695288294775699</c:v>
                </c:pt>
                <c:pt idx="10789">
                  <c:v>0.22354691884224301</c:v>
                </c:pt>
                <c:pt idx="10790">
                  <c:v>0.19035884705327</c:v>
                </c:pt>
                <c:pt idx="10791">
                  <c:v>0.231843936789486</c:v>
                </c:pt>
                <c:pt idx="10792">
                  <c:v>4.5161032976513499E-2</c:v>
                </c:pt>
                <c:pt idx="10793">
                  <c:v>-6.6848709311270196E-2</c:v>
                </c:pt>
                <c:pt idx="10794">
                  <c:v>0.153022266290676</c:v>
                </c:pt>
                <c:pt idx="10795">
                  <c:v>-3.7809146495918898E-2</c:v>
                </c:pt>
                <c:pt idx="10796">
                  <c:v>0.30236858934105398</c:v>
                </c:pt>
                <c:pt idx="10797">
                  <c:v>-0.18300696057267599</c:v>
                </c:pt>
                <c:pt idx="10798">
                  <c:v>0.16961630218516199</c:v>
                </c:pt>
                <c:pt idx="10799">
                  <c:v>-5.44031823904053E-2</c:v>
                </c:pt>
                <c:pt idx="10800">
                  <c:v>4.9309541950135198E-2</c:v>
                </c:pt>
                <c:pt idx="10801">
                  <c:v>-3.3660637522297199E-2</c:v>
                </c:pt>
                <c:pt idx="10802">
                  <c:v>-1.7066601627810801E-2</c:v>
                </c:pt>
                <c:pt idx="10803">
                  <c:v>-0.19960099646716201</c:v>
                </c:pt>
                <c:pt idx="10804">
                  <c:v>-0.11663081699473</c:v>
                </c:pt>
                <c:pt idx="10805">
                  <c:v>-0.236937577229757</c:v>
                </c:pt>
                <c:pt idx="10806">
                  <c:v>0.27747753549932402</c:v>
                </c:pt>
                <c:pt idx="10807">
                  <c:v>0.464160439312297</c:v>
                </c:pt>
                <c:pt idx="10808">
                  <c:v>-5.44031823904053E-2</c:v>
                </c:pt>
                <c:pt idx="10809">
                  <c:v>-2.95121285486756E-2</c:v>
                </c:pt>
                <c:pt idx="10810">
                  <c:v>4.5161032976513499E-2</c:v>
                </c:pt>
                <c:pt idx="10811">
                  <c:v>2.0269979134783799E-2</c:v>
                </c:pt>
                <c:pt idx="10812">
                  <c:v>-8.7695836805675303E-3</c:v>
                </c:pt>
                <c:pt idx="10813">
                  <c:v>-4.19576554695405E-2</c:v>
                </c:pt>
                <c:pt idx="10814">
                  <c:v>-2.1215110601432399E-2</c:v>
                </c:pt>
                <c:pt idx="10815">
                  <c:v>-8.7591254179378297E-2</c:v>
                </c:pt>
                <c:pt idx="10816">
                  <c:v>4.5161032976513499E-2</c:v>
                </c:pt>
                <c:pt idx="10817">
                  <c:v>-2.1215110601432399E-2</c:v>
                </c:pt>
                <c:pt idx="10818">
                  <c:v>-0.11248230802110799</c:v>
                </c:pt>
                <c:pt idx="10819">
                  <c:v>0.49734851110126999</c:v>
                </c:pt>
                <c:pt idx="10820">
                  <c:v>0.25258648165759501</c:v>
                </c:pt>
                <c:pt idx="10821">
                  <c:v>-6.2700200337648601E-2</c:v>
                </c:pt>
                <c:pt idx="10822">
                  <c:v>-3.3660637522297199E-2</c:v>
                </c:pt>
                <c:pt idx="10823">
                  <c:v>-8.7695836805675303E-3</c:v>
                </c:pt>
                <c:pt idx="10824">
                  <c:v>-4.62107470694591E-3</c:v>
                </c:pt>
                <c:pt idx="10825">
                  <c:v>0.61350676236267498</c:v>
                </c:pt>
                <c:pt idx="10826">
                  <c:v>0.50149702007489205</c:v>
                </c:pt>
                <c:pt idx="10827">
                  <c:v>0.464160439312297</c:v>
                </c:pt>
                <c:pt idx="10828">
                  <c:v>0.15717077526429701</c:v>
                </c:pt>
                <c:pt idx="10829">
                  <c:v>0.33555666113002702</c:v>
                </c:pt>
                <c:pt idx="10830">
                  <c:v>0.16961630218516199</c:v>
                </c:pt>
                <c:pt idx="10831">
                  <c:v>0.29407157139381102</c:v>
                </c:pt>
                <c:pt idx="10832">
                  <c:v>-0.14152187083645901</c:v>
                </c:pt>
                <c:pt idx="10833">
                  <c:v>0.327259643182784</c:v>
                </c:pt>
                <c:pt idx="10834">
                  <c:v>-0.129076343915595</c:v>
                </c:pt>
                <c:pt idx="10835">
                  <c:v>0.20695288294775699</c:v>
                </c:pt>
                <c:pt idx="10836">
                  <c:v>0.59691272646818905</c:v>
                </c:pt>
                <c:pt idx="10837">
                  <c:v>1.09473380330278</c:v>
                </c:pt>
                <c:pt idx="10838">
                  <c:v>0.44756640341781101</c:v>
                </c:pt>
                <c:pt idx="10839">
                  <c:v>0.89145686359532395</c:v>
                </c:pt>
                <c:pt idx="10840">
                  <c:v>0.69232843286148604</c:v>
                </c:pt>
                <c:pt idx="10841">
                  <c:v>1.05739722254019</c:v>
                </c:pt>
                <c:pt idx="10842">
                  <c:v>0.812635193096513</c:v>
                </c:pt>
                <c:pt idx="10843">
                  <c:v>0.74625904951856703</c:v>
                </c:pt>
                <c:pt idx="10844">
                  <c:v>1.1901495096960799</c:v>
                </c:pt>
                <c:pt idx="10845">
                  <c:v>1.3021592519838601</c:v>
                </c:pt>
                <c:pt idx="10846">
                  <c:v>0.98272406101499998</c:v>
                </c:pt>
                <c:pt idx="10847">
                  <c:v>1.0408031866456999</c:v>
                </c:pt>
                <c:pt idx="10848">
                  <c:v>0.99931809690948603</c:v>
                </c:pt>
                <c:pt idx="10849">
                  <c:v>1.0408031866456999</c:v>
                </c:pt>
                <c:pt idx="10850">
                  <c:v>0.99931809690948603</c:v>
                </c:pt>
                <c:pt idx="10851">
                  <c:v>1.0034666058831101</c:v>
                </c:pt>
                <c:pt idx="10852">
                  <c:v>1.15696143790711</c:v>
                </c:pt>
                <c:pt idx="10853">
                  <c:v>1.15696143790711</c:v>
                </c:pt>
                <c:pt idx="10854">
                  <c:v>1.19844652764332</c:v>
                </c:pt>
                <c:pt idx="10855">
                  <c:v>1.22748609045868</c:v>
                </c:pt>
                <c:pt idx="10856">
                  <c:v>1.136218893039</c:v>
                </c:pt>
                <c:pt idx="10857">
                  <c:v>1.3768324135090499</c:v>
                </c:pt>
                <c:pt idx="10858">
                  <c:v>1.4058719763244001</c:v>
                </c:pt>
                <c:pt idx="10859">
                  <c:v>1.5054361916913199</c:v>
                </c:pt>
                <c:pt idx="10860">
                  <c:v>1.26482267122127</c:v>
                </c:pt>
                <c:pt idx="10861">
                  <c:v>0.94123897127878298</c:v>
                </c:pt>
                <c:pt idx="10862">
                  <c:v>0.928793444357919</c:v>
                </c:pt>
                <c:pt idx="10863">
                  <c:v>0.92049642641067497</c:v>
                </c:pt>
                <c:pt idx="10864">
                  <c:v>1.1942980186697001</c:v>
                </c:pt>
                <c:pt idx="10865">
                  <c:v>1.2108920545641899</c:v>
                </c:pt>
                <c:pt idx="10866">
                  <c:v>0.75870457643943201</c:v>
                </c:pt>
                <c:pt idx="10867">
                  <c:v>0.91219940846343195</c:v>
                </c:pt>
                <c:pt idx="10868">
                  <c:v>1.0283576597248401</c:v>
                </c:pt>
                <c:pt idx="10869">
                  <c:v>0.63010079825716203</c:v>
                </c:pt>
                <c:pt idx="10870">
                  <c:v>0.67158588799337804</c:v>
                </c:pt>
                <c:pt idx="10871">
                  <c:v>0.65084334312527004</c:v>
                </c:pt>
                <c:pt idx="10872">
                  <c:v>0.38119025983986499</c:v>
                </c:pt>
                <c:pt idx="10873">
                  <c:v>0.385338768813486</c:v>
                </c:pt>
                <c:pt idx="10874">
                  <c:v>0.269180517552081</c:v>
                </c:pt>
                <c:pt idx="10875">
                  <c:v>0.41437833162883803</c:v>
                </c:pt>
                <c:pt idx="10876">
                  <c:v>0.182061829106027</c:v>
                </c:pt>
                <c:pt idx="10877">
                  <c:v>0.19035884705327</c:v>
                </c:pt>
                <c:pt idx="10878">
                  <c:v>0.211101391921378</c:v>
                </c:pt>
                <c:pt idx="10879">
                  <c:v>0.161319284237919</c:v>
                </c:pt>
                <c:pt idx="10880">
                  <c:v>0.19865586500051299</c:v>
                </c:pt>
                <c:pt idx="10881">
                  <c:v>0.17791332013240499</c:v>
                </c:pt>
                <c:pt idx="10882">
                  <c:v>-8.7695836805675303E-3</c:v>
                </c:pt>
                <c:pt idx="10883">
                  <c:v>0.16546779321154101</c:v>
                </c:pt>
                <c:pt idx="10884">
                  <c:v>0.123982703475324</c:v>
                </c:pt>
                <c:pt idx="10885">
                  <c:v>0.12813121244894601</c:v>
                </c:pt>
                <c:pt idx="10886">
                  <c:v>0.211101391921378</c:v>
                </c:pt>
                <c:pt idx="10887">
                  <c:v>1.61214701611622E-2</c:v>
                </c:pt>
                <c:pt idx="10888">
                  <c:v>9.9091649633594597E-2</c:v>
                </c:pt>
                <c:pt idx="10889">
                  <c:v>3.6864015029270301E-2</c:v>
                </c:pt>
                <c:pt idx="10890">
                  <c:v>-4.7256573332428599E-4</c:v>
                </c:pt>
                <c:pt idx="10891">
                  <c:v>-4.62107470694591E-3</c:v>
                </c:pt>
                <c:pt idx="10892">
                  <c:v>5.7606559897378402E-2</c:v>
                </c:pt>
                <c:pt idx="10893">
                  <c:v>7.8244522139189494E-3</c:v>
                </c:pt>
                <c:pt idx="10894">
                  <c:v>0.15717077526429701</c:v>
                </c:pt>
                <c:pt idx="10895">
                  <c:v>-4.19576554695405E-2</c:v>
                </c:pt>
                <c:pt idx="10896">
                  <c:v>0.219398409868622</c:v>
                </c:pt>
                <c:pt idx="10897">
                  <c:v>-0.245234595177</c:v>
                </c:pt>
                <c:pt idx="10898">
                  <c:v>-0.14567037981008099</c:v>
                </c:pt>
                <c:pt idx="10899">
                  <c:v>-0.28257117593959402</c:v>
                </c:pt>
                <c:pt idx="10900">
                  <c:v>-0.216195032361649</c:v>
                </c:pt>
                <c:pt idx="10901">
                  <c:v>0.202804373974135</c:v>
                </c:pt>
                <c:pt idx="10902">
                  <c:v>0.31066560728829701</c:v>
                </c:pt>
                <c:pt idx="10903">
                  <c:v>0.52223956494299995</c:v>
                </c:pt>
                <c:pt idx="10904">
                  <c:v>0.18621033807964901</c:v>
                </c:pt>
                <c:pt idx="10905">
                  <c:v>0.58446719954732396</c:v>
                </c:pt>
                <c:pt idx="10906">
                  <c:v>7.4200595791864901E-2</c:v>
                </c:pt>
                <c:pt idx="10907">
                  <c:v>2.8566997082027101E-2</c:v>
                </c:pt>
                <c:pt idx="10908">
                  <c:v>5.34580509237568E-2</c:v>
                </c:pt>
                <c:pt idx="10909">
                  <c:v>0.20695288294775699</c:v>
                </c:pt>
                <c:pt idx="10910">
                  <c:v>9.9091649633594597E-2</c:v>
                </c:pt>
                <c:pt idx="10911">
                  <c:v>6.59035778446216E-2</c:v>
                </c:pt>
                <c:pt idx="10912">
                  <c:v>-0.158115906730946</c:v>
                </c:pt>
                <c:pt idx="10913">
                  <c:v>-7.0997218284891805E-2</c:v>
                </c:pt>
                <c:pt idx="10914">
                  <c:v>-6.2700200337648601E-2</c:v>
                </c:pt>
                <c:pt idx="10915">
                  <c:v>-0.207898014414405</c:v>
                </c:pt>
                <c:pt idx="10916">
                  <c:v>-7.9294236232135107E-2</c:v>
                </c:pt>
                <c:pt idx="10917">
                  <c:v>-2.5363619575054001E-2</c:v>
                </c:pt>
                <c:pt idx="10918">
                  <c:v>3.6864015029270301E-2</c:v>
                </c:pt>
                <c:pt idx="10919">
                  <c:v>9.0794631686351407E-2</c:v>
                </c:pt>
                <c:pt idx="10920">
                  <c:v>0.306517098314676</c:v>
                </c:pt>
                <c:pt idx="10921">
                  <c:v>0.22354691884224301</c:v>
                </c:pt>
                <c:pt idx="10922">
                  <c:v>0.70062545080872896</c:v>
                </c:pt>
                <c:pt idx="10923">
                  <c:v>0.24428946371035101</c:v>
                </c:pt>
                <c:pt idx="10924">
                  <c:v>0.68403141491424302</c:v>
                </c:pt>
                <c:pt idx="10925">
                  <c:v>0.327259643182784</c:v>
                </c:pt>
                <c:pt idx="10926">
                  <c:v>0.70477395978235102</c:v>
                </c:pt>
                <c:pt idx="10927">
                  <c:v>0.29822008036743203</c:v>
                </c:pt>
                <c:pt idx="10928">
                  <c:v>0.53053658289024297</c:v>
                </c:pt>
                <c:pt idx="10929">
                  <c:v>0.64254632517802701</c:v>
                </c:pt>
                <c:pt idx="10930">
                  <c:v>0.53053658289024297</c:v>
                </c:pt>
                <c:pt idx="10931">
                  <c:v>0.19035884705327</c:v>
                </c:pt>
                <c:pt idx="10932">
                  <c:v>0.34385367907726999</c:v>
                </c:pt>
                <c:pt idx="10933">
                  <c:v>0.35215069702451302</c:v>
                </c:pt>
                <c:pt idx="10934">
                  <c:v>0.47660596623316198</c:v>
                </c:pt>
                <c:pt idx="10935">
                  <c:v>0.82093221104375602</c:v>
                </c:pt>
                <c:pt idx="10936">
                  <c:v>0.71307097772959405</c:v>
                </c:pt>
                <c:pt idx="10937">
                  <c:v>1.3353473237728399</c:v>
                </c:pt>
                <c:pt idx="10938">
                  <c:v>0.84167475591186403</c:v>
                </c:pt>
                <c:pt idx="10939">
                  <c:v>0.96613002512051305</c:v>
                </c:pt>
                <c:pt idx="10940">
                  <c:v>0.90390239051618904</c:v>
                </c:pt>
                <c:pt idx="10941">
                  <c:v>1.60085189808462</c:v>
                </c:pt>
                <c:pt idx="10942">
                  <c:v>1.22748609045868</c:v>
                </c:pt>
                <c:pt idx="10943">
                  <c:v>1.45565408400786</c:v>
                </c:pt>
                <c:pt idx="10944">
                  <c:v>1.47224811990235</c:v>
                </c:pt>
                <c:pt idx="10945">
                  <c:v>1.41831750324527</c:v>
                </c:pt>
                <c:pt idx="10946">
                  <c:v>1.6381884788472201</c:v>
                </c:pt>
                <c:pt idx="10947">
                  <c:v>1.68797058653067</c:v>
                </c:pt>
                <c:pt idx="10948">
                  <c:v>1.97836621468419</c:v>
                </c:pt>
                <c:pt idx="10949">
                  <c:v>1.5344757545066701</c:v>
                </c:pt>
                <c:pt idx="10950">
                  <c:v>1.52203022758581</c:v>
                </c:pt>
                <c:pt idx="10951">
                  <c:v>1.5884063711637599</c:v>
                </c:pt>
                <c:pt idx="10952">
                  <c:v>1.3353473237728399</c:v>
                </c:pt>
                <c:pt idx="10953">
                  <c:v>1.52203022758581</c:v>
                </c:pt>
                <c:pt idx="10954">
                  <c:v>1.03665467767208</c:v>
                </c:pt>
                <c:pt idx="10955">
                  <c:v>1.3436443417200801</c:v>
                </c:pt>
                <c:pt idx="10956">
                  <c:v>1.37268390453543</c:v>
                </c:pt>
                <c:pt idx="10957">
                  <c:v>1.35194135966732</c:v>
                </c:pt>
                <c:pt idx="10958">
                  <c:v>1.70871313139878</c:v>
                </c:pt>
                <c:pt idx="10959">
                  <c:v>1.45980259298149</c:v>
                </c:pt>
                <c:pt idx="10960">
                  <c:v>1.6506340057680799</c:v>
                </c:pt>
                <c:pt idx="10961">
                  <c:v>1.4888421557968401</c:v>
                </c:pt>
                <c:pt idx="10962">
                  <c:v>1.18600100072246</c:v>
                </c:pt>
                <c:pt idx="10963">
                  <c:v>1.5718123352692699</c:v>
                </c:pt>
                <c:pt idx="10964">
                  <c:v>1.52203022758581</c:v>
                </c:pt>
                <c:pt idx="10965">
                  <c:v>1.2108920545641899</c:v>
                </c:pt>
                <c:pt idx="10966">
                  <c:v>1.5967033891110001</c:v>
                </c:pt>
                <c:pt idx="10967">
                  <c:v>1.0034666058831101</c:v>
                </c:pt>
                <c:pt idx="10968">
                  <c:v>0.90390239051618904</c:v>
                </c:pt>
                <c:pt idx="10969">
                  <c:v>0.68817992388786497</c:v>
                </c:pt>
                <c:pt idx="10970">
                  <c:v>0.55127912775835097</c:v>
                </c:pt>
                <c:pt idx="10971">
                  <c:v>0.59691272646818905</c:v>
                </c:pt>
                <c:pt idx="10972">
                  <c:v>0.64669483415164797</c:v>
                </c:pt>
                <c:pt idx="10973">
                  <c:v>0.84582326488548598</c:v>
                </c:pt>
                <c:pt idx="10974">
                  <c:v>0.76285308541305397</c:v>
                </c:pt>
                <c:pt idx="10975">
                  <c:v>1.01176362383035</c:v>
                </c:pt>
                <c:pt idx="10976">
                  <c:v>-2.1215110601432399E-2</c:v>
                </c:pt>
                <c:pt idx="10977">
                  <c:v>-5.0254673416783698E-2</c:v>
                </c:pt>
                <c:pt idx="10978">
                  <c:v>-4.7256573332428599E-4</c:v>
                </c:pt>
                <c:pt idx="10979">
                  <c:v>-0.124927834941973</c:v>
                </c:pt>
                <c:pt idx="10980">
                  <c:v>0.19035884705327</c:v>
                </c:pt>
                <c:pt idx="10981">
                  <c:v>-0.207898014414405</c:v>
                </c:pt>
                <c:pt idx="10982">
                  <c:v>0.248437972683973</c:v>
                </c:pt>
                <c:pt idx="10983">
                  <c:v>0.306517098314676</c:v>
                </c:pt>
                <c:pt idx="10984">
                  <c:v>-2.1215110601432399E-2</c:v>
                </c:pt>
                <c:pt idx="10985">
                  <c:v>-0.14567037981008099</c:v>
                </c:pt>
                <c:pt idx="10986">
                  <c:v>-4.62107470694591E-3</c:v>
                </c:pt>
                <c:pt idx="10987">
                  <c:v>-0.17056143365181101</c:v>
                </c:pt>
                <c:pt idx="10988">
                  <c:v>-6.6848709311270196E-2</c:v>
                </c:pt>
                <c:pt idx="10989">
                  <c:v>-0.16641292467818899</c:v>
                </c:pt>
                <c:pt idx="10990">
                  <c:v>-4.19576554695405E-2</c:v>
                </c:pt>
                <c:pt idx="10991">
                  <c:v>-0.27842266696597301</c:v>
                </c:pt>
                <c:pt idx="10992">
                  <c:v>0.19035884705327</c:v>
                </c:pt>
                <c:pt idx="10993">
                  <c:v>-0.14152187083645901</c:v>
                </c:pt>
                <c:pt idx="10994">
                  <c:v>3.6864015029270301E-2</c:v>
                </c:pt>
                <c:pt idx="10995">
                  <c:v>-0.28257117593959402</c:v>
                </c:pt>
                <c:pt idx="10996">
                  <c:v>-0.16226441570456701</c:v>
                </c:pt>
                <c:pt idx="10997">
                  <c:v>0.28577455344656699</c:v>
                </c:pt>
                <c:pt idx="10998">
                  <c:v>1.1528129289334901</c:v>
                </c:pt>
                <c:pt idx="10999">
                  <c:v>0.54713061878472902</c:v>
                </c:pt>
                <c:pt idx="11000">
                  <c:v>0.696476941835108</c:v>
                </c:pt>
                <c:pt idx="11001">
                  <c:v>0.71307097772959405</c:v>
                </c:pt>
                <c:pt idx="11002">
                  <c:v>0.56372465467921595</c:v>
                </c:pt>
                <c:pt idx="11003">
                  <c:v>0.47660596623316198</c:v>
                </c:pt>
                <c:pt idx="11004">
                  <c:v>0.51394254699575703</c:v>
                </c:pt>
                <c:pt idx="11005">
                  <c:v>0.61765527133629705</c:v>
                </c:pt>
                <c:pt idx="11006">
                  <c:v>0.53883360083748599</c:v>
                </c:pt>
                <c:pt idx="11007">
                  <c:v>0.40193280470797299</c:v>
                </c:pt>
                <c:pt idx="11008">
                  <c:v>0.53468509186386504</c:v>
                </c:pt>
                <c:pt idx="11009">
                  <c:v>0.443417894444189</c:v>
                </c:pt>
                <c:pt idx="11010">
                  <c:v>0.55127912775835097</c:v>
                </c:pt>
                <c:pt idx="11011">
                  <c:v>0.26503200857845899</c:v>
                </c:pt>
                <c:pt idx="11012">
                  <c:v>0.40193280470797299</c:v>
                </c:pt>
                <c:pt idx="11013">
                  <c:v>0.88315984564808103</c:v>
                </c:pt>
                <c:pt idx="11014">
                  <c:v>0.95368449819964796</c:v>
                </c:pt>
                <c:pt idx="11015">
                  <c:v>0.55542763673197304</c:v>
                </c:pt>
                <c:pt idx="11016">
                  <c:v>0.59691272646818905</c:v>
                </c:pt>
                <c:pt idx="11017">
                  <c:v>1.62159444295273</c:v>
                </c:pt>
                <c:pt idx="11018">
                  <c:v>1.5552182993747801</c:v>
                </c:pt>
                <c:pt idx="11019">
                  <c:v>1.66307953268895</c:v>
                </c:pt>
                <c:pt idx="11020">
                  <c:v>1.8207228736865699</c:v>
                </c:pt>
                <c:pt idx="11021">
                  <c:v>1.68382207755705</c:v>
                </c:pt>
                <c:pt idx="11022">
                  <c:v>1.5137332096385701</c:v>
                </c:pt>
                <c:pt idx="11023">
                  <c:v>1.750198221135</c:v>
                </c:pt>
                <c:pt idx="11024">
                  <c:v>1.7584952390822399</c:v>
                </c:pt>
                <c:pt idx="11025">
                  <c:v>1.3394958327464599</c:v>
                </c:pt>
                <c:pt idx="11026">
                  <c:v>3.5133145349241901</c:v>
                </c:pt>
                <c:pt idx="11027">
                  <c:v>2.6960582671207289</c:v>
                </c:pt>
                <c:pt idx="11028">
                  <c:v>2.0488908672357602</c:v>
                </c:pt>
                <c:pt idx="11029">
                  <c:v>2.0032572685259198</c:v>
                </c:pt>
                <c:pt idx="11030">
                  <c:v>2.0198513044204001</c:v>
                </c:pt>
                <c:pt idx="11031">
                  <c:v>2.1857916633652699</c:v>
                </c:pt>
                <c:pt idx="11032">
                  <c:v>2.0281483223676502</c:v>
                </c:pt>
                <c:pt idx="11033">
                  <c:v>2.08622744799835</c:v>
                </c:pt>
                <c:pt idx="11034">
                  <c:v>2.0239998133940298</c:v>
                </c:pt>
                <c:pt idx="11035">
                  <c:v>2.10696999286646</c:v>
                </c:pt>
                <c:pt idx="11036">
                  <c:v>2.0488908672357602</c:v>
                </c:pt>
                <c:pt idx="11037">
                  <c:v>2.4637417645979198</c:v>
                </c:pt>
                <c:pt idx="11038">
                  <c:v>2.2521678069432198</c:v>
                </c:pt>
                <c:pt idx="11039">
                  <c:v>2.1940886813125098</c:v>
                </c:pt>
                <c:pt idx="11040">
                  <c:v>2.17749464541803</c:v>
                </c:pt>
                <c:pt idx="11041">
                  <c:v>2.2189797351542402</c:v>
                </c:pt>
                <c:pt idx="11042">
                  <c:v>2.13186104670819</c:v>
                </c:pt>
                <c:pt idx="11043">
                  <c:v>2.2148312261806198</c:v>
                </c:pt>
                <c:pt idx="11044">
                  <c:v>2.08622744799835</c:v>
                </c:pt>
                <c:pt idx="11045">
                  <c:v>2.1609006095235399</c:v>
                </c:pt>
                <c:pt idx="11046">
                  <c:v>2.0820789390247292</c:v>
                </c:pt>
                <c:pt idx="11047">
                  <c:v>2.2314252620751098</c:v>
                </c:pt>
                <c:pt idx="11048">
                  <c:v>2.2106827172069998</c:v>
                </c:pt>
                <c:pt idx="11049">
                  <c:v>2.2231282441278601</c:v>
                </c:pt>
                <c:pt idx="11050">
                  <c:v>2.2272767531014899</c:v>
                </c:pt>
                <c:pt idx="11051">
                  <c:v>2.1443065736290499</c:v>
                </c:pt>
                <c:pt idx="11052">
                  <c:v>2.1401580646554299</c:v>
                </c:pt>
                <c:pt idx="11053">
                  <c:v>2.1526035915763</c:v>
                </c:pt>
                <c:pt idx="11054">
                  <c:v>2.2106827172069998</c:v>
                </c:pt>
                <c:pt idx="11055">
                  <c:v>2.2729103518113201</c:v>
                </c:pt>
                <c:pt idx="11056">
                  <c:v>2.3351379864156501</c:v>
                </c:pt>
                <c:pt idx="11057">
                  <c:v>2.3143954415475401</c:v>
                </c:pt>
                <c:pt idx="11058">
                  <c:v>2.4222566748616989</c:v>
                </c:pt>
                <c:pt idx="11059">
                  <c:v>2.181643154391649</c:v>
                </c:pt>
                <c:pt idx="11060">
                  <c:v>2.11111850184008</c:v>
                </c:pt>
                <c:pt idx="11061">
                  <c:v>2.2065342082333799</c:v>
                </c:pt>
                <c:pt idx="11062">
                  <c:v>1.87465349034365</c:v>
                </c:pt>
                <c:pt idx="11063">
                  <c:v>0.98272406101499998</c:v>
                </c:pt>
                <c:pt idx="11064">
                  <c:v>0.65084334312527004</c:v>
                </c:pt>
                <c:pt idx="11065">
                  <c:v>0.69232843286148604</c:v>
                </c:pt>
                <c:pt idx="11066">
                  <c:v>0.675734396967</c:v>
                </c:pt>
                <c:pt idx="11067">
                  <c:v>0.67988290594062095</c:v>
                </c:pt>
                <c:pt idx="11068">
                  <c:v>0.580318690573702</c:v>
                </c:pt>
                <c:pt idx="11069">
                  <c:v>0.65499185209889199</c:v>
                </c:pt>
                <c:pt idx="11070">
                  <c:v>0.82093221104375602</c:v>
                </c:pt>
                <c:pt idx="11071">
                  <c:v>0.55542763673197304</c:v>
                </c:pt>
                <c:pt idx="11072">
                  <c:v>0.15717077526429701</c:v>
                </c:pt>
                <c:pt idx="11073">
                  <c:v>-4.6106164443162102E-2</c:v>
                </c:pt>
                <c:pt idx="11074">
                  <c:v>5.34580509237568E-2</c:v>
                </c:pt>
                <c:pt idx="11075">
                  <c:v>-0.11663081699473</c:v>
                </c:pt>
                <c:pt idx="11076">
                  <c:v>2.8566997082027101E-2</c:v>
                </c:pt>
                <c:pt idx="11077">
                  <c:v>-0.158115906730946</c:v>
                </c:pt>
                <c:pt idx="11078">
                  <c:v>-4.6106164443162102E-2</c:v>
                </c:pt>
                <c:pt idx="11079">
                  <c:v>-9.1739763152999906E-2</c:v>
                </c:pt>
                <c:pt idx="11080">
                  <c:v>6.59035778446216E-2</c:v>
                </c:pt>
                <c:pt idx="11081">
                  <c:v>-0.100036781100243</c:v>
                </c:pt>
                <c:pt idx="11082">
                  <c:v>7.0052086818243306E-2</c:v>
                </c:pt>
                <c:pt idx="11083">
                  <c:v>-0.11663081699473</c:v>
                </c:pt>
                <c:pt idx="11084">
                  <c:v>0.202804373974135</c:v>
                </c:pt>
                <c:pt idx="11085">
                  <c:v>-0.22034354133527001</c:v>
                </c:pt>
                <c:pt idx="11086">
                  <c:v>-0.15396739775732399</c:v>
                </c:pt>
                <c:pt idx="11087">
                  <c:v>-0.236937577229757</c:v>
                </c:pt>
                <c:pt idx="11088">
                  <c:v>0.15717077526429701</c:v>
                </c:pt>
                <c:pt idx="11089">
                  <c:v>-0.19130397851991901</c:v>
                </c:pt>
                <c:pt idx="11090">
                  <c:v>2.4418488108405401E-2</c:v>
                </c:pt>
                <c:pt idx="11091">
                  <c:v>-0.33650179259667501</c:v>
                </c:pt>
                <c:pt idx="11092">
                  <c:v>-7.0997218284891805E-2</c:v>
                </c:pt>
                <c:pt idx="11093">
                  <c:v>-4.6106164443162102E-2</c:v>
                </c:pt>
                <c:pt idx="11094">
                  <c:v>1.2523771443003999</c:v>
                </c:pt>
                <c:pt idx="11095">
                  <c:v>0.42267534957608099</c:v>
                </c:pt>
                <c:pt idx="11096">
                  <c:v>0.70477395978235102</c:v>
                </c:pt>
                <c:pt idx="11097">
                  <c:v>0.18621033807964901</c:v>
                </c:pt>
                <c:pt idx="11098">
                  <c:v>0.812635193096513</c:v>
                </c:pt>
                <c:pt idx="11099">
                  <c:v>0.49734851110126999</c:v>
                </c:pt>
                <c:pt idx="11100">
                  <c:v>0.70477395978235102</c:v>
                </c:pt>
                <c:pt idx="11101">
                  <c:v>0.39778429573435098</c:v>
                </c:pt>
                <c:pt idx="11102">
                  <c:v>0.56372465467921595</c:v>
                </c:pt>
                <c:pt idx="11103">
                  <c:v>0.348002188050892</c:v>
                </c:pt>
                <c:pt idx="11104">
                  <c:v>0.406081313681594</c:v>
                </c:pt>
                <c:pt idx="11105">
                  <c:v>0.33140815215640501</c:v>
                </c:pt>
                <c:pt idx="11106">
                  <c:v>0.45586342136505398</c:v>
                </c:pt>
                <c:pt idx="11107">
                  <c:v>0.17791332013240499</c:v>
                </c:pt>
                <c:pt idx="11108">
                  <c:v>0.70062545080872896</c:v>
                </c:pt>
                <c:pt idx="11109">
                  <c:v>0.74211054054494596</c:v>
                </c:pt>
                <c:pt idx="11110">
                  <c:v>0.47245745725954003</c:v>
                </c:pt>
                <c:pt idx="11111">
                  <c:v>0.48905149315402702</c:v>
                </c:pt>
                <c:pt idx="11112">
                  <c:v>0.59691272646818905</c:v>
                </c:pt>
                <c:pt idx="11113">
                  <c:v>1.38927794042992</c:v>
                </c:pt>
                <c:pt idx="11114">
                  <c:v>1.26482267122127</c:v>
                </c:pt>
                <c:pt idx="11115">
                  <c:v>1.41831750324527</c:v>
                </c:pt>
                <c:pt idx="11116">
                  <c:v>1.2523771443003999</c:v>
                </c:pt>
                <c:pt idx="11117">
                  <c:v>1.5095847006649501</c:v>
                </c:pt>
                <c:pt idx="11118">
                  <c:v>1.6174459339791101</c:v>
                </c:pt>
                <c:pt idx="11119">
                  <c:v>1.64648549679446</c:v>
                </c:pt>
                <c:pt idx="11120">
                  <c:v>1.70871313139878</c:v>
                </c:pt>
                <c:pt idx="11121">
                  <c:v>1.83316840060743</c:v>
                </c:pt>
                <c:pt idx="11122">
                  <c:v>1.6174459339791101</c:v>
                </c:pt>
                <c:pt idx="11123">
                  <c:v>1.7004161134515401</c:v>
                </c:pt>
                <c:pt idx="11124">
                  <c:v>1.2523771443003999</c:v>
                </c:pt>
                <c:pt idx="11125">
                  <c:v>1.2731196891685099</c:v>
                </c:pt>
                <c:pt idx="11126">
                  <c:v>1.065694240487429</c:v>
                </c:pt>
                <c:pt idx="11127">
                  <c:v>3.2229189067706701</c:v>
                </c:pt>
                <c:pt idx="11128">
                  <c:v>2.559157470991209</c:v>
                </c:pt>
                <c:pt idx="11129">
                  <c:v>2.2729103518113201</c:v>
                </c:pt>
                <c:pt idx="11130">
                  <c:v>1.6340399698735899</c:v>
                </c:pt>
                <c:pt idx="11131">
                  <c:v>1.92443559802711</c:v>
                </c:pt>
                <c:pt idx="11132">
                  <c:v>2.04474235826213</c:v>
                </c:pt>
                <c:pt idx="11133">
                  <c:v>1.9493266518688399</c:v>
                </c:pt>
                <c:pt idx="11134">
                  <c:v>1.9036930531589991</c:v>
                </c:pt>
                <c:pt idx="11135">
                  <c:v>1.95762366981608</c:v>
                </c:pt>
                <c:pt idx="11136">
                  <c:v>1.87880199931727</c:v>
                </c:pt>
                <c:pt idx="11137">
                  <c:v>2.0115542864731601</c:v>
                </c:pt>
                <c:pt idx="11138">
                  <c:v>1.8082773467657001</c:v>
                </c:pt>
                <c:pt idx="11139">
                  <c:v>1.92443559802711</c:v>
                </c:pt>
                <c:pt idx="11140">
                  <c:v>1.9659206877633191</c:v>
                </c:pt>
                <c:pt idx="11141">
                  <c:v>1.9493266518688399</c:v>
                </c:pt>
                <c:pt idx="11142">
                  <c:v>1.92443559802711</c:v>
                </c:pt>
                <c:pt idx="11143">
                  <c:v>1.9119900711062401</c:v>
                </c:pt>
                <c:pt idx="11144">
                  <c:v>1.9617721787897</c:v>
                </c:pt>
                <c:pt idx="11145">
                  <c:v>1.94102963392159</c:v>
                </c:pt>
                <c:pt idx="11146">
                  <c:v>1.95762366981608</c:v>
                </c:pt>
                <c:pt idx="11147">
                  <c:v>1.89954454418538</c:v>
                </c:pt>
                <c:pt idx="11148">
                  <c:v>1.9700691967369499</c:v>
                </c:pt>
                <c:pt idx="11149">
                  <c:v>1.8497624365019201</c:v>
                </c:pt>
                <c:pt idx="11150">
                  <c:v>1.8829505082908899</c:v>
                </c:pt>
                <c:pt idx="11151">
                  <c:v>1.8497624365019201</c:v>
                </c:pt>
                <c:pt idx="11152">
                  <c:v>1.7833862929239701</c:v>
                </c:pt>
                <c:pt idx="11153">
                  <c:v>1.87465349034365</c:v>
                </c:pt>
                <c:pt idx="11154">
                  <c:v>1.94517814289522</c:v>
                </c:pt>
                <c:pt idx="11155">
                  <c:v>1.9493266518688399</c:v>
                </c:pt>
                <c:pt idx="11156">
                  <c:v>1.8497624365019201</c:v>
                </c:pt>
                <c:pt idx="11157">
                  <c:v>1.81657436471295</c:v>
                </c:pt>
                <c:pt idx="11158">
                  <c:v>1.81657436471295</c:v>
                </c:pt>
                <c:pt idx="11159">
                  <c:v>0.63010079825716203</c:v>
                </c:pt>
                <c:pt idx="11160">
                  <c:v>0.55542763673197304</c:v>
                </c:pt>
                <c:pt idx="11161">
                  <c:v>0.63839781620440506</c:v>
                </c:pt>
                <c:pt idx="11162">
                  <c:v>0.60935825338905403</c:v>
                </c:pt>
                <c:pt idx="11163">
                  <c:v>0.67158588799337804</c:v>
                </c:pt>
                <c:pt idx="11164">
                  <c:v>0.73796203157132401</c:v>
                </c:pt>
                <c:pt idx="11165">
                  <c:v>0.69232843286148604</c:v>
                </c:pt>
                <c:pt idx="11166">
                  <c:v>0.64669483415164797</c:v>
                </c:pt>
                <c:pt idx="11167">
                  <c:v>0.67988290594062095</c:v>
                </c:pt>
                <c:pt idx="11168">
                  <c:v>5.34580509237568E-2</c:v>
                </c:pt>
                <c:pt idx="11169">
                  <c:v>7.0052086818243306E-2</c:v>
                </c:pt>
                <c:pt idx="11170">
                  <c:v>-2.95121285486756E-2</c:v>
                </c:pt>
                <c:pt idx="11171">
                  <c:v>-3.3660637522297199E-2</c:v>
                </c:pt>
                <c:pt idx="11172">
                  <c:v>7.8244522139189494E-3</c:v>
                </c:pt>
                <c:pt idx="11173">
                  <c:v>-0.108333799047486</c:v>
                </c:pt>
                <c:pt idx="11174">
                  <c:v>-1.7066601627810801E-2</c:v>
                </c:pt>
                <c:pt idx="11175">
                  <c:v>0.22354691884224301</c:v>
                </c:pt>
                <c:pt idx="11176">
                  <c:v>-0.207898014414405</c:v>
                </c:pt>
                <c:pt idx="11177">
                  <c:v>-5.8551691364026999E-2</c:v>
                </c:pt>
                <c:pt idx="11178">
                  <c:v>-0.245234595177</c:v>
                </c:pt>
                <c:pt idx="11179">
                  <c:v>8.2497613739108105E-2</c:v>
                </c:pt>
                <c:pt idx="11180">
                  <c:v>-0.34479881054391898</c:v>
                </c:pt>
                <c:pt idx="11181">
                  <c:v>-0.34479881054391898</c:v>
                </c:pt>
                <c:pt idx="11182">
                  <c:v>-0.38628390028013498</c:v>
                </c:pt>
                <c:pt idx="11183">
                  <c:v>-0.36554135541202698</c:v>
                </c:pt>
                <c:pt idx="11184">
                  <c:v>-0.34894731951753999</c:v>
                </c:pt>
                <c:pt idx="11185">
                  <c:v>-0.37383837335927</c:v>
                </c:pt>
                <c:pt idx="11186">
                  <c:v>-0.32820477464943199</c:v>
                </c:pt>
                <c:pt idx="11187">
                  <c:v>-0.332353283623054</c:v>
                </c:pt>
                <c:pt idx="11188">
                  <c:v>-0.34479881054391898</c:v>
                </c:pt>
                <c:pt idx="11189">
                  <c:v>-0.19130397851991901</c:v>
                </c:pt>
                <c:pt idx="11190">
                  <c:v>1.1113278391972701</c:v>
                </c:pt>
                <c:pt idx="11191">
                  <c:v>0.29822008036743203</c:v>
                </c:pt>
                <c:pt idx="11192">
                  <c:v>0.43512087649694597</c:v>
                </c:pt>
                <c:pt idx="11193">
                  <c:v>6.59035778446216E-2</c:v>
                </c:pt>
                <c:pt idx="11194">
                  <c:v>0.63010079825716203</c:v>
                </c:pt>
                <c:pt idx="11195">
                  <c:v>0.58446719954732396</c:v>
                </c:pt>
                <c:pt idx="11196">
                  <c:v>0.38119025983986499</c:v>
                </c:pt>
                <c:pt idx="11197">
                  <c:v>0.53053658289024297</c:v>
                </c:pt>
                <c:pt idx="11198">
                  <c:v>0.35215069702451302</c:v>
                </c:pt>
                <c:pt idx="11199">
                  <c:v>0.46001193033867499</c:v>
                </c:pt>
                <c:pt idx="11200">
                  <c:v>0.50979403802213497</c:v>
                </c:pt>
                <c:pt idx="11201">
                  <c:v>0.58446719954732396</c:v>
                </c:pt>
                <c:pt idx="11202">
                  <c:v>0.231843936789486</c:v>
                </c:pt>
                <c:pt idx="11203">
                  <c:v>0.31481411626191902</c:v>
                </c:pt>
                <c:pt idx="11204">
                  <c:v>0.11568568552808101</c:v>
                </c:pt>
                <c:pt idx="11205">
                  <c:v>0.79189264822840499</c:v>
                </c:pt>
                <c:pt idx="11206">
                  <c:v>0.94123897127878298</c:v>
                </c:pt>
                <c:pt idx="11207">
                  <c:v>0.52223956494299995</c:v>
                </c:pt>
                <c:pt idx="11208">
                  <c:v>0.57617018160008104</c:v>
                </c:pt>
                <c:pt idx="11209">
                  <c:v>1.1237733661181299</c:v>
                </c:pt>
                <c:pt idx="11210">
                  <c:v>1.18185249174884</c:v>
                </c:pt>
                <c:pt idx="11211">
                  <c:v>1.0781397674083</c:v>
                </c:pt>
                <c:pt idx="11212">
                  <c:v>1.2316345994322999</c:v>
                </c:pt>
                <c:pt idx="11213">
                  <c:v>1.8622079634227799</c:v>
                </c:pt>
                <c:pt idx="11214">
                  <c:v>1.43076303016613</c:v>
                </c:pt>
                <c:pt idx="11215">
                  <c:v>1.58010935321651</c:v>
                </c:pt>
                <c:pt idx="11216">
                  <c:v>1.7170101493460299</c:v>
                </c:pt>
                <c:pt idx="11217">
                  <c:v>1.5552182993747801</c:v>
                </c:pt>
                <c:pt idx="11218">
                  <c:v>1.4680996109287301</c:v>
                </c:pt>
                <c:pt idx="11219">
                  <c:v>1.8082773467657001</c:v>
                </c:pt>
                <c:pt idx="11220">
                  <c:v>1.75434673010862</c:v>
                </c:pt>
                <c:pt idx="11221">
                  <c:v>1.9285841070007299</c:v>
                </c:pt>
                <c:pt idx="11222">
                  <c:v>1.4266145211925101</c:v>
                </c:pt>
                <c:pt idx="11223">
                  <c:v>1.43906004811338</c:v>
                </c:pt>
                <c:pt idx="11224">
                  <c:v>2.5633059799648401</c:v>
                </c:pt>
                <c:pt idx="11225">
                  <c:v>2.7168008119888389</c:v>
                </c:pt>
                <c:pt idx="11226">
                  <c:v>2.0779304300511101</c:v>
                </c:pt>
                <c:pt idx="11227">
                  <c:v>1.6962676044779199</c:v>
                </c:pt>
                <c:pt idx="11228">
                  <c:v>1.8082773467657001</c:v>
                </c:pt>
                <c:pt idx="11229">
                  <c:v>1.8497624365019201</c:v>
                </c:pt>
                <c:pt idx="11230">
                  <c:v>1.68382207755705</c:v>
                </c:pt>
                <c:pt idx="11231">
                  <c:v>1.60085189808462</c:v>
                </c:pt>
                <c:pt idx="11232">
                  <c:v>1.70871313139878</c:v>
                </c:pt>
                <c:pt idx="11233">
                  <c:v>1.66307953268895</c:v>
                </c:pt>
                <c:pt idx="11234">
                  <c:v>1.85391094547554</c:v>
                </c:pt>
                <c:pt idx="11235">
                  <c:v>1.92443559802711</c:v>
                </c:pt>
                <c:pt idx="11236">
                  <c:v>1.9534751608424601</c:v>
                </c:pt>
                <c:pt idx="11237">
                  <c:v>1.64648549679446</c:v>
                </c:pt>
                <c:pt idx="11238">
                  <c:v>1.7004161134515401</c:v>
                </c:pt>
                <c:pt idx="11239">
                  <c:v>1.77094076600311</c:v>
                </c:pt>
                <c:pt idx="11240">
                  <c:v>1.750198221135</c:v>
                </c:pt>
                <c:pt idx="11241">
                  <c:v>1.72945567626689</c:v>
                </c:pt>
                <c:pt idx="11242">
                  <c:v>1.7833862929239701</c:v>
                </c:pt>
                <c:pt idx="11243">
                  <c:v>1.8290198916338101</c:v>
                </c:pt>
                <c:pt idx="11244">
                  <c:v>1.95762366981608</c:v>
                </c:pt>
                <c:pt idx="11245">
                  <c:v>1.98251472365781</c:v>
                </c:pt>
                <c:pt idx="11246">
                  <c:v>1.94102963392159</c:v>
                </c:pt>
                <c:pt idx="11247">
                  <c:v>1.6091489160318599</c:v>
                </c:pt>
                <c:pt idx="11248">
                  <c:v>1.64233698782084</c:v>
                </c:pt>
                <c:pt idx="11249">
                  <c:v>1.54277277245392</c:v>
                </c:pt>
                <c:pt idx="11250">
                  <c:v>1.8663564723963999</c:v>
                </c:pt>
                <c:pt idx="11251">
                  <c:v>1.7875348018975901</c:v>
                </c:pt>
                <c:pt idx="11252">
                  <c:v>1.2731196891685099</c:v>
                </c:pt>
                <c:pt idx="11253">
                  <c:v>1.2980107430102401</c:v>
                </c:pt>
                <c:pt idx="11254">
                  <c:v>1.0781397674083</c:v>
                </c:pt>
                <c:pt idx="11255">
                  <c:v>0.62595228928353996</c:v>
                </c:pt>
                <c:pt idx="11256">
                  <c:v>0.38948727778710801</c:v>
                </c:pt>
                <c:pt idx="11257">
                  <c:v>0.62180378030991901</c:v>
                </c:pt>
                <c:pt idx="11258">
                  <c:v>0.34385367907726999</c:v>
                </c:pt>
                <c:pt idx="11259">
                  <c:v>0.42267534957608099</c:v>
                </c:pt>
                <c:pt idx="11260">
                  <c:v>0.36044771497175698</c:v>
                </c:pt>
                <c:pt idx="11261">
                  <c:v>0.45171491239143202</c:v>
                </c:pt>
                <c:pt idx="11262">
                  <c:v>0.41437833162883803</c:v>
                </c:pt>
                <c:pt idx="11263">
                  <c:v>0.48905149315402702</c:v>
                </c:pt>
                <c:pt idx="11264">
                  <c:v>-4.62107470694591E-3</c:v>
                </c:pt>
                <c:pt idx="11265">
                  <c:v>0.13642823039618901</c:v>
                </c:pt>
                <c:pt idx="11266">
                  <c:v>4.9309541950135198E-2</c:v>
                </c:pt>
                <c:pt idx="11267">
                  <c:v>1.61214701611622E-2</c:v>
                </c:pt>
                <c:pt idx="11268">
                  <c:v>3.6864015029270301E-2</c:v>
                </c:pt>
                <c:pt idx="11269">
                  <c:v>-5.8551691364026999E-2</c:v>
                </c:pt>
                <c:pt idx="11270">
                  <c:v>7.8244522139189494E-3</c:v>
                </c:pt>
                <c:pt idx="11271">
                  <c:v>2.0269979134783799E-2</c:v>
                </c:pt>
                <c:pt idx="11272">
                  <c:v>-0.21204652338802699</c:v>
                </c:pt>
                <c:pt idx="11273">
                  <c:v>-8.3442745205756702E-2</c:v>
                </c:pt>
                <c:pt idx="11274">
                  <c:v>-0.14152187083645901</c:v>
                </c:pt>
                <c:pt idx="11275">
                  <c:v>-0.22864055928251301</c:v>
                </c:pt>
                <c:pt idx="11276">
                  <c:v>-0.25353161312424299</c:v>
                </c:pt>
                <c:pt idx="11277">
                  <c:v>-0.26182863107148602</c:v>
                </c:pt>
                <c:pt idx="11278">
                  <c:v>-0.390432409253757</c:v>
                </c:pt>
                <c:pt idx="11279">
                  <c:v>-0.274274157992351</c:v>
                </c:pt>
                <c:pt idx="11280">
                  <c:v>-0.13737336186283799</c:v>
                </c:pt>
                <c:pt idx="11281">
                  <c:v>-0.38213539130651297</c:v>
                </c:pt>
                <c:pt idx="11282">
                  <c:v>-0.26597714004510797</c:v>
                </c:pt>
                <c:pt idx="11283">
                  <c:v>-0.45680855283170202</c:v>
                </c:pt>
                <c:pt idx="11284">
                  <c:v>-0.58126382204035099</c:v>
                </c:pt>
                <c:pt idx="11285">
                  <c:v>-0.34894731951753999</c:v>
                </c:pt>
                <c:pt idx="11286">
                  <c:v>0.182061829106027</c:v>
                </c:pt>
                <c:pt idx="11287">
                  <c:v>0.69232843286148604</c:v>
                </c:pt>
                <c:pt idx="11288">
                  <c:v>3.6864015029270301E-2</c:v>
                </c:pt>
                <c:pt idx="11289">
                  <c:v>9.9091649633594597E-2</c:v>
                </c:pt>
                <c:pt idx="11290">
                  <c:v>0.53053658289024297</c:v>
                </c:pt>
                <c:pt idx="11291">
                  <c:v>0.19035884705327</c:v>
                </c:pt>
                <c:pt idx="11292">
                  <c:v>0.34385367907726999</c:v>
                </c:pt>
                <c:pt idx="11293">
                  <c:v>0.211101391921378</c:v>
                </c:pt>
                <c:pt idx="11294">
                  <c:v>0.107388667580838</c:v>
                </c:pt>
                <c:pt idx="11295">
                  <c:v>0.16546779321154101</c:v>
                </c:pt>
                <c:pt idx="11296">
                  <c:v>0.41437833162883803</c:v>
                </c:pt>
                <c:pt idx="11297">
                  <c:v>0.19450735602689201</c:v>
                </c:pt>
                <c:pt idx="11298">
                  <c:v>8.2497613739108105E-2</c:v>
                </c:pt>
                <c:pt idx="11299">
                  <c:v>0.28577455344656699</c:v>
                </c:pt>
                <c:pt idx="11300">
                  <c:v>0.19035884705327</c:v>
                </c:pt>
                <c:pt idx="11301">
                  <c:v>1.4432085570869999</c:v>
                </c:pt>
                <c:pt idx="11302">
                  <c:v>0.82508072001737798</c:v>
                </c:pt>
                <c:pt idx="11303">
                  <c:v>0.601061235441811</c:v>
                </c:pt>
                <c:pt idx="11304">
                  <c:v>0.17791332013240499</c:v>
                </c:pt>
                <c:pt idx="11305">
                  <c:v>1.1528129289334901</c:v>
                </c:pt>
                <c:pt idx="11306">
                  <c:v>1.2399316173795389</c:v>
                </c:pt>
                <c:pt idx="11307">
                  <c:v>1.03250616869846</c:v>
                </c:pt>
                <c:pt idx="11308">
                  <c:v>0.90805089948980999</c:v>
                </c:pt>
                <c:pt idx="11309">
                  <c:v>1.1486644199598599</c:v>
                </c:pt>
                <c:pt idx="11310">
                  <c:v>1.2316345994322999</c:v>
                </c:pt>
                <c:pt idx="11311">
                  <c:v>1.4929906647704601</c:v>
                </c:pt>
                <c:pt idx="11312">
                  <c:v>1.49713917374408</c:v>
                </c:pt>
                <c:pt idx="11313">
                  <c:v>1.5012876827177</c:v>
                </c:pt>
                <c:pt idx="11314">
                  <c:v>1.60085189808462</c:v>
                </c:pt>
                <c:pt idx="11315">
                  <c:v>1.5884063711637599</c:v>
                </c:pt>
                <c:pt idx="11316">
                  <c:v>1.4224660122188899</c:v>
                </c:pt>
                <c:pt idx="11317">
                  <c:v>1.2772681981421301</c:v>
                </c:pt>
                <c:pt idx="11318">
                  <c:v>1.3602383776145699</c:v>
                </c:pt>
                <c:pt idx="11319">
                  <c:v>1.3187532878783499</c:v>
                </c:pt>
                <c:pt idx="11320">
                  <c:v>1.16525845585435</c:v>
                </c:pt>
                <c:pt idx="11321">
                  <c:v>1.24822863532678</c:v>
                </c:pt>
                <c:pt idx="11322">
                  <c:v>1.5054361916913199</c:v>
                </c:pt>
                <c:pt idx="11323">
                  <c:v>1.1694069648279699</c:v>
                </c:pt>
                <c:pt idx="11324">
                  <c:v>1.20674354559057</c:v>
                </c:pt>
                <c:pt idx="11325">
                  <c:v>1.5469212814275399</c:v>
                </c:pt>
                <c:pt idx="11326">
                  <c:v>1.2316345994322999</c:v>
                </c:pt>
                <c:pt idx="11327">
                  <c:v>3.115057673456509</c:v>
                </c:pt>
                <c:pt idx="11328">
                  <c:v>2.7250978299360802</c:v>
                </c:pt>
                <c:pt idx="11329">
                  <c:v>1.9078415621326199</c:v>
                </c:pt>
                <c:pt idx="11330">
                  <c:v>1.7004161134515401</c:v>
                </c:pt>
                <c:pt idx="11331">
                  <c:v>1.36853539556181</c:v>
                </c:pt>
                <c:pt idx="11332">
                  <c:v>1.3602383776145699</c:v>
                </c:pt>
                <c:pt idx="11333">
                  <c:v>1.24822863532678</c:v>
                </c:pt>
                <c:pt idx="11334">
                  <c:v>1.2150405635378101</c:v>
                </c:pt>
                <c:pt idx="11335">
                  <c:v>1.47639662887597</c:v>
                </c:pt>
                <c:pt idx="11336">
                  <c:v>1.5095847006649501</c:v>
                </c:pt>
                <c:pt idx="11337">
                  <c:v>1.47224811990235</c:v>
                </c:pt>
                <c:pt idx="11338">
                  <c:v>1.43906004811338</c:v>
                </c:pt>
                <c:pt idx="11339">
                  <c:v>1.45150557503424</c:v>
                </c:pt>
                <c:pt idx="11340">
                  <c:v>1.48054513784959</c:v>
                </c:pt>
                <c:pt idx="11341">
                  <c:v>1.5344757545066701</c:v>
                </c:pt>
                <c:pt idx="11342">
                  <c:v>1.48054513784959</c:v>
                </c:pt>
                <c:pt idx="11343">
                  <c:v>1.6589310237153201</c:v>
                </c:pt>
                <c:pt idx="11344">
                  <c:v>1.62574295192635</c:v>
                </c:pt>
                <c:pt idx="11345">
                  <c:v>1.70456462242516</c:v>
                </c:pt>
                <c:pt idx="11346">
                  <c:v>1.3229017968519701</c:v>
                </c:pt>
                <c:pt idx="11347">
                  <c:v>1.41831750324527</c:v>
                </c:pt>
                <c:pt idx="11348">
                  <c:v>1.3146047789047299</c:v>
                </c:pt>
                <c:pt idx="11349">
                  <c:v>1.3560898686409499</c:v>
                </c:pt>
                <c:pt idx="11350">
                  <c:v>1.4058719763244001</c:v>
                </c:pt>
                <c:pt idx="11351">
                  <c:v>0.82508072001737798</c:v>
                </c:pt>
                <c:pt idx="11352">
                  <c:v>0.61350676236267498</c:v>
                </c:pt>
                <c:pt idx="11353">
                  <c:v>0.55542763673197304</c:v>
                </c:pt>
                <c:pt idx="11354">
                  <c:v>0.37289324189262102</c:v>
                </c:pt>
                <c:pt idx="11355">
                  <c:v>0.37704175086624298</c:v>
                </c:pt>
                <c:pt idx="11356">
                  <c:v>0.43512087649694597</c:v>
                </c:pt>
                <c:pt idx="11357">
                  <c:v>0.443417894444189</c:v>
                </c:pt>
                <c:pt idx="11358">
                  <c:v>0.32311113420916199</c:v>
                </c:pt>
                <c:pt idx="11359">
                  <c:v>0.42682385854970301</c:v>
                </c:pt>
                <c:pt idx="11360">
                  <c:v>-1.7066601627810801E-2</c:v>
                </c:pt>
                <c:pt idx="11361">
                  <c:v>3.2715506055648699E-2</c:v>
                </c:pt>
                <c:pt idx="11362">
                  <c:v>2.0269979134783799E-2</c:v>
                </c:pt>
                <c:pt idx="11363">
                  <c:v>-0.129076343915595</c:v>
                </c:pt>
                <c:pt idx="11364">
                  <c:v>-1.7066601627810801E-2</c:v>
                </c:pt>
                <c:pt idx="11365">
                  <c:v>-5.44031823904053E-2</c:v>
                </c:pt>
                <c:pt idx="11366">
                  <c:v>-2.5363619575054001E-2</c:v>
                </c:pt>
                <c:pt idx="11367">
                  <c:v>-0.120779325968351</c:v>
                </c:pt>
                <c:pt idx="11368">
                  <c:v>-0.13322485288921601</c:v>
                </c:pt>
                <c:pt idx="11369">
                  <c:v>-0.22864055928251301</c:v>
                </c:pt>
                <c:pt idx="11370">
                  <c:v>-0.158115906730946</c:v>
                </c:pt>
                <c:pt idx="11371">
                  <c:v>-0.11248230802110799</c:v>
                </c:pt>
                <c:pt idx="11372">
                  <c:v>-0.33650179259667501</c:v>
                </c:pt>
                <c:pt idx="11373">
                  <c:v>-0.245234595177</c:v>
                </c:pt>
                <c:pt idx="11374">
                  <c:v>-0.25768012209786501</c:v>
                </c:pt>
                <c:pt idx="11375">
                  <c:v>-0.36554135541202698</c:v>
                </c:pt>
                <c:pt idx="11376">
                  <c:v>-0.38213539130651297</c:v>
                </c:pt>
                <c:pt idx="11377">
                  <c:v>-0.34065030157029702</c:v>
                </c:pt>
                <c:pt idx="11378">
                  <c:v>-0.34479881054391898</c:v>
                </c:pt>
                <c:pt idx="11379">
                  <c:v>-0.32405626567581097</c:v>
                </c:pt>
                <c:pt idx="11380">
                  <c:v>-0.469254079752567</c:v>
                </c:pt>
                <c:pt idx="11381">
                  <c:v>-0.489996624620675</c:v>
                </c:pt>
                <c:pt idx="11382">
                  <c:v>-1.7066601627810801E-2</c:v>
                </c:pt>
                <c:pt idx="11383">
                  <c:v>0.202804373974135</c:v>
                </c:pt>
                <c:pt idx="11384">
                  <c:v>6.59035778446216E-2</c:v>
                </c:pt>
                <c:pt idx="11385">
                  <c:v>-0.129076343915595</c:v>
                </c:pt>
                <c:pt idx="11386">
                  <c:v>0.24428946371035101</c:v>
                </c:pt>
                <c:pt idx="11387">
                  <c:v>0.289923062420189</c:v>
                </c:pt>
                <c:pt idx="11388">
                  <c:v>0.42267534957608099</c:v>
                </c:pt>
                <c:pt idx="11389">
                  <c:v>0.56372465467921595</c:v>
                </c:pt>
                <c:pt idx="11390">
                  <c:v>0.31481411626191902</c:v>
                </c:pt>
                <c:pt idx="11391">
                  <c:v>0.15717077526429701</c:v>
                </c:pt>
                <c:pt idx="11392">
                  <c:v>0.24428946371035101</c:v>
                </c:pt>
                <c:pt idx="11393">
                  <c:v>0.17791332013240499</c:v>
                </c:pt>
                <c:pt idx="11394">
                  <c:v>0.48905149315402702</c:v>
                </c:pt>
                <c:pt idx="11395">
                  <c:v>8.6646122712729701E-2</c:v>
                </c:pt>
                <c:pt idx="11396">
                  <c:v>-2.95121285486756E-2</c:v>
                </c:pt>
                <c:pt idx="11397">
                  <c:v>0.60520974441543196</c:v>
                </c:pt>
                <c:pt idx="11398">
                  <c:v>0.696476941835108</c:v>
                </c:pt>
                <c:pt idx="11399">
                  <c:v>0.72136799567683796</c:v>
                </c:pt>
                <c:pt idx="11400">
                  <c:v>0.73381352259770205</c:v>
                </c:pt>
                <c:pt idx="11401">
                  <c:v>0.52223956494299995</c:v>
                </c:pt>
                <c:pt idx="11402">
                  <c:v>0.95783300717327002</c:v>
                </c:pt>
                <c:pt idx="11403">
                  <c:v>0.92049642641067497</c:v>
                </c:pt>
                <c:pt idx="11404">
                  <c:v>0.88315984564808103</c:v>
                </c:pt>
                <c:pt idx="11405">
                  <c:v>1.1030308212500299</c:v>
                </c:pt>
                <c:pt idx="11406">
                  <c:v>0.74211054054494596</c:v>
                </c:pt>
                <c:pt idx="11407">
                  <c:v>1.38927794042992</c:v>
                </c:pt>
                <c:pt idx="11408">
                  <c:v>1.4224660122188899</c:v>
                </c:pt>
                <c:pt idx="11409">
                  <c:v>1.4266145211925101</c:v>
                </c:pt>
                <c:pt idx="11410">
                  <c:v>1.5095847006649501</c:v>
                </c:pt>
                <c:pt idx="11411">
                  <c:v>1.5012876827177</c:v>
                </c:pt>
                <c:pt idx="11412">
                  <c:v>1.5925548801373799</c:v>
                </c:pt>
                <c:pt idx="11413">
                  <c:v>1.6755250596098099</c:v>
                </c:pt>
                <c:pt idx="11414">
                  <c:v>1.48054513784959</c:v>
                </c:pt>
                <c:pt idx="11415">
                  <c:v>1.45150557503424</c:v>
                </c:pt>
                <c:pt idx="11416">
                  <c:v>1.5718123352692699</c:v>
                </c:pt>
                <c:pt idx="11417">
                  <c:v>1.47224811990235</c:v>
                </c:pt>
                <c:pt idx="11418">
                  <c:v>1.05324871356657</c:v>
                </c:pt>
                <c:pt idx="11419">
                  <c:v>1.26897118019489</c:v>
                </c:pt>
                <c:pt idx="11420">
                  <c:v>1.065694240487429</c:v>
                </c:pt>
                <c:pt idx="11421">
                  <c:v>1.1901495096960799</c:v>
                </c:pt>
                <c:pt idx="11422">
                  <c:v>2.9200777516962999</c:v>
                </c:pt>
                <c:pt idx="11423">
                  <c:v>2.7333948478833201</c:v>
                </c:pt>
                <c:pt idx="11424">
                  <c:v>-0.13737336186283799</c:v>
                </c:pt>
                <c:pt idx="11425">
                  <c:v>1.70871313139878</c:v>
                </c:pt>
                <c:pt idx="11426">
                  <c:v>2.5425634350967301</c:v>
                </c:pt>
                <c:pt idx="11427">
                  <c:v>1.79583181984484</c:v>
                </c:pt>
                <c:pt idx="11428">
                  <c:v>1.8456139275282999</c:v>
                </c:pt>
                <c:pt idx="11429">
                  <c:v>1.77508927497673</c:v>
                </c:pt>
                <c:pt idx="11430">
                  <c:v>1.8912475262381301</c:v>
                </c:pt>
                <c:pt idx="11431">
                  <c:v>1.1445159109862399</c:v>
                </c:pt>
                <c:pt idx="11432">
                  <c:v>1.1694069648279699</c:v>
                </c:pt>
                <c:pt idx="11433">
                  <c:v>2.3932171120463499</c:v>
                </c:pt>
                <c:pt idx="11434">
                  <c:v>1.8207228736865699</c:v>
                </c:pt>
                <c:pt idx="11435">
                  <c:v>1.8912475262381301</c:v>
                </c:pt>
                <c:pt idx="11436">
                  <c:v>1.58010935321651</c:v>
                </c:pt>
                <c:pt idx="11437">
                  <c:v>1.4888421557968401</c:v>
                </c:pt>
                <c:pt idx="11438">
                  <c:v>1.5759608442428901</c:v>
                </c:pt>
                <c:pt idx="11439">
                  <c:v>1.4266145211925101</c:v>
                </c:pt>
                <c:pt idx="11440">
                  <c:v>1.5469212814275399</c:v>
                </c:pt>
                <c:pt idx="11441">
                  <c:v>0.86656580975359399</c:v>
                </c:pt>
                <c:pt idx="11442">
                  <c:v>0.23599244576310799</c:v>
                </c:pt>
                <c:pt idx="11443">
                  <c:v>0.23599244576310799</c:v>
                </c:pt>
                <c:pt idx="11444">
                  <c:v>9.0794631686351407E-2</c:v>
                </c:pt>
                <c:pt idx="11445">
                  <c:v>9.9091649633594597E-2</c:v>
                </c:pt>
                <c:pt idx="11446">
                  <c:v>0.327259643182784</c:v>
                </c:pt>
                <c:pt idx="11447">
                  <c:v>0.327259643182784</c:v>
                </c:pt>
                <c:pt idx="11448">
                  <c:v>0.29822008036743203</c:v>
                </c:pt>
                <c:pt idx="11449">
                  <c:v>0.54298210981110795</c:v>
                </c:pt>
                <c:pt idx="11450">
                  <c:v>0.37289324189262102</c:v>
                </c:pt>
                <c:pt idx="11451">
                  <c:v>0.364596223945378</c:v>
                </c:pt>
                <c:pt idx="11452">
                  <c:v>0.29822008036743203</c:v>
                </c:pt>
                <c:pt idx="11453">
                  <c:v>0.28162604447294598</c:v>
                </c:pt>
                <c:pt idx="11454">
                  <c:v>0.36874473291900001</c:v>
                </c:pt>
                <c:pt idx="11455">
                  <c:v>0.28162604447294598</c:v>
                </c:pt>
                <c:pt idx="11456">
                  <c:v>0.24428946371035101</c:v>
                </c:pt>
                <c:pt idx="11457">
                  <c:v>0.103240158607216</c:v>
                </c:pt>
                <c:pt idx="11458">
                  <c:v>-1.7066601627810801E-2</c:v>
                </c:pt>
                <c:pt idx="11459">
                  <c:v>-2.5363619575054001E-2</c:v>
                </c:pt>
                <c:pt idx="11460">
                  <c:v>-4.19576554695405E-2</c:v>
                </c:pt>
                <c:pt idx="11461">
                  <c:v>-0.187155469546297</c:v>
                </c:pt>
                <c:pt idx="11462">
                  <c:v>-0.13737336186283799</c:v>
                </c:pt>
                <c:pt idx="11463">
                  <c:v>-5.0254673416783698E-2</c:v>
                </c:pt>
                <c:pt idx="11464">
                  <c:v>-0.29916521183408101</c:v>
                </c:pt>
                <c:pt idx="11465">
                  <c:v>-8.3442745205756702E-2</c:v>
                </c:pt>
                <c:pt idx="11466">
                  <c:v>-0.19960099646716201</c:v>
                </c:pt>
                <c:pt idx="11467">
                  <c:v>-0.274274157992351</c:v>
                </c:pt>
                <c:pt idx="11468">
                  <c:v>-0.22864055928251301</c:v>
                </c:pt>
                <c:pt idx="11469">
                  <c:v>-0.245234595177</c:v>
                </c:pt>
                <c:pt idx="11470">
                  <c:v>-0.31161073875494599</c:v>
                </c:pt>
                <c:pt idx="11471">
                  <c:v>-0.25353161312424299</c:v>
                </c:pt>
                <c:pt idx="11472">
                  <c:v>5.34580509237568E-2</c:v>
                </c:pt>
                <c:pt idx="11473">
                  <c:v>-4.6106164443162102E-2</c:v>
                </c:pt>
                <c:pt idx="11474">
                  <c:v>0.35629920599813503</c:v>
                </c:pt>
                <c:pt idx="11475">
                  <c:v>-2.1215110601432399E-2</c:v>
                </c:pt>
                <c:pt idx="11476">
                  <c:v>3.2715506055648699E-2</c:v>
                </c:pt>
                <c:pt idx="11477">
                  <c:v>-2.1215110601432399E-2</c:v>
                </c:pt>
                <c:pt idx="11478">
                  <c:v>8.6646122712729701E-2</c:v>
                </c:pt>
                <c:pt idx="11479">
                  <c:v>-0.18300696057267599</c:v>
                </c:pt>
                <c:pt idx="11480">
                  <c:v>-4.62107470694591E-3</c:v>
                </c:pt>
                <c:pt idx="11481">
                  <c:v>-0.120779325968351</c:v>
                </c:pt>
                <c:pt idx="11482">
                  <c:v>5.34580509237568E-2</c:v>
                </c:pt>
                <c:pt idx="11483">
                  <c:v>-0.22034354133527001</c:v>
                </c:pt>
                <c:pt idx="11484">
                  <c:v>-7.5145727258513401E-2</c:v>
                </c:pt>
                <c:pt idx="11485">
                  <c:v>-0.17056143365181101</c:v>
                </c:pt>
                <c:pt idx="11486">
                  <c:v>-4.7256573332428599E-4</c:v>
                </c:pt>
                <c:pt idx="11487">
                  <c:v>-0.17470994262543199</c:v>
                </c:pt>
                <c:pt idx="11488">
                  <c:v>-0.236937577229757</c:v>
                </c:pt>
                <c:pt idx="11489">
                  <c:v>-0.19960099646716201</c:v>
                </c:pt>
                <c:pt idx="11490">
                  <c:v>0.269180517552081</c:v>
                </c:pt>
                <c:pt idx="11491">
                  <c:v>0.14472524834343201</c:v>
                </c:pt>
                <c:pt idx="11492">
                  <c:v>0.14472524834343201</c:v>
                </c:pt>
                <c:pt idx="11493">
                  <c:v>0.18621033807964901</c:v>
                </c:pt>
                <c:pt idx="11494">
                  <c:v>0.16961630218516199</c:v>
                </c:pt>
                <c:pt idx="11495">
                  <c:v>4.9309541950135198E-2</c:v>
                </c:pt>
                <c:pt idx="11496">
                  <c:v>2.0269979134783799E-2</c:v>
                </c:pt>
                <c:pt idx="11497">
                  <c:v>-4.7256573332428599E-4</c:v>
                </c:pt>
                <c:pt idx="11498">
                  <c:v>0.20695288294775699</c:v>
                </c:pt>
                <c:pt idx="11499">
                  <c:v>0.406081313681594</c:v>
                </c:pt>
                <c:pt idx="11500">
                  <c:v>0.80433817514926997</c:v>
                </c:pt>
                <c:pt idx="11501">
                  <c:v>1.0988823122764</c:v>
                </c:pt>
                <c:pt idx="11502">
                  <c:v>0.71307097772959405</c:v>
                </c:pt>
                <c:pt idx="11503">
                  <c:v>1.32705030582559</c:v>
                </c:pt>
                <c:pt idx="11504">
                  <c:v>1.11547634817089</c:v>
                </c:pt>
                <c:pt idx="11505">
                  <c:v>1.1071793302236499</c:v>
                </c:pt>
                <c:pt idx="11506">
                  <c:v>1.05739722254019</c:v>
                </c:pt>
                <c:pt idx="11507">
                  <c:v>1.1320703840653801</c:v>
                </c:pt>
                <c:pt idx="11508">
                  <c:v>1.26897118019489</c:v>
                </c:pt>
                <c:pt idx="11509">
                  <c:v>1.1942980186697001</c:v>
                </c:pt>
                <c:pt idx="11510">
                  <c:v>1.3394958327464599</c:v>
                </c:pt>
                <c:pt idx="11511">
                  <c:v>1.4017234673507799</c:v>
                </c:pt>
                <c:pt idx="11512">
                  <c:v>1.38927794042992</c:v>
                </c:pt>
                <c:pt idx="11513">
                  <c:v>1.3021592519838601</c:v>
                </c:pt>
                <c:pt idx="11514">
                  <c:v>1.41002048529803</c:v>
                </c:pt>
                <c:pt idx="11515">
                  <c:v>1.18600100072246</c:v>
                </c:pt>
                <c:pt idx="11516">
                  <c:v>1.1528129289334901</c:v>
                </c:pt>
                <c:pt idx="11517">
                  <c:v>1.26482267122127</c:v>
                </c:pt>
                <c:pt idx="11518">
                  <c:v>1.18185249174884</c:v>
                </c:pt>
                <c:pt idx="11519">
                  <c:v>1.47639662887597</c:v>
                </c:pt>
                <c:pt idx="11520">
                  <c:v>0.99102107896224301</c:v>
                </c:pt>
                <c:pt idx="11521">
                  <c:v>1.1113278391972701</c:v>
                </c:pt>
                <c:pt idx="11522">
                  <c:v>1.2108920545641899</c:v>
                </c:pt>
                <c:pt idx="11523">
                  <c:v>1.2565256532740301</c:v>
                </c:pt>
                <c:pt idx="11524">
                  <c:v>0.54298210981110795</c:v>
                </c:pt>
                <c:pt idx="11525">
                  <c:v>0.63839781620440506</c:v>
                </c:pt>
                <c:pt idx="11526">
                  <c:v>1.03250616869846</c:v>
                </c:pt>
                <c:pt idx="11527">
                  <c:v>1.0283576597248401</c:v>
                </c:pt>
                <c:pt idx="11528">
                  <c:v>0.82093221104375602</c:v>
                </c:pt>
                <c:pt idx="11529">
                  <c:v>1.0491002045929501</c:v>
                </c:pt>
                <c:pt idx="11530">
                  <c:v>1.20674354559057</c:v>
                </c:pt>
                <c:pt idx="11531">
                  <c:v>1.0200606417775899</c:v>
                </c:pt>
                <c:pt idx="11532">
                  <c:v>0.91219940846343195</c:v>
                </c:pt>
                <c:pt idx="11533">
                  <c:v>0.82093221104375602</c:v>
                </c:pt>
                <c:pt idx="11534">
                  <c:v>0.675734396967</c:v>
                </c:pt>
                <c:pt idx="11535">
                  <c:v>0.56372465467921595</c:v>
                </c:pt>
                <c:pt idx="11536">
                  <c:v>0.289923062420189</c:v>
                </c:pt>
                <c:pt idx="11537">
                  <c:v>0.26088349960483798</c:v>
                </c:pt>
                <c:pt idx="11538">
                  <c:v>0.28577455344656699</c:v>
                </c:pt>
                <c:pt idx="11539">
                  <c:v>0.25258648165759501</c:v>
                </c:pt>
                <c:pt idx="11540">
                  <c:v>0.26503200857845899</c:v>
                </c:pt>
                <c:pt idx="11541">
                  <c:v>0.406081313681594</c:v>
                </c:pt>
                <c:pt idx="11542">
                  <c:v>0.18621033807964901</c:v>
                </c:pt>
                <c:pt idx="11543">
                  <c:v>0.41437833162883803</c:v>
                </c:pt>
                <c:pt idx="11544">
                  <c:v>0.248437972683973</c:v>
                </c:pt>
                <c:pt idx="11545">
                  <c:v>0.327259643182784</c:v>
                </c:pt>
                <c:pt idx="11546">
                  <c:v>0.14472524834343201</c:v>
                </c:pt>
                <c:pt idx="11547">
                  <c:v>1.61214701611622E-2</c:v>
                </c:pt>
                <c:pt idx="11548">
                  <c:v>1.19729611875406E-2</c:v>
                </c:pt>
                <c:pt idx="11549">
                  <c:v>3.6759432402973299E-3</c:v>
                </c:pt>
                <c:pt idx="11550">
                  <c:v>-0.108333799047486</c:v>
                </c:pt>
                <c:pt idx="11551">
                  <c:v>0.14887375731705399</c:v>
                </c:pt>
                <c:pt idx="11552">
                  <c:v>-0.11248230802110799</c:v>
                </c:pt>
                <c:pt idx="11553">
                  <c:v>-0.13737336186283799</c:v>
                </c:pt>
                <c:pt idx="11554">
                  <c:v>-0.13322485288921601</c:v>
                </c:pt>
                <c:pt idx="11555">
                  <c:v>-0.236937577229757</c:v>
                </c:pt>
                <c:pt idx="11556">
                  <c:v>-0.178858451599054</c:v>
                </c:pt>
                <c:pt idx="11557">
                  <c:v>-0.18300696057267599</c:v>
                </c:pt>
                <c:pt idx="11558">
                  <c:v>-0.18300696057267599</c:v>
                </c:pt>
                <c:pt idx="11559">
                  <c:v>-0.16226441570456701</c:v>
                </c:pt>
                <c:pt idx="11560">
                  <c:v>-0.332353283623054</c:v>
                </c:pt>
                <c:pt idx="11561">
                  <c:v>-0.29916521183408101</c:v>
                </c:pt>
                <c:pt idx="11562">
                  <c:v>-0.17470994262543199</c:v>
                </c:pt>
                <c:pt idx="11563">
                  <c:v>-0.39872942720100002</c:v>
                </c:pt>
                <c:pt idx="11564">
                  <c:v>-0.41532346309548601</c:v>
                </c:pt>
                <c:pt idx="11565">
                  <c:v>-0.684976546380892</c:v>
                </c:pt>
                <c:pt idx="11566">
                  <c:v>-0.55637276819862103</c:v>
                </c:pt>
                <c:pt idx="11567">
                  <c:v>-0.76794672585332402</c:v>
                </c:pt>
                <c:pt idx="11568">
                  <c:v>-0.88410497711472902</c:v>
                </c:pt>
                <c:pt idx="11569">
                  <c:v>-0.92559006685094503</c:v>
                </c:pt>
                <c:pt idx="11570">
                  <c:v>-0.80528330661591896</c:v>
                </c:pt>
                <c:pt idx="11571">
                  <c:v>-0.92559006685094503</c:v>
                </c:pt>
                <c:pt idx="11572">
                  <c:v>-0.71401610919624303</c:v>
                </c:pt>
                <c:pt idx="11573">
                  <c:v>-0.93388708479818905</c:v>
                </c:pt>
                <c:pt idx="11574">
                  <c:v>-0.84261988737851301</c:v>
                </c:pt>
                <c:pt idx="11575">
                  <c:v>-0.94633261171905403</c:v>
                </c:pt>
                <c:pt idx="11576">
                  <c:v>-0.79698628866867505</c:v>
                </c:pt>
                <c:pt idx="11577">
                  <c:v>-1.0251542822178601</c:v>
                </c:pt>
                <c:pt idx="11578">
                  <c:v>-0.89240199506197204</c:v>
                </c:pt>
                <c:pt idx="11579">
                  <c:v>-0.94633261171905403</c:v>
                </c:pt>
                <c:pt idx="11580">
                  <c:v>-0.80943181558954003</c:v>
                </c:pt>
                <c:pt idx="11581">
                  <c:v>-0.83847137840489205</c:v>
                </c:pt>
                <c:pt idx="11582">
                  <c:v>-0.69742207330175598</c:v>
                </c:pt>
                <c:pt idx="11583">
                  <c:v>-0.81772883353678305</c:v>
                </c:pt>
                <c:pt idx="11584">
                  <c:v>-0.61030338485570201</c:v>
                </c:pt>
                <c:pt idx="11585">
                  <c:v>-0.57296680409310796</c:v>
                </c:pt>
                <c:pt idx="11586">
                  <c:v>-0.469254079752567</c:v>
                </c:pt>
                <c:pt idx="11587">
                  <c:v>-0.82602585148402696</c:v>
                </c:pt>
                <c:pt idx="11588">
                  <c:v>-0.72231312714348594</c:v>
                </c:pt>
                <c:pt idx="11589">
                  <c:v>-0.63519443869743197</c:v>
                </c:pt>
                <c:pt idx="11590">
                  <c:v>-0.62689742075018895</c:v>
                </c:pt>
                <c:pt idx="11591">
                  <c:v>-0.61445189382932397</c:v>
                </c:pt>
                <c:pt idx="11592">
                  <c:v>-0.53977873230413498</c:v>
                </c:pt>
                <c:pt idx="11593">
                  <c:v>-0.61445189382932397</c:v>
                </c:pt>
                <c:pt idx="11594">
                  <c:v>-0.60200636690845899</c:v>
                </c:pt>
                <c:pt idx="11595">
                  <c:v>-0.64763996561829695</c:v>
                </c:pt>
                <c:pt idx="11596">
                  <c:v>-0.37798688233289202</c:v>
                </c:pt>
                <c:pt idx="11597">
                  <c:v>-0.63104592972381002</c:v>
                </c:pt>
                <c:pt idx="11598">
                  <c:v>-0.53148171435689195</c:v>
                </c:pt>
                <c:pt idx="11599">
                  <c:v>-0.684976546380892</c:v>
                </c:pt>
                <c:pt idx="11600">
                  <c:v>0.306517098314676</c:v>
                </c:pt>
                <c:pt idx="11601">
                  <c:v>-0.22864055928251301</c:v>
                </c:pt>
                <c:pt idx="11602">
                  <c:v>-0.22034354133527001</c:v>
                </c:pt>
                <c:pt idx="11603">
                  <c:v>-0.104185290073865</c:v>
                </c:pt>
                <c:pt idx="11604">
                  <c:v>-8.7591254179378297E-2</c:v>
                </c:pt>
                <c:pt idx="11605">
                  <c:v>0.31481411626191902</c:v>
                </c:pt>
                <c:pt idx="11606">
                  <c:v>0.74625904951856703</c:v>
                </c:pt>
                <c:pt idx="11607">
                  <c:v>0.119834194501703</c:v>
                </c:pt>
                <c:pt idx="11608">
                  <c:v>0.71307097772959405</c:v>
                </c:pt>
                <c:pt idx="11609">
                  <c:v>1.0822882763819199</c:v>
                </c:pt>
                <c:pt idx="11610">
                  <c:v>1.01591213280397</c:v>
                </c:pt>
                <c:pt idx="11611">
                  <c:v>0.87486282770083701</c:v>
                </c:pt>
                <c:pt idx="11612">
                  <c:v>0.64254632517802701</c:v>
                </c:pt>
                <c:pt idx="11613">
                  <c:v>0.65914036107251295</c:v>
                </c:pt>
                <c:pt idx="11614">
                  <c:v>0.67988290594062095</c:v>
                </c:pt>
                <c:pt idx="11615">
                  <c:v>0.88730835462170199</c:v>
                </c:pt>
                <c:pt idx="11616">
                  <c:v>0.76285308541305397</c:v>
                </c:pt>
                <c:pt idx="11617">
                  <c:v>0.580318690573702</c:v>
                </c:pt>
                <c:pt idx="11618">
                  <c:v>0.56372465467921595</c:v>
                </c:pt>
                <c:pt idx="11619">
                  <c:v>0.47660596623316198</c:v>
                </c:pt>
                <c:pt idx="11620">
                  <c:v>0.53883360083748599</c:v>
                </c:pt>
                <c:pt idx="11621">
                  <c:v>0.77944712130754001</c:v>
                </c:pt>
                <c:pt idx="11622">
                  <c:v>0.85826879180635096</c:v>
                </c:pt>
                <c:pt idx="11623">
                  <c:v>0.62180378030991901</c:v>
                </c:pt>
                <c:pt idx="11624">
                  <c:v>-2.1215110601432399E-2</c:v>
                </c:pt>
                <c:pt idx="11625">
                  <c:v>7.8244522139189494E-3</c:v>
                </c:pt>
                <c:pt idx="11626">
                  <c:v>0.35215069702451302</c:v>
                </c:pt>
                <c:pt idx="11627">
                  <c:v>0.33555666113002702</c:v>
                </c:pt>
                <c:pt idx="11628">
                  <c:v>0.72966501362408098</c:v>
                </c:pt>
                <c:pt idx="11629">
                  <c:v>-8.7591254179378297E-2</c:v>
                </c:pt>
                <c:pt idx="11630">
                  <c:v>0.119834194501703</c:v>
                </c:pt>
                <c:pt idx="11631">
                  <c:v>1.19729611875406E-2</c:v>
                </c:pt>
                <c:pt idx="11632">
                  <c:v>5.34580509237568E-2</c:v>
                </c:pt>
                <c:pt idx="11633">
                  <c:v>2.8566997082027101E-2</c:v>
                </c:pt>
                <c:pt idx="11634">
                  <c:v>-4.62107470694591E-3</c:v>
                </c:pt>
                <c:pt idx="11635">
                  <c:v>2.0269979134783799E-2</c:v>
                </c:pt>
                <c:pt idx="11636">
                  <c:v>-4.19576554695405E-2</c:v>
                </c:pt>
                <c:pt idx="11637">
                  <c:v>-0.23278906825613499</c:v>
                </c:pt>
                <c:pt idx="11638">
                  <c:v>-2.95121285486756E-2</c:v>
                </c:pt>
                <c:pt idx="11639">
                  <c:v>-0.27842266696597301</c:v>
                </c:pt>
                <c:pt idx="11640">
                  <c:v>-0.58956083998759401</c:v>
                </c:pt>
                <c:pt idx="11641">
                  <c:v>-0.77209523482694598</c:v>
                </c:pt>
                <c:pt idx="11642">
                  <c:v>-0.88825348608835097</c:v>
                </c:pt>
                <c:pt idx="11643">
                  <c:v>-1.0417483181123499</c:v>
                </c:pt>
                <c:pt idx="11644">
                  <c:v>-0.95462962966629705</c:v>
                </c:pt>
                <c:pt idx="11645">
                  <c:v>-0.90484752198283702</c:v>
                </c:pt>
                <c:pt idx="11646">
                  <c:v>-0.917293048903702</c:v>
                </c:pt>
                <c:pt idx="11647">
                  <c:v>-0.90899603095645898</c:v>
                </c:pt>
                <c:pt idx="11648">
                  <c:v>-1.32799543729224</c:v>
                </c:pt>
                <c:pt idx="11649">
                  <c:v>-1.0500453360595901</c:v>
                </c:pt>
                <c:pt idx="11650">
                  <c:v>-1.0210057732442399</c:v>
                </c:pt>
                <c:pt idx="11651">
                  <c:v>-0.896550504035594</c:v>
                </c:pt>
                <c:pt idx="11652">
                  <c:v>-1.2740648206351599</c:v>
                </c:pt>
                <c:pt idx="11653">
                  <c:v>-0.917293048903702</c:v>
                </c:pt>
                <c:pt idx="11654">
                  <c:v>-1.13716402450565</c:v>
                </c:pt>
                <c:pt idx="11655">
                  <c:v>-1.0251542822178601</c:v>
                </c:pt>
                <c:pt idx="11656">
                  <c:v>-1.0251542822178601</c:v>
                </c:pt>
                <c:pt idx="11657">
                  <c:v>-1.1745006052682401</c:v>
                </c:pt>
                <c:pt idx="11658">
                  <c:v>-1.24087674884619</c:v>
                </c:pt>
                <c:pt idx="11659">
                  <c:v>-1.1869461321891099</c:v>
                </c:pt>
                <c:pt idx="11660">
                  <c:v>-1.24087674884619</c:v>
                </c:pt>
                <c:pt idx="11661">
                  <c:v>-1.07493638990132</c:v>
                </c:pt>
                <c:pt idx="11662">
                  <c:v>-0.664234001512783</c:v>
                </c:pt>
                <c:pt idx="11663">
                  <c:v>-0.65593698356553998</c:v>
                </c:pt>
                <c:pt idx="11664">
                  <c:v>-0.41532346309548601</c:v>
                </c:pt>
                <c:pt idx="11665">
                  <c:v>-0.431917498989973</c:v>
                </c:pt>
                <c:pt idx="11666">
                  <c:v>-0.38213539130651297</c:v>
                </c:pt>
                <c:pt idx="11667">
                  <c:v>-0.643491456644675</c:v>
                </c:pt>
                <c:pt idx="11668">
                  <c:v>-0.50659066051516199</c:v>
                </c:pt>
                <c:pt idx="11669">
                  <c:v>-0.54392724127775605</c:v>
                </c:pt>
                <c:pt idx="11670">
                  <c:v>-0.57711531306672903</c:v>
                </c:pt>
                <c:pt idx="11671">
                  <c:v>-0.61860040280294604</c:v>
                </c:pt>
                <c:pt idx="11672">
                  <c:v>-0.59370934896121597</c:v>
                </c:pt>
                <c:pt idx="11673">
                  <c:v>-0.16641292467818899</c:v>
                </c:pt>
                <c:pt idx="11674">
                  <c:v>-0.42362048104272898</c:v>
                </c:pt>
                <c:pt idx="11675">
                  <c:v>-0.129076343915595</c:v>
                </c:pt>
                <c:pt idx="11676">
                  <c:v>-0.353095828491162</c:v>
                </c:pt>
                <c:pt idx="11677">
                  <c:v>0.51394254699575703</c:v>
                </c:pt>
                <c:pt idx="11678">
                  <c:v>-5.44031823904053E-2</c:v>
                </c:pt>
                <c:pt idx="11679">
                  <c:v>-0.25768012209786501</c:v>
                </c:pt>
                <c:pt idx="11680">
                  <c:v>0.31896262523553998</c:v>
                </c:pt>
                <c:pt idx="11681">
                  <c:v>0.717219486703216</c:v>
                </c:pt>
                <c:pt idx="11682">
                  <c:v>0.406081313681594</c:v>
                </c:pt>
                <c:pt idx="11683">
                  <c:v>0.42267534957608099</c:v>
                </c:pt>
                <c:pt idx="11684">
                  <c:v>0.601061235441811</c:v>
                </c:pt>
                <c:pt idx="11685">
                  <c:v>0.62180378030991901</c:v>
                </c:pt>
                <c:pt idx="11686">
                  <c:v>0.57617018160008104</c:v>
                </c:pt>
                <c:pt idx="11687">
                  <c:v>1.0034666058831101</c:v>
                </c:pt>
                <c:pt idx="11688">
                  <c:v>1.1445159109862399</c:v>
                </c:pt>
                <c:pt idx="11689">
                  <c:v>1.18600100072246</c:v>
                </c:pt>
                <c:pt idx="11690">
                  <c:v>1.15696143790711</c:v>
                </c:pt>
                <c:pt idx="11691">
                  <c:v>1.0034666058831101</c:v>
                </c:pt>
                <c:pt idx="11692">
                  <c:v>0.89145686359532395</c:v>
                </c:pt>
                <c:pt idx="11693">
                  <c:v>1.0283576597248401</c:v>
                </c:pt>
                <c:pt idx="11694">
                  <c:v>0.97442704306775596</c:v>
                </c:pt>
                <c:pt idx="11695">
                  <c:v>1.0822882763819199</c:v>
                </c:pt>
                <c:pt idx="11696">
                  <c:v>1.0864367853555399</c:v>
                </c:pt>
                <c:pt idx="11697">
                  <c:v>1.5593668083484</c:v>
                </c:pt>
                <c:pt idx="11698">
                  <c:v>1.41002048529803</c:v>
                </c:pt>
                <c:pt idx="11699">
                  <c:v>1.0615457315138099</c:v>
                </c:pt>
                <c:pt idx="11700">
                  <c:v>1.28556521608938</c:v>
                </c:pt>
                <c:pt idx="11701">
                  <c:v>1.5012876827177</c:v>
                </c:pt>
                <c:pt idx="11702">
                  <c:v>1.4846936468232199</c:v>
                </c:pt>
                <c:pt idx="11703">
                  <c:v>1.51788171861219</c:v>
                </c:pt>
                <c:pt idx="11704">
                  <c:v>1.5510697904011601</c:v>
                </c:pt>
                <c:pt idx="11705">
                  <c:v>-1.9461232743618599</c:v>
                </c:pt>
                <c:pt idx="11706">
                  <c:v>1.79168331087122</c:v>
                </c:pt>
                <c:pt idx="11707">
                  <c:v>0.31481411626191902</c:v>
                </c:pt>
                <c:pt idx="11708">
                  <c:v>0.70892246875597298</c:v>
                </c:pt>
                <c:pt idx="11709">
                  <c:v>3.6917004207899198</c:v>
                </c:pt>
                <c:pt idx="11710">
                  <c:v>3.3888592657155399</c:v>
                </c:pt>
                <c:pt idx="11711">
                  <c:v>3.2104733798498102</c:v>
                </c:pt>
                <c:pt idx="11712">
                  <c:v>3.01964196706321</c:v>
                </c:pt>
                <c:pt idx="11713">
                  <c:v>2.9491173145116498</c:v>
                </c:pt>
                <c:pt idx="11714">
                  <c:v>2.202385699259759</c:v>
                </c:pt>
                <c:pt idx="11715">
                  <c:v>2.2148312261806198</c:v>
                </c:pt>
                <c:pt idx="11716">
                  <c:v>2.0322968313412701</c:v>
                </c:pt>
                <c:pt idx="11717">
                  <c:v>2.1443065736290499</c:v>
                </c:pt>
                <c:pt idx="11718">
                  <c:v>2.12771253773457</c:v>
                </c:pt>
                <c:pt idx="11719">
                  <c:v>1.60085189808462</c:v>
                </c:pt>
                <c:pt idx="11720">
                  <c:v>1.68382207755705</c:v>
                </c:pt>
                <c:pt idx="11721">
                  <c:v>1.6506340057680799</c:v>
                </c:pt>
                <c:pt idx="11722">
                  <c:v>1.58010935321651</c:v>
                </c:pt>
                <c:pt idx="11723">
                  <c:v>1.289713725063</c:v>
                </c:pt>
                <c:pt idx="11724">
                  <c:v>1.4846936468232199</c:v>
                </c:pt>
                <c:pt idx="11725">
                  <c:v>1.1279218750917599</c:v>
                </c:pt>
                <c:pt idx="11726">
                  <c:v>0.30236858934105398</c:v>
                </c:pt>
                <c:pt idx="11727">
                  <c:v>0.153022266290676</c:v>
                </c:pt>
                <c:pt idx="11728">
                  <c:v>-4.62107470694591E-3</c:v>
                </c:pt>
                <c:pt idx="11729">
                  <c:v>7.8244522139189494E-3</c:v>
                </c:pt>
                <c:pt idx="11730">
                  <c:v>0.132279721422568</c:v>
                </c:pt>
                <c:pt idx="11731">
                  <c:v>0.59691272646818905</c:v>
                </c:pt>
                <c:pt idx="11732">
                  <c:v>0.20695288294775699</c:v>
                </c:pt>
                <c:pt idx="11733">
                  <c:v>0.202804373974135</c:v>
                </c:pt>
                <c:pt idx="11734">
                  <c:v>2.4418488108405401E-2</c:v>
                </c:pt>
                <c:pt idx="11735">
                  <c:v>7.8244522139189494E-3</c:v>
                </c:pt>
                <c:pt idx="11736">
                  <c:v>-7.0997218284891805E-2</c:v>
                </c:pt>
                <c:pt idx="11737">
                  <c:v>-0.13322485288921601</c:v>
                </c:pt>
                <c:pt idx="11738">
                  <c:v>0.11153717655445899</c:v>
                </c:pt>
                <c:pt idx="11739">
                  <c:v>-0.17470994262543199</c:v>
                </c:pt>
                <c:pt idx="11740">
                  <c:v>-2.5363619575054001E-2</c:v>
                </c:pt>
                <c:pt idx="11741">
                  <c:v>-0.207898014414405</c:v>
                </c:pt>
                <c:pt idx="11742">
                  <c:v>-8.3442745205756702E-2</c:v>
                </c:pt>
                <c:pt idx="11743">
                  <c:v>-0.39458091822737801</c:v>
                </c:pt>
                <c:pt idx="11744">
                  <c:v>-0.26182863107148602</c:v>
                </c:pt>
                <c:pt idx="11745">
                  <c:v>-0.411174954121865</c:v>
                </c:pt>
                <c:pt idx="11746">
                  <c:v>-0.295016702860459</c:v>
                </c:pt>
                <c:pt idx="11747">
                  <c:v>-0.44436302591083798</c:v>
                </c:pt>
                <c:pt idx="11748">
                  <c:v>-0.38213539130651297</c:v>
                </c:pt>
                <c:pt idx="11749">
                  <c:v>-0.51073916948878395</c:v>
                </c:pt>
                <c:pt idx="11750">
                  <c:v>-0.51073916948878395</c:v>
                </c:pt>
                <c:pt idx="11751">
                  <c:v>-0.57711531306672903</c:v>
                </c:pt>
                <c:pt idx="11752">
                  <c:v>-0.40702644514824299</c:v>
                </c:pt>
                <c:pt idx="11753">
                  <c:v>-0.643491456644675</c:v>
                </c:pt>
                <c:pt idx="11754">
                  <c:v>-0.47340258872618901</c:v>
                </c:pt>
                <c:pt idx="11755">
                  <c:v>-0.684976546380892</c:v>
                </c:pt>
                <c:pt idx="11756">
                  <c:v>-0.58126382204035099</c:v>
                </c:pt>
                <c:pt idx="11757">
                  <c:v>-0.77209523482694598</c:v>
                </c:pt>
                <c:pt idx="11758">
                  <c:v>-4.19576554695405E-2</c:v>
                </c:pt>
                <c:pt idx="11759">
                  <c:v>-0.59370934896121597</c:v>
                </c:pt>
                <c:pt idx="11760">
                  <c:v>-0.56466978614586505</c:v>
                </c:pt>
                <c:pt idx="11761">
                  <c:v>-0.43606600796359402</c:v>
                </c:pt>
                <c:pt idx="11762">
                  <c:v>2.0269979134783799E-2</c:v>
                </c:pt>
                <c:pt idx="11763">
                  <c:v>-0.38213539130651297</c:v>
                </c:pt>
                <c:pt idx="11764">
                  <c:v>-0.295016702860459</c:v>
                </c:pt>
                <c:pt idx="11765">
                  <c:v>-0.49829364256791903</c:v>
                </c:pt>
                <c:pt idx="11766">
                  <c:v>-0.43606600796359402</c:v>
                </c:pt>
                <c:pt idx="11767">
                  <c:v>-0.29086819388683799</c:v>
                </c:pt>
                <c:pt idx="11768">
                  <c:v>-0.49829364256791903</c:v>
                </c:pt>
                <c:pt idx="11769">
                  <c:v>-0.43606600796359402</c:v>
                </c:pt>
                <c:pt idx="11770">
                  <c:v>-0.50659066051516199</c:v>
                </c:pt>
                <c:pt idx="11771">
                  <c:v>-0.47340258872618901</c:v>
                </c:pt>
                <c:pt idx="11772">
                  <c:v>-2.95121285486756E-2</c:v>
                </c:pt>
                <c:pt idx="11773">
                  <c:v>0.559576145705594</c:v>
                </c:pt>
                <c:pt idx="11774">
                  <c:v>0.26088349960483798</c:v>
                </c:pt>
                <c:pt idx="11775">
                  <c:v>0.64254632517802701</c:v>
                </c:pt>
                <c:pt idx="11776">
                  <c:v>0.50979403802213497</c:v>
                </c:pt>
                <c:pt idx="11777">
                  <c:v>0.696476941835108</c:v>
                </c:pt>
                <c:pt idx="11778">
                  <c:v>0.72551650465045903</c:v>
                </c:pt>
                <c:pt idx="11779">
                  <c:v>0.74625904951856703</c:v>
                </c:pt>
                <c:pt idx="11780">
                  <c:v>0.63839781620440506</c:v>
                </c:pt>
                <c:pt idx="11781">
                  <c:v>0.78774413925478304</c:v>
                </c:pt>
                <c:pt idx="11782">
                  <c:v>1.20259503661695</c:v>
                </c:pt>
                <c:pt idx="11783">
                  <c:v>1.51788171861219</c:v>
                </c:pt>
                <c:pt idx="11784">
                  <c:v>1.66722804166257</c:v>
                </c:pt>
                <c:pt idx="11785">
                  <c:v>1.58425786219013</c:v>
                </c:pt>
                <c:pt idx="11786">
                  <c:v>1.5759608442428901</c:v>
                </c:pt>
                <c:pt idx="11787">
                  <c:v>1.7170101493460299</c:v>
                </c:pt>
                <c:pt idx="11788">
                  <c:v>1.72530716729327</c:v>
                </c:pt>
                <c:pt idx="11789">
                  <c:v>1.70456462242516</c:v>
                </c:pt>
                <c:pt idx="11790">
                  <c:v>1.3851294314563001</c:v>
                </c:pt>
                <c:pt idx="11791">
                  <c:v>1.47224811990235</c:v>
                </c:pt>
                <c:pt idx="11792">
                  <c:v>1.3643868865881901</c:v>
                </c:pt>
                <c:pt idx="11793">
                  <c:v>1.28556521608938</c:v>
                </c:pt>
                <c:pt idx="11794">
                  <c:v>1.4888421557968401</c:v>
                </c:pt>
                <c:pt idx="11795">
                  <c:v>1.6174459339791101</c:v>
                </c:pt>
                <c:pt idx="11796">
                  <c:v>3.01964196706321</c:v>
                </c:pt>
                <c:pt idx="11797">
                  <c:v>3.0113449491159701</c:v>
                </c:pt>
                <c:pt idx="11798">
                  <c:v>3.4261958464781301</c:v>
                </c:pt>
                <c:pt idx="11799">
                  <c:v>2.397365621019969</c:v>
                </c:pt>
                <c:pt idx="11800">
                  <c:v>2.2563163159168398</c:v>
                </c:pt>
                <c:pt idx="11801">
                  <c:v>2.36002904025738</c:v>
                </c:pt>
                <c:pt idx="11802">
                  <c:v>1.8912475262381301</c:v>
                </c:pt>
                <c:pt idx="11803">
                  <c:v>1.8248713826601899</c:v>
                </c:pt>
                <c:pt idx="11804">
                  <c:v>1.68797058653067</c:v>
                </c:pt>
                <c:pt idx="11805">
                  <c:v>1.9078415621326199</c:v>
                </c:pt>
                <c:pt idx="11806">
                  <c:v>1.6298914608999699</c:v>
                </c:pt>
                <c:pt idx="11807">
                  <c:v>2.0322968313412701</c:v>
                </c:pt>
                <c:pt idx="11808">
                  <c:v>1.9991087595523001</c:v>
                </c:pt>
                <c:pt idx="11809">
                  <c:v>1.8497624365019201</c:v>
                </c:pt>
                <c:pt idx="11810">
                  <c:v>1.64648549679446</c:v>
                </c:pt>
                <c:pt idx="11811">
                  <c:v>1.66722804166257</c:v>
                </c:pt>
                <c:pt idx="11812">
                  <c:v>1.24822863532678</c:v>
                </c:pt>
                <c:pt idx="11813">
                  <c:v>0.99516958793586396</c:v>
                </c:pt>
                <c:pt idx="11814">
                  <c:v>0.84582326488548598</c:v>
                </c:pt>
                <c:pt idx="11815">
                  <c:v>1.6340399698735899</c:v>
                </c:pt>
                <c:pt idx="11816">
                  <c:v>1.6132974250054899</c:v>
                </c:pt>
                <c:pt idx="11817">
                  <c:v>1.6921190955043</c:v>
                </c:pt>
                <c:pt idx="11818">
                  <c:v>1.7833862929239701</c:v>
                </c:pt>
                <c:pt idx="11819">
                  <c:v>1.5386242634803</c:v>
                </c:pt>
                <c:pt idx="11820">
                  <c:v>1.2814167071157601</c:v>
                </c:pt>
                <c:pt idx="11821">
                  <c:v>1.1942980186697001</c:v>
                </c:pt>
                <c:pt idx="11822">
                  <c:v>0.71307097772959405</c:v>
                </c:pt>
                <c:pt idx="11823">
                  <c:v>0.34385367907726999</c:v>
                </c:pt>
                <c:pt idx="11824">
                  <c:v>0.17791332013240499</c:v>
                </c:pt>
                <c:pt idx="11825">
                  <c:v>-3.7809146495918898E-2</c:v>
                </c:pt>
                <c:pt idx="11826">
                  <c:v>2.4418488108405401E-2</c:v>
                </c:pt>
                <c:pt idx="11827">
                  <c:v>2.0269979134783799E-2</c:v>
                </c:pt>
                <c:pt idx="11828">
                  <c:v>-3.3660637522297199E-2</c:v>
                </c:pt>
                <c:pt idx="11829">
                  <c:v>-0.104185290073865</c:v>
                </c:pt>
                <c:pt idx="11830">
                  <c:v>-0.124927834941973</c:v>
                </c:pt>
                <c:pt idx="11831">
                  <c:v>-0.33650179259667501</c:v>
                </c:pt>
                <c:pt idx="11832">
                  <c:v>-0.44436302591083798</c:v>
                </c:pt>
                <c:pt idx="11833">
                  <c:v>-0.67253101946002702</c:v>
                </c:pt>
                <c:pt idx="11834">
                  <c:v>-0.51488767846240502</c:v>
                </c:pt>
                <c:pt idx="11835">
                  <c:v>-0.58126382204035099</c:v>
                </c:pt>
                <c:pt idx="11836">
                  <c:v>-0.69742207330175598</c:v>
                </c:pt>
                <c:pt idx="11837">
                  <c:v>-0.61860040280294604</c:v>
                </c:pt>
                <c:pt idx="11838">
                  <c:v>-0.63519443869743197</c:v>
                </c:pt>
                <c:pt idx="11839">
                  <c:v>-0.99196621042889099</c:v>
                </c:pt>
                <c:pt idx="11840">
                  <c:v>-0.69327356432813503</c:v>
                </c:pt>
                <c:pt idx="11841">
                  <c:v>-0.74305567201159395</c:v>
                </c:pt>
                <c:pt idx="11842">
                  <c:v>-0.93803559377181001</c:v>
                </c:pt>
                <c:pt idx="11843">
                  <c:v>-0.75550119893245904</c:v>
                </c:pt>
                <c:pt idx="11844">
                  <c:v>-1.0002632283761299</c:v>
                </c:pt>
                <c:pt idx="11845">
                  <c:v>-0.96292664761353997</c:v>
                </c:pt>
                <c:pt idx="11846">
                  <c:v>-1.0458968270859701</c:v>
                </c:pt>
                <c:pt idx="11847">
                  <c:v>-1.0210057732442399</c:v>
                </c:pt>
                <c:pt idx="11848">
                  <c:v>-0.96707515658716203</c:v>
                </c:pt>
                <c:pt idx="11849">
                  <c:v>-0.95877813863991801</c:v>
                </c:pt>
                <c:pt idx="11850">
                  <c:v>-0.99196621042889099</c:v>
                </c:pt>
                <c:pt idx="11851">
                  <c:v>-1.07908489887495</c:v>
                </c:pt>
                <c:pt idx="11852">
                  <c:v>-0.99196621042889099</c:v>
                </c:pt>
                <c:pt idx="11853">
                  <c:v>-0.90069901300921595</c:v>
                </c:pt>
                <c:pt idx="11854">
                  <c:v>-0.59785785793483703</c:v>
                </c:pt>
                <c:pt idx="11855">
                  <c:v>-0.87165945019386404</c:v>
                </c:pt>
                <c:pt idx="11856">
                  <c:v>-0.77624374380056704</c:v>
                </c:pt>
                <c:pt idx="11857">
                  <c:v>-0.684976546380892</c:v>
                </c:pt>
                <c:pt idx="11858">
                  <c:v>-0.36554135541202698</c:v>
                </c:pt>
                <c:pt idx="11859">
                  <c:v>-0.62689742075018895</c:v>
                </c:pt>
                <c:pt idx="11860">
                  <c:v>-0.49829364256791903</c:v>
                </c:pt>
                <c:pt idx="11861">
                  <c:v>-0.61860040280294604</c:v>
                </c:pt>
                <c:pt idx="11862">
                  <c:v>-0.63104592972381002</c:v>
                </c:pt>
                <c:pt idx="11863">
                  <c:v>-0.76794672585332402</c:v>
                </c:pt>
                <c:pt idx="11864">
                  <c:v>-0.58126382204035099</c:v>
                </c:pt>
                <c:pt idx="11865">
                  <c:v>-0.60615487588208095</c:v>
                </c:pt>
                <c:pt idx="11866">
                  <c:v>-0.71401610919624303</c:v>
                </c:pt>
                <c:pt idx="11867">
                  <c:v>-0.75135268995883697</c:v>
                </c:pt>
                <c:pt idx="11868">
                  <c:v>-0.25353161312424299</c:v>
                </c:pt>
                <c:pt idx="11869">
                  <c:v>-0.36139284643840502</c:v>
                </c:pt>
                <c:pt idx="11870">
                  <c:v>-4.62107470694591E-3</c:v>
                </c:pt>
                <c:pt idx="11871">
                  <c:v>0.24428946371035101</c:v>
                </c:pt>
                <c:pt idx="11872">
                  <c:v>0.28162604447294598</c:v>
                </c:pt>
                <c:pt idx="11873">
                  <c:v>0.36044771497175698</c:v>
                </c:pt>
                <c:pt idx="11874">
                  <c:v>0.161319284237919</c:v>
                </c:pt>
                <c:pt idx="11875">
                  <c:v>0.123982703475324</c:v>
                </c:pt>
                <c:pt idx="11876">
                  <c:v>0.231843936789486</c:v>
                </c:pt>
                <c:pt idx="11877">
                  <c:v>0.289923062420189</c:v>
                </c:pt>
                <c:pt idx="11878">
                  <c:v>0.812635193096513</c:v>
                </c:pt>
                <c:pt idx="11879">
                  <c:v>0.970278534094135</c:v>
                </c:pt>
                <c:pt idx="11880">
                  <c:v>0.79189264822840499</c:v>
                </c:pt>
                <c:pt idx="11881">
                  <c:v>0.68817992388786497</c:v>
                </c:pt>
                <c:pt idx="11882">
                  <c:v>0.833377737964621</c:v>
                </c:pt>
                <c:pt idx="11883">
                  <c:v>0.90805089948980999</c:v>
                </c:pt>
                <c:pt idx="11884">
                  <c:v>0.94538748025240504</c:v>
                </c:pt>
                <c:pt idx="11885">
                  <c:v>0.80018966617564802</c:v>
                </c:pt>
                <c:pt idx="11886">
                  <c:v>0.72966501362408098</c:v>
                </c:pt>
                <c:pt idx="11887">
                  <c:v>0.79189264822840499</c:v>
                </c:pt>
                <c:pt idx="11888">
                  <c:v>1.2772681981421301</c:v>
                </c:pt>
                <c:pt idx="11889">
                  <c:v>1.1942980186697001</c:v>
                </c:pt>
                <c:pt idx="11890">
                  <c:v>1.26482267122127</c:v>
                </c:pt>
                <c:pt idx="11891">
                  <c:v>1.16525845585435</c:v>
                </c:pt>
                <c:pt idx="11892">
                  <c:v>1.1528129289334901</c:v>
                </c:pt>
                <c:pt idx="11893">
                  <c:v>1.2565256532740301</c:v>
                </c:pt>
                <c:pt idx="11894">
                  <c:v>1.5054361916913199</c:v>
                </c:pt>
                <c:pt idx="11895">
                  <c:v>2.861998626065589</c:v>
                </c:pt>
                <c:pt idx="11896">
                  <c:v>2.861998626065589</c:v>
                </c:pt>
                <c:pt idx="11897">
                  <c:v>1.9659206877633191</c:v>
                </c:pt>
                <c:pt idx="11898">
                  <c:v>2.0571878851830001</c:v>
                </c:pt>
                <c:pt idx="11899">
                  <c:v>2.04474235826213</c:v>
                </c:pt>
                <c:pt idx="11900">
                  <c:v>2.1899401723388889</c:v>
                </c:pt>
                <c:pt idx="11901">
                  <c:v>1.81657436471295</c:v>
                </c:pt>
                <c:pt idx="11902">
                  <c:v>1.6132974250054899</c:v>
                </c:pt>
                <c:pt idx="11903">
                  <c:v>1.5303272455330501</c:v>
                </c:pt>
                <c:pt idx="11904">
                  <c:v>1.85391094547554</c:v>
                </c:pt>
                <c:pt idx="11905">
                  <c:v>1.92443559802711</c:v>
                </c:pt>
                <c:pt idx="11906">
                  <c:v>1.7128616403724</c:v>
                </c:pt>
                <c:pt idx="11907">
                  <c:v>1.51788171861219</c:v>
                </c:pt>
                <c:pt idx="11908">
                  <c:v>1.6589310237153201</c:v>
                </c:pt>
                <c:pt idx="11909">
                  <c:v>1.66722804166257</c:v>
                </c:pt>
                <c:pt idx="11910">
                  <c:v>1.5925548801373799</c:v>
                </c:pt>
                <c:pt idx="11911">
                  <c:v>1.81242585573932</c:v>
                </c:pt>
                <c:pt idx="11912">
                  <c:v>1.85805945444916</c:v>
                </c:pt>
                <c:pt idx="11913">
                  <c:v>1.8248713826601899</c:v>
                </c:pt>
                <c:pt idx="11914">
                  <c:v>1.87465349034365</c:v>
                </c:pt>
                <c:pt idx="11915">
                  <c:v>1.8622079634227799</c:v>
                </c:pt>
                <c:pt idx="11916">
                  <c:v>1.6506340057680799</c:v>
                </c:pt>
                <c:pt idx="11917">
                  <c:v>1.60500040705824</c:v>
                </c:pt>
                <c:pt idx="11918">
                  <c:v>0.77944712130754001</c:v>
                </c:pt>
                <c:pt idx="11919">
                  <c:v>0.76700159438667503</c:v>
                </c:pt>
                <c:pt idx="11920">
                  <c:v>0.43512087649694597</c:v>
                </c:pt>
                <c:pt idx="11921">
                  <c:v>0.22354691884224301</c:v>
                </c:pt>
                <c:pt idx="11922">
                  <c:v>0.173764811158784</c:v>
                </c:pt>
                <c:pt idx="11923">
                  <c:v>0.269180517552081</c:v>
                </c:pt>
                <c:pt idx="11924">
                  <c:v>0.47245745725954003</c:v>
                </c:pt>
                <c:pt idx="11925">
                  <c:v>0.33970517010364898</c:v>
                </c:pt>
                <c:pt idx="11926">
                  <c:v>0.45171491239143202</c:v>
                </c:pt>
                <c:pt idx="11927">
                  <c:v>-1.29180926541891E-2</c:v>
                </c:pt>
                <c:pt idx="11928">
                  <c:v>-0.295016702860459</c:v>
                </c:pt>
                <c:pt idx="11929">
                  <c:v>-0.39458091822737801</c:v>
                </c:pt>
                <c:pt idx="11930">
                  <c:v>-0.353095828491162</c:v>
                </c:pt>
                <c:pt idx="11931">
                  <c:v>-0.37383837335927</c:v>
                </c:pt>
                <c:pt idx="11932">
                  <c:v>-0.37383837335927</c:v>
                </c:pt>
                <c:pt idx="11933">
                  <c:v>-0.39458091822737801</c:v>
                </c:pt>
                <c:pt idx="11934">
                  <c:v>-0.35724433746478401</c:v>
                </c:pt>
                <c:pt idx="11935">
                  <c:v>-0.49829364256791903</c:v>
                </c:pt>
                <c:pt idx="11936">
                  <c:v>-0.58541233101397305</c:v>
                </c:pt>
                <c:pt idx="11937">
                  <c:v>-0.57296680409310796</c:v>
                </c:pt>
                <c:pt idx="11938">
                  <c:v>-0.60200636690845899</c:v>
                </c:pt>
                <c:pt idx="11939">
                  <c:v>-0.48584811564705399</c:v>
                </c:pt>
                <c:pt idx="11940">
                  <c:v>-0.47755109769981102</c:v>
                </c:pt>
                <c:pt idx="11941">
                  <c:v>-0.56052127717224298</c:v>
                </c:pt>
                <c:pt idx="11942">
                  <c:v>-0.53977873230413498</c:v>
                </c:pt>
                <c:pt idx="11943">
                  <c:v>-0.548075750251378</c:v>
                </c:pt>
                <c:pt idx="11944">
                  <c:v>-0.55222425922499996</c:v>
                </c:pt>
                <c:pt idx="11945">
                  <c:v>-0.59785785793483703</c:v>
                </c:pt>
                <c:pt idx="11946">
                  <c:v>-0.61860040280294604</c:v>
                </c:pt>
                <c:pt idx="11947">
                  <c:v>-0.85506541429937799</c:v>
                </c:pt>
                <c:pt idx="11948">
                  <c:v>-0.84676839635213497</c:v>
                </c:pt>
                <c:pt idx="11949">
                  <c:v>-0.67667952843364798</c:v>
                </c:pt>
                <c:pt idx="11950">
                  <c:v>-0.40287793617462098</c:v>
                </c:pt>
                <c:pt idx="11951">
                  <c:v>-0.56466978614586505</c:v>
                </c:pt>
                <c:pt idx="11952">
                  <c:v>-0.55222425922499996</c:v>
                </c:pt>
                <c:pt idx="11953">
                  <c:v>-0.41532346309548601</c:v>
                </c:pt>
                <c:pt idx="11954">
                  <c:v>-5.44031823904053E-2</c:v>
                </c:pt>
                <c:pt idx="11955">
                  <c:v>-0.23278906825613499</c:v>
                </c:pt>
                <c:pt idx="11956">
                  <c:v>-0.19545248749353999</c:v>
                </c:pt>
                <c:pt idx="11957">
                  <c:v>-0.36554135541202698</c:v>
                </c:pt>
                <c:pt idx="11958">
                  <c:v>-0.236937577229757</c:v>
                </c:pt>
                <c:pt idx="11959">
                  <c:v>-0.36968986438564799</c:v>
                </c:pt>
                <c:pt idx="11960">
                  <c:v>-0.35724433746478401</c:v>
                </c:pt>
                <c:pt idx="11961">
                  <c:v>-0.40287793617462098</c:v>
                </c:pt>
                <c:pt idx="11962">
                  <c:v>-0.40287793617462098</c:v>
                </c:pt>
                <c:pt idx="11963">
                  <c:v>-0.37383837335927</c:v>
                </c:pt>
                <c:pt idx="11964">
                  <c:v>0.119834194501703</c:v>
                </c:pt>
                <c:pt idx="11965">
                  <c:v>0.23599244576310799</c:v>
                </c:pt>
                <c:pt idx="11966">
                  <c:v>0.22769542781586499</c:v>
                </c:pt>
                <c:pt idx="11967">
                  <c:v>0.41022982265521601</c:v>
                </c:pt>
                <c:pt idx="11968">
                  <c:v>0.77944712130754001</c:v>
                </c:pt>
                <c:pt idx="11969">
                  <c:v>0.93294195333153995</c:v>
                </c:pt>
                <c:pt idx="11970">
                  <c:v>0.970278534094135</c:v>
                </c:pt>
                <c:pt idx="11971">
                  <c:v>0.91219940846343195</c:v>
                </c:pt>
                <c:pt idx="11972">
                  <c:v>0.90390239051618904</c:v>
                </c:pt>
                <c:pt idx="11973">
                  <c:v>1.26897118019489</c:v>
                </c:pt>
                <c:pt idx="11974">
                  <c:v>1.31045626993111</c:v>
                </c:pt>
                <c:pt idx="11975">
                  <c:v>1.1901495096960799</c:v>
                </c:pt>
                <c:pt idx="11976">
                  <c:v>1.45150557503424</c:v>
                </c:pt>
                <c:pt idx="11977">
                  <c:v>1.0615457315138099</c:v>
                </c:pt>
                <c:pt idx="11978">
                  <c:v>1.11547634817089</c:v>
                </c:pt>
                <c:pt idx="11979">
                  <c:v>1.2150405635378101</c:v>
                </c:pt>
                <c:pt idx="11980">
                  <c:v>1.72530716729327</c:v>
                </c:pt>
                <c:pt idx="11981">
                  <c:v>1.41002048529803</c:v>
                </c:pt>
                <c:pt idx="11982">
                  <c:v>1.37268390453543</c:v>
                </c:pt>
                <c:pt idx="11983">
                  <c:v>1.5012876827177</c:v>
                </c:pt>
                <c:pt idx="11984">
                  <c:v>1.58010935321651</c:v>
                </c:pt>
                <c:pt idx="11985">
                  <c:v>0.91219940846343195</c:v>
                </c:pt>
                <c:pt idx="11986">
                  <c:v>3.4469383913462401</c:v>
                </c:pt>
                <c:pt idx="11987">
                  <c:v>3.1814338170344598</c:v>
                </c:pt>
                <c:pt idx="11988">
                  <c:v>2.7956224824876501</c:v>
                </c:pt>
                <c:pt idx="11989">
                  <c:v>2.3475835133365099</c:v>
                </c:pt>
                <c:pt idx="11990">
                  <c:v>2.4139596569144599</c:v>
                </c:pt>
                <c:pt idx="11991">
                  <c:v>2.38077158512549</c:v>
                </c:pt>
                <c:pt idx="11992">
                  <c:v>2.31854395052116</c:v>
                </c:pt>
                <c:pt idx="11993">
                  <c:v>2.2563163159168398</c:v>
                </c:pt>
                <c:pt idx="11994">
                  <c:v>2.2148312261806198</c:v>
                </c:pt>
                <c:pt idx="11995">
                  <c:v>2.4222566748616989</c:v>
                </c:pt>
                <c:pt idx="11996">
                  <c:v>2.3890686030727291</c:v>
                </c:pt>
                <c:pt idx="11997">
                  <c:v>2.4969298363868901</c:v>
                </c:pt>
                <c:pt idx="11998">
                  <c:v>2.38492009409911</c:v>
                </c:pt>
                <c:pt idx="11999">
                  <c:v>2.4098111479408399</c:v>
                </c:pt>
                <c:pt idx="12000">
                  <c:v>2.4554447466506701</c:v>
                </c:pt>
                <c:pt idx="12001">
                  <c:v>2.4015141299935889</c:v>
                </c:pt>
                <c:pt idx="12002">
                  <c:v>2.34343500436289</c:v>
                </c:pt>
                <c:pt idx="12003">
                  <c:v>2.351732022310129</c:v>
                </c:pt>
                <c:pt idx="12004">
                  <c:v>2.2729103518113201</c:v>
                </c:pt>
                <c:pt idx="12005">
                  <c:v>2.2106827172069998</c:v>
                </c:pt>
                <c:pt idx="12006">
                  <c:v>2.1567521005499191</c:v>
                </c:pt>
                <c:pt idx="12007">
                  <c:v>1.9078415621326199</c:v>
                </c:pt>
                <c:pt idx="12008">
                  <c:v>1.81657436471295</c:v>
                </c:pt>
                <c:pt idx="12009">
                  <c:v>1.83731690958105</c:v>
                </c:pt>
                <c:pt idx="12010">
                  <c:v>0.74211054054494596</c:v>
                </c:pt>
                <c:pt idx="12011">
                  <c:v>0.559576145705594</c:v>
                </c:pt>
                <c:pt idx="12012">
                  <c:v>0.68817992388786497</c:v>
                </c:pt>
                <c:pt idx="12013">
                  <c:v>0.54713061878472902</c:v>
                </c:pt>
                <c:pt idx="12014">
                  <c:v>0.50979403802213497</c:v>
                </c:pt>
                <c:pt idx="12015">
                  <c:v>0.29822008036743203</c:v>
                </c:pt>
                <c:pt idx="12016">
                  <c:v>0.27747753549932402</c:v>
                </c:pt>
                <c:pt idx="12017">
                  <c:v>0.306517098314676</c:v>
                </c:pt>
                <c:pt idx="12018">
                  <c:v>0.39778429573435098</c:v>
                </c:pt>
                <c:pt idx="12019">
                  <c:v>-0.120779325968351</c:v>
                </c:pt>
                <c:pt idx="12020">
                  <c:v>-0.17470994262543199</c:v>
                </c:pt>
                <c:pt idx="12021">
                  <c:v>-0.27012564901872999</c:v>
                </c:pt>
                <c:pt idx="12022">
                  <c:v>-0.21204652338802699</c:v>
                </c:pt>
                <c:pt idx="12023">
                  <c:v>-0.31161073875494599</c:v>
                </c:pt>
                <c:pt idx="12024">
                  <c:v>-0.26182863107148602</c:v>
                </c:pt>
                <c:pt idx="12025">
                  <c:v>-0.25768012209786501</c:v>
                </c:pt>
                <c:pt idx="12026">
                  <c:v>-0.24938310415062101</c:v>
                </c:pt>
                <c:pt idx="12027">
                  <c:v>-0.53977873230413498</c:v>
                </c:pt>
                <c:pt idx="12028">
                  <c:v>-0.34894731951753999</c:v>
                </c:pt>
                <c:pt idx="12029">
                  <c:v>-0.38213539130651297</c:v>
                </c:pt>
                <c:pt idx="12030">
                  <c:v>-0.44436302591083798</c:v>
                </c:pt>
                <c:pt idx="12031">
                  <c:v>-0.34065030157029702</c:v>
                </c:pt>
                <c:pt idx="12032">
                  <c:v>-0.44021451693721603</c:v>
                </c:pt>
                <c:pt idx="12033">
                  <c:v>-0.34065030157029702</c:v>
                </c:pt>
                <c:pt idx="12034">
                  <c:v>-0.43606600796359402</c:v>
                </c:pt>
                <c:pt idx="12035">
                  <c:v>-0.34894731951753999</c:v>
                </c:pt>
                <c:pt idx="12036">
                  <c:v>-0.42776899001635099</c:v>
                </c:pt>
                <c:pt idx="12037">
                  <c:v>-0.55637276819862103</c:v>
                </c:pt>
                <c:pt idx="12038">
                  <c:v>-0.489996624620675</c:v>
                </c:pt>
                <c:pt idx="12039">
                  <c:v>-0.51073916948878395</c:v>
                </c:pt>
                <c:pt idx="12040">
                  <c:v>-0.55637276819862103</c:v>
                </c:pt>
                <c:pt idx="12041">
                  <c:v>-0.21204652338802699</c:v>
                </c:pt>
                <c:pt idx="12042">
                  <c:v>-0.35724433746478401</c:v>
                </c:pt>
                <c:pt idx="12043">
                  <c:v>-0.19130397851991901</c:v>
                </c:pt>
                <c:pt idx="12044">
                  <c:v>-0.36554135541202698</c:v>
                </c:pt>
                <c:pt idx="12045">
                  <c:v>4.9309541950135198E-2</c:v>
                </c:pt>
                <c:pt idx="12046">
                  <c:v>5.7606559897378402E-2</c:v>
                </c:pt>
                <c:pt idx="12047">
                  <c:v>-1.29180926541891E-2</c:v>
                </c:pt>
                <c:pt idx="12048">
                  <c:v>-1.29180926541891E-2</c:v>
                </c:pt>
                <c:pt idx="12049">
                  <c:v>-5.8551691364026999E-2</c:v>
                </c:pt>
                <c:pt idx="12050">
                  <c:v>-0.104185290073865</c:v>
                </c:pt>
                <c:pt idx="12051">
                  <c:v>-0.100036781100243</c:v>
                </c:pt>
                <c:pt idx="12052">
                  <c:v>-0.11248230802110799</c:v>
                </c:pt>
                <c:pt idx="12053">
                  <c:v>-4.7256573332428599E-4</c:v>
                </c:pt>
                <c:pt idx="12054">
                  <c:v>-0.149818888783703</c:v>
                </c:pt>
                <c:pt idx="12055">
                  <c:v>0.327259643182784</c:v>
                </c:pt>
                <c:pt idx="12056">
                  <c:v>0.49320000212764797</c:v>
                </c:pt>
                <c:pt idx="12057">
                  <c:v>0.50564552904851301</c:v>
                </c:pt>
                <c:pt idx="12058">
                  <c:v>0.47245745725954003</c:v>
                </c:pt>
                <c:pt idx="12059">
                  <c:v>0.63424930723078399</c:v>
                </c:pt>
                <c:pt idx="12060">
                  <c:v>0.82922922899100004</c:v>
                </c:pt>
                <c:pt idx="12061">
                  <c:v>1.47639662887597</c:v>
                </c:pt>
                <c:pt idx="12062">
                  <c:v>1.3353473237728399</c:v>
                </c:pt>
                <c:pt idx="12063">
                  <c:v>1.0905852943291601</c:v>
                </c:pt>
                <c:pt idx="12064">
                  <c:v>1.0698427494610501</c:v>
                </c:pt>
                <c:pt idx="12065">
                  <c:v>1.0739912584346789</c:v>
                </c:pt>
                <c:pt idx="12066">
                  <c:v>1.18600100072246</c:v>
                </c:pt>
                <c:pt idx="12067">
                  <c:v>1.39342644940354</c:v>
                </c:pt>
                <c:pt idx="12068">
                  <c:v>1.3643868865881901</c:v>
                </c:pt>
                <c:pt idx="12069">
                  <c:v>1.5054361916913199</c:v>
                </c:pt>
                <c:pt idx="12070">
                  <c:v>1.43076303016613</c:v>
                </c:pt>
                <c:pt idx="12071">
                  <c:v>1.5676638262956499</c:v>
                </c:pt>
                <c:pt idx="12072">
                  <c:v>1.41831750324527</c:v>
                </c:pt>
                <c:pt idx="12073">
                  <c:v>1.31045626993111</c:v>
                </c:pt>
                <c:pt idx="12074">
                  <c:v>1.3187532878783499</c:v>
                </c:pt>
                <c:pt idx="12075">
                  <c:v>1.4224660122188899</c:v>
                </c:pt>
                <c:pt idx="12076">
                  <c:v>1.43076303016613</c:v>
                </c:pt>
                <c:pt idx="12077">
                  <c:v>1.5303272455330501</c:v>
                </c:pt>
                <c:pt idx="12078">
                  <c:v>1.3229017968519701</c:v>
                </c:pt>
                <c:pt idx="12079">
                  <c:v>1.49713917374408</c:v>
                </c:pt>
                <c:pt idx="12080">
                  <c:v>1.62574295192635</c:v>
                </c:pt>
                <c:pt idx="12081">
                  <c:v>1.5510697904011601</c:v>
                </c:pt>
                <c:pt idx="12082">
                  <c:v>3.31418610419035</c:v>
                </c:pt>
                <c:pt idx="12083">
                  <c:v>3.07772109269392</c:v>
                </c:pt>
                <c:pt idx="12084">
                  <c:v>2.7002067760943498</c:v>
                </c:pt>
                <c:pt idx="12085">
                  <c:v>2.6338306325163998</c:v>
                </c:pt>
                <c:pt idx="12086">
                  <c:v>2.2314252620751098</c:v>
                </c:pt>
                <c:pt idx="12087">
                  <c:v>2.1235640287609399</c:v>
                </c:pt>
                <c:pt idx="12088">
                  <c:v>2.2480192979695901</c:v>
                </c:pt>
                <c:pt idx="12089">
                  <c:v>2.2646133338640801</c:v>
                </c:pt>
                <c:pt idx="12090">
                  <c:v>2.2563163159168398</c:v>
                </c:pt>
                <c:pt idx="12091">
                  <c:v>2.2521678069432198</c:v>
                </c:pt>
                <c:pt idx="12092">
                  <c:v>2.2521678069432198</c:v>
                </c:pt>
                <c:pt idx="12093">
                  <c:v>2.2106827172069998</c:v>
                </c:pt>
                <c:pt idx="12094">
                  <c:v>2.09037595697197</c:v>
                </c:pt>
                <c:pt idx="12095">
                  <c:v>2.1484550826026698</c:v>
                </c:pt>
                <c:pt idx="12096">
                  <c:v>2.1194155197873199</c:v>
                </c:pt>
                <c:pt idx="12097">
                  <c:v>2.09037595697197</c:v>
                </c:pt>
                <c:pt idx="12098">
                  <c:v>2.0198513044204001</c:v>
                </c:pt>
                <c:pt idx="12099">
                  <c:v>2.1235640287609399</c:v>
                </c:pt>
                <c:pt idx="12100">
                  <c:v>1.9493266518688399</c:v>
                </c:pt>
                <c:pt idx="12101">
                  <c:v>2.0157027954467801</c:v>
                </c:pt>
                <c:pt idx="12102">
                  <c:v>1.85805945444916</c:v>
                </c:pt>
                <c:pt idx="12103">
                  <c:v>1.43906004811338</c:v>
                </c:pt>
                <c:pt idx="12104">
                  <c:v>1.3602383776145699</c:v>
                </c:pt>
                <c:pt idx="12105">
                  <c:v>1.33119881479922</c:v>
                </c:pt>
                <c:pt idx="12106">
                  <c:v>0.78774413925478304</c:v>
                </c:pt>
                <c:pt idx="12107">
                  <c:v>0.27332902652570301</c:v>
                </c:pt>
                <c:pt idx="12108">
                  <c:v>2.4418488108405401E-2</c:v>
                </c:pt>
                <c:pt idx="12109">
                  <c:v>-3.3660637522297199E-2</c:v>
                </c:pt>
                <c:pt idx="12110">
                  <c:v>3.6759432402973299E-3</c:v>
                </c:pt>
                <c:pt idx="12111">
                  <c:v>0.24428946371035101</c:v>
                </c:pt>
                <c:pt idx="12112">
                  <c:v>4.1012524002891897E-2</c:v>
                </c:pt>
                <c:pt idx="12113">
                  <c:v>0.19035884705327</c:v>
                </c:pt>
                <c:pt idx="12114">
                  <c:v>3.6759432402973299E-3</c:v>
                </c:pt>
                <c:pt idx="12115">
                  <c:v>7.0052086818243306E-2</c:v>
                </c:pt>
                <c:pt idx="12116">
                  <c:v>-7.9294236232135107E-2</c:v>
                </c:pt>
                <c:pt idx="12117">
                  <c:v>-0.158115906730946</c:v>
                </c:pt>
                <c:pt idx="12118">
                  <c:v>-5.44031823904053E-2</c:v>
                </c:pt>
                <c:pt idx="12119">
                  <c:v>-5.44031823904053E-2</c:v>
                </c:pt>
                <c:pt idx="12120">
                  <c:v>-0.22034354133527001</c:v>
                </c:pt>
                <c:pt idx="12121">
                  <c:v>-0.11248230802110799</c:v>
                </c:pt>
                <c:pt idx="12122">
                  <c:v>-0.14152187083645901</c:v>
                </c:pt>
                <c:pt idx="12123">
                  <c:v>-0.20374950544078399</c:v>
                </c:pt>
                <c:pt idx="12124">
                  <c:v>-6.2700200337648601E-2</c:v>
                </c:pt>
                <c:pt idx="12125">
                  <c:v>-8.7591254179378297E-2</c:v>
                </c:pt>
                <c:pt idx="12126">
                  <c:v>-4.7256573332428599E-4</c:v>
                </c:pt>
                <c:pt idx="12127">
                  <c:v>-8.7591254179378297E-2</c:v>
                </c:pt>
                <c:pt idx="12128">
                  <c:v>-4.19576554695405E-2</c:v>
                </c:pt>
                <c:pt idx="12129">
                  <c:v>-0.23278906825613499</c:v>
                </c:pt>
                <c:pt idx="12130">
                  <c:v>-0.11663081699473</c:v>
                </c:pt>
                <c:pt idx="12131">
                  <c:v>-0.23278906825613499</c:v>
                </c:pt>
                <c:pt idx="12132">
                  <c:v>-0.16226441570456701</c:v>
                </c:pt>
                <c:pt idx="12133">
                  <c:v>-0.216195032361649</c:v>
                </c:pt>
                <c:pt idx="12134">
                  <c:v>-0.35724433746478401</c:v>
                </c:pt>
                <c:pt idx="12135">
                  <c:v>-0.31575924772856701</c:v>
                </c:pt>
                <c:pt idx="12136">
                  <c:v>-0.28671968491321598</c:v>
                </c:pt>
                <c:pt idx="12137">
                  <c:v>-0.34479881054391898</c:v>
                </c:pt>
                <c:pt idx="12138">
                  <c:v>-0.29916521183408101</c:v>
                </c:pt>
                <c:pt idx="12139">
                  <c:v>-0.32820477464943199</c:v>
                </c:pt>
                <c:pt idx="12140">
                  <c:v>-0.39872942720100002</c:v>
                </c:pt>
                <c:pt idx="12141">
                  <c:v>-0.27012564901872999</c:v>
                </c:pt>
                <c:pt idx="12142">
                  <c:v>-0.14152187083645901</c:v>
                </c:pt>
                <c:pt idx="12143">
                  <c:v>-0.38628390028013498</c:v>
                </c:pt>
                <c:pt idx="12144">
                  <c:v>-0.47755109769981102</c:v>
                </c:pt>
                <c:pt idx="12145">
                  <c:v>-0.37383837335927</c:v>
                </c:pt>
                <c:pt idx="12146">
                  <c:v>-0.45680855283170202</c:v>
                </c:pt>
                <c:pt idx="12147">
                  <c:v>-0.38628390028013498</c:v>
                </c:pt>
                <c:pt idx="12148">
                  <c:v>-0.53977873230413498</c:v>
                </c:pt>
                <c:pt idx="12149">
                  <c:v>-0.47755109769981102</c:v>
                </c:pt>
                <c:pt idx="12150">
                  <c:v>-0.46095706180532398</c:v>
                </c:pt>
                <c:pt idx="12151">
                  <c:v>-0.41532346309548601</c:v>
                </c:pt>
                <c:pt idx="12152">
                  <c:v>-0.48169960667343198</c:v>
                </c:pt>
                <c:pt idx="12153">
                  <c:v>-0.29916521183408101</c:v>
                </c:pt>
                <c:pt idx="12154">
                  <c:v>-0.58126382204035099</c:v>
                </c:pt>
                <c:pt idx="12155">
                  <c:v>0.42267534957608099</c:v>
                </c:pt>
                <c:pt idx="12156">
                  <c:v>0.182061829106027</c:v>
                </c:pt>
                <c:pt idx="12157">
                  <c:v>0.27332902652570301</c:v>
                </c:pt>
                <c:pt idx="12158">
                  <c:v>0.15717077526429701</c:v>
                </c:pt>
                <c:pt idx="12159">
                  <c:v>0.53883360083748599</c:v>
                </c:pt>
                <c:pt idx="12160">
                  <c:v>0.22769542781586499</c:v>
                </c:pt>
                <c:pt idx="12161">
                  <c:v>0.20695288294775699</c:v>
                </c:pt>
                <c:pt idx="12162">
                  <c:v>-8.7695836805675303E-3</c:v>
                </c:pt>
                <c:pt idx="12163">
                  <c:v>0.19865586500051299</c:v>
                </c:pt>
                <c:pt idx="12164">
                  <c:v>4.5161032976513499E-2</c:v>
                </c:pt>
                <c:pt idx="12165">
                  <c:v>0.14887375731705399</c:v>
                </c:pt>
                <c:pt idx="12166">
                  <c:v>5.7606559897378402E-2</c:v>
                </c:pt>
                <c:pt idx="12167">
                  <c:v>5.7606559897378402E-2</c:v>
                </c:pt>
                <c:pt idx="12168">
                  <c:v>0.44756640341781101</c:v>
                </c:pt>
                <c:pt idx="12169">
                  <c:v>0.29822008036743203</c:v>
                </c:pt>
                <c:pt idx="12170">
                  <c:v>0.43097236752332402</c:v>
                </c:pt>
                <c:pt idx="12171">
                  <c:v>0.21524990089500001</c:v>
                </c:pt>
                <c:pt idx="12172">
                  <c:v>0.43097236752332402</c:v>
                </c:pt>
                <c:pt idx="12173">
                  <c:v>0.38948727778710801</c:v>
                </c:pt>
                <c:pt idx="12174">
                  <c:v>0.64669483415164797</c:v>
                </c:pt>
                <c:pt idx="12175">
                  <c:v>0.77115010336029699</c:v>
                </c:pt>
                <c:pt idx="12176">
                  <c:v>0.74625904951856703</c:v>
                </c:pt>
                <c:pt idx="12177">
                  <c:v>1.0491002045929501</c:v>
                </c:pt>
                <c:pt idx="12178">
                  <c:v>0.85826879180635096</c:v>
                </c:pt>
                <c:pt idx="12179">
                  <c:v>0.64669483415164797</c:v>
                </c:pt>
                <c:pt idx="12180">
                  <c:v>0.53053658289024297</c:v>
                </c:pt>
                <c:pt idx="12181">
                  <c:v>0.64254632517802701</c:v>
                </c:pt>
                <c:pt idx="12182">
                  <c:v>1.0242091507512201</c:v>
                </c:pt>
                <c:pt idx="12183">
                  <c:v>1.0864367853555399</c:v>
                </c:pt>
                <c:pt idx="12184">
                  <c:v>1.1113278391972701</c:v>
                </c:pt>
                <c:pt idx="12185">
                  <c:v>0.970278534094135</c:v>
                </c:pt>
                <c:pt idx="12186">
                  <c:v>0.96198151614689098</c:v>
                </c:pt>
                <c:pt idx="12187">
                  <c:v>0.67988290594062095</c:v>
                </c:pt>
                <c:pt idx="12188">
                  <c:v>1.05739722254019</c:v>
                </c:pt>
                <c:pt idx="12189">
                  <c:v>1.2606741622476501</c:v>
                </c:pt>
                <c:pt idx="12190">
                  <c:v>1.19844652764332</c:v>
                </c:pt>
                <c:pt idx="12191">
                  <c:v>1.2565256532740301</c:v>
                </c:pt>
                <c:pt idx="12192">
                  <c:v>0.92049642641067497</c:v>
                </c:pt>
                <c:pt idx="12193">
                  <c:v>0.95783300717327002</c:v>
                </c:pt>
                <c:pt idx="12194">
                  <c:v>0.72551650465045903</c:v>
                </c:pt>
                <c:pt idx="12195">
                  <c:v>1.136218893039</c:v>
                </c:pt>
                <c:pt idx="12196">
                  <c:v>1.0242091507512201</c:v>
                </c:pt>
                <c:pt idx="12197">
                  <c:v>1.1113278391972701</c:v>
                </c:pt>
                <c:pt idx="12198">
                  <c:v>1.2108920545641899</c:v>
                </c:pt>
                <c:pt idx="12199">
                  <c:v>0.87486282770083701</c:v>
                </c:pt>
                <c:pt idx="12200">
                  <c:v>0.76700159438667503</c:v>
                </c:pt>
                <c:pt idx="12201">
                  <c:v>0.65084334312527004</c:v>
                </c:pt>
                <c:pt idx="12202">
                  <c:v>0.61765527133629705</c:v>
                </c:pt>
                <c:pt idx="12203">
                  <c:v>0.32311113420916199</c:v>
                </c:pt>
                <c:pt idx="12204">
                  <c:v>0.11568568552808101</c:v>
                </c:pt>
                <c:pt idx="12205">
                  <c:v>0.327259643182784</c:v>
                </c:pt>
                <c:pt idx="12206">
                  <c:v>0.211101391921378</c:v>
                </c:pt>
                <c:pt idx="12207">
                  <c:v>0.248437972683973</c:v>
                </c:pt>
                <c:pt idx="12208">
                  <c:v>0.14472524834343201</c:v>
                </c:pt>
                <c:pt idx="12209">
                  <c:v>0.26503200857845899</c:v>
                </c:pt>
                <c:pt idx="12210">
                  <c:v>2.8566997082027101E-2</c:v>
                </c:pt>
                <c:pt idx="12211">
                  <c:v>0.29407157139381102</c:v>
                </c:pt>
                <c:pt idx="12212">
                  <c:v>3.2715506055648699E-2</c:v>
                </c:pt>
                <c:pt idx="12213">
                  <c:v>0.32311113420916199</c:v>
                </c:pt>
                <c:pt idx="12214">
                  <c:v>6.59035778446216E-2</c:v>
                </c:pt>
                <c:pt idx="12215">
                  <c:v>0.29407157139381102</c:v>
                </c:pt>
                <c:pt idx="12216">
                  <c:v>0.14472524834343201</c:v>
                </c:pt>
                <c:pt idx="12217">
                  <c:v>7.4200595791864901E-2</c:v>
                </c:pt>
                <c:pt idx="12218">
                  <c:v>-6.6848709311270196E-2</c:v>
                </c:pt>
                <c:pt idx="12219">
                  <c:v>-9.5888272126621502E-2</c:v>
                </c:pt>
                <c:pt idx="12220">
                  <c:v>-0.108333799047486</c:v>
                </c:pt>
                <c:pt idx="12221">
                  <c:v>-0.17470994262543199</c:v>
                </c:pt>
                <c:pt idx="12222">
                  <c:v>-0.236937577229757</c:v>
                </c:pt>
                <c:pt idx="12223">
                  <c:v>-0.34479881054391898</c:v>
                </c:pt>
                <c:pt idx="12224">
                  <c:v>-0.16226441570456701</c:v>
                </c:pt>
                <c:pt idx="12225">
                  <c:v>-0.18300696057267599</c:v>
                </c:pt>
                <c:pt idx="12226">
                  <c:v>-0.216195032361649</c:v>
                </c:pt>
                <c:pt idx="12227">
                  <c:v>-0.19960099646716201</c:v>
                </c:pt>
                <c:pt idx="12228">
                  <c:v>-0.19960099646716201</c:v>
                </c:pt>
                <c:pt idx="12229">
                  <c:v>-0.34065030157029702</c:v>
                </c:pt>
                <c:pt idx="12230">
                  <c:v>-0.187155469546297</c:v>
                </c:pt>
                <c:pt idx="12231">
                  <c:v>-0.38628390028013498</c:v>
                </c:pt>
                <c:pt idx="12232">
                  <c:v>-0.29916521183408101</c:v>
                </c:pt>
                <c:pt idx="12233">
                  <c:v>-0.39872942720100002</c:v>
                </c:pt>
                <c:pt idx="12234">
                  <c:v>-0.19960099646716201</c:v>
                </c:pt>
                <c:pt idx="12235">
                  <c:v>-0.36554135541202698</c:v>
                </c:pt>
                <c:pt idx="12236">
                  <c:v>-0.29916521183408101</c:v>
                </c:pt>
                <c:pt idx="12237">
                  <c:v>-0.40287793617462098</c:v>
                </c:pt>
                <c:pt idx="12238">
                  <c:v>-0.24108608620337801</c:v>
                </c:pt>
                <c:pt idx="12239">
                  <c:v>-0.46510557077894599</c:v>
                </c:pt>
                <c:pt idx="12240">
                  <c:v>-2.5363619575054001E-2</c:v>
                </c:pt>
                <c:pt idx="12241">
                  <c:v>-0.31990775670218902</c:v>
                </c:pt>
                <c:pt idx="12242">
                  <c:v>-0.295016702860459</c:v>
                </c:pt>
                <c:pt idx="12243">
                  <c:v>-0.42776899001635099</c:v>
                </c:pt>
                <c:pt idx="12244">
                  <c:v>-0.30331372080770302</c:v>
                </c:pt>
                <c:pt idx="12245">
                  <c:v>-0.43606600796359402</c:v>
                </c:pt>
                <c:pt idx="12246">
                  <c:v>-0.33650179259667501</c:v>
                </c:pt>
                <c:pt idx="12247">
                  <c:v>-0.489996624620675</c:v>
                </c:pt>
                <c:pt idx="12248">
                  <c:v>-0.32820477464943199</c:v>
                </c:pt>
                <c:pt idx="12249">
                  <c:v>-0.45266004385808101</c:v>
                </c:pt>
                <c:pt idx="12250">
                  <c:v>-0.31990775670218902</c:v>
                </c:pt>
                <c:pt idx="12251">
                  <c:v>-0.43606600796359402</c:v>
                </c:pt>
                <c:pt idx="12252">
                  <c:v>-0.187155469546297</c:v>
                </c:pt>
                <c:pt idx="12253">
                  <c:v>-0.11248230802110799</c:v>
                </c:pt>
                <c:pt idx="12254">
                  <c:v>-0.100036781100243</c:v>
                </c:pt>
                <c:pt idx="12255">
                  <c:v>-0.22449205030889199</c:v>
                </c:pt>
                <c:pt idx="12256">
                  <c:v>-7.5145727258513401E-2</c:v>
                </c:pt>
                <c:pt idx="12257">
                  <c:v>-0.19545248749353999</c:v>
                </c:pt>
                <c:pt idx="12258">
                  <c:v>-8.3442745205756702E-2</c:v>
                </c:pt>
                <c:pt idx="12259">
                  <c:v>-0.353095828491162</c:v>
                </c:pt>
                <c:pt idx="12260">
                  <c:v>-0.24938310415062101</c:v>
                </c:pt>
                <c:pt idx="12261">
                  <c:v>-0.274274157992351</c:v>
                </c:pt>
                <c:pt idx="12262">
                  <c:v>-0.274274157992351</c:v>
                </c:pt>
                <c:pt idx="12263">
                  <c:v>-0.187155469546297</c:v>
                </c:pt>
                <c:pt idx="12264">
                  <c:v>-0.30746222978132398</c:v>
                </c:pt>
                <c:pt idx="12265">
                  <c:v>-0.16226441570456701</c:v>
                </c:pt>
                <c:pt idx="12266">
                  <c:v>-0.129076343915595</c:v>
                </c:pt>
                <c:pt idx="12267">
                  <c:v>0.86656580975359399</c:v>
                </c:pt>
                <c:pt idx="12268">
                  <c:v>0.364596223945378</c:v>
                </c:pt>
                <c:pt idx="12269">
                  <c:v>0.33970517010364898</c:v>
                </c:pt>
                <c:pt idx="12270">
                  <c:v>0.60935825338905403</c:v>
                </c:pt>
                <c:pt idx="12271">
                  <c:v>0.41022982265521601</c:v>
                </c:pt>
                <c:pt idx="12272">
                  <c:v>0.82093221104375602</c:v>
                </c:pt>
                <c:pt idx="12273">
                  <c:v>0.89145686359532395</c:v>
                </c:pt>
                <c:pt idx="12274">
                  <c:v>0.80848668412289104</c:v>
                </c:pt>
                <c:pt idx="12275">
                  <c:v>0.73381352259770205</c:v>
                </c:pt>
                <c:pt idx="12276">
                  <c:v>0.77529861233391895</c:v>
                </c:pt>
                <c:pt idx="12277">
                  <c:v>1.0200606417775899</c:v>
                </c:pt>
                <c:pt idx="12278">
                  <c:v>1.14036740201262</c:v>
                </c:pt>
                <c:pt idx="12279">
                  <c:v>0.85826879180635096</c:v>
                </c:pt>
                <c:pt idx="12280">
                  <c:v>0.90805089948980999</c:v>
                </c:pt>
                <c:pt idx="12281">
                  <c:v>0.84997177385910805</c:v>
                </c:pt>
                <c:pt idx="12282">
                  <c:v>1.0242091507512201</c:v>
                </c:pt>
                <c:pt idx="12283">
                  <c:v>1.2316345994322999</c:v>
                </c:pt>
                <c:pt idx="12284">
                  <c:v>1.1237733661181299</c:v>
                </c:pt>
                <c:pt idx="12285">
                  <c:v>1.2316345994322999</c:v>
                </c:pt>
                <c:pt idx="12286">
                  <c:v>1.0034666058831101</c:v>
                </c:pt>
                <c:pt idx="12287">
                  <c:v>1.1237733661181299</c:v>
                </c:pt>
                <c:pt idx="12288">
                  <c:v>0.87901133667445897</c:v>
                </c:pt>
                <c:pt idx="12289">
                  <c:v>1.1528129289334901</c:v>
                </c:pt>
                <c:pt idx="12290">
                  <c:v>1.5137332096385701</c:v>
                </c:pt>
                <c:pt idx="12291">
                  <c:v>1.3851294314563001</c:v>
                </c:pt>
                <c:pt idx="12292">
                  <c:v>1.14036740201262</c:v>
                </c:pt>
                <c:pt idx="12293">
                  <c:v>1.26482267122127</c:v>
                </c:pt>
                <c:pt idx="12294">
                  <c:v>0.97442704306775596</c:v>
                </c:pt>
                <c:pt idx="12295">
                  <c:v>0.99931809690948603</c:v>
                </c:pt>
                <c:pt idx="12296">
                  <c:v>0.78774413925478304</c:v>
                </c:pt>
                <c:pt idx="12297">
                  <c:v>0.78774413925478304</c:v>
                </c:pt>
                <c:pt idx="12298">
                  <c:v>0.78774413925478304</c:v>
                </c:pt>
                <c:pt idx="12299">
                  <c:v>0.78774413925478304</c:v>
                </c:pt>
                <c:pt idx="12300">
                  <c:v>0.78774413925478304</c:v>
                </c:pt>
                <c:pt idx="12301">
                  <c:v>0.78774413925478304</c:v>
                </c:pt>
                <c:pt idx="12302">
                  <c:v>0.78774413925478304</c:v>
                </c:pt>
                <c:pt idx="12303">
                  <c:v>0.78774413925478304</c:v>
                </c:pt>
                <c:pt idx="12304">
                  <c:v>0.78774413925478304</c:v>
                </c:pt>
                <c:pt idx="12305">
                  <c:v>0.78774413925478304</c:v>
                </c:pt>
                <c:pt idx="12306">
                  <c:v>0.78774413925478304</c:v>
                </c:pt>
                <c:pt idx="12307">
                  <c:v>0.78774413925478304</c:v>
                </c:pt>
                <c:pt idx="12308">
                  <c:v>0.78774413925478304</c:v>
                </c:pt>
                <c:pt idx="12309">
                  <c:v>0.25258648165759501</c:v>
                </c:pt>
                <c:pt idx="12310">
                  <c:v>0.41437833162883803</c:v>
                </c:pt>
                <c:pt idx="12311">
                  <c:v>0.12813121244894601</c:v>
                </c:pt>
                <c:pt idx="12312">
                  <c:v>0.40193280470797299</c:v>
                </c:pt>
                <c:pt idx="12313">
                  <c:v>0.21524990089500001</c:v>
                </c:pt>
                <c:pt idx="12314">
                  <c:v>0.348002188050892</c:v>
                </c:pt>
                <c:pt idx="12315">
                  <c:v>-5.8551691364026999E-2</c:v>
                </c:pt>
                <c:pt idx="12316">
                  <c:v>0.16961630218516199</c:v>
                </c:pt>
                <c:pt idx="12317">
                  <c:v>-0.14152187083645901</c:v>
                </c:pt>
                <c:pt idx="12318">
                  <c:v>3.6759432402973299E-3</c:v>
                </c:pt>
                <c:pt idx="12319">
                  <c:v>-0.11248230802110799</c:v>
                </c:pt>
                <c:pt idx="12320">
                  <c:v>-0.11663081699473</c:v>
                </c:pt>
                <c:pt idx="12321">
                  <c:v>-7.0997218284891805E-2</c:v>
                </c:pt>
                <c:pt idx="12322">
                  <c:v>-7.0997218284891805E-2</c:v>
                </c:pt>
                <c:pt idx="12323">
                  <c:v>-4.7256573332428599E-4</c:v>
                </c:pt>
                <c:pt idx="12324">
                  <c:v>-7.5145727258513401E-2</c:v>
                </c:pt>
                <c:pt idx="12325">
                  <c:v>-4.19576554695405E-2</c:v>
                </c:pt>
                <c:pt idx="12326">
                  <c:v>-0.149818888783703</c:v>
                </c:pt>
                <c:pt idx="12327">
                  <c:v>-7.9294236232135107E-2</c:v>
                </c:pt>
                <c:pt idx="12328">
                  <c:v>-0.274274157992351</c:v>
                </c:pt>
                <c:pt idx="12329">
                  <c:v>0.601061235441811</c:v>
                </c:pt>
                <c:pt idx="12330">
                  <c:v>1.11962485714451</c:v>
                </c:pt>
                <c:pt idx="12331">
                  <c:v>0.45586342136505398</c:v>
                </c:pt>
                <c:pt idx="12332">
                  <c:v>0.49320000212764797</c:v>
                </c:pt>
                <c:pt idx="12333">
                  <c:v>0.67988290594062095</c:v>
                </c:pt>
                <c:pt idx="12334">
                  <c:v>0.51394254699575703</c:v>
                </c:pt>
                <c:pt idx="12335">
                  <c:v>0.601061235441811</c:v>
                </c:pt>
                <c:pt idx="12336">
                  <c:v>0.15717077526429701</c:v>
                </c:pt>
                <c:pt idx="12337">
                  <c:v>0.327259643182784</c:v>
                </c:pt>
                <c:pt idx="12338">
                  <c:v>0.22769542781586499</c:v>
                </c:pt>
                <c:pt idx="12339">
                  <c:v>0.29407157139381102</c:v>
                </c:pt>
                <c:pt idx="12340">
                  <c:v>0.44756640341781101</c:v>
                </c:pt>
                <c:pt idx="12341">
                  <c:v>0.47660596623316198</c:v>
                </c:pt>
                <c:pt idx="12342">
                  <c:v>0.84582326488548598</c:v>
                </c:pt>
                <c:pt idx="12343">
                  <c:v>0.63010079825716203</c:v>
                </c:pt>
                <c:pt idx="12344">
                  <c:v>1.0615457315138099</c:v>
                </c:pt>
                <c:pt idx="12345">
                  <c:v>0.99102107896224301</c:v>
                </c:pt>
                <c:pt idx="12346">
                  <c:v>1.1320703840653801</c:v>
                </c:pt>
                <c:pt idx="12347">
                  <c:v>0.72136799567683796</c:v>
                </c:pt>
                <c:pt idx="12348">
                  <c:v>1.56351531732203</c:v>
                </c:pt>
                <c:pt idx="12349">
                  <c:v>1.58425786219013</c:v>
                </c:pt>
                <c:pt idx="12350">
                  <c:v>1.45565408400786</c:v>
                </c:pt>
                <c:pt idx="12351">
                  <c:v>1.75434673010862</c:v>
                </c:pt>
                <c:pt idx="12352">
                  <c:v>1.26897118019489</c:v>
                </c:pt>
                <c:pt idx="12353">
                  <c:v>1.56351531732203</c:v>
                </c:pt>
                <c:pt idx="12354">
                  <c:v>2.899335206828189</c:v>
                </c:pt>
                <c:pt idx="12355">
                  <c:v>2.5881970338065701</c:v>
                </c:pt>
                <c:pt idx="12356">
                  <c:v>1.67137655063619</c:v>
                </c:pt>
                <c:pt idx="12357">
                  <c:v>1.6589310237153201</c:v>
                </c:pt>
                <c:pt idx="12358">
                  <c:v>1.5054361916913199</c:v>
                </c:pt>
                <c:pt idx="12359">
                  <c:v>1.56351531732203</c:v>
                </c:pt>
                <c:pt idx="12360">
                  <c:v>1.6298914608999699</c:v>
                </c:pt>
                <c:pt idx="12361">
                  <c:v>1.5676638262956499</c:v>
                </c:pt>
                <c:pt idx="12362">
                  <c:v>1.72945567626689</c:v>
                </c:pt>
                <c:pt idx="12363">
                  <c:v>1.6506340057680799</c:v>
                </c:pt>
                <c:pt idx="12364">
                  <c:v>1.70871313139878</c:v>
                </c:pt>
                <c:pt idx="12365">
                  <c:v>1.6506340057680799</c:v>
                </c:pt>
                <c:pt idx="12366">
                  <c:v>1.7667922570294901</c:v>
                </c:pt>
                <c:pt idx="12367">
                  <c:v>1.91613858007986</c:v>
                </c:pt>
                <c:pt idx="12368">
                  <c:v>2.1526035915763</c:v>
                </c:pt>
                <c:pt idx="12369">
                  <c:v>2.40566263896722</c:v>
                </c:pt>
                <c:pt idx="12370">
                  <c:v>2.2106827172069998</c:v>
                </c:pt>
                <c:pt idx="12371">
                  <c:v>2.2521678069432198</c:v>
                </c:pt>
                <c:pt idx="12372">
                  <c:v>2.2563163159168398</c:v>
                </c:pt>
                <c:pt idx="12373">
                  <c:v>2.2563163159168398</c:v>
                </c:pt>
                <c:pt idx="12374">
                  <c:v>2.3102469325739192</c:v>
                </c:pt>
                <c:pt idx="12375">
                  <c:v>2.3890686030727291</c:v>
                </c:pt>
                <c:pt idx="12376">
                  <c:v>2.3102469325739192</c:v>
                </c:pt>
                <c:pt idx="12377">
                  <c:v>2.4098111479408399</c:v>
                </c:pt>
                <c:pt idx="12378">
                  <c:v>2.4015141299935889</c:v>
                </c:pt>
                <c:pt idx="12379">
                  <c:v>2.4761872915187801</c:v>
                </c:pt>
                <c:pt idx="12380">
                  <c:v>2.10696999286646</c:v>
                </c:pt>
                <c:pt idx="12381">
                  <c:v>2.2148312261806198</c:v>
                </c:pt>
                <c:pt idx="12382">
                  <c:v>1.9493266518688399</c:v>
                </c:pt>
                <c:pt idx="12383">
                  <c:v>1.83731690958105</c:v>
                </c:pt>
                <c:pt idx="12384">
                  <c:v>1.7875348018975901</c:v>
                </c:pt>
                <c:pt idx="12385">
                  <c:v>1.750198221135</c:v>
                </c:pt>
                <c:pt idx="12386">
                  <c:v>1.7792377839503499</c:v>
                </c:pt>
                <c:pt idx="12387">
                  <c:v>1.6340399698735899</c:v>
                </c:pt>
                <c:pt idx="12388">
                  <c:v>1.7377526942141299</c:v>
                </c:pt>
                <c:pt idx="12389">
                  <c:v>1.70871313139878</c:v>
                </c:pt>
                <c:pt idx="12390">
                  <c:v>1.43906004811338</c:v>
                </c:pt>
                <c:pt idx="12391">
                  <c:v>1.3975749583771599</c:v>
                </c:pt>
                <c:pt idx="12392">
                  <c:v>1.41831750324527</c:v>
                </c:pt>
                <c:pt idx="12393">
                  <c:v>1.24822863532678</c:v>
                </c:pt>
                <c:pt idx="12394">
                  <c:v>0.58861570852094602</c:v>
                </c:pt>
                <c:pt idx="12395">
                  <c:v>0.53053658289024297</c:v>
                </c:pt>
                <c:pt idx="12396">
                  <c:v>0.31896262523553998</c:v>
                </c:pt>
                <c:pt idx="12397">
                  <c:v>0.27332902652570301</c:v>
                </c:pt>
                <c:pt idx="12398">
                  <c:v>0.29822008036743203</c:v>
                </c:pt>
                <c:pt idx="12399">
                  <c:v>0.41852684060245898</c:v>
                </c:pt>
                <c:pt idx="12400">
                  <c:v>0.119834194501703</c:v>
                </c:pt>
                <c:pt idx="12401">
                  <c:v>0.47660596623316198</c:v>
                </c:pt>
                <c:pt idx="12402">
                  <c:v>0.29822008036743203</c:v>
                </c:pt>
                <c:pt idx="12403">
                  <c:v>-6.2700200337648601E-2</c:v>
                </c:pt>
                <c:pt idx="12404">
                  <c:v>-0.17470994262543199</c:v>
                </c:pt>
                <c:pt idx="12405">
                  <c:v>-0.19960099646716201</c:v>
                </c:pt>
                <c:pt idx="12406">
                  <c:v>-0.120779325968351</c:v>
                </c:pt>
                <c:pt idx="12407">
                  <c:v>-0.129076343915595</c:v>
                </c:pt>
                <c:pt idx="12408">
                  <c:v>-0.20374950544078399</c:v>
                </c:pt>
                <c:pt idx="12409">
                  <c:v>-0.14152187083645901</c:v>
                </c:pt>
                <c:pt idx="12410">
                  <c:v>-0.124927834941973</c:v>
                </c:pt>
                <c:pt idx="12411">
                  <c:v>-0.23278906825613499</c:v>
                </c:pt>
                <c:pt idx="12412">
                  <c:v>-0.17470994262543199</c:v>
                </c:pt>
                <c:pt idx="12413">
                  <c:v>-0.11248230802110799</c:v>
                </c:pt>
                <c:pt idx="12414">
                  <c:v>-3.7809146495918898E-2</c:v>
                </c:pt>
                <c:pt idx="12415">
                  <c:v>-5.44031823904053E-2</c:v>
                </c:pt>
                <c:pt idx="12416">
                  <c:v>-0.207898014414405</c:v>
                </c:pt>
                <c:pt idx="12417">
                  <c:v>-2.95121285486756E-2</c:v>
                </c:pt>
                <c:pt idx="12418">
                  <c:v>-0.23278906825613499</c:v>
                </c:pt>
                <c:pt idx="12419">
                  <c:v>2.4418488108405401E-2</c:v>
                </c:pt>
                <c:pt idx="12420">
                  <c:v>-0.25353161312424299</c:v>
                </c:pt>
                <c:pt idx="12421">
                  <c:v>-0.104185290073865</c:v>
                </c:pt>
                <c:pt idx="12422">
                  <c:v>-0.44436302591083798</c:v>
                </c:pt>
                <c:pt idx="12423">
                  <c:v>-0.26597714004510797</c:v>
                </c:pt>
                <c:pt idx="12424">
                  <c:v>-0.216195032361649</c:v>
                </c:pt>
                <c:pt idx="12425">
                  <c:v>0.12813121244894601</c:v>
                </c:pt>
                <c:pt idx="12426">
                  <c:v>-0.149818888783703</c:v>
                </c:pt>
                <c:pt idx="12427">
                  <c:v>-0.187155469546297</c:v>
                </c:pt>
                <c:pt idx="12428">
                  <c:v>0.161319284237919</c:v>
                </c:pt>
                <c:pt idx="12429">
                  <c:v>0.48905149315402702</c:v>
                </c:pt>
                <c:pt idx="12430">
                  <c:v>0.29407157139381102</c:v>
                </c:pt>
                <c:pt idx="12431">
                  <c:v>0.37289324189262102</c:v>
                </c:pt>
                <c:pt idx="12432">
                  <c:v>9.4943140659973002E-2</c:v>
                </c:pt>
                <c:pt idx="12433">
                  <c:v>0.385338768813486</c:v>
                </c:pt>
                <c:pt idx="12434">
                  <c:v>0.22354691884224301</c:v>
                </c:pt>
                <c:pt idx="12435">
                  <c:v>0.202804373974135</c:v>
                </c:pt>
                <c:pt idx="12436">
                  <c:v>0.20695288294775699</c:v>
                </c:pt>
                <c:pt idx="12437">
                  <c:v>0.39778429573435098</c:v>
                </c:pt>
                <c:pt idx="12438">
                  <c:v>0.123982703475324</c:v>
                </c:pt>
                <c:pt idx="12439">
                  <c:v>0.87071431872721605</c:v>
                </c:pt>
                <c:pt idx="12440">
                  <c:v>0.580318690573702</c:v>
                </c:pt>
                <c:pt idx="12441">
                  <c:v>0.63424930723078399</c:v>
                </c:pt>
                <c:pt idx="12442">
                  <c:v>0.58861570852094602</c:v>
                </c:pt>
                <c:pt idx="12443">
                  <c:v>1.05324871356657</c:v>
                </c:pt>
                <c:pt idx="12444">
                  <c:v>1.4058719763244001</c:v>
                </c:pt>
                <c:pt idx="12445">
                  <c:v>1.4058719763244001</c:v>
                </c:pt>
                <c:pt idx="12446">
                  <c:v>1.0905852943291601</c:v>
                </c:pt>
                <c:pt idx="12447">
                  <c:v>1.0864367853555399</c:v>
                </c:pt>
                <c:pt idx="12448">
                  <c:v>1.03250616869846</c:v>
                </c:pt>
                <c:pt idx="12449">
                  <c:v>1.3851294314563001</c:v>
                </c:pt>
                <c:pt idx="12450">
                  <c:v>1.5552182993747801</c:v>
                </c:pt>
                <c:pt idx="12451">
                  <c:v>1.58010935321651</c:v>
                </c:pt>
                <c:pt idx="12452">
                  <c:v>1.4266145211925101</c:v>
                </c:pt>
                <c:pt idx="12453">
                  <c:v>1.49713917374408</c:v>
                </c:pt>
                <c:pt idx="12454">
                  <c:v>1.4680996109287301</c:v>
                </c:pt>
                <c:pt idx="12455">
                  <c:v>1.1113278391972701</c:v>
                </c:pt>
                <c:pt idx="12456">
                  <c:v>1.2565256532740301</c:v>
                </c:pt>
                <c:pt idx="12457">
                  <c:v>1.6298914608999699</c:v>
                </c:pt>
                <c:pt idx="12458">
                  <c:v>1.7460497121613801</c:v>
                </c:pt>
                <c:pt idx="12459">
                  <c:v>1.62574295192635</c:v>
                </c:pt>
                <c:pt idx="12460">
                  <c:v>1.6962676044779199</c:v>
                </c:pt>
                <c:pt idx="12461">
                  <c:v>2.9200777516962999</c:v>
                </c:pt>
                <c:pt idx="12462">
                  <c:v>2.2812073697585702</c:v>
                </c:pt>
                <c:pt idx="12463">
                  <c:v>2.06548490313024</c:v>
                </c:pt>
                <c:pt idx="12464">
                  <c:v>2.0032572685259198</c:v>
                </c:pt>
                <c:pt idx="12465">
                  <c:v>1.93688112494797</c:v>
                </c:pt>
                <c:pt idx="12466">
                  <c:v>1.79168331087122</c:v>
                </c:pt>
                <c:pt idx="12467">
                  <c:v>1.89539603521176</c:v>
                </c:pt>
                <c:pt idx="12468">
                  <c:v>1.8622079634227799</c:v>
                </c:pt>
                <c:pt idx="12469">
                  <c:v>1.8663564723963999</c:v>
                </c:pt>
                <c:pt idx="12470">
                  <c:v>1.75434673010862</c:v>
                </c:pt>
                <c:pt idx="12471">
                  <c:v>1.72530716729327</c:v>
                </c:pt>
                <c:pt idx="12472">
                  <c:v>1.7667922570294901</c:v>
                </c:pt>
                <c:pt idx="12473">
                  <c:v>1.7999803288184599</c:v>
                </c:pt>
                <c:pt idx="12474">
                  <c:v>1.7833862929239701</c:v>
                </c:pt>
                <c:pt idx="12475">
                  <c:v>1.83316840060743</c:v>
                </c:pt>
                <c:pt idx="12476">
                  <c:v>1.9285841070007299</c:v>
                </c:pt>
                <c:pt idx="12477">
                  <c:v>1.52203022758581</c:v>
                </c:pt>
                <c:pt idx="12478">
                  <c:v>1.5303272455330501</c:v>
                </c:pt>
                <c:pt idx="12479">
                  <c:v>1.51788171861219</c:v>
                </c:pt>
                <c:pt idx="12480">
                  <c:v>1.60085189808462</c:v>
                </c:pt>
                <c:pt idx="12481">
                  <c:v>1.3809809224826799</c:v>
                </c:pt>
                <c:pt idx="12482">
                  <c:v>1.4432085570869999</c:v>
                </c:pt>
                <c:pt idx="12483">
                  <c:v>1.2399316173795389</c:v>
                </c:pt>
                <c:pt idx="12484">
                  <c:v>1.24822863532678</c:v>
                </c:pt>
                <c:pt idx="12485">
                  <c:v>1.4017234673507799</c:v>
                </c:pt>
                <c:pt idx="12486">
                  <c:v>1.51788171861219</c:v>
                </c:pt>
                <c:pt idx="12487">
                  <c:v>1.16525845585435</c:v>
                </c:pt>
                <c:pt idx="12488">
                  <c:v>1.17770398277522</c:v>
                </c:pt>
                <c:pt idx="12489">
                  <c:v>0.60935825338905403</c:v>
                </c:pt>
                <c:pt idx="12490">
                  <c:v>0.46830894828591901</c:v>
                </c:pt>
                <c:pt idx="12491">
                  <c:v>0.327259643182784</c:v>
                </c:pt>
                <c:pt idx="12492">
                  <c:v>0.78359563028116197</c:v>
                </c:pt>
                <c:pt idx="12493">
                  <c:v>0.68403141491424302</c:v>
                </c:pt>
                <c:pt idx="12494">
                  <c:v>0.77529861233391895</c:v>
                </c:pt>
                <c:pt idx="12495">
                  <c:v>0.68403141491424302</c:v>
                </c:pt>
                <c:pt idx="12496">
                  <c:v>0.48490298418040501</c:v>
                </c:pt>
                <c:pt idx="12497">
                  <c:v>0.73381352259770205</c:v>
                </c:pt>
                <c:pt idx="12498">
                  <c:v>0.306517098314676</c:v>
                </c:pt>
                <c:pt idx="12499">
                  <c:v>0.18621033807964901</c:v>
                </c:pt>
                <c:pt idx="12500">
                  <c:v>0.132279721422568</c:v>
                </c:pt>
                <c:pt idx="12501">
                  <c:v>7.4200595791864901E-2</c:v>
                </c:pt>
                <c:pt idx="12502">
                  <c:v>6.59035778446216E-2</c:v>
                </c:pt>
                <c:pt idx="12503">
                  <c:v>5.34580509237568E-2</c:v>
                </c:pt>
                <c:pt idx="12504">
                  <c:v>1.61214701611622E-2</c:v>
                </c:pt>
                <c:pt idx="12505">
                  <c:v>-8.7591254179378297E-2</c:v>
                </c:pt>
                <c:pt idx="12506">
                  <c:v>0.202804373974135</c:v>
                </c:pt>
                <c:pt idx="12507">
                  <c:v>2.0269979134783799E-2</c:v>
                </c:pt>
                <c:pt idx="12508">
                  <c:v>0.107388667580838</c:v>
                </c:pt>
                <c:pt idx="12509">
                  <c:v>-7.0997218284891805E-2</c:v>
                </c:pt>
                <c:pt idx="12510">
                  <c:v>5.7606559897378402E-2</c:v>
                </c:pt>
                <c:pt idx="12511">
                  <c:v>-8.7591254179378297E-2</c:v>
                </c:pt>
                <c:pt idx="12512">
                  <c:v>-0.13737336186283799</c:v>
                </c:pt>
                <c:pt idx="12513">
                  <c:v>-7.0997218284891805E-2</c:v>
                </c:pt>
                <c:pt idx="12514">
                  <c:v>-9.1739763152999906E-2</c:v>
                </c:pt>
                <c:pt idx="12515">
                  <c:v>-0.187155469546297</c:v>
                </c:pt>
                <c:pt idx="12516">
                  <c:v>-0.104185290073865</c:v>
                </c:pt>
                <c:pt idx="12517">
                  <c:v>-0.129076343915595</c:v>
                </c:pt>
                <c:pt idx="12518">
                  <c:v>-0.32405626567581097</c:v>
                </c:pt>
                <c:pt idx="12519">
                  <c:v>-0.37798688233289202</c:v>
                </c:pt>
                <c:pt idx="12520">
                  <c:v>-4.6106164443162102E-2</c:v>
                </c:pt>
                <c:pt idx="12521">
                  <c:v>0.182061829106027</c:v>
                </c:pt>
                <c:pt idx="12522">
                  <c:v>-8.7591254179378297E-2</c:v>
                </c:pt>
                <c:pt idx="12523">
                  <c:v>-1.29180926541891E-2</c:v>
                </c:pt>
                <c:pt idx="12524">
                  <c:v>0.31066560728829701</c:v>
                </c:pt>
                <c:pt idx="12525">
                  <c:v>0.385338768813486</c:v>
                </c:pt>
                <c:pt idx="12526">
                  <c:v>0.43926938547056699</c:v>
                </c:pt>
                <c:pt idx="12527">
                  <c:v>0.22354691884224301</c:v>
                </c:pt>
                <c:pt idx="12528">
                  <c:v>0.25258648165759501</c:v>
                </c:pt>
                <c:pt idx="12529">
                  <c:v>0.23599244576310799</c:v>
                </c:pt>
                <c:pt idx="12530">
                  <c:v>0.182061829106027</c:v>
                </c:pt>
                <c:pt idx="12531">
                  <c:v>0.17791332013240499</c:v>
                </c:pt>
                <c:pt idx="12532">
                  <c:v>0.17791332013240499</c:v>
                </c:pt>
                <c:pt idx="12533">
                  <c:v>0.19865586500051299</c:v>
                </c:pt>
                <c:pt idx="12534">
                  <c:v>0.16546779321154101</c:v>
                </c:pt>
                <c:pt idx="12535">
                  <c:v>0.464160439312297</c:v>
                </c:pt>
                <c:pt idx="12536">
                  <c:v>0.27332902652570301</c:v>
                </c:pt>
                <c:pt idx="12537">
                  <c:v>0.87486282770083701</c:v>
                </c:pt>
                <c:pt idx="12538">
                  <c:v>0.48490298418040501</c:v>
                </c:pt>
                <c:pt idx="12539">
                  <c:v>1.11962485714451</c:v>
                </c:pt>
                <c:pt idx="12540">
                  <c:v>1.2606741622476501</c:v>
                </c:pt>
                <c:pt idx="12541">
                  <c:v>1.4017234673507799</c:v>
                </c:pt>
                <c:pt idx="12542">
                  <c:v>1.45150557503424</c:v>
                </c:pt>
                <c:pt idx="12543">
                  <c:v>1.0822882763819199</c:v>
                </c:pt>
                <c:pt idx="12544">
                  <c:v>0.99931809690948603</c:v>
                </c:pt>
                <c:pt idx="12545">
                  <c:v>1.21918907251143</c:v>
                </c:pt>
                <c:pt idx="12546">
                  <c:v>1.3229017968519701</c:v>
                </c:pt>
                <c:pt idx="12547">
                  <c:v>1.5925548801373799</c:v>
                </c:pt>
                <c:pt idx="12548">
                  <c:v>1.48054513784959</c:v>
                </c:pt>
                <c:pt idx="12549">
                  <c:v>1.16110994688073</c:v>
                </c:pt>
                <c:pt idx="12550">
                  <c:v>1.136218893039</c:v>
                </c:pt>
                <c:pt idx="12551">
                  <c:v>1.20674354559057</c:v>
                </c:pt>
                <c:pt idx="12552">
                  <c:v>1.1445159109862399</c:v>
                </c:pt>
                <c:pt idx="12553">
                  <c:v>1.18600100072246</c:v>
                </c:pt>
                <c:pt idx="12554">
                  <c:v>1.1694069648279699</c:v>
                </c:pt>
                <c:pt idx="12555">
                  <c:v>1.5676638262956499</c:v>
                </c:pt>
                <c:pt idx="12556">
                  <c:v>1.3975749583771599</c:v>
                </c:pt>
                <c:pt idx="12557">
                  <c:v>1.24408012635316</c:v>
                </c:pt>
                <c:pt idx="12558">
                  <c:v>1.41416899427165</c:v>
                </c:pt>
                <c:pt idx="12559">
                  <c:v>1.58425786219013</c:v>
                </c:pt>
                <c:pt idx="12560">
                  <c:v>1.3851294314563001</c:v>
                </c:pt>
                <c:pt idx="12561">
                  <c:v>2.9657113504061301</c:v>
                </c:pt>
                <c:pt idx="12562">
                  <c:v>2.4471477287034298</c:v>
                </c:pt>
                <c:pt idx="12563">
                  <c:v>1.83316840060743</c:v>
                </c:pt>
                <c:pt idx="12564">
                  <c:v>1.92443559802711</c:v>
                </c:pt>
                <c:pt idx="12565">
                  <c:v>1.97836621468419</c:v>
                </c:pt>
                <c:pt idx="12566">
                  <c:v>2.0488908672357602</c:v>
                </c:pt>
                <c:pt idx="12567">
                  <c:v>1.7128616403724</c:v>
                </c:pt>
                <c:pt idx="12568">
                  <c:v>1.56351531732203</c:v>
                </c:pt>
                <c:pt idx="12569">
                  <c:v>1.54277277245392</c:v>
                </c:pt>
                <c:pt idx="12570">
                  <c:v>1.4266145211925101</c:v>
                </c:pt>
                <c:pt idx="12571">
                  <c:v>1.5510697904011601</c:v>
                </c:pt>
                <c:pt idx="12572">
                  <c:v>1.7128616403724</c:v>
                </c:pt>
                <c:pt idx="12573">
                  <c:v>1.58425786219013</c:v>
                </c:pt>
                <c:pt idx="12574">
                  <c:v>1.47639662887597</c:v>
                </c:pt>
                <c:pt idx="12575">
                  <c:v>1.4846936468232199</c:v>
                </c:pt>
                <c:pt idx="12576">
                  <c:v>1.5261787365594299</c:v>
                </c:pt>
                <c:pt idx="12577">
                  <c:v>1.6174459339791101</c:v>
                </c:pt>
                <c:pt idx="12578">
                  <c:v>1.73360418524051</c:v>
                </c:pt>
                <c:pt idx="12579">
                  <c:v>1.7419012031877601</c:v>
                </c:pt>
                <c:pt idx="12580">
                  <c:v>1.4888421557968401</c:v>
                </c:pt>
                <c:pt idx="12581">
                  <c:v>1.5552182993747801</c:v>
                </c:pt>
                <c:pt idx="12582">
                  <c:v>1.45980259298149</c:v>
                </c:pt>
                <c:pt idx="12583">
                  <c:v>1.4888421557968401</c:v>
                </c:pt>
                <c:pt idx="12584">
                  <c:v>1.4846936468232199</c:v>
                </c:pt>
                <c:pt idx="12585">
                  <c:v>0.64254632517802701</c:v>
                </c:pt>
                <c:pt idx="12586">
                  <c:v>0.64669483415164797</c:v>
                </c:pt>
                <c:pt idx="12587">
                  <c:v>0.48075447520678399</c:v>
                </c:pt>
                <c:pt idx="12588">
                  <c:v>0.53468509186386504</c:v>
                </c:pt>
                <c:pt idx="12589">
                  <c:v>0.48905149315402702</c:v>
                </c:pt>
                <c:pt idx="12590">
                  <c:v>0.35215069702451302</c:v>
                </c:pt>
                <c:pt idx="12591">
                  <c:v>0.43512087649694597</c:v>
                </c:pt>
                <c:pt idx="12592">
                  <c:v>0.42682385854970301</c:v>
                </c:pt>
                <c:pt idx="12593">
                  <c:v>0.41852684060245898</c:v>
                </c:pt>
                <c:pt idx="12594">
                  <c:v>9.9091649633594597E-2</c:v>
                </c:pt>
                <c:pt idx="12595">
                  <c:v>-3.7809146495918898E-2</c:v>
                </c:pt>
                <c:pt idx="12596">
                  <c:v>-0.100036781100243</c:v>
                </c:pt>
                <c:pt idx="12597">
                  <c:v>0.11568568552808101</c:v>
                </c:pt>
                <c:pt idx="12598">
                  <c:v>-3.7809146495918898E-2</c:v>
                </c:pt>
                <c:pt idx="12599">
                  <c:v>1.19729611875406E-2</c:v>
                </c:pt>
                <c:pt idx="12600">
                  <c:v>-4.62107470694591E-3</c:v>
                </c:pt>
                <c:pt idx="12601">
                  <c:v>6.1755068870999998E-2</c:v>
                </c:pt>
                <c:pt idx="12602">
                  <c:v>-0.178858451599054</c:v>
                </c:pt>
                <c:pt idx="12603">
                  <c:v>-0.22034354133527001</c:v>
                </c:pt>
                <c:pt idx="12604">
                  <c:v>-0.15396739775732399</c:v>
                </c:pt>
                <c:pt idx="12605">
                  <c:v>-0.14567037981008099</c:v>
                </c:pt>
                <c:pt idx="12606">
                  <c:v>-0.295016702860459</c:v>
                </c:pt>
                <c:pt idx="12607">
                  <c:v>-0.13322485288921601</c:v>
                </c:pt>
                <c:pt idx="12608">
                  <c:v>-0.216195032361649</c:v>
                </c:pt>
                <c:pt idx="12609">
                  <c:v>-0.17470994262543199</c:v>
                </c:pt>
                <c:pt idx="12610">
                  <c:v>-0.390432409253757</c:v>
                </c:pt>
                <c:pt idx="12611">
                  <c:v>-0.24938310415062101</c:v>
                </c:pt>
                <c:pt idx="12612">
                  <c:v>-0.27012564901872999</c:v>
                </c:pt>
                <c:pt idx="12613">
                  <c:v>-0.28671968491321598</c:v>
                </c:pt>
                <c:pt idx="12614">
                  <c:v>-0.33650179259667501</c:v>
                </c:pt>
                <c:pt idx="12615">
                  <c:v>-0.23278906825613499</c:v>
                </c:pt>
                <c:pt idx="12616">
                  <c:v>-0.207898014414405</c:v>
                </c:pt>
                <c:pt idx="12617">
                  <c:v>0.41437833162883803</c:v>
                </c:pt>
                <c:pt idx="12618">
                  <c:v>-0.11663081699473</c:v>
                </c:pt>
                <c:pt idx="12619">
                  <c:v>4.1012524002891897E-2</c:v>
                </c:pt>
                <c:pt idx="12620">
                  <c:v>0.211101391921378</c:v>
                </c:pt>
                <c:pt idx="12621">
                  <c:v>0.74625904951856703</c:v>
                </c:pt>
                <c:pt idx="12622">
                  <c:v>0.14057673936981099</c:v>
                </c:pt>
                <c:pt idx="12623">
                  <c:v>0.43926938547056699</c:v>
                </c:pt>
                <c:pt idx="12624">
                  <c:v>0.103240158607216</c:v>
                </c:pt>
                <c:pt idx="12625">
                  <c:v>-2.1215110601432399E-2</c:v>
                </c:pt>
                <c:pt idx="12626">
                  <c:v>8.6646122712729701E-2</c:v>
                </c:pt>
                <c:pt idx="12627">
                  <c:v>0.11153717655445899</c:v>
                </c:pt>
                <c:pt idx="12628">
                  <c:v>4.1012524002891897E-2</c:v>
                </c:pt>
                <c:pt idx="12629">
                  <c:v>-4.6106164443162102E-2</c:v>
                </c:pt>
                <c:pt idx="12630">
                  <c:v>0.27332902652570301</c:v>
                </c:pt>
                <c:pt idx="12631">
                  <c:v>0.32311113420916199</c:v>
                </c:pt>
                <c:pt idx="12632">
                  <c:v>0.65914036107251295</c:v>
                </c:pt>
                <c:pt idx="12633">
                  <c:v>0.39778429573435098</c:v>
                </c:pt>
                <c:pt idx="12634">
                  <c:v>1.14036740201262</c:v>
                </c:pt>
                <c:pt idx="12635">
                  <c:v>1.15696143790711</c:v>
                </c:pt>
                <c:pt idx="12636">
                  <c:v>1.32705030582559</c:v>
                </c:pt>
                <c:pt idx="12637">
                  <c:v>1.2150405635378101</c:v>
                </c:pt>
                <c:pt idx="12638">
                  <c:v>1.2731196891685099</c:v>
                </c:pt>
                <c:pt idx="12639">
                  <c:v>0.91219940846343195</c:v>
                </c:pt>
                <c:pt idx="12640">
                  <c:v>1.1279218750917599</c:v>
                </c:pt>
                <c:pt idx="12641">
                  <c:v>1.35194135966732</c:v>
                </c:pt>
                <c:pt idx="12642">
                  <c:v>1.3477928506937</c:v>
                </c:pt>
                <c:pt idx="12643">
                  <c:v>1.3975749583771599</c:v>
                </c:pt>
                <c:pt idx="12644">
                  <c:v>1.45565408400786</c:v>
                </c:pt>
                <c:pt idx="12645">
                  <c:v>1.0615457315138099</c:v>
                </c:pt>
                <c:pt idx="12646">
                  <c:v>1.2108920545641899</c:v>
                </c:pt>
                <c:pt idx="12647">
                  <c:v>1.45565408400786</c:v>
                </c:pt>
                <c:pt idx="12648">
                  <c:v>1.5054361916913199</c:v>
                </c:pt>
                <c:pt idx="12649">
                  <c:v>1.4473570660606201</c:v>
                </c:pt>
                <c:pt idx="12650">
                  <c:v>1.5095847006649501</c:v>
                </c:pt>
                <c:pt idx="12651">
                  <c:v>1.2108920545641899</c:v>
                </c:pt>
                <c:pt idx="12652">
                  <c:v>1.35194135966732</c:v>
                </c:pt>
                <c:pt idx="12653">
                  <c:v>1.17770398277522</c:v>
                </c:pt>
                <c:pt idx="12654">
                  <c:v>1.3436443417200801</c:v>
                </c:pt>
                <c:pt idx="12655">
                  <c:v>1.7833862929239701</c:v>
                </c:pt>
                <c:pt idx="12656">
                  <c:v>0.97442704306775596</c:v>
                </c:pt>
                <c:pt idx="12657">
                  <c:v>3.110909164482889</c:v>
                </c:pt>
                <c:pt idx="12658">
                  <c:v>1.81242585573932</c:v>
                </c:pt>
                <c:pt idx="12659">
                  <c:v>1.9659206877633191</c:v>
                </c:pt>
                <c:pt idx="12660">
                  <c:v>1.67137655063619</c:v>
                </c:pt>
                <c:pt idx="12661">
                  <c:v>1.66307953268895</c:v>
                </c:pt>
                <c:pt idx="12662">
                  <c:v>1.750198221135</c:v>
                </c:pt>
                <c:pt idx="12663">
                  <c:v>1.5718123352692699</c:v>
                </c:pt>
                <c:pt idx="12664">
                  <c:v>1.7419012031877601</c:v>
                </c:pt>
                <c:pt idx="12665">
                  <c:v>1.5718123352692699</c:v>
                </c:pt>
                <c:pt idx="12666">
                  <c:v>1.5095847006649501</c:v>
                </c:pt>
                <c:pt idx="12667">
                  <c:v>1.54277277245392</c:v>
                </c:pt>
                <c:pt idx="12668">
                  <c:v>1.41416899427165</c:v>
                </c:pt>
                <c:pt idx="12669">
                  <c:v>1.5095847006649501</c:v>
                </c:pt>
                <c:pt idx="12670">
                  <c:v>1.56351531732203</c:v>
                </c:pt>
                <c:pt idx="12671">
                  <c:v>1.5344757545066701</c:v>
                </c:pt>
                <c:pt idx="12672">
                  <c:v>1.58425786219013</c:v>
                </c:pt>
                <c:pt idx="12673">
                  <c:v>1.5386242634803</c:v>
                </c:pt>
                <c:pt idx="12674">
                  <c:v>1.6547825147416999</c:v>
                </c:pt>
                <c:pt idx="12675">
                  <c:v>1.47639662887597</c:v>
                </c:pt>
                <c:pt idx="12676">
                  <c:v>1.4639511019551099</c:v>
                </c:pt>
                <c:pt idx="12677">
                  <c:v>1.48054513784959</c:v>
                </c:pt>
                <c:pt idx="12678">
                  <c:v>1.30630776095749</c:v>
                </c:pt>
                <c:pt idx="12679">
                  <c:v>1.22748609045868</c:v>
                </c:pt>
                <c:pt idx="12680">
                  <c:v>0.48490298418040501</c:v>
                </c:pt>
                <c:pt idx="12681">
                  <c:v>0.56372465467921595</c:v>
                </c:pt>
                <c:pt idx="12682">
                  <c:v>0.50564552904851301</c:v>
                </c:pt>
                <c:pt idx="12683">
                  <c:v>0.25258648165759501</c:v>
                </c:pt>
                <c:pt idx="12684">
                  <c:v>0.38948727778710801</c:v>
                </c:pt>
                <c:pt idx="12685">
                  <c:v>0.406081313681594</c:v>
                </c:pt>
                <c:pt idx="12686">
                  <c:v>0.41022982265521601</c:v>
                </c:pt>
                <c:pt idx="12687">
                  <c:v>0.39363578676073002</c:v>
                </c:pt>
                <c:pt idx="12688">
                  <c:v>0.43097236752332402</c:v>
                </c:pt>
                <c:pt idx="12689">
                  <c:v>7.0052086818243306E-2</c:v>
                </c:pt>
                <c:pt idx="12690">
                  <c:v>-0.120779325968351</c:v>
                </c:pt>
                <c:pt idx="12691">
                  <c:v>-0.120779325968351</c:v>
                </c:pt>
                <c:pt idx="12692">
                  <c:v>-0.24108608620337801</c:v>
                </c:pt>
                <c:pt idx="12693">
                  <c:v>0.132279721422568</c:v>
                </c:pt>
                <c:pt idx="12694">
                  <c:v>-8.7591254179378297E-2</c:v>
                </c:pt>
                <c:pt idx="12695">
                  <c:v>-2.1215110601432399E-2</c:v>
                </c:pt>
                <c:pt idx="12696">
                  <c:v>-7.9294236232135107E-2</c:v>
                </c:pt>
                <c:pt idx="12697">
                  <c:v>-2.5363619575054001E-2</c:v>
                </c:pt>
                <c:pt idx="12698">
                  <c:v>-0.216195032361649</c:v>
                </c:pt>
                <c:pt idx="12699">
                  <c:v>-0.32820477464943199</c:v>
                </c:pt>
                <c:pt idx="12700">
                  <c:v>-0.207898014414405</c:v>
                </c:pt>
                <c:pt idx="12701">
                  <c:v>-0.245234595177</c:v>
                </c:pt>
                <c:pt idx="12702">
                  <c:v>-0.31575924772856701</c:v>
                </c:pt>
                <c:pt idx="12703">
                  <c:v>-0.21204652338802699</c:v>
                </c:pt>
                <c:pt idx="12704">
                  <c:v>-0.245234595177</c:v>
                </c:pt>
                <c:pt idx="12705">
                  <c:v>-0.17056143365181101</c:v>
                </c:pt>
                <c:pt idx="12706">
                  <c:v>-0.35724433746478401</c:v>
                </c:pt>
                <c:pt idx="12707">
                  <c:v>-0.13737336186283799</c:v>
                </c:pt>
                <c:pt idx="12708">
                  <c:v>-0.41532346309548601</c:v>
                </c:pt>
                <c:pt idx="12709">
                  <c:v>-0.31161073875494599</c:v>
                </c:pt>
                <c:pt idx="12710">
                  <c:v>-0.17470994262543199</c:v>
                </c:pt>
                <c:pt idx="12711">
                  <c:v>0.30236858934105398</c:v>
                </c:pt>
                <c:pt idx="12712">
                  <c:v>-8.3442745205756702E-2</c:v>
                </c:pt>
                <c:pt idx="12713">
                  <c:v>-4.19576554695405E-2</c:v>
                </c:pt>
                <c:pt idx="12714">
                  <c:v>0.27747753549932402</c:v>
                </c:pt>
                <c:pt idx="12715">
                  <c:v>0.34385367907726999</c:v>
                </c:pt>
                <c:pt idx="12716">
                  <c:v>0.23599244576310799</c:v>
                </c:pt>
                <c:pt idx="12717">
                  <c:v>0.27747753549932402</c:v>
                </c:pt>
                <c:pt idx="12718">
                  <c:v>0.11568568552808101</c:v>
                </c:pt>
                <c:pt idx="12719">
                  <c:v>0.22769542781586499</c:v>
                </c:pt>
                <c:pt idx="12720">
                  <c:v>4.1012524002891897E-2</c:v>
                </c:pt>
                <c:pt idx="12721">
                  <c:v>0.19450735602689201</c:v>
                </c:pt>
                <c:pt idx="12722">
                  <c:v>-2.1215110601432399E-2</c:v>
                </c:pt>
                <c:pt idx="12723">
                  <c:v>0.12813121244894601</c:v>
                </c:pt>
                <c:pt idx="12724">
                  <c:v>3.2715506055648699E-2</c:v>
                </c:pt>
                <c:pt idx="12725">
                  <c:v>0.50564552904851301</c:v>
                </c:pt>
                <c:pt idx="12726">
                  <c:v>0.31066560728829701</c:v>
                </c:pt>
                <c:pt idx="12727">
                  <c:v>0.63010079825716203</c:v>
                </c:pt>
                <c:pt idx="12728">
                  <c:v>0.54713061878472902</c:v>
                </c:pt>
                <c:pt idx="12729">
                  <c:v>0.949535989226027</c:v>
                </c:pt>
                <c:pt idx="12730">
                  <c:v>1.3394958327464599</c:v>
                </c:pt>
                <c:pt idx="12731">
                  <c:v>1.4224660122188899</c:v>
                </c:pt>
                <c:pt idx="12732">
                  <c:v>1.0076151148567301</c:v>
                </c:pt>
                <c:pt idx="12733">
                  <c:v>0.93709046230516202</c:v>
                </c:pt>
                <c:pt idx="12734">
                  <c:v>0.91219940846343195</c:v>
                </c:pt>
                <c:pt idx="12735">
                  <c:v>1.01591213280397</c:v>
                </c:pt>
                <c:pt idx="12736">
                  <c:v>1.3229017968519701</c:v>
                </c:pt>
                <c:pt idx="12737">
                  <c:v>1.5510697904011601</c:v>
                </c:pt>
                <c:pt idx="12738">
                  <c:v>1.48054513784959</c:v>
                </c:pt>
                <c:pt idx="12739">
                  <c:v>1.5925548801373799</c:v>
                </c:pt>
                <c:pt idx="12740">
                  <c:v>1.45980259298149</c:v>
                </c:pt>
                <c:pt idx="12741">
                  <c:v>1.4017234673507799</c:v>
                </c:pt>
                <c:pt idx="12742">
                  <c:v>1.3477928506937</c:v>
                </c:pt>
                <c:pt idx="12743">
                  <c:v>1.15696143790711</c:v>
                </c:pt>
                <c:pt idx="12744">
                  <c:v>1.19844652764332</c:v>
                </c:pt>
                <c:pt idx="12745">
                  <c:v>0.53053658289024297</c:v>
                </c:pt>
                <c:pt idx="12746">
                  <c:v>0.49320000212764797</c:v>
                </c:pt>
                <c:pt idx="12747">
                  <c:v>0.25258648165759501</c:v>
                </c:pt>
                <c:pt idx="12748">
                  <c:v>0.211101391921378</c:v>
                </c:pt>
                <c:pt idx="12749">
                  <c:v>0.289923062420189</c:v>
                </c:pt>
                <c:pt idx="12750">
                  <c:v>0.23599244576310799</c:v>
                </c:pt>
                <c:pt idx="12751">
                  <c:v>0.132279721422568</c:v>
                </c:pt>
                <c:pt idx="12752">
                  <c:v>0.25258648165759501</c:v>
                </c:pt>
                <c:pt idx="12753">
                  <c:v>0.13642823039618901</c:v>
                </c:pt>
                <c:pt idx="12754">
                  <c:v>0.13642823039618901</c:v>
                </c:pt>
                <c:pt idx="12755">
                  <c:v>0.14887375731705399</c:v>
                </c:pt>
                <c:pt idx="12756">
                  <c:v>0.20695288294775699</c:v>
                </c:pt>
                <c:pt idx="12757">
                  <c:v>0.13642823039618901</c:v>
                </c:pt>
                <c:pt idx="12758">
                  <c:v>0.132279721422568</c:v>
                </c:pt>
                <c:pt idx="12759">
                  <c:v>0.13642823039618901</c:v>
                </c:pt>
                <c:pt idx="12760">
                  <c:v>0.182061829106027</c:v>
                </c:pt>
                <c:pt idx="12761">
                  <c:v>4.9309541950135198E-2</c:v>
                </c:pt>
                <c:pt idx="12762">
                  <c:v>0.20695288294775699</c:v>
                </c:pt>
                <c:pt idx="12763">
                  <c:v>-7.9294236232135107E-2</c:v>
                </c:pt>
                <c:pt idx="12764">
                  <c:v>3.2715506055648699E-2</c:v>
                </c:pt>
                <c:pt idx="12765">
                  <c:v>-0.149818888783703</c:v>
                </c:pt>
                <c:pt idx="12766">
                  <c:v>-1.7066601627810801E-2</c:v>
                </c:pt>
                <c:pt idx="12767">
                  <c:v>-9.1739763152999906E-2</c:v>
                </c:pt>
                <c:pt idx="12768">
                  <c:v>-0.124927834941973</c:v>
                </c:pt>
                <c:pt idx="12769">
                  <c:v>1.19729611875406E-2</c:v>
                </c:pt>
                <c:pt idx="12770">
                  <c:v>-6.2700200337648601E-2</c:v>
                </c:pt>
                <c:pt idx="12771">
                  <c:v>-2.95121285486756E-2</c:v>
                </c:pt>
                <c:pt idx="12772">
                  <c:v>-0.187155469546297</c:v>
                </c:pt>
                <c:pt idx="12773">
                  <c:v>-0.120779325968351</c:v>
                </c:pt>
                <c:pt idx="12774">
                  <c:v>-0.31990775670218902</c:v>
                </c:pt>
                <c:pt idx="12775">
                  <c:v>-0.274274157992351</c:v>
                </c:pt>
                <c:pt idx="12776">
                  <c:v>-0.353095828491162</c:v>
                </c:pt>
                <c:pt idx="12777">
                  <c:v>-0.42776899001635099</c:v>
                </c:pt>
                <c:pt idx="12778">
                  <c:v>-0.31161073875494599</c:v>
                </c:pt>
                <c:pt idx="12779">
                  <c:v>-0.37383837335927</c:v>
                </c:pt>
                <c:pt idx="12780">
                  <c:v>-0.31575924772856701</c:v>
                </c:pt>
                <c:pt idx="12781">
                  <c:v>-0.39458091822737801</c:v>
                </c:pt>
                <c:pt idx="12782">
                  <c:v>-0.30331372080770302</c:v>
                </c:pt>
                <c:pt idx="12783">
                  <c:v>-0.30746222978132398</c:v>
                </c:pt>
                <c:pt idx="12784">
                  <c:v>-0.40287793617462098</c:v>
                </c:pt>
                <c:pt idx="12785">
                  <c:v>5.7606559897378402E-2</c:v>
                </c:pt>
                <c:pt idx="12786">
                  <c:v>-0.187155469546297</c:v>
                </c:pt>
                <c:pt idx="12787">
                  <c:v>-0.29086819388683799</c:v>
                </c:pt>
                <c:pt idx="12788">
                  <c:v>-0.31575924772856701</c:v>
                </c:pt>
                <c:pt idx="12789">
                  <c:v>-0.30746222978132398</c:v>
                </c:pt>
                <c:pt idx="12790">
                  <c:v>-0.411174954121865</c:v>
                </c:pt>
                <c:pt idx="12791">
                  <c:v>-0.37798688233289202</c:v>
                </c:pt>
                <c:pt idx="12792">
                  <c:v>-0.40287793617462098</c:v>
                </c:pt>
                <c:pt idx="12793">
                  <c:v>-0.29916521183408101</c:v>
                </c:pt>
                <c:pt idx="12794">
                  <c:v>-0.22864055928251301</c:v>
                </c:pt>
                <c:pt idx="12795">
                  <c:v>-0.16641292467818899</c:v>
                </c:pt>
                <c:pt idx="12796">
                  <c:v>-0.353095828491162</c:v>
                </c:pt>
                <c:pt idx="12797">
                  <c:v>-0.34065030157029702</c:v>
                </c:pt>
                <c:pt idx="12798">
                  <c:v>-0.26597714004510797</c:v>
                </c:pt>
                <c:pt idx="12799">
                  <c:v>-0.28257117593959402</c:v>
                </c:pt>
                <c:pt idx="12800">
                  <c:v>-0.22864055928251301</c:v>
                </c:pt>
                <c:pt idx="12801">
                  <c:v>-0.36139284643840502</c:v>
                </c:pt>
                <c:pt idx="12802">
                  <c:v>-0.31575924772856701</c:v>
                </c:pt>
                <c:pt idx="12803">
                  <c:v>-0.22034354133527001</c:v>
                </c:pt>
                <c:pt idx="12804">
                  <c:v>-7.0997218284891805E-2</c:v>
                </c:pt>
                <c:pt idx="12805">
                  <c:v>-0.19130397851991901</c:v>
                </c:pt>
                <c:pt idx="12806">
                  <c:v>-0.19960099646716201</c:v>
                </c:pt>
                <c:pt idx="12807">
                  <c:v>-0.11663081699473</c:v>
                </c:pt>
                <c:pt idx="12808">
                  <c:v>-0.14567037981008099</c:v>
                </c:pt>
                <c:pt idx="12809">
                  <c:v>-0.120779325968351</c:v>
                </c:pt>
                <c:pt idx="12810">
                  <c:v>-0.13737336186283799</c:v>
                </c:pt>
                <c:pt idx="12811">
                  <c:v>-4.7256573332428599E-4</c:v>
                </c:pt>
                <c:pt idx="12812">
                  <c:v>-6.6848709311270196E-2</c:v>
                </c:pt>
                <c:pt idx="12813">
                  <c:v>-2.95121285486756E-2</c:v>
                </c:pt>
                <c:pt idx="12814">
                  <c:v>-8.7695836805675303E-3</c:v>
                </c:pt>
                <c:pt idx="12815">
                  <c:v>0.28577455344656699</c:v>
                </c:pt>
                <c:pt idx="12816">
                  <c:v>0.55127912775835097</c:v>
                </c:pt>
                <c:pt idx="12817">
                  <c:v>0.696476941835108</c:v>
                </c:pt>
                <c:pt idx="12818">
                  <c:v>0.559576145705594</c:v>
                </c:pt>
                <c:pt idx="12819">
                  <c:v>0.29822008036743203</c:v>
                </c:pt>
                <c:pt idx="12820">
                  <c:v>0.51809105596937799</c:v>
                </c:pt>
                <c:pt idx="12821">
                  <c:v>0.44756640341781101</c:v>
                </c:pt>
                <c:pt idx="12822">
                  <c:v>0.33555666113002702</c:v>
                </c:pt>
                <c:pt idx="12823">
                  <c:v>0.48905149315402702</c:v>
                </c:pt>
                <c:pt idx="12824">
                  <c:v>0.58861570852094602</c:v>
                </c:pt>
                <c:pt idx="12825">
                  <c:v>0.58861570852094602</c:v>
                </c:pt>
                <c:pt idx="12826">
                  <c:v>0.38948727778710801</c:v>
                </c:pt>
                <c:pt idx="12827">
                  <c:v>0.43512087649694597</c:v>
                </c:pt>
                <c:pt idx="12828">
                  <c:v>0.83752624693824296</c:v>
                </c:pt>
                <c:pt idx="12829">
                  <c:v>0.71307097772959405</c:v>
                </c:pt>
                <c:pt idx="12830">
                  <c:v>0.58861570852094602</c:v>
                </c:pt>
                <c:pt idx="12831">
                  <c:v>0.69232843286148604</c:v>
                </c:pt>
                <c:pt idx="12832">
                  <c:v>0.70892246875597298</c:v>
                </c:pt>
                <c:pt idx="12833">
                  <c:v>0.559576145705594</c:v>
                </c:pt>
                <c:pt idx="12834">
                  <c:v>0.61350676236267498</c:v>
                </c:pt>
                <c:pt idx="12835">
                  <c:v>6.59035778446216E-2</c:v>
                </c:pt>
                <c:pt idx="12836">
                  <c:v>0.19035884705327</c:v>
                </c:pt>
                <c:pt idx="12837">
                  <c:v>0.27747753549932402</c:v>
                </c:pt>
                <c:pt idx="12838">
                  <c:v>0.153022266290676</c:v>
                </c:pt>
                <c:pt idx="12839">
                  <c:v>0.45171491239143202</c:v>
                </c:pt>
                <c:pt idx="12840">
                  <c:v>0.269180517552081</c:v>
                </c:pt>
                <c:pt idx="12841">
                  <c:v>0.31481411626191902</c:v>
                </c:pt>
                <c:pt idx="12842">
                  <c:v>0.18621033807964901</c:v>
                </c:pt>
                <c:pt idx="12843">
                  <c:v>5.34580509237568E-2</c:v>
                </c:pt>
                <c:pt idx="12844">
                  <c:v>0.22769542781586499</c:v>
                </c:pt>
                <c:pt idx="12845">
                  <c:v>0.16546779321154101</c:v>
                </c:pt>
                <c:pt idx="12846">
                  <c:v>6.1755068870999998E-2</c:v>
                </c:pt>
                <c:pt idx="12847">
                  <c:v>7.4200595791864901E-2</c:v>
                </c:pt>
                <c:pt idx="12848">
                  <c:v>3.2715506055648699E-2</c:v>
                </c:pt>
                <c:pt idx="12849">
                  <c:v>3.6864015029270301E-2</c:v>
                </c:pt>
                <c:pt idx="12850">
                  <c:v>0.161319284237919</c:v>
                </c:pt>
                <c:pt idx="12851">
                  <c:v>-3.3660637522297199E-2</c:v>
                </c:pt>
                <c:pt idx="12852">
                  <c:v>7.4200595791864901E-2</c:v>
                </c:pt>
                <c:pt idx="12853">
                  <c:v>0.119834194501703</c:v>
                </c:pt>
                <c:pt idx="12854">
                  <c:v>-8.3442745205756702E-2</c:v>
                </c:pt>
                <c:pt idx="12855">
                  <c:v>2.0269979134783799E-2</c:v>
                </c:pt>
                <c:pt idx="12856">
                  <c:v>8.2497613739108105E-2</c:v>
                </c:pt>
                <c:pt idx="12857">
                  <c:v>-0.129076343915595</c:v>
                </c:pt>
                <c:pt idx="12858">
                  <c:v>3.2715506055648699E-2</c:v>
                </c:pt>
                <c:pt idx="12859">
                  <c:v>-5.44031823904053E-2</c:v>
                </c:pt>
                <c:pt idx="12860">
                  <c:v>3.2715506055648699E-2</c:v>
                </c:pt>
                <c:pt idx="12861">
                  <c:v>-0.26182863107148602</c:v>
                </c:pt>
                <c:pt idx="12862">
                  <c:v>-0.178858451599054</c:v>
                </c:pt>
                <c:pt idx="12863">
                  <c:v>-0.20374950544078399</c:v>
                </c:pt>
                <c:pt idx="12864">
                  <c:v>-0.37798688233289202</c:v>
                </c:pt>
                <c:pt idx="12865">
                  <c:v>-0.29916521183408101</c:v>
                </c:pt>
                <c:pt idx="12866">
                  <c:v>-0.22864055928251301</c:v>
                </c:pt>
                <c:pt idx="12867">
                  <c:v>-0.19960099646716201</c:v>
                </c:pt>
                <c:pt idx="12868">
                  <c:v>-0.29916521183408101</c:v>
                </c:pt>
                <c:pt idx="12869">
                  <c:v>-0.29916521183408101</c:v>
                </c:pt>
                <c:pt idx="12870">
                  <c:v>-0.24938310415062101</c:v>
                </c:pt>
                <c:pt idx="12871">
                  <c:v>-0.21204652338802699</c:v>
                </c:pt>
                <c:pt idx="12872">
                  <c:v>-0.32405626567581097</c:v>
                </c:pt>
                <c:pt idx="12873">
                  <c:v>-0.25353161312424299</c:v>
                </c:pt>
                <c:pt idx="12874">
                  <c:v>-0.36554135541202698</c:v>
                </c:pt>
                <c:pt idx="12875">
                  <c:v>-0.29086819388683799</c:v>
                </c:pt>
                <c:pt idx="12876">
                  <c:v>-0.26182863107148602</c:v>
                </c:pt>
                <c:pt idx="12877">
                  <c:v>-0.431917498989973</c:v>
                </c:pt>
                <c:pt idx="12878">
                  <c:v>-0.19960099646716201</c:v>
                </c:pt>
                <c:pt idx="12879">
                  <c:v>-0.34479881054391898</c:v>
                </c:pt>
                <c:pt idx="12880">
                  <c:v>-0.26597714004510797</c:v>
                </c:pt>
                <c:pt idx="12881">
                  <c:v>-0.30746222978132398</c:v>
                </c:pt>
                <c:pt idx="12882">
                  <c:v>-0.390432409253757</c:v>
                </c:pt>
                <c:pt idx="12883">
                  <c:v>-0.38213539130651297</c:v>
                </c:pt>
                <c:pt idx="12884">
                  <c:v>-0.36554135541202698</c:v>
                </c:pt>
                <c:pt idx="12885">
                  <c:v>-0.49414513359429701</c:v>
                </c:pt>
                <c:pt idx="12886">
                  <c:v>-0.45680855283170202</c:v>
                </c:pt>
                <c:pt idx="12887">
                  <c:v>-0.39872942720100002</c:v>
                </c:pt>
                <c:pt idx="12888">
                  <c:v>-0.469254079752567</c:v>
                </c:pt>
                <c:pt idx="12889">
                  <c:v>-0.32405626567581097</c:v>
                </c:pt>
                <c:pt idx="12890">
                  <c:v>-0.34065030157029702</c:v>
                </c:pt>
                <c:pt idx="12891">
                  <c:v>-0.27012564901872999</c:v>
                </c:pt>
                <c:pt idx="12892">
                  <c:v>-0.187155469546297</c:v>
                </c:pt>
                <c:pt idx="12893">
                  <c:v>-4.19576554695405E-2</c:v>
                </c:pt>
                <c:pt idx="12894">
                  <c:v>0.219398409868622</c:v>
                </c:pt>
                <c:pt idx="12895">
                  <c:v>2.8566997082027101E-2</c:v>
                </c:pt>
                <c:pt idx="12896">
                  <c:v>2.4418488108405401E-2</c:v>
                </c:pt>
                <c:pt idx="12897">
                  <c:v>3.2715506055648699E-2</c:v>
                </c:pt>
                <c:pt idx="12898">
                  <c:v>7.8349104765486496E-2</c:v>
                </c:pt>
                <c:pt idx="12899">
                  <c:v>9.9091649633594597E-2</c:v>
                </c:pt>
                <c:pt idx="12900">
                  <c:v>1.19729611875406E-2</c:v>
                </c:pt>
                <c:pt idx="12901">
                  <c:v>0.37704175086624298</c:v>
                </c:pt>
                <c:pt idx="12902">
                  <c:v>0.812635193096513</c:v>
                </c:pt>
                <c:pt idx="12903">
                  <c:v>0.37289324189262102</c:v>
                </c:pt>
                <c:pt idx="12904">
                  <c:v>0.43512087649694597</c:v>
                </c:pt>
                <c:pt idx="12905">
                  <c:v>0.29407157139381102</c:v>
                </c:pt>
                <c:pt idx="12906">
                  <c:v>0.41852684060245898</c:v>
                </c:pt>
                <c:pt idx="12907">
                  <c:v>0.44756640341781101</c:v>
                </c:pt>
                <c:pt idx="12908">
                  <c:v>0.37289324189262102</c:v>
                </c:pt>
                <c:pt idx="12909">
                  <c:v>0.46001193033867499</c:v>
                </c:pt>
                <c:pt idx="12910">
                  <c:v>0.60520974441543196</c:v>
                </c:pt>
                <c:pt idx="12911">
                  <c:v>0.89975388154256697</c:v>
                </c:pt>
                <c:pt idx="12912">
                  <c:v>0.87486282770083701</c:v>
                </c:pt>
                <c:pt idx="12913">
                  <c:v>0.59691272646818905</c:v>
                </c:pt>
                <c:pt idx="12914">
                  <c:v>0.48075447520678399</c:v>
                </c:pt>
                <c:pt idx="12915">
                  <c:v>0.580318690573702</c:v>
                </c:pt>
                <c:pt idx="12916">
                  <c:v>0.70477395978235102</c:v>
                </c:pt>
                <c:pt idx="12917">
                  <c:v>1.4058719763244001</c:v>
                </c:pt>
                <c:pt idx="12918">
                  <c:v>0.64254632517802701</c:v>
                </c:pt>
                <c:pt idx="12919">
                  <c:v>0.59276421749456698</c:v>
                </c:pt>
                <c:pt idx="12920">
                  <c:v>0.90390239051618904</c:v>
                </c:pt>
                <c:pt idx="12921">
                  <c:v>1.2606741622476501</c:v>
                </c:pt>
                <c:pt idx="12922">
                  <c:v>0.65084334312527004</c:v>
                </c:pt>
                <c:pt idx="12923">
                  <c:v>0.76285308541305397</c:v>
                </c:pt>
                <c:pt idx="12924">
                  <c:v>0.68817992388786497</c:v>
                </c:pt>
                <c:pt idx="12925">
                  <c:v>1.18600100072246</c:v>
                </c:pt>
                <c:pt idx="12926">
                  <c:v>1.2980107430102401</c:v>
                </c:pt>
                <c:pt idx="12927">
                  <c:v>0.60935825338905403</c:v>
                </c:pt>
                <c:pt idx="12928">
                  <c:v>0.696476941835108</c:v>
                </c:pt>
                <c:pt idx="12929">
                  <c:v>1.0449516956193201</c:v>
                </c:pt>
                <c:pt idx="12930">
                  <c:v>1.0242091507512201</c:v>
                </c:pt>
                <c:pt idx="12931">
                  <c:v>0.93709046230516202</c:v>
                </c:pt>
                <c:pt idx="12932">
                  <c:v>1.0739912584346789</c:v>
                </c:pt>
                <c:pt idx="12933">
                  <c:v>1.6132974250054899</c:v>
                </c:pt>
                <c:pt idx="12934">
                  <c:v>0.86656580975359399</c:v>
                </c:pt>
                <c:pt idx="12935">
                  <c:v>0.92464493538429704</c:v>
                </c:pt>
                <c:pt idx="12936">
                  <c:v>0.89145686359532395</c:v>
                </c:pt>
                <c:pt idx="12937">
                  <c:v>0.91634791743705402</c:v>
                </c:pt>
                <c:pt idx="12938">
                  <c:v>0.31896262523553998</c:v>
                </c:pt>
                <c:pt idx="12939">
                  <c:v>0.55127912775835097</c:v>
                </c:pt>
                <c:pt idx="12940">
                  <c:v>0.40193280470797299</c:v>
                </c:pt>
                <c:pt idx="12941">
                  <c:v>0.52638807391662101</c:v>
                </c:pt>
                <c:pt idx="12942">
                  <c:v>0.55542763673197304</c:v>
                </c:pt>
                <c:pt idx="12943">
                  <c:v>0.52638807391662101</c:v>
                </c:pt>
                <c:pt idx="12944">
                  <c:v>0.43097236752332402</c:v>
                </c:pt>
                <c:pt idx="12945">
                  <c:v>0.49734851110126999</c:v>
                </c:pt>
                <c:pt idx="12946">
                  <c:v>0.33555666113002702</c:v>
                </c:pt>
                <c:pt idx="12947">
                  <c:v>0.37704175086624298</c:v>
                </c:pt>
                <c:pt idx="12948">
                  <c:v>0.34385367907726999</c:v>
                </c:pt>
                <c:pt idx="12949">
                  <c:v>0.28162604447294598</c:v>
                </c:pt>
                <c:pt idx="12950">
                  <c:v>0.34385367907726999</c:v>
                </c:pt>
                <c:pt idx="12951">
                  <c:v>0.34385367907726999</c:v>
                </c:pt>
                <c:pt idx="12952">
                  <c:v>0.25673499063121602</c:v>
                </c:pt>
                <c:pt idx="12953">
                  <c:v>0.32311113420916199</c:v>
                </c:pt>
                <c:pt idx="12954">
                  <c:v>0.19865586500051299</c:v>
                </c:pt>
                <c:pt idx="12955">
                  <c:v>6.59035778446216E-2</c:v>
                </c:pt>
                <c:pt idx="12956">
                  <c:v>0.173764811158784</c:v>
                </c:pt>
                <c:pt idx="12957">
                  <c:v>0.36874473291900001</c:v>
                </c:pt>
                <c:pt idx="12958">
                  <c:v>7.0052086818243306E-2</c:v>
                </c:pt>
                <c:pt idx="12959">
                  <c:v>0.123982703475324</c:v>
                </c:pt>
                <c:pt idx="12960">
                  <c:v>-9.5888272126621502E-2</c:v>
                </c:pt>
                <c:pt idx="12961">
                  <c:v>1.19729611875406E-2</c:v>
                </c:pt>
                <c:pt idx="12962">
                  <c:v>-2.95121285486756E-2</c:v>
                </c:pt>
                <c:pt idx="12963">
                  <c:v>-9.1739763152999906E-2</c:v>
                </c:pt>
                <c:pt idx="12964">
                  <c:v>-5.0254673416783698E-2</c:v>
                </c:pt>
                <c:pt idx="12965">
                  <c:v>-8.3442745205756702E-2</c:v>
                </c:pt>
                <c:pt idx="12966">
                  <c:v>-0.26597714004510797</c:v>
                </c:pt>
                <c:pt idx="12967">
                  <c:v>-0.25768012209786501</c:v>
                </c:pt>
                <c:pt idx="12968">
                  <c:v>-0.28257117593959402</c:v>
                </c:pt>
                <c:pt idx="12969">
                  <c:v>-0.29086819388683799</c:v>
                </c:pt>
                <c:pt idx="12970">
                  <c:v>-0.22449205030889199</c:v>
                </c:pt>
                <c:pt idx="12971">
                  <c:v>-0.38628390028013498</c:v>
                </c:pt>
                <c:pt idx="12972">
                  <c:v>-0.19130397851991901</c:v>
                </c:pt>
                <c:pt idx="12973">
                  <c:v>-0.11663081699473</c:v>
                </c:pt>
                <c:pt idx="12974">
                  <c:v>7.0052086818243306E-2</c:v>
                </c:pt>
                <c:pt idx="12975">
                  <c:v>-6.6848709311270196E-2</c:v>
                </c:pt>
                <c:pt idx="12976">
                  <c:v>-0.14567037981008099</c:v>
                </c:pt>
                <c:pt idx="12977">
                  <c:v>-7.5145727258513401E-2</c:v>
                </c:pt>
                <c:pt idx="12978">
                  <c:v>-0.17470994262543199</c:v>
                </c:pt>
                <c:pt idx="12979">
                  <c:v>-5.8551691364026999E-2</c:v>
                </c:pt>
                <c:pt idx="12980">
                  <c:v>-4.62107470694591E-3</c:v>
                </c:pt>
                <c:pt idx="12981">
                  <c:v>0.406081313681594</c:v>
                </c:pt>
                <c:pt idx="12982">
                  <c:v>0.15717077526429701</c:v>
                </c:pt>
                <c:pt idx="12983">
                  <c:v>0.56372465467921595</c:v>
                </c:pt>
                <c:pt idx="12984">
                  <c:v>0.25673499063121602</c:v>
                </c:pt>
                <c:pt idx="12985">
                  <c:v>-5.0254673416783698E-2</c:v>
                </c:pt>
                <c:pt idx="12986">
                  <c:v>0.38948727778710801</c:v>
                </c:pt>
                <c:pt idx="12987">
                  <c:v>0.85826879180635096</c:v>
                </c:pt>
                <c:pt idx="12988">
                  <c:v>1.2150405635378101</c:v>
                </c:pt>
                <c:pt idx="12989">
                  <c:v>1.1942980186697001</c:v>
                </c:pt>
                <c:pt idx="12990">
                  <c:v>1.2980107430102401</c:v>
                </c:pt>
                <c:pt idx="12991">
                  <c:v>1.0076151148567301</c:v>
                </c:pt>
                <c:pt idx="12992">
                  <c:v>1.09473380330278</c:v>
                </c:pt>
                <c:pt idx="12993">
                  <c:v>0.44756640341781101</c:v>
                </c:pt>
                <c:pt idx="12994">
                  <c:v>0.64669483415164797</c:v>
                </c:pt>
                <c:pt idx="12995">
                  <c:v>0.99102107896224301</c:v>
                </c:pt>
                <c:pt idx="12996">
                  <c:v>1.1901495096960799</c:v>
                </c:pt>
                <c:pt idx="12997">
                  <c:v>0.92049642641067497</c:v>
                </c:pt>
                <c:pt idx="12998">
                  <c:v>1.1735554738015901</c:v>
                </c:pt>
                <c:pt idx="12999">
                  <c:v>1.1071793302236499</c:v>
                </c:pt>
                <c:pt idx="13000">
                  <c:v>1.11547634817089</c:v>
                </c:pt>
                <c:pt idx="13001">
                  <c:v>1.2980107430102401</c:v>
                </c:pt>
                <c:pt idx="13002">
                  <c:v>1.26897118019489</c:v>
                </c:pt>
                <c:pt idx="13003">
                  <c:v>1.7460497121613801</c:v>
                </c:pt>
                <c:pt idx="13004">
                  <c:v>1.77508927497673</c:v>
                </c:pt>
                <c:pt idx="13005">
                  <c:v>1.5967033891110001</c:v>
                </c:pt>
                <c:pt idx="13006">
                  <c:v>1.66722804166257</c:v>
                </c:pt>
                <c:pt idx="13007">
                  <c:v>1.7419012031877601</c:v>
                </c:pt>
                <c:pt idx="13008">
                  <c:v>1.4639511019551099</c:v>
                </c:pt>
                <c:pt idx="13009">
                  <c:v>1.7875348018975901</c:v>
                </c:pt>
                <c:pt idx="13010">
                  <c:v>3.1772853080608399</c:v>
                </c:pt>
                <c:pt idx="13011">
                  <c:v>2.7002067760943498</c:v>
                </c:pt>
                <c:pt idx="13012">
                  <c:v>2.1360095556818091</c:v>
                </c:pt>
                <c:pt idx="13013">
                  <c:v>1.85805945444916</c:v>
                </c:pt>
                <c:pt idx="13014">
                  <c:v>1.8829505082908899</c:v>
                </c:pt>
                <c:pt idx="13015">
                  <c:v>1.7833862929239701</c:v>
                </c:pt>
                <c:pt idx="13016">
                  <c:v>1.92028708905349</c:v>
                </c:pt>
                <c:pt idx="13017">
                  <c:v>1.87465349034365</c:v>
                </c:pt>
                <c:pt idx="13018">
                  <c:v>2.0530393762093802</c:v>
                </c:pt>
                <c:pt idx="13019">
                  <c:v>2.0571878851830001</c:v>
                </c:pt>
                <c:pt idx="13020">
                  <c:v>2.0364453403148892</c:v>
                </c:pt>
                <c:pt idx="13021">
                  <c:v>1.6506340057680799</c:v>
                </c:pt>
                <c:pt idx="13022">
                  <c:v>1.8290198916338101</c:v>
                </c:pt>
                <c:pt idx="13023">
                  <c:v>1.72945567626689</c:v>
                </c:pt>
                <c:pt idx="13024">
                  <c:v>1.7170101493460299</c:v>
                </c:pt>
                <c:pt idx="13025">
                  <c:v>1.6547825147416999</c:v>
                </c:pt>
                <c:pt idx="13026">
                  <c:v>1.47224811990235</c:v>
                </c:pt>
                <c:pt idx="13027">
                  <c:v>1.60085189808462</c:v>
                </c:pt>
                <c:pt idx="13028">
                  <c:v>1.8829505082908899</c:v>
                </c:pt>
                <c:pt idx="13029">
                  <c:v>1.94517814289522</c:v>
                </c:pt>
                <c:pt idx="13030">
                  <c:v>1.6547825147416999</c:v>
                </c:pt>
                <c:pt idx="13031">
                  <c:v>1.6381884788472201</c:v>
                </c:pt>
                <c:pt idx="13032">
                  <c:v>1.6132974250054899</c:v>
                </c:pt>
                <c:pt idx="13033">
                  <c:v>0.40193280470797299</c:v>
                </c:pt>
                <c:pt idx="13034">
                  <c:v>0.74211054054494596</c:v>
                </c:pt>
                <c:pt idx="13035">
                  <c:v>0.74625904951856703</c:v>
                </c:pt>
                <c:pt idx="13036">
                  <c:v>0.580318690573702</c:v>
                </c:pt>
                <c:pt idx="13037">
                  <c:v>0.57617018160008104</c:v>
                </c:pt>
                <c:pt idx="13038">
                  <c:v>0.44756640341781101</c:v>
                </c:pt>
                <c:pt idx="13039">
                  <c:v>0.50979403802213497</c:v>
                </c:pt>
                <c:pt idx="13040">
                  <c:v>0.40193280470797299</c:v>
                </c:pt>
                <c:pt idx="13041">
                  <c:v>0.46001193033867499</c:v>
                </c:pt>
                <c:pt idx="13042">
                  <c:v>0.43097236752332402</c:v>
                </c:pt>
                <c:pt idx="13043">
                  <c:v>0.33970517010364898</c:v>
                </c:pt>
                <c:pt idx="13044">
                  <c:v>0.364596223945378</c:v>
                </c:pt>
                <c:pt idx="13045">
                  <c:v>0.35629920599813503</c:v>
                </c:pt>
                <c:pt idx="13046">
                  <c:v>0.443417894444189</c:v>
                </c:pt>
                <c:pt idx="13047">
                  <c:v>0.33555666113002702</c:v>
                </c:pt>
                <c:pt idx="13048">
                  <c:v>0.385338768813486</c:v>
                </c:pt>
                <c:pt idx="13049">
                  <c:v>0.327259643182784</c:v>
                </c:pt>
                <c:pt idx="13050">
                  <c:v>0.18621033807964901</c:v>
                </c:pt>
                <c:pt idx="13051">
                  <c:v>0.231843936789486</c:v>
                </c:pt>
                <c:pt idx="13052">
                  <c:v>5.34580509237568E-2</c:v>
                </c:pt>
                <c:pt idx="13053">
                  <c:v>0.173764811158784</c:v>
                </c:pt>
                <c:pt idx="13054">
                  <c:v>0.16546779321154101</c:v>
                </c:pt>
                <c:pt idx="13055">
                  <c:v>7.4200595791864901E-2</c:v>
                </c:pt>
                <c:pt idx="13056">
                  <c:v>6.59035778446216E-2</c:v>
                </c:pt>
                <c:pt idx="13057">
                  <c:v>0.14057673936981099</c:v>
                </c:pt>
                <c:pt idx="13058">
                  <c:v>-9.1739763152999906E-2</c:v>
                </c:pt>
                <c:pt idx="13059">
                  <c:v>-9.5888272126621502E-2</c:v>
                </c:pt>
                <c:pt idx="13060">
                  <c:v>0.132279721422568</c:v>
                </c:pt>
                <c:pt idx="13061">
                  <c:v>-7.9294236232135107E-2</c:v>
                </c:pt>
                <c:pt idx="13062">
                  <c:v>-9.5888272126621502E-2</c:v>
                </c:pt>
                <c:pt idx="13063">
                  <c:v>-0.13737336186283799</c:v>
                </c:pt>
                <c:pt idx="13064">
                  <c:v>-0.11248230802110799</c:v>
                </c:pt>
                <c:pt idx="13065">
                  <c:v>8.6646122712729701E-2</c:v>
                </c:pt>
                <c:pt idx="13066">
                  <c:v>-0.14152187083645901</c:v>
                </c:pt>
                <c:pt idx="13067">
                  <c:v>-0.158115906730946</c:v>
                </c:pt>
                <c:pt idx="13068">
                  <c:v>0.132279721422568</c:v>
                </c:pt>
                <c:pt idx="13069">
                  <c:v>0.43926938547056699</c:v>
                </c:pt>
                <c:pt idx="13070">
                  <c:v>0.269180517552081</c:v>
                </c:pt>
                <c:pt idx="13071">
                  <c:v>0.14472524834343201</c:v>
                </c:pt>
                <c:pt idx="13072">
                  <c:v>0.24428946371035101</c:v>
                </c:pt>
                <c:pt idx="13073">
                  <c:v>5.7606559897378402E-2</c:v>
                </c:pt>
                <c:pt idx="13074">
                  <c:v>-0.13322485288921601</c:v>
                </c:pt>
                <c:pt idx="13075">
                  <c:v>0.123982703475324</c:v>
                </c:pt>
                <c:pt idx="13076">
                  <c:v>-1.29180926541891E-2</c:v>
                </c:pt>
                <c:pt idx="13077">
                  <c:v>1.19729611875406E-2</c:v>
                </c:pt>
                <c:pt idx="13078">
                  <c:v>3.6864015029270301E-2</c:v>
                </c:pt>
                <c:pt idx="13079">
                  <c:v>0.38119025983986499</c:v>
                </c:pt>
                <c:pt idx="13080">
                  <c:v>0.31481411626191902</c:v>
                </c:pt>
                <c:pt idx="13081">
                  <c:v>0.38948727778710801</c:v>
                </c:pt>
                <c:pt idx="13082">
                  <c:v>0.38948727778710801</c:v>
                </c:pt>
                <c:pt idx="13083">
                  <c:v>0.58446719954732396</c:v>
                </c:pt>
                <c:pt idx="13084">
                  <c:v>1.21918907251143</c:v>
                </c:pt>
                <c:pt idx="13085">
                  <c:v>1.0283576597248401</c:v>
                </c:pt>
                <c:pt idx="13086">
                  <c:v>0.99931809690948603</c:v>
                </c:pt>
                <c:pt idx="13087">
                  <c:v>0.47660596623316198</c:v>
                </c:pt>
                <c:pt idx="13088">
                  <c:v>0.80848668412289104</c:v>
                </c:pt>
                <c:pt idx="13089">
                  <c:v>0.82508072001737798</c:v>
                </c:pt>
                <c:pt idx="13090">
                  <c:v>1.3643868865881901</c:v>
                </c:pt>
                <c:pt idx="13091">
                  <c:v>1.1030308212500299</c:v>
                </c:pt>
                <c:pt idx="13092">
                  <c:v>1.3146047789047299</c:v>
                </c:pt>
                <c:pt idx="13093">
                  <c:v>1.6174459339791101</c:v>
                </c:pt>
                <c:pt idx="13094">
                  <c:v>1.5759608442428901</c:v>
                </c:pt>
                <c:pt idx="13095">
                  <c:v>1.5054361916913199</c:v>
                </c:pt>
                <c:pt idx="13096">
                  <c:v>1.5344757545066701</c:v>
                </c:pt>
                <c:pt idx="13097">
                  <c:v>1.43076303016613</c:v>
                </c:pt>
                <c:pt idx="13098">
                  <c:v>1.56351531732203</c:v>
                </c:pt>
                <c:pt idx="13099">
                  <c:v>1.6547825147416999</c:v>
                </c:pt>
                <c:pt idx="13100">
                  <c:v>1.36853539556181</c:v>
                </c:pt>
                <c:pt idx="13101">
                  <c:v>1.2357831084059201</c:v>
                </c:pt>
                <c:pt idx="13102">
                  <c:v>1.5344757545066701</c:v>
                </c:pt>
                <c:pt idx="13103">
                  <c:v>3.1067606555092691</c:v>
                </c:pt>
                <c:pt idx="13104">
                  <c:v>2.8910381888809402</c:v>
                </c:pt>
                <c:pt idx="13105">
                  <c:v>2.6587216863581302</c:v>
                </c:pt>
                <c:pt idx="13106">
                  <c:v>1.93688112494797</c:v>
                </c:pt>
                <c:pt idx="13107">
                  <c:v>1.95762366981608</c:v>
                </c:pt>
                <c:pt idx="13108">
                  <c:v>1.8622079634227799</c:v>
                </c:pt>
                <c:pt idx="13109">
                  <c:v>2.0820789390247292</c:v>
                </c:pt>
                <c:pt idx="13110">
                  <c:v>2.1609006095235399</c:v>
                </c:pt>
                <c:pt idx="13111">
                  <c:v>2.1650491184971599</c:v>
                </c:pt>
                <c:pt idx="13112">
                  <c:v>2.3268409684683991</c:v>
                </c:pt>
                <c:pt idx="13113">
                  <c:v>2.0281483223676502</c:v>
                </c:pt>
                <c:pt idx="13114">
                  <c:v>2.0571878851830001</c:v>
                </c:pt>
                <c:pt idx="13115">
                  <c:v>2.0198513044204001</c:v>
                </c:pt>
                <c:pt idx="13116">
                  <c:v>1.98666323263143</c:v>
                </c:pt>
                <c:pt idx="13117">
                  <c:v>1.97836621468419</c:v>
                </c:pt>
                <c:pt idx="13118">
                  <c:v>1.9659206877633191</c:v>
                </c:pt>
                <c:pt idx="13119">
                  <c:v>1.9119900711062401</c:v>
                </c:pt>
                <c:pt idx="13120">
                  <c:v>1.8041288377920801</c:v>
                </c:pt>
                <c:pt idx="13121">
                  <c:v>1.8041288377920801</c:v>
                </c:pt>
                <c:pt idx="13122">
                  <c:v>1.8290198916338101</c:v>
                </c:pt>
                <c:pt idx="13123">
                  <c:v>1.8829505082908899</c:v>
                </c:pt>
                <c:pt idx="13124">
                  <c:v>1.9493266518688399</c:v>
                </c:pt>
                <c:pt idx="13125">
                  <c:v>1.93688112494797</c:v>
                </c:pt>
                <c:pt idx="13126">
                  <c:v>1.8248713826601899</c:v>
                </c:pt>
                <c:pt idx="13127">
                  <c:v>1.5386242634803</c:v>
                </c:pt>
                <c:pt idx="13128">
                  <c:v>1.5676638262956499</c:v>
                </c:pt>
                <c:pt idx="13129">
                  <c:v>0.72136799567683796</c:v>
                </c:pt>
                <c:pt idx="13130">
                  <c:v>0.91634791743705402</c:v>
                </c:pt>
                <c:pt idx="13131">
                  <c:v>0.90390239051618904</c:v>
                </c:pt>
                <c:pt idx="13132">
                  <c:v>0.66328887004613502</c:v>
                </c:pt>
                <c:pt idx="13133">
                  <c:v>0.72966501362408098</c:v>
                </c:pt>
                <c:pt idx="13134">
                  <c:v>0.75040755849218899</c:v>
                </c:pt>
                <c:pt idx="13135">
                  <c:v>0.78774413925478304</c:v>
                </c:pt>
                <c:pt idx="13136">
                  <c:v>1.0034666058831101</c:v>
                </c:pt>
                <c:pt idx="13137">
                  <c:v>0.580318690573702</c:v>
                </c:pt>
                <c:pt idx="13138">
                  <c:v>0.21524990089500001</c:v>
                </c:pt>
                <c:pt idx="13139">
                  <c:v>0.15717077526429701</c:v>
                </c:pt>
                <c:pt idx="13140">
                  <c:v>0.21524990089500001</c:v>
                </c:pt>
                <c:pt idx="13141">
                  <c:v>0.24014095473673</c:v>
                </c:pt>
                <c:pt idx="13142">
                  <c:v>0.19865586500051299</c:v>
                </c:pt>
                <c:pt idx="13143">
                  <c:v>0.107388667580838</c:v>
                </c:pt>
                <c:pt idx="13144">
                  <c:v>0.19035884705327</c:v>
                </c:pt>
                <c:pt idx="13145">
                  <c:v>0.22354691884224301</c:v>
                </c:pt>
                <c:pt idx="13146">
                  <c:v>0.19865586500051299</c:v>
                </c:pt>
                <c:pt idx="13147">
                  <c:v>2.0269979134783799E-2</c:v>
                </c:pt>
                <c:pt idx="13148">
                  <c:v>0.103240158607216</c:v>
                </c:pt>
                <c:pt idx="13149">
                  <c:v>1.61214701611622E-2</c:v>
                </c:pt>
                <c:pt idx="13150">
                  <c:v>-0.14152187083645901</c:v>
                </c:pt>
                <c:pt idx="13151">
                  <c:v>-1.29180926541891E-2</c:v>
                </c:pt>
                <c:pt idx="13152">
                  <c:v>-0.18300696057267599</c:v>
                </c:pt>
                <c:pt idx="13153">
                  <c:v>-0.13322485288921601</c:v>
                </c:pt>
                <c:pt idx="13154">
                  <c:v>-0.28257117593959402</c:v>
                </c:pt>
                <c:pt idx="13155">
                  <c:v>-0.22864055928251301</c:v>
                </c:pt>
                <c:pt idx="13156">
                  <c:v>-0.295016702860459</c:v>
                </c:pt>
                <c:pt idx="13157">
                  <c:v>-0.19545248749353999</c:v>
                </c:pt>
                <c:pt idx="13158">
                  <c:v>-0.29916521183408101</c:v>
                </c:pt>
                <c:pt idx="13159">
                  <c:v>-0.19130397851991901</c:v>
                </c:pt>
                <c:pt idx="13160">
                  <c:v>-6.2700200337648601E-2</c:v>
                </c:pt>
                <c:pt idx="13161">
                  <c:v>0.39363578676073002</c:v>
                </c:pt>
                <c:pt idx="13162">
                  <c:v>-0.13737336186283799</c:v>
                </c:pt>
                <c:pt idx="13163">
                  <c:v>-8.7695836805675303E-3</c:v>
                </c:pt>
                <c:pt idx="13164">
                  <c:v>0.17791332013240499</c:v>
                </c:pt>
                <c:pt idx="13165">
                  <c:v>0.41437833162883803</c:v>
                </c:pt>
                <c:pt idx="13166">
                  <c:v>0.32311113420916199</c:v>
                </c:pt>
                <c:pt idx="13167">
                  <c:v>0.202804373974135</c:v>
                </c:pt>
                <c:pt idx="13168">
                  <c:v>0.29822008036743203</c:v>
                </c:pt>
                <c:pt idx="13169">
                  <c:v>0.289923062420189</c:v>
                </c:pt>
                <c:pt idx="13170">
                  <c:v>6.59035778446216E-2</c:v>
                </c:pt>
                <c:pt idx="13171">
                  <c:v>0.27747753549932402</c:v>
                </c:pt>
                <c:pt idx="13172">
                  <c:v>0.107388667580838</c:v>
                </c:pt>
                <c:pt idx="13173">
                  <c:v>0.182061829106027</c:v>
                </c:pt>
                <c:pt idx="13174">
                  <c:v>0.15717077526429701</c:v>
                </c:pt>
                <c:pt idx="13175">
                  <c:v>1.136218893039</c:v>
                </c:pt>
                <c:pt idx="13176">
                  <c:v>0.385338768813486</c:v>
                </c:pt>
                <c:pt idx="13177">
                  <c:v>0.696476941835108</c:v>
                </c:pt>
                <c:pt idx="13178">
                  <c:v>0.57202167262645898</c:v>
                </c:pt>
                <c:pt idx="13179">
                  <c:v>0.15717077526429701</c:v>
                </c:pt>
                <c:pt idx="13180">
                  <c:v>1.3394958327464599</c:v>
                </c:pt>
                <c:pt idx="13181">
                  <c:v>1.0491002045929501</c:v>
                </c:pt>
                <c:pt idx="13182">
                  <c:v>1.1486644199598599</c:v>
                </c:pt>
                <c:pt idx="13183">
                  <c:v>1.05324871356657</c:v>
                </c:pt>
                <c:pt idx="13184">
                  <c:v>1.11962485714451</c:v>
                </c:pt>
                <c:pt idx="13185">
                  <c:v>1.2108920545641899</c:v>
                </c:pt>
                <c:pt idx="13186">
                  <c:v>1.5054361916913199</c:v>
                </c:pt>
                <c:pt idx="13187">
                  <c:v>1.60500040705824</c:v>
                </c:pt>
                <c:pt idx="13188">
                  <c:v>1.5012876827177</c:v>
                </c:pt>
                <c:pt idx="13189">
                  <c:v>1.5344757545066701</c:v>
                </c:pt>
                <c:pt idx="13190">
                  <c:v>1.6091489160318599</c:v>
                </c:pt>
                <c:pt idx="13191">
                  <c:v>1.70456462242516</c:v>
                </c:pt>
                <c:pt idx="13192">
                  <c:v>1.32705030582559</c:v>
                </c:pt>
                <c:pt idx="13193">
                  <c:v>1.41416899427165</c:v>
                </c:pt>
                <c:pt idx="13194">
                  <c:v>1.5137332096385701</c:v>
                </c:pt>
                <c:pt idx="13195">
                  <c:v>1.8207228736865699</c:v>
                </c:pt>
                <c:pt idx="13196">
                  <c:v>1.4680996109287301</c:v>
                </c:pt>
                <c:pt idx="13197">
                  <c:v>1.60085189808462</c:v>
                </c:pt>
                <c:pt idx="13198">
                  <c:v>2.899335206828189</c:v>
                </c:pt>
                <c:pt idx="13199">
                  <c:v>3.26855250548051</c:v>
                </c:pt>
                <c:pt idx="13200">
                  <c:v>2.38077158512549</c:v>
                </c:pt>
                <c:pt idx="13201">
                  <c:v>2.40566263896722</c:v>
                </c:pt>
                <c:pt idx="13202">
                  <c:v>2.1899401723388889</c:v>
                </c:pt>
                <c:pt idx="13203">
                  <c:v>2.09037595697197</c:v>
                </c:pt>
                <c:pt idx="13204">
                  <c:v>2.1401580646554299</c:v>
                </c:pt>
                <c:pt idx="13205">
                  <c:v>2.2646133338640801</c:v>
                </c:pt>
                <c:pt idx="13206">
                  <c:v>2.3268409684683991</c:v>
                </c:pt>
                <c:pt idx="13207">
                  <c:v>2.2895043877058101</c:v>
                </c:pt>
                <c:pt idx="13208">
                  <c:v>2.2729103518113201</c:v>
                </c:pt>
                <c:pt idx="13209">
                  <c:v>2.0322968313412701</c:v>
                </c:pt>
                <c:pt idx="13210">
                  <c:v>2.0779304300511101</c:v>
                </c:pt>
                <c:pt idx="13211">
                  <c:v>2.0613363941566201</c:v>
                </c:pt>
                <c:pt idx="13212">
                  <c:v>2.0405938492885101</c:v>
                </c:pt>
                <c:pt idx="13213">
                  <c:v>2.0239998133940298</c:v>
                </c:pt>
                <c:pt idx="13214">
                  <c:v>2.13186104670819</c:v>
                </c:pt>
                <c:pt idx="13215">
                  <c:v>2.13186104670819</c:v>
                </c:pt>
                <c:pt idx="13216">
                  <c:v>1.98666323263143</c:v>
                </c:pt>
                <c:pt idx="13217">
                  <c:v>1.8870990172645099</c:v>
                </c:pt>
                <c:pt idx="13218">
                  <c:v>1.9908117416050499</c:v>
                </c:pt>
                <c:pt idx="13219">
                  <c:v>1.97836621468419</c:v>
                </c:pt>
                <c:pt idx="13220">
                  <c:v>2.0032572685259198</c:v>
                </c:pt>
                <c:pt idx="13221">
                  <c:v>2.0157027954467801</c:v>
                </c:pt>
                <c:pt idx="13222">
                  <c:v>1.89539603521176</c:v>
                </c:pt>
                <c:pt idx="13223">
                  <c:v>1.9327326159743501</c:v>
                </c:pt>
                <c:pt idx="13224">
                  <c:v>1.8497624365019201</c:v>
                </c:pt>
                <c:pt idx="13225">
                  <c:v>1.1445159109862399</c:v>
                </c:pt>
                <c:pt idx="13226">
                  <c:v>0.97442704306775596</c:v>
                </c:pt>
                <c:pt idx="13227">
                  <c:v>0.64254632517802701</c:v>
                </c:pt>
                <c:pt idx="13228">
                  <c:v>0.64254632517802701</c:v>
                </c:pt>
                <c:pt idx="13229">
                  <c:v>0.67988290594062095</c:v>
                </c:pt>
                <c:pt idx="13230">
                  <c:v>0.675734396967</c:v>
                </c:pt>
                <c:pt idx="13231">
                  <c:v>0.69232843286148604</c:v>
                </c:pt>
                <c:pt idx="13232">
                  <c:v>0.68403141491424302</c:v>
                </c:pt>
                <c:pt idx="13233">
                  <c:v>0.90390239051618904</c:v>
                </c:pt>
                <c:pt idx="13234">
                  <c:v>0.31896262523553998</c:v>
                </c:pt>
                <c:pt idx="13235">
                  <c:v>0.464160439312297</c:v>
                </c:pt>
                <c:pt idx="13236">
                  <c:v>0.28577455344656699</c:v>
                </c:pt>
                <c:pt idx="13237">
                  <c:v>0.39778429573435098</c:v>
                </c:pt>
                <c:pt idx="13238">
                  <c:v>0.19865586500051299</c:v>
                </c:pt>
                <c:pt idx="13239">
                  <c:v>0.48075447520678399</c:v>
                </c:pt>
                <c:pt idx="13240">
                  <c:v>0.211101391921378</c:v>
                </c:pt>
                <c:pt idx="13241">
                  <c:v>0.42682385854970301</c:v>
                </c:pt>
                <c:pt idx="13242">
                  <c:v>-3.3660637522297199E-2</c:v>
                </c:pt>
                <c:pt idx="13243">
                  <c:v>8.2497613739108105E-2</c:v>
                </c:pt>
                <c:pt idx="13244">
                  <c:v>4.5161032976513499E-2</c:v>
                </c:pt>
                <c:pt idx="13245">
                  <c:v>9.9091649633594597E-2</c:v>
                </c:pt>
                <c:pt idx="13246">
                  <c:v>8.6646122712729701E-2</c:v>
                </c:pt>
                <c:pt idx="13247">
                  <c:v>4.1012524002891897E-2</c:v>
                </c:pt>
                <c:pt idx="13248">
                  <c:v>0.19865586500051299</c:v>
                </c:pt>
                <c:pt idx="13249">
                  <c:v>8.6646122712729701E-2</c:v>
                </c:pt>
                <c:pt idx="13250">
                  <c:v>4.9309541950135198E-2</c:v>
                </c:pt>
                <c:pt idx="13251">
                  <c:v>-0.11248230802110799</c:v>
                </c:pt>
                <c:pt idx="13252">
                  <c:v>2.0269979134783799E-2</c:v>
                </c:pt>
                <c:pt idx="13253">
                  <c:v>5.7606559897378402E-2</c:v>
                </c:pt>
                <c:pt idx="13254">
                  <c:v>-0.15396739775732399</c:v>
                </c:pt>
                <c:pt idx="13255">
                  <c:v>-0.178858451599054</c:v>
                </c:pt>
                <c:pt idx="13256">
                  <c:v>6.1755068870999998E-2</c:v>
                </c:pt>
                <c:pt idx="13257">
                  <c:v>0.289923062420189</c:v>
                </c:pt>
                <c:pt idx="13258">
                  <c:v>0.29407157139381102</c:v>
                </c:pt>
                <c:pt idx="13259">
                  <c:v>7.8244522139189494E-3</c:v>
                </c:pt>
                <c:pt idx="13260">
                  <c:v>0.385338768813486</c:v>
                </c:pt>
                <c:pt idx="13261">
                  <c:v>0.48075447520678399</c:v>
                </c:pt>
                <c:pt idx="13262">
                  <c:v>0.31066560728829701</c:v>
                </c:pt>
                <c:pt idx="13263">
                  <c:v>0.48490298418040501</c:v>
                </c:pt>
                <c:pt idx="13264">
                  <c:v>0.19450735602689201</c:v>
                </c:pt>
                <c:pt idx="13265">
                  <c:v>0.11153717655445899</c:v>
                </c:pt>
                <c:pt idx="13266">
                  <c:v>0.17791332013240499</c:v>
                </c:pt>
                <c:pt idx="13267">
                  <c:v>0.173764811158784</c:v>
                </c:pt>
                <c:pt idx="13268">
                  <c:v>0.20695288294775699</c:v>
                </c:pt>
                <c:pt idx="13269">
                  <c:v>0.123982703475324</c:v>
                </c:pt>
                <c:pt idx="13270">
                  <c:v>0.119834194501703</c:v>
                </c:pt>
                <c:pt idx="13271">
                  <c:v>0.970278534094135</c:v>
                </c:pt>
                <c:pt idx="13272">
                  <c:v>0.54298210981110795</c:v>
                </c:pt>
                <c:pt idx="13273">
                  <c:v>0.82922922899100004</c:v>
                </c:pt>
                <c:pt idx="13274">
                  <c:v>0.86656580975359399</c:v>
                </c:pt>
                <c:pt idx="13275">
                  <c:v>1.2772681981421301</c:v>
                </c:pt>
                <c:pt idx="13276">
                  <c:v>1.66722804166257</c:v>
                </c:pt>
                <c:pt idx="13277">
                  <c:v>1.38927794042992</c:v>
                </c:pt>
                <c:pt idx="13278">
                  <c:v>1.2316345994322999</c:v>
                </c:pt>
                <c:pt idx="13279">
                  <c:v>1.1320703840653801</c:v>
                </c:pt>
                <c:pt idx="13280">
                  <c:v>0.80018966617564802</c:v>
                </c:pt>
                <c:pt idx="13281">
                  <c:v>1.0034666058831101</c:v>
                </c:pt>
                <c:pt idx="13282">
                  <c:v>1.75434673010862</c:v>
                </c:pt>
                <c:pt idx="13283">
                  <c:v>1.4017234673507799</c:v>
                </c:pt>
                <c:pt idx="13284">
                  <c:v>1.8082773467657001</c:v>
                </c:pt>
                <c:pt idx="13285">
                  <c:v>1.5552182993747801</c:v>
                </c:pt>
                <c:pt idx="13286">
                  <c:v>1.4846936468232199</c:v>
                </c:pt>
                <c:pt idx="13287">
                  <c:v>1.58425786219013</c:v>
                </c:pt>
                <c:pt idx="13288">
                  <c:v>1.6132974250054899</c:v>
                </c:pt>
                <c:pt idx="13289">
                  <c:v>1.6340399698735899</c:v>
                </c:pt>
                <c:pt idx="13290">
                  <c:v>2.8495530991447291</c:v>
                </c:pt>
                <c:pt idx="13291">
                  <c:v>2.6670187043053799</c:v>
                </c:pt>
                <c:pt idx="13292">
                  <c:v>1.89954454418538</c:v>
                </c:pt>
                <c:pt idx="13293">
                  <c:v>1.6547825147416999</c:v>
                </c:pt>
                <c:pt idx="13294">
                  <c:v>1.7128616403724</c:v>
                </c:pt>
                <c:pt idx="13295">
                  <c:v>2.11111850184008</c:v>
                </c:pt>
                <c:pt idx="13296">
                  <c:v>2.1443065736290499</c:v>
                </c:pt>
                <c:pt idx="13297">
                  <c:v>2.0157027954467801</c:v>
                </c:pt>
                <c:pt idx="13298">
                  <c:v>1.83316840060743</c:v>
                </c:pt>
                <c:pt idx="13299">
                  <c:v>1.8663564723963999</c:v>
                </c:pt>
                <c:pt idx="13300">
                  <c:v>1.9991087595523001</c:v>
                </c:pt>
                <c:pt idx="13301">
                  <c:v>2.06548490313024</c:v>
                </c:pt>
                <c:pt idx="13302">
                  <c:v>1.9659206877633191</c:v>
                </c:pt>
                <c:pt idx="13303">
                  <c:v>2.17749464541803</c:v>
                </c:pt>
                <c:pt idx="13304">
                  <c:v>1.8663564723963999</c:v>
                </c:pt>
                <c:pt idx="13305">
                  <c:v>1.9119900711062401</c:v>
                </c:pt>
                <c:pt idx="13306">
                  <c:v>1.9036930531589991</c:v>
                </c:pt>
                <c:pt idx="13307">
                  <c:v>1.87880199931727</c:v>
                </c:pt>
                <c:pt idx="13308">
                  <c:v>1.9742177057105701</c:v>
                </c:pt>
                <c:pt idx="13309">
                  <c:v>1.8870990172645099</c:v>
                </c:pt>
                <c:pt idx="13310">
                  <c:v>2.0364453403148892</c:v>
                </c:pt>
                <c:pt idx="13311">
                  <c:v>1.89539603521176</c:v>
                </c:pt>
                <c:pt idx="13312">
                  <c:v>2.1526035915763</c:v>
                </c:pt>
                <c:pt idx="13313">
                  <c:v>1.8705049813700301</c:v>
                </c:pt>
                <c:pt idx="13314">
                  <c:v>1.8870990172645099</c:v>
                </c:pt>
                <c:pt idx="13315">
                  <c:v>1.81242585573932</c:v>
                </c:pt>
                <c:pt idx="13316">
                  <c:v>1.750198221135</c:v>
                </c:pt>
                <c:pt idx="13317">
                  <c:v>1.8414654185546699</c:v>
                </c:pt>
                <c:pt idx="13318">
                  <c:v>1.81242585573932</c:v>
                </c:pt>
                <c:pt idx="13319">
                  <c:v>1.7875348018975901</c:v>
                </c:pt>
                <c:pt idx="13320">
                  <c:v>1.85391094547554</c:v>
                </c:pt>
                <c:pt idx="13321">
                  <c:v>1.0864367853555399</c:v>
                </c:pt>
                <c:pt idx="13322">
                  <c:v>0.68403141491424302</c:v>
                </c:pt>
                <c:pt idx="13323">
                  <c:v>0.42682385854970301</c:v>
                </c:pt>
                <c:pt idx="13324">
                  <c:v>0.46001193033867499</c:v>
                </c:pt>
                <c:pt idx="13325">
                  <c:v>0.41852684060245898</c:v>
                </c:pt>
                <c:pt idx="13326">
                  <c:v>0.50979403802213497</c:v>
                </c:pt>
                <c:pt idx="13327">
                  <c:v>0.580318690573702</c:v>
                </c:pt>
                <c:pt idx="13328">
                  <c:v>0.76285308541305397</c:v>
                </c:pt>
                <c:pt idx="13329">
                  <c:v>0.78774413925478304</c:v>
                </c:pt>
                <c:pt idx="13330">
                  <c:v>-6.2700200337648601E-2</c:v>
                </c:pt>
                <c:pt idx="13331">
                  <c:v>-4.62107470694591E-3</c:v>
                </c:pt>
                <c:pt idx="13332">
                  <c:v>6.59035778446216E-2</c:v>
                </c:pt>
                <c:pt idx="13333">
                  <c:v>9.9091649633594597E-2</c:v>
                </c:pt>
                <c:pt idx="13334">
                  <c:v>-8.3442745205756702E-2</c:v>
                </c:pt>
                <c:pt idx="13335">
                  <c:v>5.7606559897378402E-2</c:v>
                </c:pt>
                <c:pt idx="13336">
                  <c:v>-5.0254673416783698E-2</c:v>
                </c:pt>
                <c:pt idx="13337">
                  <c:v>3.6759432402973299E-3</c:v>
                </c:pt>
                <c:pt idx="13338">
                  <c:v>-4.19576554695405E-2</c:v>
                </c:pt>
                <c:pt idx="13339">
                  <c:v>-0.46510557077894599</c:v>
                </c:pt>
                <c:pt idx="13340">
                  <c:v>-0.56052127717224298</c:v>
                </c:pt>
                <c:pt idx="13341">
                  <c:v>-0.57296680409310796</c:v>
                </c:pt>
                <c:pt idx="13342">
                  <c:v>-0.684976546380892</c:v>
                </c:pt>
                <c:pt idx="13343">
                  <c:v>-0.684976546380892</c:v>
                </c:pt>
                <c:pt idx="13344">
                  <c:v>-0.63519443869743197</c:v>
                </c:pt>
                <c:pt idx="13345">
                  <c:v>-0.73061014509072897</c:v>
                </c:pt>
                <c:pt idx="13346">
                  <c:v>-0.643491456644675</c:v>
                </c:pt>
                <c:pt idx="13347">
                  <c:v>-0.76379821687970195</c:v>
                </c:pt>
                <c:pt idx="13348">
                  <c:v>-0.73475865406435104</c:v>
                </c:pt>
                <c:pt idx="13349">
                  <c:v>-0.74720418098521602</c:v>
                </c:pt>
                <c:pt idx="13350">
                  <c:v>-0.60200636690845899</c:v>
                </c:pt>
                <c:pt idx="13351">
                  <c:v>-0.85091690532575603</c:v>
                </c:pt>
                <c:pt idx="13352">
                  <c:v>-0.25768012209786501</c:v>
                </c:pt>
                <c:pt idx="13353">
                  <c:v>-2.95121285486756E-2</c:v>
                </c:pt>
                <c:pt idx="13354">
                  <c:v>-0.295016702860459</c:v>
                </c:pt>
                <c:pt idx="13355">
                  <c:v>-0.48584811564705399</c:v>
                </c:pt>
                <c:pt idx="13356">
                  <c:v>-0.149818888783703</c:v>
                </c:pt>
                <c:pt idx="13357">
                  <c:v>7.8349104765486496E-2</c:v>
                </c:pt>
                <c:pt idx="13358">
                  <c:v>-0.20374950544078399</c:v>
                </c:pt>
                <c:pt idx="13359">
                  <c:v>-0.24938310415062101</c:v>
                </c:pt>
                <c:pt idx="13360">
                  <c:v>-0.40287793617462098</c:v>
                </c:pt>
                <c:pt idx="13361">
                  <c:v>-0.64763996561829695</c:v>
                </c:pt>
                <c:pt idx="13362">
                  <c:v>2.57160299791208</c:v>
                </c:pt>
                <c:pt idx="13363">
                  <c:v>2.36002904025738</c:v>
                </c:pt>
                <c:pt idx="13364">
                  <c:v>2.3143954415475401</c:v>
                </c:pt>
                <c:pt idx="13365">
                  <c:v>2.0198513044204001</c:v>
                </c:pt>
                <c:pt idx="13366">
                  <c:v>2.8702956440128391</c:v>
                </c:pt>
                <c:pt idx="13367">
                  <c:v>3.75807656436786</c:v>
                </c:pt>
                <c:pt idx="13368">
                  <c:v>3.7497795464206201</c:v>
                </c:pt>
                <c:pt idx="13369">
                  <c:v>3.1897308349817002</c:v>
                </c:pt>
                <c:pt idx="13370">
                  <c:v>0.970278534094135</c:v>
                </c:pt>
                <c:pt idx="13371">
                  <c:v>1.68382207755705</c:v>
                </c:pt>
                <c:pt idx="13372">
                  <c:v>0.81678370207013495</c:v>
                </c:pt>
                <c:pt idx="13373">
                  <c:v>3.1689882901135902</c:v>
                </c:pt>
                <c:pt idx="13374">
                  <c:v>2.2853558787321901</c:v>
                </c:pt>
                <c:pt idx="13375">
                  <c:v>2.2521678069432198</c:v>
                </c:pt>
                <c:pt idx="13376">
                  <c:v>2.0032572685259198</c:v>
                </c:pt>
                <c:pt idx="13377">
                  <c:v>2.1401580646554299</c:v>
                </c:pt>
                <c:pt idx="13378">
                  <c:v>2.0820789390247292</c:v>
                </c:pt>
                <c:pt idx="13379">
                  <c:v>1.89539603521176</c:v>
                </c:pt>
                <c:pt idx="13380">
                  <c:v>1.75434673010862</c:v>
                </c:pt>
                <c:pt idx="13381">
                  <c:v>1.9119900711062401</c:v>
                </c:pt>
                <c:pt idx="13382">
                  <c:v>1.89539603521176</c:v>
                </c:pt>
                <c:pt idx="13383">
                  <c:v>2.0986729749192188</c:v>
                </c:pt>
                <c:pt idx="13384">
                  <c:v>2.0613363941566201</c:v>
                </c:pt>
                <c:pt idx="13385">
                  <c:v>2.0986729749192188</c:v>
                </c:pt>
                <c:pt idx="13386">
                  <c:v>1.9327326159743501</c:v>
                </c:pt>
                <c:pt idx="13387">
                  <c:v>2.202385699259759</c:v>
                </c:pt>
                <c:pt idx="13388">
                  <c:v>2.0074057774995402</c:v>
                </c:pt>
                <c:pt idx="13389">
                  <c:v>2.0322968313412701</c:v>
                </c:pt>
                <c:pt idx="13390">
                  <c:v>2.0779304300511101</c:v>
                </c:pt>
                <c:pt idx="13391">
                  <c:v>1.72945567626689</c:v>
                </c:pt>
                <c:pt idx="13392">
                  <c:v>1.8248713826601899</c:v>
                </c:pt>
                <c:pt idx="13393">
                  <c:v>1.94102963392159</c:v>
                </c:pt>
                <c:pt idx="13394">
                  <c:v>1.8414654185546699</c:v>
                </c:pt>
                <c:pt idx="13395">
                  <c:v>1.72945567626689</c:v>
                </c:pt>
                <c:pt idx="13396">
                  <c:v>1.77508927497673</c:v>
                </c:pt>
                <c:pt idx="13397">
                  <c:v>1.8829505082908899</c:v>
                </c:pt>
                <c:pt idx="13398">
                  <c:v>1.87465349034365</c:v>
                </c:pt>
                <c:pt idx="13399">
                  <c:v>1.85805945444916</c:v>
                </c:pt>
                <c:pt idx="13400">
                  <c:v>1.9036930531589991</c:v>
                </c:pt>
                <c:pt idx="13401">
                  <c:v>1.60085189808462</c:v>
                </c:pt>
                <c:pt idx="13402">
                  <c:v>1.70871313139878</c:v>
                </c:pt>
                <c:pt idx="13403">
                  <c:v>1.7999803288184599</c:v>
                </c:pt>
                <c:pt idx="13404">
                  <c:v>1.6589310237153201</c:v>
                </c:pt>
                <c:pt idx="13405">
                  <c:v>1.5676638262956499</c:v>
                </c:pt>
                <c:pt idx="13406">
                  <c:v>0.97442704306775596</c:v>
                </c:pt>
                <c:pt idx="13407">
                  <c:v>1.2523771443003999</c:v>
                </c:pt>
                <c:pt idx="13408">
                  <c:v>1.0615457315138099</c:v>
                </c:pt>
                <c:pt idx="13409">
                  <c:v>0.88730835462170199</c:v>
                </c:pt>
                <c:pt idx="13410">
                  <c:v>0.24428946371035101</c:v>
                </c:pt>
                <c:pt idx="13411">
                  <c:v>0.29407157139381102</c:v>
                </c:pt>
                <c:pt idx="13412">
                  <c:v>0.24014095473673</c:v>
                </c:pt>
                <c:pt idx="13413">
                  <c:v>-0.236937577229757</c:v>
                </c:pt>
                <c:pt idx="13414">
                  <c:v>0.928793444357919</c:v>
                </c:pt>
                <c:pt idx="13415">
                  <c:v>0.84582326488548598</c:v>
                </c:pt>
                <c:pt idx="13416">
                  <c:v>0.31066560728829701</c:v>
                </c:pt>
                <c:pt idx="13417">
                  <c:v>0.23599244576310799</c:v>
                </c:pt>
                <c:pt idx="13418">
                  <c:v>5.7606559897378402E-2</c:v>
                </c:pt>
                <c:pt idx="13419">
                  <c:v>0.38948727778710801</c:v>
                </c:pt>
                <c:pt idx="13420">
                  <c:v>7.0052086818243306E-2</c:v>
                </c:pt>
                <c:pt idx="13421">
                  <c:v>0.43097236752332402</c:v>
                </c:pt>
                <c:pt idx="13422">
                  <c:v>-1.29180926541891E-2</c:v>
                </c:pt>
                <c:pt idx="13423">
                  <c:v>7.8244522139189494E-3</c:v>
                </c:pt>
                <c:pt idx="13424">
                  <c:v>-7.5145727258513401E-2</c:v>
                </c:pt>
                <c:pt idx="13425">
                  <c:v>3.6759432402973299E-3</c:v>
                </c:pt>
                <c:pt idx="13426">
                  <c:v>7.0052086818243306E-2</c:v>
                </c:pt>
                <c:pt idx="13427">
                  <c:v>1.61214701611622E-2</c:v>
                </c:pt>
                <c:pt idx="13428">
                  <c:v>0.119834194501703</c:v>
                </c:pt>
                <c:pt idx="13429">
                  <c:v>-0.11248230802110799</c:v>
                </c:pt>
                <c:pt idx="13430">
                  <c:v>-4.62107470694591E-3</c:v>
                </c:pt>
                <c:pt idx="13431">
                  <c:v>-0.100036781100243</c:v>
                </c:pt>
                <c:pt idx="13432">
                  <c:v>-3.3660637522297199E-2</c:v>
                </c:pt>
                <c:pt idx="13433">
                  <c:v>-0.25768012209786501</c:v>
                </c:pt>
                <c:pt idx="13434">
                  <c:v>-0.11248230802110799</c:v>
                </c:pt>
                <c:pt idx="13435">
                  <c:v>-0.31161073875494599</c:v>
                </c:pt>
                <c:pt idx="13436">
                  <c:v>-0.27842266696597301</c:v>
                </c:pt>
                <c:pt idx="13437">
                  <c:v>-0.33650179259667501</c:v>
                </c:pt>
                <c:pt idx="13438">
                  <c:v>-0.36554135541202698</c:v>
                </c:pt>
                <c:pt idx="13439">
                  <c:v>-0.34479881054391898</c:v>
                </c:pt>
                <c:pt idx="13440">
                  <c:v>-0.40702644514824299</c:v>
                </c:pt>
                <c:pt idx="13441">
                  <c:v>-9.1739763152999906E-2</c:v>
                </c:pt>
                <c:pt idx="13442">
                  <c:v>-0.29916521183408101</c:v>
                </c:pt>
                <c:pt idx="13443">
                  <c:v>-0.14567037981008099</c:v>
                </c:pt>
                <c:pt idx="13444">
                  <c:v>-0.295016702860459</c:v>
                </c:pt>
                <c:pt idx="13445">
                  <c:v>-0.13737336186283799</c:v>
                </c:pt>
                <c:pt idx="13446">
                  <c:v>-0.35724433746478401</c:v>
                </c:pt>
                <c:pt idx="13447">
                  <c:v>-0.158115906730946</c:v>
                </c:pt>
                <c:pt idx="13448">
                  <c:v>-0.34065030157029702</c:v>
                </c:pt>
                <c:pt idx="13449">
                  <c:v>-0.14567037981008099</c:v>
                </c:pt>
                <c:pt idx="13450">
                  <c:v>-0.21204652338802699</c:v>
                </c:pt>
                <c:pt idx="13451">
                  <c:v>-0.120779325968351</c:v>
                </c:pt>
                <c:pt idx="13452">
                  <c:v>-0.13322485288921601</c:v>
                </c:pt>
                <c:pt idx="13453">
                  <c:v>-0.129076343915595</c:v>
                </c:pt>
                <c:pt idx="13454">
                  <c:v>-0.19130397851991901</c:v>
                </c:pt>
                <c:pt idx="13455">
                  <c:v>-5.44031823904053E-2</c:v>
                </c:pt>
                <c:pt idx="13456">
                  <c:v>-0.120779325968351</c:v>
                </c:pt>
                <c:pt idx="13457">
                  <c:v>-0.24938310415062101</c:v>
                </c:pt>
                <c:pt idx="13458">
                  <c:v>-0.24938310415062101</c:v>
                </c:pt>
                <c:pt idx="13459">
                  <c:v>-0.22449205030889199</c:v>
                </c:pt>
                <c:pt idx="13460">
                  <c:v>-0.178858451599054</c:v>
                </c:pt>
                <c:pt idx="13461">
                  <c:v>-0.24108608620337801</c:v>
                </c:pt>
                <c:pt idx="13462">
                  <c:v>-0.11663081699473</c:v>
                </c:pt>
                <c:pt idx="13463">
                  <c:v>0.20695288294775699</c:v>
                </c:pt>
                <c:pt idx="13464">
                  <c:v>0.68403141491424302</c:v>
                </c:pt>
                <c:pt idx="13465">
                  <c:v>0.28162604447294598</c:v>
                </c:pt>
                <c:pt idx="13466">
                  <c:v>0.348002188050892</c:v>
                </c:pt>
                <c:pt idx="13467">
                  <c:v>0.30236858934105398</c:v>
                </c:pt>
                <c:pt idx="13468">
                  <c:v>0.51394254699575703</c:v>
                </c:pt>
                <c:pt idx="13469">
                  <c:v>0.675734396967</c:v>
                </c:pt>
                <c:pt idx="13470">
                  <c:v>0.65084334312527004</c:v>
                </c:pt>
                <c:pt idx="13471">
                  <c:v>1.0491002045929501</c:v>
                </c:pt>
                <c:pt idx="13472">
                  <c:v>0.75455606746581105</c:v>
                </c:pt>
                <c:pt idx="13473">
                  <c:v>0.93709046230516202</c:v>
                </c:pt>
                <c:pt idx="13474">
                  <c:v>1.0034666058831101</c:v>
                </c:pt>
                <c:pt idx="13475">
                  <c:v>1.43906004811338</c:v>
                </c:pt>
                <c:pt idx="13476">
                  <c:v>1.2814167071157601</c:v>
                </c:pt>
                <c:pt idx="13477">
                  <c:v>1.6921190955043</c:v>
                </c:pt>
                <c:pt idx="13478">
                  <c:v>1.7584952390822399</c:v>
                </c:pt>
                <c:pt idx="13479">
                  <c:v>1.68382207755705</c:v>
                </c:pt>
                <c:pt idx="13480">
                  <c:v>1.41002048529803</c:v>
                </c:pt>
                <c:pt idx="13481">
                  <c:v>1.45565408400786</c:v>
                </c:pt>
                <c:pt idx="13482">
                  <c:v>1.5759608442428901</c:v>
                </c:pt>
                <c:pt idx="13483">
                  <c:v>1.68797058653067</c:v>
                </c:pt>
                <c:pt idx="13484">
                  <c:v>1.68382207755705</c:v>
                </c:pt>
                <c:pt idx="13485">
                  <c:v>1.41416899427165</c:v>
                </c:pt>
                <c:pt idx="13486">
                  <c:v>1.6547825147416999</c:v>
                </c:pt>
                <c:pt idx="13487">
                  <c:v>1.8248713826601899</c:v>
                </c:pt>
                <c:pt idx="13488">
                  <c:v>1.7170101493460299</c:v>
                </c:pt>
                <c:pt idx="13489">
                  <c:v>1.4432085570869999</c:v>
                </c:pt>
                <c:pt idx="13490">
                  <c:v>1.2565256532740301</c:v>
                </c:pt>
                <c:pt idx="13491">
                  <c:v>1.72530716729327</c:v>
                </c:pt>
                <c:pt idx="13492">
                  <c:v>1.58425786219013</c:v>
                </c:pt>
                <c:pt idx="13493">
                  <c:v>1.01591213280397</c:v>
                </c:pt>
                <c:pt idx="13494">
                  <c:v>0.98272406101499998</c:v>
                </c:pt>
                <c:pt idx="13495">
                  <c:v>1.01591213280397</c:v>
                </c:pt>
                <c:pt idx="13496">
                  <c:v>0.89560537256894601</c:v>
                </c:pt>
                <c:pt idx="13497">
                  <c:v>1.09473380330278</c:v>
                </c:pt>
                <c:pt idx="13498">
                  <c:v>1.136218893039</c:v>
                </c:pt>
                <c:pt idx="13499">
                  <c:v>1.05739722254019</c:v>
                </c:pt>
                <c:pt idx="13500">
                  <c:v>0.89975388154256697</c:v>
                </c:pt>
                <c:pt idx="13501">
                  <c:v>0.99102107896224301</c:v>
                </c:pt>
                <c:pt idx="13502">
                  <c:v>1.03665467767208</c:v>
                </c:pt>
                <c:pt idx="13503">
                  <c:v>1.11547634817089</c:v>
                </c:pt>
                <c:pt idx="13504">
                  <c:v>1.0242091507512201</c:v>
                </c:pt>
                <c:pt idx="13505">
                  <c:v>0.83752624693824296</c:v>
                </c:pt>
                <c:pt idx="13506">
                  <c:v>1.0615457315138099</c:v>
                </c:pt>
                <c:pt idx="13507">
                  <c:v>0.75040755849218899</c:v>
                </c:pt>
                <c:pt idx="13508">
                  <c:v>0.50979403802213497</c:v>
                </c:pt>
                <c:pt idx="13509">
                  <c:v>0.59276421749456698</c:v>
                </c:pt>
                <c:pt idx="13510">
                  <c:v>0.48075447520678399</c:v>
                </c:pt>
                <c:pt idx="13511">
                  <c:v>0.82922922899100004</c:v>
                </c:pt>
                <c:pt idx="13512">
                  <c:v>0.36874473291900001</c:v>
                </c:pt>
                <c:pt idx="13513">
                  <c:v>0.46001193033867499</c:v>
                </c:pt>
                <c:pt idx="13514">
                  <c:v>7.8244522139189494E-3</c:v>
                </c:pt>
                <c:pt idx="13515">
                  <c:v>0.22354691884224301</c:v>
                </c:pt>
                <c:pt idx="13516">
                  <c:v>0.33555666113002702</c:v>
                </c:pt>
                <c:pt idx="13517">
                  <c:v>0.119834194501703</c:v>
                </c:pt>
                <c:pt idx="13518">
                  <c:v>0.21524990089500001</c:v>
                </c:pt>
                <c:pt idx="13519">
                  <c:v>0.26088349960483798</c:v>
                </c:pt>
                <c:pt idx="13520">
                  <c:v>0.14472524834343201</c:v>
                </c:pt>
                <c:pt idx="13521">
                  <c:v>0.29822008036743203</c:v>
                </c:pt>
                <c:pt idx="13522">
                  <c:v>-1.7066601627810801E-2</c:v>
                </c:pt>
                <c:pt idx="13523">
                  <c:v>0.26503200857845899</c:v>
                </c:pt>
                <c:pt idx="13524">
                  <c:v>-2.5363619575054001E-2</c:v>
                </c:pt>
                <c:pt idx="13525">
                  <c:v>-0.11248230802110799</c:v>
                </c:pt>
                <c:pt idx="13526">
                  <c:v>-9.5888272126621502E-2</c:v>
                </c:pt>
                <c:pt idx="13527">
                  <c:v>5.7606559897378402E-2</c:v>
                </c:pt>
                <c:pt idx="13528">
                  <c:v>-0.22449205030889199</c:v>
                </c:pt>
                <c:pt idx="13529">
                  <c:v>8.6646122712729701E-2</c:v>
                </c:pt>
                <c:pt idx="13530">
                  <c:v>-0.236937577229757</c:v>
                </c:pt>
                <c:pt idx="13531">
                  <c:v>-0.26597714004510797</c:v>
                </c:pt>
                <c:pt idx="13532">
                  <c:v>-0.207898014414405</c:v>
                </c:pt>
                <c:pt idx="13533">
                  <c:v>-0.19545248749353999</c:v>
                </c:pt>
                <c:pt idx="13534">
                  <c:v>-0.20374950544078399</c:v>
                </c:pt>
                <c:pt idx="13535">
                  <c:v>-0.34894731951753999</c:v>
                </c:pt>
                <c:pt idx="13536">
                  <c:v>-0.35724433746478401</c:v>
                </c:pt>
                <c:pt idx="13537">
                  <c:v>-0.30746222978132398</c:v>
                </c:pt>
                <c:pt idx="13538">
                  <c:v>-0.30746222978132398</c:v>
                </c:pt>
                <c:pt idx="13539">
                  <c:v>-0.295016702860459</c:v>
                </c:pt>
                <c:pt idx="13540">
                  <c:v>-0.295016702860459</c:v>
                </c:pt>
                <c:pt idx="13541">
                  <c:v>-0.34894731951753999</c:v>
                </c:pt>
                <c:pt idx="13542">
                  <c:v>-0.26182863107148602</c:v>
                </c:pt>
                <c:pt idx="13543">
                  <c:v>-0.29086819388683799</c:v>
                </c:pt>
                <c:pt idx="13544">
                  <c:v>3.6864015029270301E-2</c:v>
                </c:pt>
                <c:pt idx="13545">
                  <c:v>-0.29086819388683799</c:v>
                </c:pt>
                <c:pt idx="13546">
                  <c:v>-0.27842266696597301</c:v>
                </c:pt>
                <c:pt idx="13547">
                  <c:v>-0.45266004385808101</c:v>
                </c:pt>
                <c:pt idx="13548">
                  <c:v>-0.31161073875494599</c:v>
                </c:pt>
                <c:pt idx="13549">
                  <c:v>-0.31575924772856701</c:v>
                </c:pt>
                <c:pt idx="13550">
                  <c:v>-5.44031823904053E-2</c:v>
                </c:pt>
                <c:pt idx="13551">
                  <c:v>-0.21204652338802699</c:v>
                </c:pt>
                <c:pt idx="13552">
                  <c:v>-6.2700200337648601E-2</c:v>
                </c:pt>
                <c:pt idx="13553">
                  <c:v>-0.149818888783703</c:v>
                </c:pt>
                <c:pt idx="13554">
                  <c:v>-0.178858451599054</c:v>
                </c:pt>
                <c:pt idx="13555">
                  <c:v>-0.18300696057267599</c:v>
                </c:pt>
                <c:pt idx="13556">
                  <c:v>-0.108333799047486</c:v>
                </c:pt>
                <c:pt idx="13557">
                  <c:v>-1.29180926541891E-2</c:v>
                </c:pt>
                <c:pt idx="13558">
                  <c:v>0.31066560728829701</c:v>
                </c:pt>
                <c:pt idx="13559">
                  <c:v>-0.14152187083645901</c:v>
                </c:pt>
                <c:pt idx="13560">
                  <c:v>0.12813121244894601</c:v>
                </c:pt>
                <c:pt idx="13561">
                  <c:v>0.74625904951856703</c:v>
                </c:pt>
                <c:pt idx="13562">
                  <c:v>0.51394254699575703</c:v>
                </c:pt>
                <c:pt idx="13563">
                  <c:v>0.52638807391662101</c:v>
                </c:pt>
                <c:pt idx="13564">
                  <c:v>0.48490298418040501</c:v>
                </c:pt>
                <c:pt idx="13565">
                  <c:v>1.79168331087122</c:v>
                </c:pt>
                <c:pt idx="13566">
                  <c:v>0.75870457643943201</c:v>
                </c:pt>
                <c:pt idx="13567">
                  <c:v>1.18185249174884</c:v>
                </c:pt>
                <c:pt idx="13568">
                  <c:v>1.24822863532678</c:v>
                </c:pt>
                <c:pt idx="13569">
                  <c:v>1.5344757545066701</c:v>
                </c:pt>
                <c:pt idx="13570">
                  <c:v>1.5054361916913199</c:v>
                </c:pt>
                <c:pt idx="13571">
                  <c:v>1.41831750324527</c:v>
                </c:pt>
                <c:pt idx="13572">
                  <c:v>1.4929906647704601</c:v>
                </c:pt>
                <c:pt idx="13573">
                  <c:v>1.5054361916913199</c:v>
                </c:pt>
                <c:pt idx="13574">
                  <c:v>1.3809809224826799</c:v>
                </c:pt>
                <c:pt idx="13575">
                  <c:v>1.2772681981421301</c:v>
                </c:pt>
                <c:pt idx="13576">
                  <c:v>1.6132974250054899</c:v>
                </c:pt>
                <c:pt idx="13577">
                  <c:v>1.6506340057680799</c:v>
                </c:pt>
                <c:pt idx="13578">
                  <c:v>1.5095847006649501</c:v>
                </c:pt>
                <c:pt idx="13579">
                  <c:v>1.5344757545066701</c:v>
                </c:pt>
                <c:pt idx="13580">
                  <c:v>1.41831750324527</c:v>
                </c:pt>
                <c:pt idx="13581">
                  <c:v>1.5303272455330501</c:v>
                </c:pt>
                <c:pt idx="13582">
                  <c:v>1.56351531732203</c:v>
                </c:pt>
                <c:pt idx="13583">
                  <c:v>1.2523771443003999</c:v>
                </c:pt>
                <c:pt idx="13584">
                  <c:v>1.41831750324527</c:v>
                </c:pt>
                <c:pt idx="13585">
                  <c:v>1.43076303016613</c:v>
                </c:pt>
                <c:pt idx="13586">
                  <c:v>1.47639662887597</c:v>
                </c:pt>
                <c:pt idx="13587">
                  <c:v>1.47639662887597</c:v>
                </c:pt>
                <c:pt idx="13588">
                  <c:v>1.3851294314563001</c:v>
                </c:pt>
                <c:pt idx="13589">
                  <c:v>1.3187532878783499</c:v>
                </c:pt>
                <c:pt idx="13590">
                  <c:v>1.22333758148505</c:v>
                </c:pt>
                <c:pt idx="13591">
                  <c:v>1.14036740201262</c:v>
                </c:pt>
                <c:pt idx="13592">
                  <c:v>1.32705030582559</c:v>
                </c:pt>
                <c:pt idx="13593">
                  <c:v>1.37268390453543</c:v>
                </c:pt>
                <c:pt idx="13594">
                  <c:v>1.20674354559057</c:v>
                </c:pt>
                <c:pt idx="13595">
                  <c:v>1.03665467767208</c:v>
                </c:pt>
                <c:pt idx="13596">
                  <c:v>1.1071793302236499</c:v>
                </c:pt>
                <c:pt idx="13597">
                  <c:v>1.3146047789047299</c:v>
                </c:pt>
                <c:pt idx="13598">
                  <c:v>1.0988823122764</c:v>
                </c:pt>
                <c:pt idx="13599">
                  <c:v>1.0698427494610501</c:v>
                </c:pt>
                <c:pt idx="13600">
                  <c:v>1.05739722254019</c:v>
                </c:pt>
                <c:pt idx="13601">
                  <c:v>1.20259503661695</c:v>
                </c:pt>
                <c:pt idx="13602">
                  <c:v>1.065694240487429</c:v>
                </c:pt>
                <c:pt idx="13603">
                  <c:v>1.26482267122127</c:v>
                </c:pt>
                <c:pt idx="13604">
                  <c:v>0.98272406101499998</c:v>
                </c:pt>
                <c:pt idx="13605">
                  <c:v>0.73796203157132401</c:v>
                </c:pt>
                <c:pt idx="13606">
                  <c:v>0.51809105596937799</c:v>
                </c:pt>
                <c:pt idx="13607">
                  <c:v>0.63839781620440506</c:v>
                </c:pt>
                <c:pt idx="13608">
                  <c:v>0.78359563028116197</c:v>
                </c:pt>
                <c:pt idx="13609">
                  <c:v>0.80848668412289104</c:v>
                </c:pt>
                <c:pt idx="13610">
                  <c:v>0.78359563028116197</c:v>
                </c:pt>
                <c:pt idx="13611">
                  <c:v>0.92464493538429704</c:v>
                </c:pt>
                <c:pt idx="13612">
                  <c:v>0.717219486703216</c:v>
                </c:pt>
                <c:pt idx="13613">
                  <c:v>0.61765527133629705</c:v>
                </c:pt>
                <c:pt idx="13614">
                  <c:v>0.45586342136505398</c:v>
                </c:pt>
                <c:pt idx="13615">
                  <c:v>0.48490298418040501</c:v>
                </c:pt>
                <c:pt idx="13616">
                  <c:v>0.248437972683973</c:v>
                </c:pt>
                <c:pt idx="13617">
                  <c:v>0.39778429573435098</c:v>
                </c:pt>
                <c:pt idx="13618">
                  <c:v>8.6646122712729701E-2</c:v>
                </c:pt>
                <c:pt idx="13619">
                  <c:v>0.32311113420916199</c:v>
                </c:pt>
                <c:pt idx="13620">
                  <c:v>0.16546779321154101</c:v>
                </c:pt>
                <c:pt idx="13621">
                  <c:v>0.14887375731705399</c:v>
                </c:pt>
                <c:pt idx="13622">
                  <c:v>2.0269979134783799E-2</c:v>
                </c:pt>
                <c:pt idx="13623">
                  <c:v>0.173764811158784</c:v>
                </c:pt>
                <c:pt idx="13624">
                  <c:v>-4.6106164443162102E-2</c:v>
                </c:pt>
                <c:pt idx="13625">
                  <c:v>-0.11663081699473</c:v>
                </c:pt>
                <c:pt idx="13626">
                  <c:v>0.248437972683973</c:v>
                </c:pt>
                <c:pt idx="13627">
                  <c:v>0.93709046230516202</c:v>
                </c:pt>
                <c:pt idx="13628">
                  <c:v>0.443417894444189</c:v>
                </c:pt>
                <c:pt idx="13629">
                  <c:v>0.93294195333153995</c:v>
                </c:pt>
                <c:pt idx="13630">
                  <c:v>0.91219940846343195</c:v>
                </c:pt>
                <c:pt idx="13631">
                  <c:v>0.48075447520678399</c:v>
                </c:pt>
                <c:pt idx="13632">
                  <c:v>0.78774413925478304</c:v>
                </c:pt>
                <c:pt idx="13633">
                  <c:v>0.51394254699575703</c:v>
                </c:pt>
                <c:pt idx="13634">
                  <c:v>0.58446719954732396</c:v>
                </c:pt>
                <c:pt idx="13635">
                  <c:v>0.59276421749456698</c:v>
                </c:pt>
                <c:pt idx="13636">
                  <c:v>0.78359563028116197</c:v>
                </c:pt>
                <c:pt idx="13637">
                  <c:v>0.43097236752332402</c:v>
                </c:pt>
                <c:pt idx="13638">
                  <c:v>0.78774413925478304</c:v>
                </c:pt>
                <c:pt idx="13639">
                  <c:v>0.69232843286148604</c:v>
                </c:pt>
                <c:pt idx="13640">
                  <c:v>0.94538748025240504</c:v>
                </c:pt>
                <c:pt idx="13641">
                  <c:v>0.70477395978235102</c:v>
                </c:pt>
                <c:pt idx="13642">
                  <c:v>1.289713725063</c:v>
                </c:pt>
                <c:pt idx="13643">
                  <c:v>0.95783300717327002</c:v>
                </c:pt>
                <c:pt idx="13644">
                  <c:v>0.91219940846343195</c:v>
                </c:pt>
                <c:pt idx="13645">
                  <c:v>0.98687256998862105</c:v>
                </c:pt>
                <c:pt idx="13646">
                  <c:v>1.0615457315138099</c:v>
                </c:pt>
                <c:pt idx="13647">
                  <c:v>1.60085189808462</c:v>
                </c:pt>
                <c:pt idx="13648">
                  <c:v>1.32705030582559</c:v>
                </c:pt>
                <c:pt idx="13649">
                  <c:v>1.4929906647704601</c:v>
                </c:pt>
                <c:pt idx="13650">
                  <c:v>1.45150557503424</c:v>
                </c:pt>
                <c:pt idx="13651">
                  <c:v>1.136218893039</c:v>
                </c:pt>
                <c:pt idx="13652">
                  <c:v>1.289713725063</c:v>
                </c:pt>
                <c:pt idx="13653">
                  <c:v>1.31045626993111</c:v>
                </c:pt>
                <c:pt idx="13654">
                  <c:v>1.17770398277522</c:v>
                </c:pt>
                <c:pt idx="13655">
                  <c:v>1.16525845585435</c:v>
                </c:pt>
                <c:pt idx="13656">
                  <c:v>1.2399316173795389</c:v>
                </c:pt>
                <c:pt idx="13657">
                  <c:v>1.43491153913976</c:v>
                </c:pt>
                <c:pt idx="13658">
                  <c:v>1.19844652764332</c:v>
                </c:pt>
                <c:pt idx="13659">
                  <c:v>1.1694069648279699</c:v>
                </c:pt>
                <c:pt idx="13660">
                  <c:v>1.15696143790711</c:v>
                </c:pt>
                <c:pt idx="13661">
                  <c:v>1.6091489160318599</c:v>
                </c:pt>
                <c:pt idx="13662">
                  <c:v>1.66307953268895</c:v>
                </c:pt>
                <c:pt idx="13663">
                  <c:v>1.4058719763244001</c:v>
                </c:pt>
                <c:pt idx="13664">
                  <c:v>1.48054513784959</c:v>
                </c:pt>
                <c:pt idx="13665">
                  <c:v>1.6547825147416999</c:v>
                </c:pt>
                <c:pt idx="13666">
                  <c:v>1.64648549679446</c:v>
                </c:pt>
                <c:pt idx="13667">
                  <c:v>1.16525845585435</c:v>
                </c:pt>
                <c:pt idx="13668">
                  <c:v>3.4759779541615901</c:v>
                </c:pt>
                <c:pt idx="13669">
                  <c:v>2.06963341210386</c:v>
                </c:pt>
                <c:pt idx="13670">
                  <c:v>2.2397222800223502</c:v>
                </c:pt>
                <c:pt idx="13671">
                  <c:v>2.2148312261806198</c:v>
                </c:pt>
                <c:pt idx="13672">
                  <c:v>2.0571878851830001</c:v>
                </c:pt>
                <c:pt idx="13673">
                  <c:v>1.7584952390822399</c:v>
                </c:pt>
                <c:pt idx="13674">
                  <c:v>1.91613858007986</c:v>
                </c:pt>
                <c:pt idx="13675">
                  <c:v>1.85391094547554</c:v>
                </c:pt>
                <c:pt idx="13676">
                  <c:v>1.91613858007986</c:v>
                </c:pt>
                <c:pt idx="13677">
                  <c:v>1.94517814289522</c:v>
                </c:pt>
                <c:pt idx="13678">
                  <c:v>1.9742177057105701</c:v>
                </c:pt>
                <c:pt idx="13679">
                  <c:v>1.9078415621326199</c:v>
                </c:pt>
                <c:pt idx="13680">
                  <c:v>2.0737819210774902</c:v>
                </c:pt>
                <c:pt idx="13681">
                  <c:v>2.11111850184008</c:v>
                </c:pt>
                <c:pt idx="13682">
                  <c:v>2.1152670108136991</c:v>
                </c:pt>
                <c:pt idx="13683">
                  <c:v>1.9534751608424601</c:v>
                </c:pt>
                <c:pt idx="13684">
                  <c:v>2.13186104670819</c:v>
                </c:pt>
                <c:pt idx="13685">
                  <c:v>1.9949602505786701</c:v>
                </c:pt>
                <c:pt idx="13686">
                  <c:v>2.06548490313024</c:v>
                </c:pt>
                <c:pt idx="13687">
                  <c:v>1.93688112494797</c:v>
                </c:pt>
                <c:pt idx="13688">
                  <c:v>2.0322968313412701</c:v>
                </c:pt>
                <c:pt idx="13689">
                  <c:v>1.9617721787897</c:v>
                </c:pt>
                <c:pt idx="13690">
                  <c:v>1.9949602505786701</c:v>
                </c:pt>
                <c:pt idx="13691">
                  <c:v>1.8912475262381301</c:v>
                </c:pt>
                <c:pt idx="13692">
                  <c:v>1.8041288377920801</c:v>
                </c:pt>
                <c:pt idx="13693">
                  <c:v>2.0779304300511101</c:v>
                </c:pt>
                <c:pt idx="13694">
                  <c:v>2.06963341210386</c:v>
                </c:pt>
                <c:pt idx="13695">
                  <c:v>2.0032572685259198</c:v>
                </c:pt>
                <c:pt idx="13696">
                  <c:v>1.85391094547554</c:v>
                </c:pt>
                <c:pt idx="13697">
                  <c:v>1.8705049813700301</c:v>
                </c:pt>
                <c:pt idx="13698">
                  <c:v>1.6921190955043</c:v>
                </c:pt>
                <c:pt idx="13699">
                  <c:v>1.67137655063619</c:v>
                </c:pt>
                <c:pt idx="13700">
                  <c:v>1.5510697904011601</c:v>
                </c:pt>
                <c:pt idx="13701">
                  <c:v>0.99516958793586396</c:v>
                </c:pt>
                <c:pt idx="13702">
                  <c:v>0.812635193096513</c:v>
                </c:pt>
                <c:pt idx="13703">
                  <c:v>0.94538748025240504</c:v>
                </c:pt>
                <c:pt idx="13704">
                  <c:v>1.03250616869846</c:v>
                </c:pt>
                <c:pt idx="13705">
                  <c:v>1.2357831084059201</c:v>
                </c:pt>
                <c:pt idx="13706">
                  <c:v>1.24408012635316</c:v>
                </c:pt>
                <c:pt idx="13707">
                  <c:v>1.1486644199598599</c:v>
                </c:pt>
                <c:pt idx="13708">
                  <c:v>1.1735554738015901</c:v>
                </c:pt>
                <c:pt idx="13709">
                  <c:v>1.05739722254019</c:v>
                </c:pt>
                <c:pt idx="13710">
                  <c:v>1.0864367853555399</c:v>
                </c:pt>
                <c:pt idx="13711">
                  <c:v>1.0449516956193201</c:v>
                </c:pt>
                <c:pt idx="13712">
                  <c:v>1.1237733661181299</c:v>
                </c:pt>
                <c:pt idx="13713">
                  <c:v>1.0739912584346789</c:v>
                </c:pt>
                <c:pt idx="13714">
                  <c:v>1.09473380330278</c:v>
                </c:pt>
                <c:pt idx="13715">
                  <c:v>0.59276421749456698</c:v>
                </c:pt>
                <c:pt idx="13716">
                  <c:v>0.59691272646818905</c:v>
                </c:pt>
                <c:pt idx="13717">
                  <c:v>0.67988290594062095</c:v>
                </c:pt>
                <c:pt idx="13718">
                  <c:v>0.48905149315402702</c:v>
                </c:pt>
                <c:pt idx="13719">
                  <c:v>0.49734851110126999</c:v>
                </c:pt>
                <c:pt idx="13720">
                  <c:v>0.22354691884224301</c:v>
                </c:pt>
                <c:pt idx="13721">
                  <c:v>0.11153717655445899</c:v>
                </c:pt>
                <c:pt idx="13722">
                  <c:v>0.14057673936981099</c:v>
                </c:pt>
                <c:pt idx="13723">
                  <c:v>0.45171491239143202</c:v>
                </c:pt>
                <c:pt idx="13724">
                  <c:v>3.2715506055648699E-2</c:v>
                </c:pt>
                <c:pt idx="13725">
                  <c:v>0.289923062420189</c:v>
                </c:pt>
                <c:pt idx="13726">
                  <c:v>0.22769542781586499</c:v>
                </c:pt>
                <c:pt idx="13727">
                  <c:v>0.61765527133629705</c:v>
                </c:pt>
                <c:pt idx="13728">
                  <c:v>0.46001193033867499</c:v>
                </c:pt>
                <c:pt idx="13729">
                  <c:v>0.27332902652570301</c:v>
                </c:pt>
                <c:pt idx="13730">
                  <c:v>0.47245745725954003</c:v>
                </c:pt>
                <c:pt idx="13731">
                  <c:v>0.50149702007489205</c:v>
                </c:pt>
                <c:pt idx="13732">
                  <c:v>0.37704175086624298</c:v>
                </c:pt>
                <c:pt idx="13733">
                  <c:v>0.74211054054494596</c:v>
                </c:pt>
                <c:pt idx="13734">
                  <c:v>0.47660596623316198</c:v>
                </c:pt>
                <c:pt idx="13735">
                  <c:v>0.48490298418040501</c:v>
                </c:pt>
                <c:pt idx="13736">
                  <c:v>0.57617018160008104</c:v>
                </c:pt>
                <c:pt idx="13737">
                  <c:v>0.54713061878472902</c:v>
                </c:pt>
                <c:pt idx="13738">
                  <c:v>0.98272406101499998</c:v>
                </c:pt>
                <c:pt idx="13739">
                  <c:v>0.78359563028116197</c:v>
                </c:pt>
                <c:pt idx="13740">
                  <c:v>0.43512087649694597</c:v>
                </c:pt>
                <c:pt idx="13741">
                  <c:v>0.30236858934105398</c:v>
                </c:pt>
                <c:pt idx="13742">
                  <c:v>1.36853539556181</c:v>
                </c:pt>
                <c:pt idx="13743">
                  <c:v>1.2772681981421301</c:v>
                </c:pt>
                <c:pt idx="13744">
                  <c:v>0.99516958793586396</c:v>
                </c:pt>
                <c:pt idx="13745">
                  <c:v>0.86656580975359399</c:v>
                </c:pt>
                <c:pt idx="13746">
                  <c:v>0.78774413925478304</c:v>
                </c:pt>
                <c:pt idx="13747">
                  <c:v>0.88315984564808103</c:v>
                </c:pt>
                <c:pt idx="13748">
                  <c:v>0.93294195333153995</c:v>
                </c:pt>
                <c:pt idx="13749">
                  <c:v>0.93709046230516202</c:v>
                </c:pt>
                <c:pt idx="13750">
                  <c:v>1.01591213280397</c:v>
                </c:pt>
                <c:pt idx="13751">
                  <c:v>1.2108920545641899</c:v>
                </c:pt>
                <c:pt idx="13752">
                  <c:v>1.3229017968519701</c:v>
                </c:pt>
                <c:pt idx="13753">
                  <c:v>1.35194135966732</c:v>
                </c:pt>
                <c:pt idx="13754">
                  <c:v>1.43076303016613</c:v>
                </c:pt>
                <c:pt idx="13755">
                  <c:v>1.47639662887597</c:v>
                </c:pt>
                <c:pt idx="13756">
                  <c:v>1.5054361916913199</c:v>
                </c:pt>
                <c:pt idx="13757">
                  <c:v>1.66307953268895</c:v>
                </c:pt>
                <c:pt idx="13758">
                  <c:v>1.45565408400786</c:v>
                </c:pt>
                <c:pt idx="13759">
                  <c:v>1.3477928506937</c:v>
                </c:pt>
                <c:pt idx="13760">
                  <c:v>1.32705030582559</c:v>
                </c:pt>
                <c:pt idx="13761">
                  <c:v>1.3394958327464599</c:v>
                </c:pt>
                <c:pt idx="13762">
                  <c:v>1.289713725063</c:v>
                </c:pt>
                <c:pt idx="13763">
                  <c:v>1.4473570660606201</c:v>
                </c:pt>
                <c:pt idx="13764">
                  <c:v>1.70871313139878</c:v>
                </c:pt>
                <c:pt idx="13765">
                  <c:v>2.8205135363293801</c:v>
                </c:pt>
                <c:pt idx="13766">
                  <c:v>2.1650491184971599</c:v>
                </c:pt>
                <c:pt idx="13767">
                  <c:v>1.7211586583196501</c:v>
                </c:pt>
                <c:pt idx="13768">
                  <c:v>1.85805945444916</c:v>
                </c:pt>
                <c:pt idx="13769">
                  <c:v>2.0405938492885101</c:v>
                </c:pt>
                <c:pt idx="13770">
                  <c:v>1.8290198916338101</c:v>
                </c:pt>
                <c:pt idx="13771">
                  <c:v>1.8622079634227799</c:v>
                </c:pt>
                <c:pt idx="13772">
                  <c:v>1.8414654185546699</c:v>
                </c:pt>
                <c:pt idx="13773">
                  <c:v>1.85805945444916</c:v>
                </c:pt>
                <c:pt idx="13774">
                  <c:v>1.8912475262381301</c:v>
                </c:pt>
                <c:pt idx="13775">
                  <c:v>2.0488908672357602</c:v>
                </c:pt>
                <c:pt idx="13776">
                  <c:v>1.8456139275282999</c:v>
                </c:pt>
                <c:pt idx="13777">
                  <c:v>1.9119900711062401</c:v>
                </c:pt>
                <c:pt idx="13778">
                  <c:v>1.7875348018975901</c:v>
                </c:pt>
                <c:pt idx="13779">
                  <c:v>1.85391094547554</c:v>
                </c:pt>
                <c:pt idx="13780">
                  <c:v>1.85805945444916</c:v>
                </c:pt>
                <c:pt idx="13781">
                  <c:v>1.7833862929239701</c:v>
                </c:pt>
                <c:pt idx="13782">
                  <c:v>1.8497624365019201</c:v>
                </c:pt>
                <c:pt idx="13783">
                  <c:v>1.79583181984484</c:v>
                </c:pt>
                <c:pt idx="13784">
                  <c:v>1.8414654185546699</c:v>
                </c:pt>
                <c:pt idx="13785">
                  <c:v>1.91613858007986</c:v>
                </c:pt>
                <c:pt idx="13786">
                  <c:v>2.0613363941566201</c:v>
                </c:pt>
                <c:pt idx="13787">
                  <c:v>1.8290198916338101</c:v>
                </c:pt>
                <c:pt idx="13788">
                  <c:v>1.6506340057680799</c:v>
                </c:pt>
                <c:pt idx="13789">
                  <c:v>1.6091489160318599</c:v>
                </c:pt>
                <c:pt idx="13790">
                  <c:v>1.5386242634803</c:v>
                </c:pt>
                <c:pt idx="13791">
                  <c:v>1.70456462242516</c:v>
                </c:pt>
                <c:pt idx="13792">
                  <c:v>1.9617721787897</c:v>
                </c:pt>
                <c:pt idx="13793">
                  <c:v>1.6962676044779199</c:v>
                </c:pt>
                <c:pt idx="13794">
                  <c:v>1.68382207755705</c:v>
                </c:pt>
                <c:pt idx="13795">
                  <c:v>0.95368449819964796</c:v>
                </c:pt>
                <c:pt idx="13796">
                  <c:v>1.0491002045929501</c:v>
                </c:pt>
                <c:pt idx="13797">
                  <c:v>1.0739912584346789</c:v>
                </c:pt>
                <c:pt idx="13798">
                  <c:v>1.0491002045929501</c:v>
                </c:pt>
                <c:pt idx="13799">
                  <c:v>1.2108920545641899</c:v>
                </c:pt>
                <c:pt idx="13800">
                  <c:v>1.0449516956193201</c:v>
                </c:pt>
                <c:pt idx="13801">
                  <c:v>1.38927794042992</c:v>
                </c:pt>
                <c:pt idx="13802">
                  <c:v>1.39342644940354</c:v>
                </c:pt>
                <c:pt idx="13803">
                  <c:v>1.3768324135090499</c:v>
                </c:pt>
                <c:pt idx="13804">
                  <c:v>1.0781397674083</c:v>
                </c:pt>
                <c:pt idx="13805">
                  <c:v>1.0242091507512201</c:v>
                </c:pt>
                <c:pt idx="13806">
                  <c:v>0.812635193096513</c:v>
                </c:pt>
                <c:pt idx="13807">
                  <c:v>0.75455606746581105</c:v>
                </c:pt>
                <c:pt idx="13808">
                  <c:v>0.58861570852094602</c:v>
                </c:pt>
                <c:pt idx="13809">
                  <c:v>0.70892246875597298</c:v>
                </c:pt>
                <c:pt idx="13810">
                  <c:v>1.136218893039</c:v>
                </c:pt>
                <c:pt idx="13811">
                  <c:v>0.84997177385910805</c:v>
                </c:pt>
                <c:pt idx="13812">
                  <c:v>0.696476941835108</c:v>
                </c:pt>
                <c:pt idx="13813">
                  <c:v>0.464160439312297</c:v>
                </c:pt>
                <c:pt idx="13814">
                  <c:v>1.289713725063</c:v>
                </c:pt>
                <c:pt idx="13815">
                  <c:v>0.717219486703216</c:v>
                </c:pt>
                <c:pt idx="13816">
                  <c:v>0.86656580975359399</c:v>
                </c:pt>
                <c:pt idx="13817">
                  <c:v>0.94123897127878298</c:v>
                </c:pt>
                <c:pt idx="13818">
                  <c:v>0.81678370207013495</c:v>
                </c:pt>
                <c:pt idx="13819">
                  <c:v>0.77115010336029699</c:v>
                </c:pt>
                <c:pt idx="13820">
                  <c:v>0.79189264822840499</c:v>
                </c:pt>
                <c:pt idx="13821">
                  <c:v>0.70477395978235102</c:v>
                </c:pt>
                <c:pt idx="13822">
                  <c:v>0.64254632517802701</c:v>
                </c:pt>
                <c:pt idx="13823">
                  <c:v>0.58446719954732396</c:v>
                </c:pt>
                <c:pt idx="13824">
                  <c:v>0.75455606746581105</c:v>
                </c:pt>
                <c:pt idx="13825">
                  <c:v>0.68817992388786497</c:v>
                </c:pt>
                <c:pt idx="13826">
                  <c:v>0.70062545080872896</c:v>
                </c:pt>
                <c:pt idx="13827">
                  <c:v>0.55127912775835097</c:v>
                </c:pt>
                <c:pt idx="13828">
                  <c:v>0.48490298418040501</c:v>
                </c:pt>
                <c:pt idx="13829">
                  <c:v>0.64254632517802701</c:v>
                </c:pt>
                <c:pt idx="13830">
                  <c:v>1.60085189808462</c:v>
                </c:pt>
                <c:pt idx="13831">
                  <c:v>0.87071431872721605</c:v>
                </c:pt>
                <c:pt idx="13832">
                  <c:v>0.36044771497175698</c:v>
                </c:pt>
                <c:pt idx="13833">
                  <c:v>1.3187532878783499</c:v>
                </c:pt>
                <c:pt idx="13834">
                  <c:v>0.79189264822840499</c:v>
                </c:pt>
                <c:pt idx="13835">
                  <c:v>1.2731196891685099</c:v>
                </c:pt>
                <c:pt idx="13836">
                  <c:v>1.35194135966732</c:v>
                </c:pt>
                <c:pt idx="13837">
                  <c:v>1.30630776095749</c:v>
                </c:pt>
                <c:pt idx="13838">
                  <c:v>0.94538748025240504</c:v>
                </c:pt>
                <c:pt idx="13839">
                  <c:v>1.0822882763819199</c:v>
                </c:pt>
                <c:pt idx="13840">
                  <c:v>1.1237733661181299</c:v>
                </c:pt>
                <c:pt idx="13841">
                  <c:v>1.47224811990235</c:v>
                </c:pt>
                <c:pt idx="13842">
                  <c:v>1.47224811990235</c:v>
                </c:pt>
                <c:pt idx="13843">
                  <c:v>1.5012876827177</c:v>
                </c:pt>
                <c:pt idx="13844">
                  <c:v>1.47224811990235</c:v>
                </c:pt>
                <c:pt idx="13845">
                  <c:v>1.4888421557968401</c:v>
                </c:pt>
                <c:pt idx="13846">
                  <c:v>1.52203022758581</c:v>
                </c:pt>
                <c:pt idx="13847">
                  <c:v>1.62574295192635</c:v>
                </c:pt>
                <c:pt idx="13848">
                  <c:v>1.4929906647704601</c:v>
                </c:pt>
                <c:pt idx="13849">
                  <c:v>1.22333758148505</c:v>
                </c:pt>
                <c:pt idx="13850">
                  <c:v>1.3975749583771599</c:v>
                </c:pt>
                <c:pt idx="13851">
                  <c:v>1.4432085570869999</c:v>
                </c:pt>
                <c:pt idx="13852">
                  <c:v>1.60085189808462</c:v>
                </c:pt>
                <c:pt idx="13853">
                  <c:v>3.0694240747466699</c:v>
                </c:pt>
                <c:pt idx="13854">
                  <c:v>2.6836127401998602</c:v>
                </c:pt>
                <c:pt idx="13855">
                  <c:v>2.2521678069432198</c:v>
                </c:pt>
                <c:pt idx="13856">
                  <c:v>1.9078415621326199</c:v>
                </c:pt>
                <c:pt idx="13857">
                  <c:v>1.8290198916338101</c:v>
                </c:pt>
                <c:pt idx="13858">
                  <c:v>1.7999803288184599</c:v>
                </c:pt>
                <c:pt idx="13859">
                  <c:v>1.77508927497673</c:v>
                </c:pt>
                <c:pt idx="13860">
                  <c:v>1.81657436471295</c:v>
                </c:pt>
                <c:pt idx="13861">
                  <c:v>1.8290198916338101</c:v>
                </c:pt>
                <c:pt idx="13862">
                  <c:v>1.85391094547554</c:v>
                </c:pt>
                <c:pt idx="13863">
                  <c:v>1.77094076600311</c:v>
                </c:pt>
                <c:pt idx="13864">
                  <c:v>1.8912475262381301</c:v>
                </c:pt>
                <c:pt idx="13865">
                  <c:v>1.8290198916338101</c:v>
                </c:pt>
                <c:pt idx="13866">
                  <c:v>2.1028214838928401</c:v>
                </c:pt>
                <c:pt idx="13867">
                  <c:v>1.8622079634227799</c:v>
                </c:pt>
                <c:pt idx="13868">
                  <c:v>1.9119900711062401</c:v>
                </c:pt>
                <c:pt idx="13869">
                  <c:v>2.1484550826026698</c:v>
                </c:pt>
                <c:pt idx="13870">
                  <c:v>2.0945244659455899</c:v>
                </c:pt>
                <c:pt idx="13871">
                  <c:v>1.91613858007986</c:v>
                </c:pt>
                <c:pt idx="13872">
                  <c:v>1.8705049813700301</c:v>
                </c:pt>
                <c:pt idx="13873">
                  <c:v>1.8870990172645099</c:v>
                </c:pt>
                <c:pt idx="13874">
                  <c:v>1.8622079634227799</c:v>
                </c:pt>
                <c:pt idx="13875">
                  <c:v>2.0530393762093802</c:v>
                </c:pt>
                <c:pt idx="13876">
                  <c:v>2.1857916633652699</c:v>
                </c:pt>
                <c:pt idx="13877">
                  <c:v>2.0322968313412701</c:v>
                </c:pt>
                <c:pt idx="13878">
                  <c:v>1.89954454418538</c:v>
                </c:pt>
                <c:pt idx="13879">
                  <c:v>1.9493266518688399</c:v>
                </c:pt>
                <c:pt idx="13880">
                  <c:v>1.5925548801373799</c:v>
                </c:pt>
                <c:pt idx="13881">
                  <c:v>1.81242585573932</c:v>
                </c:pt>
                <c:pt idx="13882">
                  <c:v>1.77094076600311</c:v>
                </c:pt>
                <c:pt idx="13883">
                  <c:v>1.33119881479922</c:v>
                </c:pt>
                <c:pt idx="13884">
                  <c:v>1.64648549679446</c:v>
                </c:pt>
                <c:pt idx="13885">
                  <c:v>1.6174459339791101</c:v>
                </c:pt>
                <c:pt idx="13886">
                  <c:v>1.64648549679446</c:v>
                </c:pt>
                <c:pt idx="13887">
                  <c:v>1.48054513784959</c:v>
                </c:pt>
                <c:pt idx="13888">
                  <c:v>1.4680996109287301</c:v>
                </c:pt>
                <c:pt idx="13889">
                  <c:v>1.68797058653067</c:v>
                </c:pt>
                <c:pt idx="13890">
                  <c:v>1.5676638262956499</c:v>
                </c:pt>
                <c:pt idx="13891">
                  <c:v>1.0864367853555399</c:v>
                </c:pt>
                <c:pt idx="13892">
                  <c:v>3.3888592657155399</c:v>
                </c:pt>
                <c:pt idx="13893">
                  <c:v>1.9119900711062401</c:v>
                </c:pt>
                <c:pt idx="13894">
                  <c:v>1.38927794042992</c:v>
                </c:pt>
                <c:pt idx="13895">
                  <c:v>0.80848668412289104</c:v>
                </c:pt>
                <c:pt idx="13896">
                  <c:v>1.5303272455330501</c:v>
                </c:pt>
                <c:pt idx="13897">
                  <c:v>1.5510697904011601</c:v>
                </c:pt>
                <c:pt idx="13898">
                  <c:v>1.3809809224826799</c:v>
                </c:pt>
                <c:pt idx="13899">
                  <c:v>1.3436443417200801</c:v>
                </c:pt>
                <c:pt idx="13900">
                  <c:v>1.2938622340366199</c:v>
                </c:pt>
                <c:pt idx="13901">
                  <c:v>1.01591213280397</c:v>
                </c:pt>
                <c:pt idx="13902">
                  <c:v>1.33119881479922</c:v>
                </c:pt>
                <c:pt idx="13903">
                  <c:v>1.22748609045868</c:v>
                </c:pt>
                <c:pt idx="13904">
                  <c:v>1.01591213280397</c:v>
                </c:pt>
                <c:pt idx="13905">
                  <c:v>1.18600100072246</c:v>
                </c:pt>
                <c:pt idx="13906">
                  <c:v>0.95783300717327002</c:v>
                </c:pt>
                <c:pt idx="13907">
                  <c:v>0.90390239051618904</c:v>
                </c:pt>
                <c:pt idx="13908">
                  <c:v>1.1113278391972701</c:v>
                </c:pt>
                <c:pt idx="13909">
                  <c:v>0.92464493538429704</c:v>
                </c:pt>
                <c:pt idx="13910">
                  <c:v>0.80018966617564802</c:v>
                </c:pt>
                <c:pt idx="13911">
                  <c:v>1.1113278391972701</c:v>
                </c:pt>
                <c:pt idx="13912">
                  <c:v>0.70892246875597298</c:v>
                </c:pt>
                <c:pt idx="13913">
                  <c:v>0.46001193033867499</c:v>
                </c:pt>
                <c:pt idx="13914">
                  <c:v>0.52223956494299995</c:v>
                </c:pt>
                <c:pt idx="13915">
                  <c:v>0.65499185209889199</c:v>
                </c:pt>
                <c:pt idx="13916">
                  <c:v>0.38948727778710801</c:v>
                </c:pt>
                <c:pt idx="13917">
                  <c:v>0.53468509186386504</c:v>
                </c:pt>
                <c:pt idx="13918">
                  <c:v>0.61350676236267498</c:v>
                </c:pt>
                <c:pt idx="13919">
                  <c:v>0.74625904951856703</c:v>
                </c:pt>
                <c:pt idx="13920">
                  <c:v>0.82508072001737798</c:v>
                </c:pt>
                <c:pt idx="13921">
                  <c:v>0.70892246875597298</c:v>
                </c:pt>
                <c:pt idx="13922">
                  <c:v>0.949535989226027</c:v>
                </c:pt>
                <c:pt idx="13923">
                  <c:v>0.38948727778710801</c:v>
                </c:pt>
                <c:pt idx="13924">
                  <c:v>0.59276421749456698</c:v>
                </c:pt>
                <c:pt idx="13925">
                  <c:v>0.91219940846343195</c:v>
                </c:pt>
                <c:pt idx="13926">
                  <c:v>0.83752624693824296</c:v>
                </c:pt>
                <c:pt idx="13927">
                  <c:v>1.03250616869846</c:v>
                </c:pt>
                <c:pt idx="13928">
                  <c:v>0.56372465467921595</c:v>
                </c:pt>
                <c:pt idx="13929">
                  <c:v>1.2108920545641899</c:v>
                </c:pt>
                <c:pt idx="13930">
                  <c:v>1.5510697904011601</c:v>
                </c:pt>
                <c:pt idx="13931">
                  <c:v>1.45565408400786</c:v>
                </c:pt>
                <c:pt idx="13932">
                  <c:v>1.36853539556181</c:v>
                </c:pt>
                <c:pt idx="13933">
                  <c:v>1.43076303016613</c:v>
                </c:pt>
                <c:pt idx="13934">
                  <c:v>1.58425786219013</c:v>
                </c:pt>
                <c:pt idx="13935">
                  <c:v>1.56351531732203</c:v>
                </c:pt>
                <c:pt idx="13936">
                  <c:v>1.5344757545066701</c:v>
                </c:pt>
                <c:pt idx="13937">
                  <c:v>1.3436443417200801</c:v>
                </c:pt>
                <c:pt idx="13938">
                  <c:v>1.5344757545066701</c:v>
                </c:pt>
                <c:pt idx="13939">
                  <c:v>1.66307953268895</c:v>
                </c:pt>
                <c:pt idx="13940">
                  <c:v>0.54713061878472902</c:v>
                </c:pt>
                <c:pt idx="13941">
                  <c:v>5.34580509237568E-2</c:v>
                </c:pt>
                <c:pt idx="13942">
                  <c:v>-0.22034354133527001</c:v>
                </c:pt>
                <c:pt idx="13943">
                  <c:v>1.41831750324527</c:v>
                </c:pt>
                <c:pt idx="13944">
                  <c:v>3.2229189067706701</c:v>
                </c:pt>
                <c:pt idx="13945">
                  <c:v>2.7085037940415901</c:v>
                </c:pt>
                <c:pt idx="13946">
                  <c:v>2.2812073697585702</c:v>
                </c:pt>
                <c:pt idx="13947">
                  <c:v>1.7667922570294901</c:v>
                </c:pt>
                <c:pt idx="13948">
                  <c:v>1.89539603521176</c:v>
                </c:pt>
                <c:pt idx="13949">
                  <c:v>1.79583181984484</c:v>
                </c:pt>
                <c:pt idx="13950">
                  <c:v>2.5010783453605101</c:v>
                </c:pt>
                <c:pt idx="13951">
                  <c:v>1.87880199931727</c:v>
                </c:pt>
                <c:pt idx="13952">
                  <c:v>1.9119900711062401</c:v>
                </c:pt>
                <c:pt idx="13953">
                  <c:v>1.8041288377920801</c:v>
                </c:pt>
                <c:pt idx="13954">
                  <c:v>2.13186104670819</c:v>
                </c:pt>
                <c:pt idx="13955">
                  <c:v>1.94517814289522</c:v>
                </c:pt>
                <c:pt idx="13956">
                  <c:v>2.1899401723388889</c:v>
                </c:pt>
                <c:pt idx="13957">
                  <c:v>2.5757515068857</c:v>
                </c:pt>
                <c:pt idx="13958">
                  <c:v>2.1235640287609399</c:v>
                </c:pt>
                <c:pt idx="13959">
                  <c:v>2.3475835133365099</c:v>
                </c:pt>
                <c:pt idx="13960">
                  <c:v>2.2563163159168398</c:v>
                </c:pt>
                <c:pt idx="13961">
                  <c:v>1.95762366981608</c:v>
                </c:pt>
                <c:pt idx="13962">
                  <c:v>2.1360095556818091</c:v>
                </c:pt>
                <c:pt idx="13963">
                  <c:v>1.9991087595523001</c:v>
                </c:pt>
                <c:pt idx="13964">
                  <c:v>2.418108165888079</c:v>
                </c:pt>
                <c:pt idx="13965">
                  <c:v>2.0571878851830001</c:v>
                </c:pt>
                <c:pt idx="13966">
                  <c:v>2.1028214838928401</c:v>
                </c:pt>
                <c:pt idx="13967">
                  <c:v>2.202385699259759</c:v>
                </c:pt>
                <c:pt idx="13968">
                  <c:v>2.40566263896722</c:v>
                </c:pt>
                <c:pt idx="13969">
                  <c:v>2.372474567178239</c:v>
                </c:pt>
                <c:pt idx="13970">
                  <c:v>2.5259693992022401</c:v>
                </c:pt>
                <c:pt idx="13971">
                  <c:v>2.3226924594947791</c:v>
                </c:pt>
                <c:pt idx="13972">
                  <c:v>2.17749464541803</c:v>
                </c:pt>
                <c:pt idx="13973">
                  <c:v>2.10696999286646</c:v>
                </c:pt>
                <c:pt idx="13974">
                  <c:v>2.0405938492885101</c:v>
                </c:pt>
                <c:pt idx="13975">
                  <c:v>1.94517814289522</c:v>
                </c:pt>
                <c:pt idx="13976">
                  <c:v>2.1235640287609399</c:v>
                </c:pt>
                <c:pt idx="13977">
                  <c:v>1.92028708905349</c:v>
                </c:pt>
                <c:pt idx="13978">
                  <c:v>2.0364453403148892</c:v>
                </c:pt>
                <c:pt idx="13979">
                  <c:v>1.9908117416050499</c:v>
                </c:pt>
                <c:pt idx="13980">
                  <c:v>1.8414654185546699</c:v>
                </c:pt>
                <c:pt idx="13981">
                  <c:v>1.75434673010862</c:v>
                </c:pt>
                <c:pt idx="13982">
                  <c:v>2.1609006095235399</c:v>
                </c:pt>
                <c:pt idx="13983">
                  <c:v>1.8663564723963999</c:v>
                </c:pt>
                <c:pt idx="13984">
                  <c:v>1.85805945444916</c:v>
                </c:pt>
                <c:pt idx="13985">
                  <c:v>1.8248713826601899</c:v>
                </c:pt>
                <c:pt idx="13986">
                  <c:v>1.8912475262381301</c:v>
                </c:pt>
                <c:pt idx="13987">
                  <c:v>1.7999803288184599</c:v>
                </c:pt>
                <c:pt idx="13988">
                  <c:v>1.87465349034365</c:v>
                </c:pt>
                <c:pt idx="13989">
                  <c:v>1.83731690958105</c:v>
                </c:pt>
                <c:pt idx="13990">
                  <c:v>1.45150557503424</c:v>
                </c:pt>
                <c:pt idx="13991">
                  <c:v>1.3602383776145699</c:v>
                </c:pt>
                <c:pt idx="13992">
                  <c:v>1.47224811990235</c:v>
                </c:pt>
                <c:pt idx="13993">
                  <c:v>1.5718123352692699</c:v>
                </c:pt>
                <c:pt idx="13994">
                  <c:v>1.6174459339791101</c:v>
                </c:pt>
                <c:pt idx="13995">
                  <c:v>1.09473380330278</c:v>
                </c:pt>
                <c:pt idx="13996">
                  <c:v>1.5261787365594299</c:v>
                </c:pt>
                <c:pt idx="13997">
                  <c:v>1.51788171861219</c:v>
                </c:pt>
                <c:pt idx="13998">
                  <c:v>1.43076303016613</c:v>
                </c:pt>
                <c:pt idx="13999">
                  <c:v>1.24822863532678</c:v>
                </c:pt>
                <c:pt idx="14000">
                  <c:v>0.58861570852094602</c:v>
                </c:pt>
                <c:pt idx="14001">
                  <c:v>1.19844652764332</c:v>
                </c:pt>
                <c:pt idx="14002">
                  <c:v>0.99102107896224301</c:v>
                </c:pt>
                <c:pt idx="14003">
                  <c:v>1.18600100072246</c:v>
                </c:pt>
                <c:pt idx="14004">
                  <c:v>1.065694240487429</c:v>
                </c:pt>
                <c:pt idx="14005">
                  <c:v>1.1901495096960799</c:v>
                </c:pt>
                <c:pt idx="14006">
                  <c:v>0.717219486703216</c:v>
                </c:pt>
                <c:pt idx="14007">
                  <c:v>0.54298210981110795</c:v>
                </c:pt>
                <c:pt idx="14008">
                  <c:v>0.49734851110126999</c:v>
                </c:pt>
                <c:pt idx="14009">
                  <c:v>0.65914036107251295</c:v>
                </c:pt>
                <c:pt idx="14010">
                  <c:v>0.91219940846343195</c:v>
                </c:pt>
                <c:pt idx="14011">
                  <c:v>0.29822008036743203</c:v>
                </c:pt>
                <c:pt idx="14012">
                  <c:v>0.70892246875597298</c:v>
                </c:pt>
                <c:pt idx="14013">
                  <c:v>0.90390239051618904</c:v>
                </c:pt>
                <c:pt idx="14014">
                  <c:v>0.98687256998862105</c:v>
                </c:pt>
                <c:pt idx="14015">
                  <c:v>0.70892246875597298</c:v>
                </c:pt>
                <c:pt idx="14016">
                  <c:v>0.970278534094135</c:v>
                </c:pt>
                <c:pt idx="14017">
                  <c:v>0.79604115720202695</c:v>
                </c:pt>
                <c:pt idx="14018">
                  <c:v>0.73796203157132401</c:v>
                </c:pt>
                <c:pt idx="14019">
                  <c:v>1.26482267122127</c:v>
                </c:pt>
                <c:pt idx="14020">
                  <c:v>0.90805089948980999</c:v>
                </c:pt>
                <c:pt idx="14021">
                  <c:v>0.92049642641067497</c:v>
                </c:pt>
                <c:pt idx="14022">
                  <c:v>1.0491002045929501</c:v>
                </c:pt>
                <c:pt idx="14023">
                  <c:v>1.38927794042992</c:v>
                </c:pt>
                <c:pt idx="14024">
                  <c:v>1.5759608442428901</c:v>
                </c:pt>
                <c:pt idx="14025">
                  <c:v>1.4929906647704601</c:v>
                </c:pt>
                <c:pt idx="14026">
                  <c:v>1.45980259298149</c:v>
                </c:pt>
                <c:pt idx="14027">
                  <c:v>1.5925548801373799</c:v>
                </c:pt>
                <c:pt idx="14028">
                  <c:v>1.5344757545066701</c:v>
                </c:pt>
                <c:pt idx="14029">
                  <c:v>1.70456462242516</c:v>
                </c:pt>
                <c:pt idx="14030">
                  <c:v>1.4680996109287301</c:v>
                </c:pt>
                <c:pt idx="14031">
                  <c:v>1.62574295192635</c:v>
                </c:pt>
                <c:pt idx="14032">
                  <c:v>1.5054361916913199</c:v>
                </c:pt>
                <c:pt idx="14033">
                  <c:v>1.70456462242516</c:v>
                </c:pt>
                <c:pt idx="14034">
                  <c:v>1.4888421557968401</c:v>
                </c:pt>
                <c:pt idx="14035">
                  <c:v>1.62159444295273</c:v>
                </c:pt>
                <c:pt idx="14036">
                  <c:v>1.1030308212500299</c:v>
                </c:pt>
                <c:pt idx="14037">
                  <c:v>3.09846363756203</c:v>
                </c:pt>
                <c:pt idx="14038">
                  <c:v>2.2853558787321901</c:v>
                </c:pt>
                <c:pt idx="14039">
                  <c:v>1.85805945444916</c:v>
                </c:pt>
                <c:pt idx="14040">
                  <c:v>1.8912475262381301</c:v>
                </c:pt>
                <c:pt idx="14041">
                  <c:v>1.9036930531589991</c:v>
                </c:pt>
                <c:pt idx="14042">
                  <c:v>1.6962676044779199</c:v>
                </c:pt>
                <c:pt idx="14043">
                  <c:v>1.9493266518688399</c:v>
                </c:pt>
                <c:pt idx="14044">
                  <c:v>1.87465349034365</c:v>
                </c:pt>
                <c:pt idx="14045">
                  <c:v>2.0074057774995402</c:v>
                </c:pt>
                <c:pt idx="14046">
                  <c:v>1.94102963392159</c:v>
                </c:pt>
                <c:pt idx="14047">
                  <c:v>2.0488908672357602</c:v>
                </c:pt>
                <c:pt idx="14048">
                  <c:v>1.9119900711062401</c:v>
                </c:pt>
                <c:pt idx="14049">
                  <c:v>1.8414654185546699</c:v>
                </c:pt>
                <c:pt idx="14050">
                  <c:v>2.0115542864731601</c:v>
                </c:pt>
                <c:pt idx="14051">
                  <c:v>1.9659206877633191</c:v>
                </c:pt>
                <c:pt idx="14052">
                  <c:v>1.97836621468419</c:v>
                </c:pt>
                <c:pt idx="14053">
                  <c:v>1.7875348018975901</c:v>
                </c:pt>
                <c:pt idx="14054">
                  <c:v>1.92028708905349</c:v>
                </c:pt>
                <c:pt idx="14055">
                  <c:v>1.9908117416050499</c:v>
                </c:pt>
                <c:pt idx="14056">
                  <c:v>1.9036930531589991</c:v>
                </c:pt>
                <c:pt idx="14057">
                  <c:v>2.04474235826213</c:v>
                </c:pt>
                <c:pt idx="14058">
                  <c:v>1.8912475262381301</c:v>
                </c:pt>
                <c:pt idx="14059">
                  <c:v>2.0074057774995402</c:v>
                </c:pt>
                <c:pt idx="14060">
                  <c:v>1.94517814289522</c:v>
                </c:pt>
                <c:pt idx="14061">
                  <c:v>2.0198513044204001</c:v>
                </c:pt>
                <c:pt idx="14062">
                  <c:v>2.0198513044204001</c:v>
                </c:pt>
                <c:pt idx="14063">
                  <c:v>1.9949602505786701</c:v>
                </c:pt>
                <c:pt idx="14064">
                  <c:v>1.79168331087122</c:v>
                </c:pt>
                <c:pt idx="14065">
                  <c:v>1.75434673010862</c:v>
                </c:pt>
                <c:pt idx="14066">
                  <c:v>1.750198221135</c:v>
                </c:pt>
                <c:pt idx="14067">
                  <c:v>1.9285841070007299</c:v>
                </c:pt>
                <c:pt idx="14068">
                  <c:v>1.8041288377920801</c:v>
                </c:pt>
                <c:pt idx="14069">
                  <c:v>1.5386242634803</c:v>
                </c:pt>
                <c:pt idx="14070">
                  <c:v>1.6921190955043</c:v>
                </c:pt>
                <c:pt idx="14071">
                  <c:v>1.8082773467657001</c:v>
                </c:pt>
                <c:pt idx="14072">
                  <c:v>1.5718123352692699</c:v>
                </c:pt>
                <c:pt idx="14073">
                  <c:v>1.79168331087122</c:v>
                </c:pt>
                <c:pt idx="14074">
                  <c:v>1.1237733661181299</c:v>
                </c:pt>
                <c:pt idx="14075">
                  <c:v>1.8663564723963999</c:v>
                </c:pt>
                <c:pt idx="14076">
                  <c:v>1.5593668083484</c:v>
                </c:pt>
                <c:pt idx="14077">
                  <c:v>1.35194135966732</c:v>
                </c:pt>
                <c:pt idx="14078">
                  <c:v>1.5718123352692699</c:v>
                </c:pt>
                <c:pt idx="14079">
                  <c:v>1.41831750324527</c:v>
                </c:pt>
                <c:pt idx="14080">
                  <c:v>1.2814167071157601</c:v>
                </c:pt>
                <c:pt idx="14081">
                  <c:v>1.60085189808462</c:v>
                </c:pt>
                <c:pt idx="14082">
                  <c:v>1.5095847006649501</c:v>
                </c:pt>
                <c:pt idx="14083">
                  <c:v>-0.14567037981008099</c:v>
                </c:pt>
                <c:pt idx="14084">
                  <c:v>1.77094076600311</c:v>
                </c:pt>
                <c:pt idx="14085">
                  <c:v>1.4680996109287301</c:v>
                </c:pt>
                <c:pt idx="14086">
                  <c:v>1.0283576597248401</c:v>
                </c:pt>
                <c:pt idx="14087">
                  <c:v>1.22748609045868</c:v>
                </c:pt>
                <c:pt idx="14088">
                  <c:v>1.4058719763244001</c:v>
                </c:pt>
                <c:pt idx="14089">
                  <c:v>1.2814167071157601</c:v>
                </c:pt>
                <c:pt idx="14090">
                  <c:v>1.3768324135090499</c:v>
                </c:pt>
                <c:pt idx="14091">
                  <c:v>1.3021592519838601</c:v>
                </c:pt>
                <c:pt idx="14092">
                  <c:v>1.5012876827177</c:v>
                </c:pt>
                <c:pt idx="14093">
                  <c:v>1.136218893039</c:v>
                </c:pt>
                <c:pt idx="14094">
                  <c:v>1.52203022758581</c:v>
                </c:pt>
                <c:pt idx="14095">
                  <c:v>1.28556521608938</c:v>
                </c:pt>
                <c:pt idx="14096">
                  <c:v>1.5095847006649501</c:v>
                </c:pt>
                <c:pt idx="14097">
                  <c:v>1.0449516956193201</c:v>
                </c:pt>
                <c:pt idx="14098">
                  <c:v>1.0864367853555399</c:v>
                </c:pt>
                <c:pt idx="14099">
                  <c:v>0.98687256998862105</c:v>
                </c:pt>
                <c:pt idx="14100">
                  <c:v>1.30630776095749</c:v>
                </c:pt>
                <c:pt idx="14101">
                  <c:v>0.91634791743705402</c:v>
                </c:pt>
                <c:pt idx="14102">
                  <c:v>1.26897118019489</c:v>
                </c:pt>
                <c:pt idx="14103">
                  <c:v>1.1030308212500299</c:v>
                </c:pt>
                <c:pt idx="14104">
                  <c:v>0.64254632517802701</c:v>
                </c:pt>
                <c:pt idx="14105">
                  <c:v>1.0905852943291601</c:v>
                </c:pt>
                <c:pt idx="14106">
                  <c:v>1.1901495096960799</c:v>
                </c:pt>
                <c:pt idx="14107">
                  <c:v>1.2523771443003999</c:v>
                </c:pt>
                <c:pt idx="14108">
                  <c:v>0.51809105596937799</c:v>
                </c:pt>
                <c:pt idx="14109">
                  <c:v>1.0449516956193201</c:v>
                </c:pt>
                <c:pt idx="14110">
                  <c:v>1.1528129289334901</c:v>
                </c:pt>
                <c:pt idx="14111">
                  <c:v>1.0408031866456999</c:v>
                </c:pt>
                <c:pt idx="14112">
                  <c:v>0.84582326488548598</c:v>
                </c:pt>
                <c:pt idx="14113">
                  <c:v>0.90390239051618904</c:v>
                </c:pt>
                <c:pt idx="14114">
                  <c:v>0.85826879180635096</c:v>
                </c:pt>
                <c:pt idx="14115">
                  <c:v>1.17770398277522</c:v>
                </c:pt>
                <c:pt idx="14116">
                  <c:v>0.84582326488548598</c:v>
                </c:pt>
                <c:pt idx="14117">
                  <c:v>1.03665467767208</c:v>
                </c:pt>
                <c:pt idx="14118">
                  <c:v>1.3477928506937</c:v>
                </c:pt>
                <c:pt idx="14119">
                  <c:v>1.0408031866456999</c:v>
                </c:pt>
                <c:pt idx="14120">
                  <c:v>1.26897118019489</c:v>
                </c:pt>
                <c:pt idx="14121">
                  <c:v>0.99516958793586396</c:v>
                </c:pt>
                <c:pt idx="14122">
                  <c:v>1.2523771443003999</c:v>
                </c:pt>
                <c:pt idx="14123">
                  <c:v>1.2772681981421301</c:v>
                </c:pt>
                <c:pt idx="14124">
                  <c:v>0.949535989226027</c:v>
                </c:pt>
                <c:pt idx="14125">
                  <c:v>0.80018966617564802</c:v>
                </c:pt>
                <c:pt idx="14126">
                  <c:v>0.94123897127878298</c:v>
                </c:pt>
                <c:pt idx="14127">
                  <c:v>1.4017234673507799</c:v>
                </c:pt>
                <c:pt idx="14128">
                  <c:v>1.0698427494610501</c:v>
                </c:pt>
                <c:pt idx="14129">
                  <c:v>1.0864367853555399</c:v>
                </c:pt>
                <c:pt idx="14130">
                  <c:v>1.05324871356657</c:v>
                </c:pt>
                <c:pt idx="14131">
                  <c:v>0.949535989226027</c:v>
                </c:pt>
                <c:pt idx="14132">
                  <c:v>0.94123897127878298</c:v>
                </c:pt>
                <c:pt idx="14133">
                  <c:v>1.15696143790711</c:v>
                </c:pt>
                <c:pt idx="14134">
                  <c:v>1.37268390453543</c:v>
                </c:pt>
                <c:pt idx="14135">
                  <c:v>1.5510697904011601</c:v>
                </c:pt>
                <c:pt idx="14136">
                  <c:v>0.91634791743705402</c:v>
                </c:pt>
                <c:pt idx="14137">
                  <c:v>1.4058719763244001</c:v>
                </c:pt>
                <c:pt idx="14138">
                  <c:v>1.21918907251143</c:v>
                </c:pt>
                <c:pt idx="14139">
                  <c:v>1.2357831084059201</c:v>
                </c:pt>
                <c:pt idx="14140">
                  <c:v>1.2399316173795389</c:v>
                </c:pt>
                <c:pt idx="14141">
                  <c:v>1.3768324135090499</c:v>
                </c:pt>
                <c:pt idx="14142">
                  <c:v>1.3477928506937</c:v>
                </c:pt>
                <c:pt idx="14143">
                  <c:v>1.5552182993747801</c:v>
                </c:pt>
                <c:pt idx="14144">
                  <c:v>1.48054513784959</c:v>
                </c:pt>
                <c:pt idx="14145">
                  <c:v>1.5593668083484</c:v>
                </c:pt>
                <c:pt idx="14146">
                  <c:v>1.6340399698735899</c:v>
                </c:pt>
                <c:pt idx="14147">
                  <c:v>1.7460497121613801</c:v>
                </c:pt>
                <c:pt idx="14148">
                  <c:v>1.58425786219013</c:v>
                </c:pt>
                <c:pt idx="14149">
                  <c:v>1.66722804166257</c:v>
                </c:pt>
                <c:pt idx="14150">
                  <c:v>1.5137332096385701</c:v>
                </c:pt>
                <c:pt idx="14151">
                  <c:v>1.5510697904011601</c:v>
                </c:pt>
                <c:pt idx="14152">
                  <c:v>1.45150557503424</c:v>
                </c:pt>
                <c:pt idx="14153">
                  <c:v>1.4017234673507799</c:v>
                </c:pt>
                <c:pt idx="14154">
                  <c:v>1.2357831084059201</c:v>
                </c:pt>
                <c:pt idx="14155">
                  <c:v>1.2772681981421301</c:v>
                </c:pt>
                <c:pt idx="14156">
                  <c:v>1.0408031866456999</c:v>
                </c:pt>
                <c:pt idx="14157">
                  <c:v>1.24408012635316</c:v>
                </c:pt>
                <c:pt idx="14158">
                  <c:v>1.0988823122764</c:v>
                </c:pt>
                <c:pt idx="14159">
                  <c:v>1.31045626993111</c:v>
                </c:pt>
                <c:pt idx="14160">
                  <c:v>1.2108920545641899</c:v>
                </c:pt>
                <c:pt idx="14161">
                  <c:v>1.22333758148505</c:v>
                </c:pt>
                <c:pt idx="14162">
                  <c:v>1.2980107430102401</c:v>
                </c:pt>
                <c:pt idx="14163">
                  <c:v>1.41416899427165</c:v>
                </c:pt>
                <c:pt idx="14164">
                  <c:v>1.5676638262956499</c:v>
                </c:pt>
                <c:pt idx="14165">
                  <c:v>1.5261787365594299</c:v>
                </c:pt>
                <c:pt idx="14166">
                  <c:v>1.5386242634803</c:v>
                </c:pt>
                <c:pt idx="14167">
                  <c:v>1.4266145211925101</c:v>
                </c:pt>
                <c:pt idx="14168">
                  <c:v>1.3353473237728399</c:v>
                </c:pt>
                <c:pt idx="14169">
                  <c:v>1.3851294314563001</c:v>
                </c:pt>
                <c:pt idx="14170">
                  <c:v>1.5137332096385701</c:v>
                </c:pt>
                <c:pt idx="14171">
                  <c:v>1.3394958327464599</c:v>
                </c:pt>
                <c:pt idx="14172">
                  <c:v>1.20674354559057</c:v>
                </c:pt>
                <c:pt idx="14173">
                  <c:v>0.93294195333153995</c:v>
                </c:pt>
                <c:pt idx="14174">
                  <c:v>1.3353473237728399</c:v>
                </c:pt>
                <c:pt idx="14175">
                  <c:v>1.24822863532678</c:v>
                </c:pt>
                <c:pt idx="14176">
                  <c:v>1.0615457315138099</c:v>
                </c:pt>
                <c:pt idx="14177">
                  <c:v>1.26897118019489</c:v>
                </c:pt>
                <c:pt idx="14178">
                  <c:v>1.47639662887597</c:v>
                </c:pt>
                <c:pt idx="14179">
                  <c:v>1.0283576597248401</c:v>
                </c:pt>
                <c:pt idx="14180">
                  <c:v>0.98272406101499998</c:v>
                </c:pt>
                <c:pt idx="14181">
                  <c:v>0.88730835462170199</c:v>
                </c:pt>
                <c:pt idx="14182">
                  <c:v>0.79189264822840499</c:v>
                </c:pt>
                <c:pt idx="14183">
                  <c:v>0.77944712130754001</c:v>
                </c:pt>
                <c:pt idx="14184">
                  <c:v>0.45586342136505398</c:v>
                </c:pt>
                <c:pt idx="14185">
                  <c:v>0.75455606746581105</c:v>
                </c:pt>
                <c:pt idx="14186">
                  <c:v>0.385338768813486</c:v>
                </c:pt>
                <c:pt idx="14187">
                  <c:v>0.675734396967</c:v>
                </c:pt>
                <c:pt idx="14188">
                  <c:v>0.63839781620440506</c:v>
                </c:pt>
                <c:pt idx="14189">
                  <c:v>1.22748609045868</c:v>
                </c:pt>
                <c:pt idx="14190">
                  <c:v>0.75870457643943201</c:v>
                </c:pt>
                <c:pt idx="14191">
                  <c:v>0.16961630218516199</c:v>
                </c:pt>
                <c:pt idx="14192">
                  <c:v>0.87486282770083701</c:v>
                </c:pt>
                <c:pt idx="14193">
                  <c:v>0.42267534957608099</c:v>
                </c:pt>
                <c:pt idx="14194">
                  <c:v>0.11153717655445899</c:v>
                </c:pt>
                <c:pt idx="14195">
                  <c:v>0.67988290594062095</c:v>
                </c:pt>
                <c:pt idx="14196">
                  <c:v>0.53053658289024297</c:v>
                </c:pt>
                <c:pt idx="14197">
                  <c:v>0.39363578676073002</c:v>
                </c:pt>
                <c:pt idx="14198">
                  <c:v>1.0988823122764</c:v>
                </c:pt>
                <c:pt idx="14199">
                  <c:v>0.67158588799337804</c:v>
                </c:pt>
                <c:pt idx="14200">
                  <c:v>0.37704175086624298</c:v>
                </c:pt>
                <c:pt idx="14201">
                  <c:v>0.43097236752332402</c:v>
                </c:pt>
                <c:pt idx="14202">
                  <c:v>-4.19576554695405E-2</c:v>
                </c:pt>
                <c:pt idx="14203">
                  <c:v>5.7606559897378402E-2</c:v>
                </c:pt>
                <c:pt idx="14204">
                  <c:v>-0.120779325968351</c:v>
                </c:pt>
                <c:pt idx="14205">
                  <c:v>0.327259643182784</c:v>
                </c:pt>
                <c:pt idx="14206">
                  <c:v>6.1755068870999998E-2</c:v>
                </c:pt>
                <c:pt idx="14207">
                  <c:v>-0.19545248749353999</c:v>
                </c:pt>
                <c:pt idx="14208">
                  <c:v>3.6759432402973299E-3</c:v>
                </c:pt>
                <c:pt idx="14209">
                  <c:v>-0.431917498989973</c:v>
                </c:pt>
                <c:pt idx="14210">
                  <c:v>0.31066560728829701</c:v>
                </c:pt>
                <c:pt idx="14211">
                  <c:v>0.19450735602689201</c:v>
                </c:pt>
                <c:pt idx="14212">
                  <c:v>0.18621033807964901</c:v>
                </c:pt>
                <c:pt idx="14213">
                  <c:v>-3.7809146495918898E-2</c:v>
                </c:pt>
                <c:pt idx="14214">
                  <c:v>-5.8551691364026999E-2</c:v>
                </c:pt>
                <c:pt idx="14215">
                  <c:v>0.31481411626191902</c:v>
                </c:pt>
                <c:pt idx="14216">
                  <c:v>0.51394254699575703</c:v>
                </c:pt>
                <c:pt idx="14217">
                  <c:v>0.96198151614689098</c:v>
                </c:pt>
                <c:pt idx="14218">
                  <c:v>0.61765527133629705</c:v>
                </c:pt>
                <c:pt idx="14219">
                  <c:v>0.27747753549932402</c:v>
                </c:pt>
                <c:pt idx="14220">
                  <c:v>0.39363578676073002</c:v>
                </c:pt>
                <c:pt idx="14221">
                  <c:v>0.41022982265521601</c:v>
                </c:pt>
                <c:pt idx="14222">
                  <c:v>0.75040755849218899</c:v>
                </c:pt>
                <c:pt idx="14223">
                  <c:v>0.56787316365283802</c:v>
                </c:pt>
                <c:pt idx="14224">
                  <c:v>0.39778429573435098</c:v>
                </c:pt>
                <c:pt idx="14225">
                  <c:v>0.45171491239143202</c:v>
                </c:pt>
                <c:pt idx="14226">
                  <c:v>0.63424930723078399</c:v>
                </c:pt>
                <c:pt idx="14227">
                  <c:v>9.0794631686351407E-2</c:v>
                </c:pt>
                <c:pt idx="14228">
                  <c:v>0.248437972683973</c:v>
                </c:pt>
                <c:pt idx="14229">
                  <c:v>0.82922922899100004</c:v>
                </c:pt>
                <c:pt idx="14230">
                  <c:v>0.37704175086624298</c:v>
                </c:pt>
                <c:pt idx="14231">
                  <c:v>0.82922922899100004</c:v>
                </c:pt>
                <c:pt idx="14232">
                  <c:v>0.80848668412289104</c:v>
                </c:pt>
                <c:pt idx="14233">
                  <c:v>0.70062545080872896</c:v>
                </c:pt>
                <c:pt idx="14234">
                  <c:v>1.2606741622476501</c:v>
                </c:pt>
                <c:pt idx="14235">
                  <c:v>1.3394958327464599</c:v>
                </c:pt>
                <c:pt idx="14236">
                  <c:v>1.3229017968519701</c:v>
                </c:pt>
                <c:pt idx="14237">
                  <c:v>1.2606741622476501</c:v>
                </c:pt>
                <c:pt idx="14238">
                  <c:v>1.3353473237728399</c:v>
                </c:pt>
                <c:pt idx="14239">
                  <c:v>1.5552182993747801</c:v>
                </c:pt>
                <c:pt idx="14240">
                  <c:v>1.43491153913976</c:v>
                </c:pt>
                <c:pt idx="14241">
                  <c:v>1.5967033891110001</c:v>
                </c:pt>
                <c:pt idx="14242">
                  <c:v>1.62159444295273</c:v>
                </c:pt>
                <c:pt idx="14243">
                  <c:v>1.3602383776145699</c:v>
                </c:pt>
                <c:pt idx="14244">
                  <c:v>1.87880199931727</c:v>
                </c:pt>
                <c:pt idx="14245">
                  <c:v>2.9823053863006201</c:v>
                </c:pt>
                <c:pt idx="14246">
                  <c:v>1.9991087595523001</c:v>
                </c:pt>
                <c:pt idx="14247">
                  <c:v>1.4929906647704601</c:v>
                </c:pt>
                <c:pt idx="14248">
                  <c:v>1.6298914608999699</c:v>
                </c:pt>
                <c:pt idx="14249">
                  <c:v>1.3353473237728399</c:v>
                </c:pt>
                <c:pt idx="14250">
                  <c:v>1.45150557503424</c:v>
                </c:pt>
                <c:pt idx="14251">
                  <c:v>1.2938622340366199</c:v>
                </c:pt>
                <c:pt idx="14252">
                  <c:v>1.45980259298149</c:v>
                </c:pt>
                <c:pt idx="14253">
                  <c:v>1.4639511019551099</c:v>
                </c:pt>
                <c:pt idx="14254">
                  <c:v>1.41002048529803</c:v>
                </c:pt>
                <c:pt idx="14255">
                  <c:v>1.49713917374408</c:v>
                </c:pt>
                <c:pt idx="14256">
                  <c:v>1.3146047789047299</c:v>
                </c:pt>
                <c:pt idx="14257">
                  <c:v>1.9659206877633191</c:v>
                </c:pt>
                <c:pt idx="14258">
                  <c:v>1.64648549679446</c:v>
                </c:pt>
                <c:pt idx="14259">
                  <c:v>1.9742177057105701</c:v>
                </c:pt>
                <c:pt idx="14260">
                  <c:v>1.70871313139878</c:v>
                </c:pt>
                <c:pt idx="14261">
                  <c:v>1.70456462242516</c:v>
                </c:pt>
                <c:pt idx="14262">
                  <c:v>1.5344757545066701</c:v>
                </c:pt>
                <c:pt idx="14263">
                  <c:v>1.64233698782084</c:v>
                </c:pt>
                <c:pt idx="14264">
                  <c:v>1.6340399698735899</c:v>
                </c:pt>
                <c:pt idx="14265">
                  <c:v>1.5137332096385701</c:v>
                </c:pt>
                <c:pt idx="14266">
                  <c:v>1.7667922570294901</c:v>
                </c:pt>
                <c:pt idx="14267">
                  <c:v>1.70871313139878</c:v>
                </c:pt>
                <c:pt idx="14268">
                  <c:v>1.8622079634227799</c:v>
                </c:pt>
                <c:pt idx="14269">
                  <c:v>1.7377526942141299</c:v>
                </c:pt>
                <c:pt idx="14270">
                  <c:v>1.45980259298149</c:v>
                </c:pt>
                <c:pt idx="14271">
                  <c:v>1.5012876827177</c:v>
                </c:pt>
                <c:pt idx="14272">
                  <c:v>1.3602383776145699</c:v>
                </c:pt>
                <c:pt idx="14273">
                  <c:v>1.5012876827177</c:v>
                </c:pt>
                <c:pt idx="14274">
                  <c:v>1.6174459339791101</c:v>
                </c:pt>
                <c:pt idx="14275">
                  <c:v>1.43076303016613</c:v>
                </c:pt>
                <c:pt idx="14276">
                  <c:v>1.22748609045868</c:v>
                </c:pt>
                <c:pt idx="14277">
                  <c:v>0.90805089948980999</c:v>
                </c:pt>
                <c:pt idx="14278">
                  <c:v>1.3768324135090499</c:v>
                </c:pt>
                <c:pt idx="14279">
                  <c:v>0.66328887004613502</c:v>
                </c:pt>
                <c:pt idx="14280">
                  <c:v>1.2357831084059201</c:v>
                </c:pt>
                <c:pt idx="14281">
                  <c:v>1.1030308212500299</c:v>
                </c:pt>
                <c:pt idx="14282">
                  <c:v>2.0269979134783799E-2</c:v>
                </c:pt>
                <c:pt idx="14283">
                  <c:v>1.4058719763244001</c:v>
                </c:pt>
                <c:pt idx="14284">
                  <c:v>1.0988823122764</c:v>
                </c:pt>
                <c:pt idx="14285">
                  <c:v>1.3768324135090499</c:v>
                </c:pt>
                <c:pt idx="14286">
                  <c:v>1.0034666058831101</c:v>
                </c:pt>
                <c:pt idx="14287">
                  <c:v>1.60085189808462</c:v>
                </c:pt>
                <c:pt idx="14288">
                  <c:v>1.11547634817089</c:v>
                </c:pt>
                <c:pt idx="14289">
                  <c:v>1.1694069648279699</c:v>
                </c:pt>
                <c:pt idx="14290">
                  <c:v>1.16110994688073</c:v>
                </c:pt>
                <c:pt idx="14291">
                  <c:v>0.90390239051618904</c:v>
                </c:pt>
                <c:pt idx="14292">
                  <c:v>1.0822882763819199</c:v>
                </c:pt>
                <c:pt idx="14293">
                  <c:v>0.97857555204137803</c:v>
                </c:pt>
                <c:pt idx="14294">
                  <c:v>0.60520974441543196</c:v>
                </c:pt>
                <c:pt idx="14295">
                  <c:v>0.43097236752332402</c:v>
                </c:pt>
                <c:pt idx="14296">
                  <c:v>0.26088349960483798</c:v>
                </c:pt>
                <c:pt idx="14297">
                  <c:v>0.42267534957608099</c:v>
                </c:pt>
                <c:pt idx="14298">
                  <c:v>9.9091649633594597E-2</c:v>
                </c:pt>
                <c:pt idx="14299">
                  <c:v>0.48075447520678399</c:v>
                </c:pt>
                <c:pt idx="14300">
                  <c:v>1.0615457315138099</c:v>
                </c:pt>
                <c:pt idx="14301">
                  <c:v>0.717219486703216</c:v>
                </c:pt>
                <c:pt idx="14302">
                  <c:v>1.16110994688073</c:v>
                </c:pt>
                <c:pt idx="14303">
                  <c:v>0.76700159438667503</c:v>
                </c:pt>
                <c:pt idx="14304">
                  <c:v>1.2357831084059201</c:v>
                </c:pt>
                <c:pt idx="14305">
                  <c:v>1.1901495096960799</c:v>
                </c:pt>
                <c:pt idx="14306">
                  <c:v>1.01591213280397</c:v>
                </c:pt>
                <c:pt idx="14307">
                  <c:v>1.065694240487429</c:v>
                </c:pt>
                <c:pt idx="14308">
                  <c:v>0.82093221104375602</c:v>
                </c:pt>
                <c:pt idx="14309">
                  <c:v>0.85412028283272901</c:v>
                </c:pt>
                <c:pt idx="14310">
                  <c:v>0.71307097772959405</c:v>
                </c:pt>
                <c:pt idx="14311">
                  <c:v>1.5718123352692699</c:v>
                </c:pt>
                <c:pt idx="14312">
                  <c:v>1.3021592519838601</c:v>
                </c:pt>
                <c:pt idx="14313">
                  <c:v>1.4846936468232199</c:v>
                </c:pt>
                <c:pt idx="14314">
                  <c:v>1.3809809224826799</c:v>
                </c:pt>
                <c:pt idx="14315">
                  <c:v>1.4888421557968401</c:v>
                </c:pt>
                <c:pt idx="14316">
                  <c:v>1.5925548801373799</c:v>
                </c:pt>
                <c:pt idx="14317">
                  <c:v>1.41002048529803</c:v>
                </c:pt>
                <c:pt idx="14318">
                  <c:v>1.4058719763244001</c:v>
                </c:pt>
                <c:pt idx="14319">
                  <c:v>1.52203022758581</c:v>
                </c:pt>
                <c:pt idx="14320">
                  <c:v>1.41831750324527</c:v>
                </c:pt>
                <c:pt idx="14321">
                  <c:v>1.4224660122188899</c:v>
                </c:pt>
                <c:pt idx="14322">
                  <c:v>1.3560898686409499</c:v>
                </c:pt>
                <c:pt idx="14323">
                  <c:v>1.38927794042992</c:v>
                </c:pt>
                <c:pt idx="14324">
                  <c:v>1.3394958327464599</c:v>
                </c:pt>
                <c:pt idx="14325">
                  <c:v>1.5303272455330501</c:v>
                </c:pt>
                <c:pt idx="14326">
                  <c:v>1.5012876827177</c:v>
                </c:pt>
                <c:pt idx="14327">
                  <c:v>1.5718123352692699</c:v>
                </c:pt>
                <c:pt idx="14328">
                  <c:v>1.6755250596098099</c:v>
                </c:pt>
                <c:pt idx="14329">
                  <c:v>1.8622079634227799</c:v>
                </c:pt>
                <c:pt idx="14330">
                  <c:v>3.05697854782581</c:v>
                </c:pt>
                <c:pt idx="14331">
                  <c:v>2.3351379864156501</c:v>
                </c:pt>
                <c:pt idx="14332">
                  <c:v>1.64233698782084</c:v>
                </c:pt>
                <c:pt idx="14333">
                  <c:v>1.8290198916338101</c:v>
                </c:pt>
                <c:pt idx="14334">
                  <c:v>1.70456462242516</c:v>
                </c:pt>
                <c:pt idx="14335">
                  <c:v>1.7792377839503499</c:v>
                </c:pt>
                <c:pt idx="14336">
                  <c:v>1.8663564723963999</c:v>
                </c:pt>
                <c:pt idx="14337">
                  <c:v>1.8829505082908899</c:v>
                </c:pt>
                <c:pt idx="14338">
                  <c:v>2.0239998133940298</c:v>
                </c:pt>
                <c:pt idx="14339">
                  <c:v>2.0115542864731601</c:v>
                </c:pt>
                <c:pt idx="14340">
                  <c:v>1.9534751608424601</c:v>
                </c:pt>
                <c:pt idx="14341">
                  <c:v>1.9285841070007299</c:v>
                </c:pt>
                <c:pt idx="14342">
                  <c:v>1.8870990172645099</c:v>
                </c:pt>
                <c:pt idx="14343">
                  <c:v>1.9949602505786701</c:v>
                </c:pt>
                <c:pt idx="14344">
                  <c:v>1.72945567626689</c:v>
                </c:pt>
                <c:pt idx="14345">
                  <c:v>1.85805945444916</c:v>
                </c:pt>
                <c:pt idx="14346">
                  <c:v>1.79168331087122</c:v>
                </c:pt>
                <c:pt idx="14347">
                  <c:v>1.8870990172645099</c:v>
                </c:pt>
                <c:pt idx="14348">
                  <c:v>2.0488908672357602</c:v>
                </c:pt>
                <c:pt idx="14349">
                  <c:v>1.89539603521176</c:v>
                </c:pt>
                <c:pt idx="14350">
                  <c:v>1.7211586583196501</c:v>
                </c:pt>
                <c:pt idx="14351">
                  <c:v>1.8082773467657001</c:v>
                </c:pt>
                <c:pt idx="14352">
                  <c:v>1.6962676044779199</c:v>
                </c:pt>
                <c:pt idx="14353">
                  <c:v>1.89539603521176</c:v>
                </c:pt>
                <c:pt idx="14354">
                  <c:v>2.0488908672357602</c:v>
                </c:pt>
                <c:pt idx="14355">
                  <c:v>1.8248713826601899</c:v>
                </c:pt>
                <c:pt idx="14356">
                  <c:v>1.7792377839503499</c:v>
                </c:pt>
                <c:pt idx="14357">
                  <c:v>1.39342644940354</c:v>
                </c:pt>
                <c:pt idx="14358">
                  <c:v>1.5510697904011601</c:v>
                </c:pt>
                <c:pt idx="14359">
                  <c:v>1.6506340057680799</c:v>
                </c:pt>
                <c:pt idx="14360">
                  <c:v>1.750198221135</c:v>
                </c:pt>
                <c:pt idx="14361">
                  <c:v>1.5884063711637599</c:v>
                </c:pt>
                <c:pt idx="14362">
                  <c:v>1.2980107430102401</c:v>
                </c:pt>
                <c:pt idx="14363">
                  <c:v>1.45565408400786</c:v>
                </c:pt>
                <c:pt idx="14364">
                  <c:v>1.7419012031877601</c:v>
                </c:pt>
                <c:pt idx="14365">
                  <c:v>1.37268390453543</c:v>
                </c:pt>
                <c:pt idx="14366">
                  <c:v>1.4432085570869999</c:v>
                </c:pt>
                <c:pt idx="14367">
                  <c:v>1.0200606417775899</c:v>
                </c:pt>
                <c:pt idx="14368">
                  <c:v>1.1113278391972701</c:v>
                </c:pt>
                <c:pt idx="14369">
                  <c:v>1.0822882763819199</c:v>
                </c:pt>
                <c:pt idx="14370">
                  <c:v>1.2814167071157601</c:v>
                </c:pt>
                <c:pt idx="14371">
                  <c:v>1.2523771443003999</c:v>
                </c:pt>
                <c:pt idx="14372">
                  <c:v>1.01591213280397</c:v>
                </c:pt>
                <c:pt idx="14373">
                  <c:v>1.2980107430102401</c:v>
                </c:pt>
                <c:pt idx="14374">
                  <c:v>1.2772681981421301</c:v>
                </c:pt>
                <c:pt idx="14375">
                  <c:v>1.3187532878783499</c:v>
                </c:pt>
                <c:pt idx="14376">
                  <c:v>0.87901133667445897</c:v>
                </c:pt>
                <c:pt idx="14377">
                  <c:v>0.98272406101499998</c:v>
                </c:pt>
                <c:pt idx="14378">
                  <c:v>0.89145686359532395</c:v>
                </c:pt>
                <c:pt idx="14379">
                  <c:v>0.72136799567683796</c:v>
                </c:pt>
                <c:pt idx="14380">
                  <c:v>0.82093221104375602</c:v>
                </c:pt>
                <c:pt idx="14381">
                  <c:v>0.54298210981110795</c:v>
                </c:pt>
                <c:pt idx="14382">
                  <c:v>0.42267534957608099</c:v>
                </c:pt>
                <c:pt idx="14383">
                  <c:v>0.53883360083748599</c:v>
                </c:pt>
                <c:pt idx="14384">
                  <c:v>0.50149702007489205</c:v>
                </c:pt>
                <c:pt idx="14385">
                  <c:v>0.50149702007489205</c:v>
                </c:pt>
                <c:pt idx="14386">
                  <c:v>0.23599244576310799</c:v>
                </c:pt>
                <c:pt idx="14387">
                  <c:v>0.25258648165759501</c:v>
                </c:pt>
                <c:pt idx="14388">
                  <c:v>5.7606559897378402E-2</c:v>
                </c:pt>
                <c:pt idx="14389">
                  <c:v>0.36044771497175698</c:v>
                </c:pt>
                <c:pt idx="14390">
                  <c:v>0.161319284237919</c:v>
                </c:pt>
                <c:pt idx="14391">
                  <c:v>0.58446719954732396</c:v>
                </c:pt>
                <c:pt idx="14392">
                  <c:v>0.77944712130754001</c:v>
                </c:pt>
                <c:pt idx="14393">
                  <c:v>0.84167475591186403</c:v>
                </c:pt>
                <c:pt idx="14394">
                  <c:v>0.675734396967</c:v>
                </c:pt>
                <c:pt idx="14395">
                  <c:v>0.52223956494299995</c:v>
                </c:pt>
                <c:pt idx="14396">
                  <c:v>0.24428946371035101</c:v>
                </c:pt>
                <c:pt idx="14397">
                  <c:v>0.63424930723078399</c:v>
                </c:pt>
                <c:pt idx="14398">
                  <c:v>0.970278534094135</c:v>
                </c:pt>
                <c:pt idx="14399">
                  <c:v>0.74211054054494596</c:v>
                </c:pt>
                <c:pt idx="14400">
                  <c:v>0.85826879180635096</c:v>
                </c:pt>
                <c:pt idx="14401">
                  <c:v>0.94123897127878298</c:v>
                </c:pt>
                <c:pt idx="14402">
                  <c:v>0.38119025983986499</c:v>
                </c:pt>
                <c:pt idx="14403">
                  <c:v>1.41416899427165</c:v>
                </c:pt>
                <c:pt idx="14404">
                  <c:v>1.32705030582559</c:v>
                </c:pt>
                <c:pt idx="14405">
                  <c:v>1.60085189808462</c:v>
                </c:pt>
                <c:pt idx="14406">
                  <c:v>1.4017234673507799</c:v>
                </c:pt>
                <c:pt idx="14407">
                  <c:v>1.60500040705824</c:v>
                </c:pt>
                <c:pt idx="14408">
                  <c:v>1.41831750324527</c:v>
                </c:pt>
                <c:pt idx="14409">
                  <c:v>1.56351531732203</c:v>
                </c:pt>
                <c:pt idx="14410">
                  <c:v>1.7626437480558601</c:v>
                </c:pt>
                <c:pt idx="14411">
                  <c:v>1.6340399698735899</c:v>
                </c:pt>
                <c:pt idx="14412">
                  <c:v>1.45150557503424</c:v>
                </c:pt>
                <c:pt idx="14413">
                  <c:v>1.5386242634803</c:v>
                </c:pt>
                <c:pt idx="14414">
                  <c:v>1.51788171861219</c:v>
                </c:pt>
                <c:pt idx="14415">
                  <c:v>1.45150557503424</c:v>
                </c:pt>
                <c:pt idx="14416">
                  <c:v>1.5137332096385701</c:v>
                </c:pt>
                <c:pt idx="14417">
                  <c:v>1.52203022758581</c:v>
                </c:pt>
                <c:pt idx="14418">
                  <c:v>1.5676638262956499</c:v>
                </c:pt>
                <c:pt idx="14419">
                  <c:v>1.5386242634803</c:v>
                </c:pt>
                <c:pt idx="14420">
                  <c:v>1.1942980186697001</c:v>
                </c:pt>
                <c:pt idx="14421">
                  <c:v>3.2353644336915401</c:v>
                </c:pt>
                <c:pt idx="14422">
                  <c:v>2.4595932556242999</c:v>
                </c:pt>
                <c:pt idx="14423">
                  <c:v>1.8829505082908899</c:v>
                </c:pt>
                <c:pt idx="14424">
                  <c:v>1.77094076600311</c:v>
                </c:pt>
                <c:pt idx="14425">
                  <c:v>1.8663564723963999</c:v>
                </c:pt>
                <c:pt idx="14426">
                  <c:v>1.8622079634227799</c:v>
                </c:pt>
                <c:pt idx="14427">
                  <c:v>1.6755250596098099</c:v>
                </c:pt>
                <c:pt idx="14428">
                  <c:v>1.60500040705824</c:v>
                </c:pt>
                <c:pt idx="14429">
                  <c:v>1.7792377839503499</c:v>
                </c:pt>
                <c:pt idx="14430">
                  <c:v>1.7875348018975901</c:v>
                </c:pt>
                <c:pt idx="14431">
                  <c:v>1.5718123352692699</c:v>
                </c:pt>
                <c:pt idx="14432">
                  <c:v>1.81657436471295</c:v>
                </c:pt>
                <c:pt idx="14433">
                  <c:v>2.0074057774995402</c:v>
                </c:pt>
                <c:pt idx="14434">
                  <c:v>1.8248713826601899</c:v>
                </c:pt>
                <c:pt idx="14435">
                  <c:v>1.7377526942141299</c:v>
                </c:pt>
                <c:pt idx="14436">
                  <c:v>1.6755250596098099</c:v>
                </c:pt>
                <c:pt idx="14437">
                  <c:v>1.7377526942141299</c:v>
                </c:pt>
                <c:pt idx="14438">
                  <c:v>1.7211586583196501</c:v>
                </c:pt>
                <c:pt idx="14439">
                  <c:v>1.5884063711637599</c:v>
                </c:pt>
                <c:pt idx="14440">
                  <c:v>1.8082773467657001</c:v>
                </c:pt>
                <c:pt idx="14441">
                  <c:v>2.0281483223676502</c:v>
                </c:pt>
                <c:pt idx="14442">
                  <c:v>1.7377526942141299</c:v>
                </c:pt>
                <c:pt idx="14443">
                  <c:v>1.7377526942141299</c:v>
                </c:pt>
                <c:pt idx="14444">
                  <c:v>1.64233698782084</c:v>
                </c:pt>
                <c:pt idx="14445">
                  <c:v>1.7377526942141299</c:v>
                </c:pt>
                <c:pt idx="14446">
                  <c:v>1.49713917374408</c:v>
                </c:pt>
                <c:pt idx="14447">
                  <c:v>1.28556521608938</c:v>
                </c:pt>
                <c:pt idx="14448">
                  <c:v>1.3436443417200801</c:v>
                </c:pt>
                <c:pt idx="14449">
                  <c:v>1.4017234673507799</c:v>
                </c:pt>
                <c:pt idx="14450">
                  <c:v>1.4929906647704601</c:v>
                </c:pt>
                <c:pt idx="14451">
                  <c:v>1.4639511019551099</c:v>
                </c:pt>
                <c:pt idx="14452">
                  <c:v>1.3394958327464599</c:v>
                </c:pt>
                <c:pt idx="14453">
                  <c:v>1.0283576597248401</c:v>
                </c:pt>
                <c:pt idx="14454">
                  <c:v>1.1694069648279699</c:v>
                </c:pt>
                <c:pt idx="14455">
                  <c:v>0.34385367907726999</c:v>
                </c:pt>
                <c:pt idx="14456">
                  <c:v>1.14036740201262</c:v>
                </c:pt>
                <c:pt idx="14457">
                  <c:v>1.14036740201262</c:v>
                </c:pt>
                <c:pt idx="14458">
                  <c:v>0.92464493538429704</c:v>
                </c:pt>
                <c:pt idx="14459">
                  <c:v>1.3643868865881901</c:v>
                </c:pt>
                <c:pt idx="14460">
                  <c:v>1.0034666058831101</c:v>
                </c:pt>
                <c:pt idx="14461">
                  <c:v>0.75455606746581105</c:v>
                </c:pt>
                <c:pt idx="14462">
                  <c:v>0.675734396967</c:v>
                </c:pt>
                <c:pt idx="14463">
                  <c:v>0.61765527133629705</c:v>
                </c:pt>
                <c:pt idx="14464">
                  <c:v>0.88730835462170199</c:v>
                </c:pt>
                <c:pt idx="14465">
                  <c:v>1.0242091507512201</c:v>
                </c:pt>
                <c:pt idx="14466">
                  <c:v>0.65914036107251295</c:v>
                </c:pt>
                <c:pt idx="14467">
                  <c:v>0.58446719954732396</c:v>
                </c:pt>
                <c:pt idx="14468">
                  <c:v>0.74625904951856703</c:v>
                </c:pt>
                <c:pt idx="14469">
                  <c:v>0.69232843286148604</c:v>
                </c:pt>
                <c:pt idx="14470">
                  <c:v>0.73796203157132401</c:v>
                </c:pt>
                <c:pt idx="14471">
                  <c:v>0.30236858934105398</c:v>
                </c:pt>
                <c:pt idx="14472">
                  <c:v>8.6646122712729701E-2</c:v>
                </c:pt>
                <c:pt idx="14473">
                  <c:v>0.57617018160008104</c:v>
                </c:pt>
                <c:pt idx="14474">
                  <c:v>0.202804373974135</c:v>
                </c:pt>
                <c:pt idx="14475">
                  <c:v>0.26088349960483798</c:v>
                </c:pt>
                <c:pt idx="14476">
                  <c:v>0.57202167262645898</c:v>
                </c:pt>
                <c:pt idx="14477">
                  <c:v>0.58861570852094602</c:v>
                </c:pt>
                <c:pt idx="14478">
                  <c:v>0.85826879180635096</c:v>
                </c:pt>
                <c:pt idx="14479">
                  <c:v>0.41022982265521601</c:v>
                </c:pt>
                <c:pt idx="14480">
                  <c:v>0.24428946371035101</c:v>
                </c:pt>
                <c:pt idx="14481">
                  <c:v>0.69232843286148604</c:v>
                </c:pt>
                <c:pt idx="14482">
                  <c:v>0.219398409868622</c:v>
                </c:pt>
                <c:pt idx="14483">
                  <c:v>0.27332902652570301</c:v>
                </c:pt>
                <c:pt idx="14484">
                  <c:v>0.99516958793586396</c:v>
                </c:pt>
                <c:pt idx="14485">
                  <c:v>0.60935825338905403</c:v>
                </c:pt>
                <c:pt idx="14486">
                  <c:v>0.70477395978235102</c:v>
                </c:pt>
                <c:pt idx="14487">
                  <c:v>0.95783300717327002</c:v>
                </c:pt>
                <c:pt idx="14488">
                  <c:v>1.0200606417775899</c:v>
                </c:pt>
                <c:pt idx="14489">
                  <c:v>1.15696143790711</c:v>
                </c:pt>
                <c:pt idx="14490">
                  <c:v>1.20674354559057</c:v>
                </c:pt>
                <c:pt idx="14491">
                  <c:v>1.14036740201262</c:v>
                </c:pt>
                <c:pt idx="14492">
                  <c:v>1.0781397674083</c:v>
                </c:pt>
                <c:pt idx="14493">
                  <c:v>1.1279218750917599</c:v>
                </c:pt>
                <c:pt idx="14494">
                  <c:v>1.3975749583771599</c:v>
                </c:pt>
                <c:pt idx="14495">
                  <c:v>1.45980259298149</c:v>
                </c:pt>
                <c:pt idx="14496">
                  <c:v>1.3809809224826799</c:v>
                </c:pt>
                <c:pt idx="14497">
                  <c:v>1.5718123352692699</c:v>
                </c:pt>
                <c:pt idx="14498">
                  <c:v>1.45150557503424</c:v>
                </c:pt>
                <c:pt idx="14499">
                  <c:v>1.2980107430102401</c:v>
                </c:pt>
                <c:pt idx="14500">
                  <c:v>1.3851294314563001</c:v>
                </c:pt>
                <c:pt idx="14501">
                  <c:v>1.2399316173795389</c:v>
                </c:pt>
                <c:pt idx="14502">
                  <c:v>1.26482267122127</c:v>
                </c:pt>
                <c:pt idx="14503">
                  <c:v>1.19844652764332</c:v>
                </c:pt>
                <c:pt idx="14504">
                  <c:v>1.3394958327464599</c:v>
                </c:pt>
                <c:pt idx="14505">
                  <c:v>0.86656580975359399</c:v>
                </c:pt>
                <c:pt idx="14506">
                  <c:v>3.1358002183246199</c:v>
                </c:pt>
                <c:pt idx="14507">
                  <c:v>2.3558805312837592</c:v>
                </c:pt>
                <c:pt idx="14508">
                  <c:v>1.9991087595523001</c:v>
                </c:pt>
                <c:pt idx="14509">
                  <c:v>1.79168331087122</c:v>
                </c:pt>
                <c:pt idx="14510">
                  <c:v>1.6755250596098099</c:v>
                </c:pt>
                <c:pt idx="14511">
                  <c:v>2.2687618428377001</c:v>
                </c:pt>
                <c:pt idx="14512">
                  <c:v>1.8622079634227799</c:v>
                </c:pt>
                <c:pt idx="14513">
                  <c:v>1.77094076600311</c:v>
                </c:pt>
                <c:pt idx="14514">
                  <c:v>1.7584952390822399</c:v>
                </c:pt>
                <c:pt idx="14515">
                  <c:v>1.7460497121613801</c:v>
                </c:pt>
                <c:pt idx="14516">
                  <c:v>1.8870990172645099</c:v>
                </c:pt>
                <c:pt idx="14517">
                  <c:v>1.7999803288184599</c:v>
                </c:pt>
                <c:pt idx="14518">
                  <c:v>1.8248713826601899</c:v>
                </c:pt>
                <c:pt idx="14519">
                  <c:v>1.8456139275282999</c:v>
                </c:pt>
                <c:pt idx="14520">
                  <c:v>1.89539603521176</c:v>
                </c:pt>
                <c:pt idx="14521">
                  <c:v>1.97836621468419</c:v>
                </c:pt>
                <c:pt idx="14522">
                  <c:v>1.95762366981608</c:v>
                </c:pt>
                <c:pt idx="14523">
                  <c:v>1.67137655063619</c:v>
                </c:pt>
                <c:pt idx="14524">
                  <c:v>1.7999803288184599</c:v>
                </c:pt>
                <c:pt idx="14525">
                  <c:v>1.85391094547554</c:v>
                </c:pt>
                <c:pt idx="14526">
                  <c:v>1.8456139275282999</c:v>
                </c:pt>
                <c:pt idx="14527">
                  <c:v>1.91613858007986</c:v>
                </c:pt>
                <c:pt idx="14528">
                  <c:v>2.0198513044204001</c:v>
                </c:pt>
                <c:pt idx="14529">
                  <c:v>1.75434673010862</c:v>
                </c:pt>
                <c:pt idx="14530">
                  <c:v>1.7419012031877601</c:v>
                </c:pt>
                <c:pt idx="14531">
                  <c:v>1.7792377839503499</c:v>
                </c:pt>
                <c:pt idx="14532">
                  <c:v>1.77094076600311</c:v>
                </c:pt>
                <c:pt idx="14533">
                  <c:v>1.8829505082908899</c:v>
                </c:pt>
                <c:pt idx="14534">
                  <c:v>1.6506340057680799</c:v>
                </c:pt>
                <c:pt idx="14535">
                  <c:v>1.89954454418538</c:v>
                </c:pt>
                <c:pt idx="14536">
                  <c:v>1.89954454418538</c:v>
                </c:pt>
                <c:pt idx="14537">
                  <c:v>1.92028708905349</c:v>
                </c:pt>
                <c:pt idx="14538">
                  <c:v>1.7211586583196501</c:v>
                </c:pt>
                <c:pt idx="14539">
                  <c:v>1.43076303016613</c:v>
                </c:pt>
                <c:pt idx="14540">
                  <c:v>1.62159444295273</c:v>
                </c:pt>
                <c:pt idx="14541">
                  <c:v>1.750198221135</c:v>
                </c:pt>
                <c:pt idx="14542">
                  <c:v>1.36853539556181</c:v>
                </c:pt>
                <c:pt idx="14543">
                  <c:v>1.62574295192635</c:v>
                </c:pt>
                <c:pt idx="14544">
                  <c:v>1.7584952390822399</c:v>
                </c:pt>
                <c:pt idx="14545">
                  <c:v>0.56787316365283802</c:v>
                </c:pt>
                <c:pt idx="14546">
                  <c:v>0.77115010336029699</c:v>
                </c:pt>
                <c:pt idx="14547">
                  <c:v>0.70477395978235102</c:v>
                </c:pt>
                <c:pt idx="14548">
                  <c:v>0.696476941835108</c:v>
                </c:pt>
                <c:pt idx="14549">
                  <c:v>0.89560537256894601</c:v>
                </c:pt>
                <c:pt idx="14550">
                  <c:v>0.80848668412289104</c:v>
                </c:pt>
                <c:pt idx="14551">
                  <c:v>0.57617018160008104</c:v>
                </c:pt>
                <c:pt idx="14552">
                  <c:v>0.84582326488548598</c:v>
                </c:pt>
                <c:pt idx="14553">
                  <c:v>1.136218893039</c:v>
                </c:pt>
                <c:pt idx="14554">
                  <c:v>0.77115010336029699</c:v>
                </c:pt>
                <c:pt idx="14555">
                  <c:v>0.80018966617564802</c:v>
                </c:pt>
                <c:pt idx="14556">
                  <c:v>1.136218893039</c:v>
                </c:pt>
                <c:pt idx="14557">
                  <c:v>1.18600100072246</c:v>
                </c:pt>
                <c:pt idx="14558">
                  <c:v>1.52203022758581</c:v>
                </c:pt>
                <c:pt idx="14559">
                  <c:v>1.4680996109287301</c:v>
                </c:pt>
                <c:pt idx="14560">
                  <c:v>1.4266145211925101</c:v>
                </c:pt>
                <c:pt idx="14561">
                  <c:v>1.5593668083484</c:v>
                </c:pt>
                <c:pt idx="14562">
                  <c:v>1.47224811990235</c:v>
                </c:pt>
                <c:pt idx="14563">
                  <c:v>1.52203022758581</c:v>
                </c:pt>
                <c:pt idx="14564">
                  <c:v>1.41002048529803</c:v>
                </c:pt>
                <c:pt idx="14565">
                  <c:v>1.5469212814275399</c:v>
                </c:pt>
                <c:pt idx="14566">
                  <c:v>1.3643868865881901</c:v>
                </c:pt>
                <c:pt idx="14567">
                  <c:v>1.45980259298149</c:v>
                </c:pt>
                <c:pt idx="14568">
                  <c:v>1.2731196891685099</c:v>
                </c:pt>
                <c:pt idx="14569">
                  <c:v>1.32705030582559</c:v>
                </c:pt>
                <c:pt idx="14570">
                  <c:v>0.98272406101499998</c:v>
                </c:pt>
                <c:pt idx="14571">
                  <c:v>1.2357831084059201</c:v>
                </c:pt>
                <c:pt idx="14572">
                  <c:v>2.0779304300511101</c:v>
                </c:pt>
                <c:pt idx="14573">
                  <c:v>2.8205135363293801</c:v>
                </c:pt>
                <c:pt idx="14574">
                  <c:v>2.3475835133365099</c:v>
                </c:pt>
                <c:pt idx="14575">
                  <c:v>2.06548490313024</c:v>
                </c:pt>
                <c:pt idx="14576">
                  <c:v>1.8829505082908899</c:v>
                </c:pt>
                <c:pt idx="14577">
                  <c:v>1.73360418524051</c:v>
                </c:pt>
                <c:pt idx="14578">
                  <c:v>1.9119900711062401</c:v>
                </c:pt>
                <c:pt idx="14579">
                  <c:v>1.9036930531589991</c:v>
                </c:pt>
                <c:pt idx="14580">
                  <c:v>1.85391094547554</c:v>
                </c:pt>
                <c:pt idx="14581">
                  <c:v>1.9742177057105701</c:v>
                </c:pt>
                <c:pt idx="14582">
                  <c:v>1.9119900711062401</c:v>
                </c:pt>
                <c:pt idx="14583">
                  <c:v>1.77094076600311</c:v>
                </c:pt>
                <c:pt idx="14584">
                  <c:v>1.94517814289522</c:v>
                </c:pt>
                <c:pt idx="14585">
                  <c:v>1.9700691967369499</c:v>
                </c:pt>
                <c:pt idx="14586">
                  <c:v>2.0074057774995402</c:v>
                </c:pt>
                <c:pt idx="14587">
                  <c:v>1.9493266518688399</c:v>
                </c:pt>
                <c:pt idx="14588">
                  <c:v>1.85391094547554</c:v>
                </c:pt>
                <c:pt idx="14589">
                  <c:v>1.8622079634227799</c:v>
                </c:pt>
                <c:pt idx="14590">
                  <c:v>1.8622079634227799</c:v>
                </c:pt>
                <c:pt idx="14591">
                  <c:v>1.8912475262381301</c:v>
                </c:pt>
                <c:pt idx="14592">
                  <c:v>1.93688112494797</c:v>
                </c:pt>
                <c:pt idx="14593">
                  <c:v>1.83316840060743</c:v>
                </c:pt>
                <c:pt idx="14594">
                  <c:v>1.94517814289522</c:v>
                </c:pt>
                <c:pt idx="14595">
                  <c:v>1.89539603521176</c:v>
                </c:pt>
                <c:pt idx="14596">
                  <c:v>1.91613858007986</c:v>
                </c:pt>
                <c:pt idx="14597">
                  <c:v>1.9617721787897</c:v>
                </c:pt>
                <c:pt idx="14598">
                  <c:v>1.91613858007986</c:v>
                </c:pt>
                <c:pt idx="14599">
                  <c:v>2.0074057774995402</c:v>
                </c:pt>
                <c:pt idx="14600">
                  <c:v>1.8705049813700301</c:v>
                </c:pt>
                <c:pt idx="14601">
                  <c:v>1.8456139275282999</c:v>
                </c:pt>
                <c:pt idx="14602">
                  <c:v>1.9078415621326199</c:v>
                </c:pt>
                <c:pt idx="14603">
                  <c:v>1.7584952390822399</c:v>
                </c:pt>
                <c:pt idx="14604">
                  <c:v>1.62159444295273</c:v>
                </c:pt>
                <c:pt idx="14605">
                  <c:v>1.5303272455330501</c:v>
                </c:pt>
                <c:pt idx="14606">
                  <c:v>1.77094076600311</c:v>
                </c:pt>
                <c:pt idx="14607">
                  <c:v>1.7875348018975901</c:v>
                </c:pt>
                <c:pt idx="14608">
                  <c:v>1.3436443417200801</c:v>
                </c:pt>
                <c:pt idx="14609">
                  <c:v>1.64233698782084</c:v>
                </c:pt>
                <c:pt idx="14610">
                  <c:v>1.68382207755705</c:v>
                </c:pt>
                <c:pt idx="14611">
                  <c:v>1.3436443417200801</c:v>
                </c:pt>
                <c:pt idx="14612">
                  <c:v>1.289713725063</c:v>
                </c:pt>
                <c:pt idx="14613">
                  <c:v>1.2316345994322999</c:v>
                </c:pt>
                <c:pt idx="14614">
                  <c:v>1.2523771443003999</c:v>
                </c:pt>
                <c:pt idx="14615">
                  <c:v>1.0034666058831101</c:v>
                </c:pt>
                <c:pt idx="14616">
                  <c:v>1.11547634817089</c:v>
                </c:pt>
                <c:pt idx="14617">
                  <c:v>0.90805089948980999</c:v>
                </c:pt>
                <c:pt idx="14618">
                  <c:v>1.0905852943291601</c:v>
                </c:pt>
                <c:pt idx="14619">
                  <c:v>0.88315984564808103</c:v>
                </c:pt>
                <c:pt idx="14620">
                  <c:v>1.1030308212500299</c:v>
                </c:pt>
                <c:pt idx="14621">
                  <c:v>1.14036740201262</c:v>
                </c:pt>
                <c:pt idx="14622">
                  <c:v>1.20674354559057</c:v>
                </c:pt>
                <c:pt idx="14623">
                  <c:v>1.0864367853555399</c:v>
                </c:pt>
                <c:pt idx="14624">
                  <c:v>0.97857555204137803</c:v>
                </c:pt>
                <c:pt idx="14625">
                  <c:v>0.90805089948980999</c:v>
                </c:pt>
                <c:pt idx="14626">
                  <c:v>1.1486644199598599</c:v>
                </c:pt>
                <c:pt idx="14627">
                  <c:v>0.60520974441543196</c:v>
                </c:pt>
                <c:pt idx="14628">
                  <c:v>0.464160439312297</c:v>
                </c:pt>
                <c:pt idx="14629">
                  <c:v>0.36044771497175698</c:v>
                </c:pt>
                <c:pt idx="14630">
                  <c:v>0.72136799567683796</c:v>
                </c:pt>
                <c:pt idx="14631">
                  <c:v>0.269180517552081</c:v>
                </c:pt>
                <c:pt idx="14632">
                  <c:v>0.348002188050892</c:v>
                </c:pt>
                <c:pt idx="14633">
                  <c:v>0.22769542781586499</c:v>
                </c:pt>
                <c:pt idx="14634">
                  <c:v>0.19450735602689201</c:v>
                </c:pt>
                <c:pt idx="14635">
                  <c:v>0.57617018160008104</c:v>
                </c:pt>
                <c:pt idx="14636">
                  <c:v>0.34385367907726999</c:v>
                </c:pt>
                <c:pt idx="14637">
                  <c:v>0.39778429573435098</c:v>
                </c:pt>
                <c:pt idx="14638">
                  <c:v>0.443417894444189</c:v>
                </c:pt>
                <c:pt idx="14639">
                  <c:v>0.269180517552081</c:v>
                </c:pt>
                <c:pt idx="14640">
                  <c:v>0.35629920599813503</c:v>
                </c:pt>
                <c:pt idx="14641">
                  <c:v>0.15717077526429701</c:v>
                </c:pt>
                <c:pt idx="14642">
                  <c:v>0.64254632517802701</c:v>
                </c:pt>
                <c:pt idx="14643">
                  <c:v>0.696476941835108</c:v>
                </c:pt>
                <c:pt idx="14644">
                  <c:v>0.57202167262645898</c:v>
                </c:pt>
                <c:pt idx="14645">
                  <c:v>0.45171491239143202</c:v>
                </c:pt>
                <c:pt idx="14646">
                  <c:v>0.75040755849218899</c:v>
                </c:pt>
                <c:pt idx="14647">
                  <c:v>0.348002188050892</c:v>
                </c:pt>
                <c:pt idx="14648">
                  <c:v>0.44756640341781101</c:v>
                </c:pt>
                <c:pt idx="14649">
                  <c:v>1.45565408400786</c:v>
                </c:pt>
                <c:pt idx="14650">
                  <c:v>0.95368449819964796</c:v>
                </c:pt>
                <c:pt idx="14651">
                  <c:v>0.90805089948980999</c:v>
                </c:pt>
                <c:pt idx="14652">
                  <c:v>0.70892246875597298</c:v>
                </c:pt>
                <c:pt idx="14653">
                  <c:v>1.2399316173795389</c:v>
                </c:pt>
                <c:pt idx="14654">
                  <c:v>1.5718123352692699</c:v>
                </c:pt>
                <c:pt idx="14655">
                  <c:v>1.5012876827177</c:v>
                </c:pt>
                <c:pt idx="14656">
                  <c:v>1.4017234673507799</c:v>
                </c:pt>
                <c:pt idx="14657">
                  <c:v>1.4432085570869999</c:v>
                </c:pt>
                <c:pt idx="14658">
                  <c:v>1.6755250596098099</c:v>
                </c:pt>
                <c:pt idx="14659">
                  <c:v>1.3560898686409499</c:v>
                </c:pt>
                <c:pt idx="14660">
                  <c:v>1.3560898686409499</c:v>
                </c:pt>
                <c:pt idx="14661">
                  <c:v>1.3768324135090499</c:v>
                </c:pt>
                <c:pt idx="14662">
                  <c:v>1.4929906647704601</c:v>
                </c:pt>
                <c:pt idx="14663">
                  <c:v>1.3809809224826799</c:v>
                </c:pt>
                <c:pt idx="14664">
                  <c:v>1.3851294314563001</c:v>
                </c:pt>
                <c:pt idx="14665">
                  <c:v>1.47224811990235</c:v>
                </c:pt>
                <c:pt idx="14666">
                  <c:v>1.5054361916913199</c:v>
                </c:pt>
                <c:pt idx="14667">
                  <c:v>1.45150557503424</c:v>
                </c:pt>
                <c:pt idx="14668">
                  <c:v>1.58425786219013</c:v>
                </c:pt>
                <c:pt idx="14669">
                  <c:v>1.6547825147416999</c:v>
                </c:pt>
                <c:pt idx="14670">
                  <c:v>1.5718123352692699</c:v>
                </c:pt>
                <c:pt idx="14671">
                  <c:v>1.5884063711637599</c:v>
                </c:pt>
                <c:pt idx="14672">
                  <c:v>1.4929906647704601</c:v>
                </c:pt>
                <c:pt idx="14673">
                  <c:v>1.39342644940354</c:v>
                </c:pt>
                <c:pt idx="14674">
                  <c:v>1.45980259298149</c:v>
                </c:pt>
                <c:pt idx="14675">
                  <c:v>1.5718123352692699</c:v>
                </c:pt>
                <c:pt idx="14676">
                  <c:v>2.1691976274707798</c:v>
                </c:pt>
                <c:pt idx="14677">
                  <c:v>2.9615628414325101</c:v>
                </c:pt>
                <c:pt idx="14678">
                  <c:v>1.9036930531589991</c:v>
                </c:pt>
                <c:pt idx="14679">
                  <c:v>1.7419012031877601</c:v>
                </c:pt>
                <c:pt idx="14680">
                  <c:v>1.93688112494797</c:v>
                </c:pt>
                <c:pt idx="14681">
                  <c:v>1.79583181984484</c:v>
                </c:pt>
                <c:pt idx="14682">
                  <c:v>1.75434673010862</c:v>
                </c:pt>
                <c:pt idx="14683">
                  <c:v>2.0198513044204001</c:v>
                </c:pt>
                <c:pt idx="14684">
                  <c:v>1.7419012031877601</c:v>
                </c:pt>
                <c:pt idx="14685">
                  <c:v>1.6755250596098099</c:v>
                </c:pt>
                <c:pt idx="14686">
                  <c:v>1.68797058653067</c:v>
                </c:pt>
                <c:pt idx="14687">
                  <c:v>1.6547825147416999</c:v>
                </c:pt>
                <c:pt idx="14688">
                  <c:v>1.77508927497673</c:v>
                </c:pt>
                <c:pt idx="14689">
                  <c:v>1.60085189808462</c:v>
                </c:pt>
                <c:pt idx="14690">
                  <c:v>1.7875348018975901</c:v>
                </c:pt>
                <c:pt idx="14691">
                  <c:v>1.8912475262381301</c:v>
                </c:pt>
                <c:pt idx="14692">
                  <c:v>1.5593668083484</c:v>
                </c:pt>
                <c:pt idx="14693">
                  <c:v>1.9742177057105701</c:v>
                </c:pt>
                <c:pt idx="14694">
                  <c:v>1.6755250596098099</c:v>
                </c:pt>
                <c:pt idx="14695">
                  <c:v>1.87880199931727</c:v>
                </c:pt>
                <c:pt idx="14696">
                  <c:v>1.4846936468232199</c:v>
                </c:pt>
                <c:pt idx="14697">
                  <c:v>1.7792377839503499</c:v>
                </c:pt>
                <c:pt idx="14698">
                  <c:v>1.3353473237728399</c:v>
                </c:pt>
                <c:pt idx="14699">
                  <c:v>1.1030308212500299</c:v>
                </c:pt>
                <c:pt idx="14700">
                  <c:v>0.77529861233391895</c:v>
                </c:pt>
                <c:pt idx="14701">
                  <c:v>0.82508072001737798</c:v>
                </c:pt>
                <c:pt idx="14702">
                  <c:v>0.99931809690948603</c:v>
                </c:pt>
                <c:pt idx="14703">
                  <c:v>0.48075447520678399</c:v>
                </c:pt>
                <c:pt idx="14704">
                  <c:v>1.05324871356657</c:v>
                </c:pt>
                <c:pt idx="14705">
                  <c:v>0.717219486703216</c:v>
                </c:pt>
                <c:pt idx="14706">
                  <c:v>0.49734851110126999</c:v>
                </c:pt>
                <c:pt idx="14707">
                  <c:v>0.72136799567683796</c:v>
                </c:pt>
                <c:pt idx="14708">
                  <c:v>0.47245745725954003</c:v>
                </c:pt>
                <c:pt idx="14709">
                  <c:v>0.33555666113002702</c:v>
                </c:pt>
                <c:pt idx="14710">
                  <c:v>0.41852684060245898</c:v>
                </c:pt>
                <c:pt idx="14711">
                  <c:v>0.675734396967</c:v>
                </c:pt>
                <c:pt idx="14712">
                  <c:v>8.6646122712729701E-2</c:v>
                </c:pt>
                <c:pt idx="14713">
                  <c:v>0.62180378030991901</c:v>
                </c:pt>
                <c:pt idx="14714">
                  <c:v>0.61765527133629705</c:v>
                </c:pt>
                <c:pt idx="14715">
                  <c:v>0.75040755849218899</c:v>
                </c:pt>
                <c:pt idx="14716">
                  <c:v>0.52638807391662101</c:v>
                </c:pt>
                <c:pt idx="14717">
                  <c:v>0.35629920599813503</c:v>
                </c:pt>
                <c:pt idx="14718">
                  <c:v>0.50564552904851301</c:v>
                </c:pt>
                <c:pt idx="14719">
                  <c:v>0.26503200857845899</c:v>
                </c:pt>
                <c:pt idx="14720">
                  <c:v>0.32311113420916199</c:v>
                </c:pt>
                <c:pt idx="14721">
                  <c:v>0.385338768813486</c:v>
                </c:pt>
                <c:pt idx="14722">
                  <c:v>0.202804373974135</c:v>
                </c:pt>
                <c:pt idx="14723">
                  <c:v>0.16961630218516199</c:v>
                </c:pt>
                <c:pt idx="14724">
                  <c:v>0.44756640341781101</c:v>
                </c:pt>
                <c:pt idx="14725">
                  <c:v>-0.390432409253757</c:v>
                </c:pt>
                <c:pt idx="14726">
                  <c:v>0.35629920599813503</c:v>
                </c:pt>
                <c:pt idx="14727">
                  <c:v>0.248437972683973</c:v>
                </c:pt>
                <c:pt idx="14728">
                  <c:v>0.17791332013240499</c:v>
                </c:pt>
                <c:pt idx="14729">
                  <c:v>0.29822008036743203</c:v>
                </c:pt>
                <c:pt idx="14730">
                  <c:v>-5.8551691364026999E-2</c:v>
                </c:pt>
                <c:pt idx="14731">
                  <c:v>0.70892246875597298</c:v>
                </c:pt>
                <c:pt idx="14732">
                  <c:v>-1.7066601627810801E-2</c:v>
                </c:pt>
                <c:pt idx="14733">
                  <c:v>0.289923062420189</c:v>
                </c:pt>
                <c:pt idx="14734">
                  <c:v>-4.19576554695405E-2</c:v>
                </c:pt>
                <c:pt idx="14735">
                  <c:v>0.55127912775835097</c:v>
                </c:pt>
                <c:pt idx="14736">
                  <c:v>0.14472524834343201</c:v>
                </c:pt>
                <c:pt idx="14737">
                  <c:v>-5.0254673416783698E-2</c:v>
                </c:pt>
                <c:pt idx="14738">
                  <c:v>-0.21204652338802699</c:v>
                </c:pt>
                <c:pt idx="14739">
                  <c:v>0.132279721422568</c:v>
                </c:pt>
                <c:pt idx="14740">
                  <c:v>0.119834194501703</c:v>
                </c:pt>
                <c:pt idx="14741">
                  <c:v>-7.9294236232135107E-2</c:v>
                </c:pt>
                <c:pt idx="14742">
                  <c:v>9.4943140659973002E-2</c:v>
                </c:pt>
                <c:pt idx="14743">
                  <c:v>-0.207898014414405</c:v>
                </c:pt>
                <c:pt idx="14744">
                  <c:v>-0.13737336186283799</c:v>
                </c:pt>
                <c:pt idx="14745">
                  <c:v>-0.31575924772856701</c:v>
                </c:pt>
                <c:pt idx="14746">
                  <c:v>1.61214701611622E-2</c:v>
                </c:pt>
                <c:pt idx="14747">
                  <c:v>9.4943140659973002E-2</c:v>
                </c:pt>
                <c:pt idx="14748">
                  <c:v>3.6759432402973299E-3</c:v>
                </c:pt>
                <c:pt idx="14749">
                  <c:v>-0.100036781100243</c:v>
                </c:pt>
                <c:pt idx="14750">
                  <c:v>-1.29180926541891E-2</c:v>
                </c:pt>
                <c:pt idx="14751">
                  <c:v>1.01176362383035</c:v>
                </c:pt>
                <c:pt idx="14752">
                  <c:v>0.92464493538429704</c:v>
                </c:pt>
                <c:pt idx="14753">
                  <c:v>0.74211054054494596</c:v>
                </c:pt>
                <c:pt idx="14754">
                  <c:v>0.248437972683973</c:v>
                </c:pt>
                <c:pt idx="14755">
                  <c:v>0.36874473291900001</c:v>
                </c:pt>
                <c:pt idx="14756">
                  <c:v>0.29822008036743203</c:v>
                </c:pt>
                <c:pt idx="14757">
                  <c:v>0.64254632517802701</c:v>
                </c:pt>
                <c:pt idx="14758">
                  <c:v>0.33555666113002702</c:v>
                </c:pt>
                <c:pt idx="14759">
                  <c:v>0.41852684060245898</c:v>
                </c:pt>
                <c:pt idx="14760">
                  <c:v>0.69232843286148604</c:v>
                </c:pt>
                <c:pt idx="14761">
                  <c:v>1.11962485714451</c:v>
                </c:pt>
                <c:pt idx="14762">
                  <c:v>0.44756640341781101</c:v>
                </c:pt>
                <c:pt idx="14763">
                  <c:v>0.69232843286148604</c:v>
                </c:pt>
                <c:pt idx="14764">
                  <c:v>1.11962485714451</c:v>
                </c:pt>
                <c:pt idx="14765">
                  <c:v>0.52638807391662101</c:v>
                </c:pt>
                <c:pt idx="14766">
                  <c:v>0.69232843286148604</c:v>
                </c:pt>
                <c:pt idx="14767">
                  <c:v>0.89145686359532395</c:v>
                </c:pt>
                <c:pt idx="14768">
                  <c:v>0.42267534957608099</c:v>
                </c:pt>
                <c:pt idx="14769">
                  <c:v>0.73381352259770205</c:v>
                </c:pt>
                <c:pt idx="14770">
                  <c:v>0.73796203157132401</c:v>
                </c:pt>
                <c:pt idx="14771">
                  <c:v>0.73796203157132401</c:v>
                </c:pt>
                <c:pt idx="14772">
                  <c:v>1.065694240487429</c:v>
                </c:pt>
                <c:pt idx="14773">
                  <c:v>1.32705030582559</c:v>
                </c:pt>
                <c:pt idx="14774">
                  <c:v>0.87901133667445897</c:v>
                </c:pt>
                <c:pt idx="14775">
                  <c:v>0.85826879180635096</c:v>
                </c:pt>
                <c:pt idx="14776">
                  <c:v>0.65914036107251295</c:v>
                </c:pt>
                <c:pt idx="14777">
                  <c:v>0.49734851110126999</c:v>
                </c:pt>
                <c:pt idx="14778">
                  <c:v>0.74211054054494596</c:v>
                </c:pt>
                <c:pt idx="14779">
                  <c:v>0.559576145705594</c:v>
                </c:pt>
                <c:pt idx="14780">
                  <c:v>0.33970517010364898</c:v>
                </c:pt>
                <c:pt idx="14781">
                  <c:v>0.72966501362408098</c:v>
                </c:pt>
                <c:pt idx="14782">
                  <c:v>0.83752624693824296</c:v>
                </c:pt>
                <c:pt idx="14783">
                  <c:v>0.202804373974135</c:v>
                </c:pt>
                <c:pt idx="14784">
                  <c:v>0.54713061878472902</c:v>
                </c:pt>
                <c:pt idx="14785">
                  <c:v>0.31481411626191902</c:v>
                </c:pt>
                <c:pt idx="14786">
                  <c:v>0.34385367907726999</c:v>
                </c:pt>
                <c:pt idx="14787">
                  <c:v>0.52223956494299995</c:v>
                </c:pt>
                <c:pt idx="14788">
                  <c:v>0.44756640341781101</c:v>
                </c:pt>
                <c:pt idx="14789">
                  <c:v>0.47660596623316198</c:v>
                </c:pt>
                <c:pt idx="14790">
                  <c:v>0.348002188050892</c:v>
                </c:pt>
                <c:pt idx="14791">
                  <c:v>0.580318690573702</c:v>
                </c:pt>
                <c:pt idx="14792">
                  <c:v>0.49320000212764797</c:v>
                </c:pt>
                <c:pt idx="14793">
                  <c:v>1.065694240487429</c:v>
                </c:pt>
                <c:pt idx="14794">
                  <c:v>0.76700159438667503</c:v>
                </c:pt>
                <c:pt idx="14795">
                  <c:v>0.82508072001737798</c:v>
                </c:pt>
                <c:pt idx="14796">
                  <c:v>0.76285308541305397</c:v>
                </c:pt>
                <c:pt idx="14797">
                  <c:v>1.0200606417775899</c:v>
                </c:pt>
                <c:pt idx="14798">
                  <c:v>0.80848668412289104</c:v>
                </c:pt>
                <c:pt idx="14799">
                  <c:v>0.16961630218516199</c:v>
                </c:pt>
                <c:pt idx="14800">
                  <c:v>0.66743737901975697</c:v>
                </c:pt>
                <c:pt idx="14801">
                  <c:v>9.4943140659973002E-2</c:v>
                </c:pt>
                <c:pt idx="14802">
                  <c:v>0.74211054054494596</c:v>
                </c:pt>
                <c:pt idx="14803">
                  <c:v>6.1755068870999998E-2</c:v>
                </c:pt>
                <c:pt idx="14804">
                  <c:v>0.89560537256894601</c:v>
                </c:pt>
                <c:pt idx="14805">
                  <c:v>0.35215069702451302</c:v>
                </c:pt>
                <c:pt idx="14806">
                  <c:v>0.60520974441543196</c:v>
                </c:pt>
                <c:pt idx="14807">
                  <c:v>0.58446719954732396</c:v>
                </c:pt>
                <c:pt idx="14808">
                  <c:v>0.74211054054494596</c:v>
                </c:pt>
                <c:pt idx="14809">
                  <c:v>0.348002188050892</c:v>
                </c:pt>
                <c:pt idx="14810">
                  <c:v>5.34580509237568E-2</c:v>
                </c:pt>
                <c:pt idx="14811">
                  <c:v>0.49320000212764797</c:v>
                </c:pt>
                <c:pt idx="14812">
                  <c:v>0.87071431872721605</c:v>
                </c:pt>
                <c:pt idx="14813">
                  <c:v>0.51809105596937799</c:v>
                </c:pt>
                <c:pt idx="14814">
                  <c:v>3.6864015029270301E-2</c:v>
                </c:pt>
                <c:pt idx="14815">
                  <c:v>8.2497613739108105E-2</c:v>
                </c:pt>
                <c:pt idx="14816">
                  <c:v>9.4943140659973002E-2</c:v>
                </c:pt>
                <c:pt idx="14817">
                  <c:v>-4.19576554695405E-2</c:v>
                </c:pt>
                <c:pt idx="14818">
                  <c:v>0.173764811158784</c:v>
                </c:pt>
                <c:pt idx="14819">
                  <c:v>0.36044771497175698</c:v>
                </c:pt>
                <c:pt idx="14820">
                  <c:v>0.14472524834343201</c:v>
                </c:pt>
                <c:pt idx="14821">
                  <c:v>0.27747753549932402</c:v>
                </c:pt>
                <c:pt idx="14822">
                  <c:v>4.5161032976513499E-2</c:v>
                </c:pt>
                <c:pt idx="14823">
                  <c:v>5.7606559897378402E-2</c:v>
                </c:pt>
                <c:pt idx="14824">
                  <c:v>-0.11248230802110799</c:v>
                </c:pt>
                <c:pt idx="14825">
                  <c:v>-0.100036781100243</c:v>
                </c:pt>
                <c:pt idx="14826">
                  <c:v>0.24014095473673</c:v>
                </c:pt>
                <c:pt idx="14827">
                  <c:v>0.12813121244894601</c:v>
                </c:pt>
                <c:pt idx="14828">
                  <c:v>0.25258648165759501</c:v>
                </c:pt>
                <c:pt idx="14829">
                  <c:v>0.13642823039618901</c:v>
                </c:pt>
                <c:pt idx="14830">
                  <c:v>-7.9294236232135107E-2</c:v>
                </c:pt>
                <c:pt idx="14831">
                  <c:v>0.107388667580838</c:v>
                </c:pt>
                <c:pt idx="14832">
                  <c:v>2.0269979134783799E-2</c:v>
                </c:pt>
                <c:pt idx="14833">
                  <c:v>-9.1739763152999906E-2</c:v>
                </c:pt>
                <c:pt idx="14834">
                  <c:v>-0.18300696057267599</c:v>
                </c:pt>
                <c:pt idx="14835">
                  <c:v>-0.129076343915595</c:v>
                </c:pt>
                <c:pt idx="14836">
                  <c:v>-0.32820477464943199</c:v>
                </c:pt>
                <c:pt idx="14837">
                  <c:v>-0.129076343915595</c:v>
                </c:pt>
                <c:pt idx="14838">
                  <c:v>-0.104185290073865</c:v>
                </c:pt>
                <c:pt idx="14839">
                  <c:v>-0.19960099646716201</c:v>
                </c:pt>
                <c:pt idx="14840">
                  <c:v>-0.22864055928251301</c:v>
                </c:pt>
                <c:pt idx="14841">
                  <c:v>-0.25353161312424299</c:v>
                </c:pt>
                <c:pt idx="14842">
                  <c:v>-6.2700200337648601E-2</c:v>
                </c:pt>
                <c:pt idx="14843">
                  <c:v>0.13642823039618901</c:v>
                </c:pt>
                <c:pt idx="14844">
                  <c:v>7.8349104765486496E-2</c:v>
                </c:pt>
                <c:pt idx="14845">
                  <c:v>8.6646122712729701E-2</c:v>
                </c:pt>
                <c:pt idx="14846">
                  <c:v>5.34580509237568E-2</c:v>
                </c:pt>
                <c:pt idx="14847">
                  <c:v>-2.95121285486756E-2</c:v>
                </c:pt>
                <c:pt idx="14848">
                  <c:v>-0.236937577229757</c:v>
                </c:pt>
                <c:pt idx="14849">
                  <c:v>-0.25768012209786501</c:v>
                </c:pt>
                <c:pt idx="14850">
                  <c:v>3.6864015029270301E-2</c:v>
                </c:pt>
                <c:pt idx="14851">
                  <c:v>0.132279721422568</c:v>
                </c:pt>
                <c:pt idx="14852">
                  <c:v>0.25258648165759501</c:v>
                </c:pt>
                <c:pt idx="14853">
                  <c:v>0.27332902652570301</c:v>
                </c:pt>
                <c:pt idx="14854">
                  <c:v>0.219398409868622</c:v>
                </c:pt>
                <c:pt idx="14855">
                  <c:v>0.70892246875597298</c:v>
                </c:pt>
                <c:pt idx="14856">
                  <c:v>0.57202167262645898</c:v>
                </c:pt>
                <c:pt idx="14857">
                  <c:v>0.36874473291900001</c:v>
                </c:pt>
                <c:pt idx="14858">
                  <c:v>0.50979403802213497</c:v>
                </c:pt>
                <c:pt idx="14859">
                  <c:v>0.58446719954732396</c:v>
                </c:pt>
                <c:pt idx="14860">
                  <c:v>0.57202167262645898</c:v>
                </c:pt>
                <c:pt idx="14861">
                  <c:v>0.68817992388786497</c:v>
                </c:pt>
                <c:pt idx="14862">
                  <c:v>0.675734396967</c:v>
                </c:pt>
                <c:pt idx="14863">
                  <c:v>1.2980107430102401</c:v>
                </c:pt>
                <c:pt idx="14864">
                  <c:v>1.20674354559057</c:v>
                </c:pt>
                <c:pt idx="14865">
                  <c:v>1.3768324135090499</c:v>
                </c:pt>
                <c:pt idx="14866">
                  <c:v>1.4058719763244001</c:v>
                </c:pt>
                <c:pt idx="14867">
                  <c:v>1.0698427494610501</c:v>
                </c:pt>
                <c:pt idx="14868">
                  <c:v>1.37268390453543</c:v>
                </c:pt>
                <c:pt idx="14869">
                  <c:v>1.0988823122764</c:v>
                </c:pt>
                <c:pt idx="14870">
                  <c:v>1.0739912584346789</c:v>
                </c:pt>
                <c:pt idx="14871">
                  <c:v>1.16110994688073</c:v>
                </c:pt>
                <c:pt idx="14872">
                  <c:v>1.11547634817089</c:v>
                </c:pt>
                <c:pt idx="14873">
                  <c:v>1.22748609045868</c:v>
                </c:pt>
                <c:pt idx="14874">
                  <c:v>1.0739912584346789</c:v>
                </c:pt>
                <c:pt idx="14875">
                  <c:v>1.30630776095749</c:v>
                </c:pt>
                <c:pt idx="14876">
                  <c:v>1.1942980186697001</c:v>
                </c:pt>
                <c:pt idx="14877">
                  <c:v>1.3851294314563001</c:v>
                </c:pt>
                <c:pt idx="14878">
                  <c:v>1.58425786219013</c:v>
                </c:pt>
                <c:pt idx="14879">
                  <c:v>1.45150557503424</c:v>
                </c:pt>
                <c:pt idx="14880">
                  <c:v>1.3187532878783499</c:v>
                </c:pt>
                <c:pt idx="14881">
                  <c:v>1.4058719763244001</c:v>
                </c:pt>
                <c:pt idx="14882">
                  <c:v>1.0988823122764</c:v>
                </c:pt>
                <c:pt idx="14883">
                  <c:v>1.17770398277522</c:v>
                </c:pt>
                <c:pt idx="14884">
                  <c:v>1.17770398277522</c:v>
                </c:pt>
                <c:pt idx="14885">
                  <c:v>0.97857555204137803</c:v>
                </c:pt>
                <c:pt idx="14886">
                  <c:v>1.09473380330278</c:v>
                </c:pt>
                <c:pt idx="14887">
                  <c:v>1.18600100072246</c:v>
                </c:pt>
                <c:pt idx="14888">
                  <c:v>1.22748609045868</c:v>
                </c:pt>
                <c:pt idx="14889">
                  <c:v>0.78774413925478304</c:v>
                </c:pt>
                <c:pt idx="14890">
                  <c:v>0.96198151614689098</c:v>
                </c:pt>
                <c:pt idx="14891">
                  <c:v>1.0034666058831101</c:v>
                </c:pt>
                <c:pt idx="14892">
                  <c:v>1.0864367853555399</c:v>
                </c:pt>
                <c:pt idx="14893">
                  <c:v>1.09473380330278</c:v>
                </c:pt>
                <c:pt idx="14894">
                  <c:v>1.1237733661181299</c:v>
                </c:pt>
                <c:pt idx="14895">
                  <c:v>1.5095847006649501</c:v>
                </c:pt>
                <c:pt idx="14896">
                  <c:v>1.20259503661695</c:v>
                </c:pt>
                <c:pt idx="14897">
                  <c:v>1.18185249174884</c:v>
                </c:pt>
                <c:pt idx="14898">
                  <c:v>1.03665467767208</c:v>
                </c:pt>
                <c:pt idx="14899">
                  <c:v>1.11547634817089</c:v>
                </c:pt>
                <c:pt idx="14900">
                  <c:v>0.87901133667445897</c:v>
                </c:pt>
                <c:pt idx="14901">
                  <c:v>1.2399316173795389</c:v>
                </c:pt>
                <c:pt idx="14902">
                  <c:v>1.5593668083484</c:v>
                </c:pt>
                <c:pt idx="14903">
                  <c:v>0.812635193096513</c:v>
                </c:pt>
                <c:pt idx="14904">
                  <c:v>1.18185249174884</c:v>
                </c:pt>
                <c:pt idx="14905">
                  <c:v>1.1320703840653801</c:v>
                </c:pt>
                <c:pt idx="14906">
                  <c:v>1.18600100072246</c:v>
                </c:pt>
                <c:pt idx="14907">
                  <c:v>0.35215069702451302</c:v>
                </c:pt>
                <c:pt idx="14908">
                  <c:v>1.3602383776145699</c:v>
                </c:pt>
                <c:pt idx="14909">
                  <c:v>0.92464493538429704</c:v>
                </c:pt>
                <c:pt idx="14910">
                  <c:v>0.78359563028116197</c:v>
                </c:pt>
                <c:pt idx="14911">
                  <c:v>0.91219940846343195</c:v>
                </c:pt>
                <c:pt idx="14912">
                  <c:v>0.31066560728829701</c:v>
                </c:pt>
                <c:pt idx="14913">
                  <c:v>0.84167475591186403</c:v>
                </c:pt>
                <c:pt idx="14914">
                  <c:v>0.57617018160008104</c:v>
                </c:pt>
                <c:pt idx="14915">
                  <c:v>1.0822882763819199</c:v>
                </c:pt>
                <c:pt idx="14916">
                  <c:v>0.78359563028116197</c:v>
                </c:pt>
                <c:pt idx="14917">
                  <c:v>0.26503200857845899</c:v>
                </c:pt>
                <c:pt idx="14918">
                  <c:v>0.74625904951856703</c:v>
                </c:pt>
                <c:pt idx="14919">
                  <c:v>0.52638807391662101</c:v>
                </c:pt>
                <c:pt idx="14920">
                  <c:v>0.202804373974135</c:v>
                </c:pt>
                <c:pt idx="14921">
                  <c:v>0.47660596623316198</c:v>
                </c:pt>
                <c:pt idx="14922">
                  <c:v>0.289923062420189</c:v>
                </c:pt>
                <c:pt idx="14923">
                  <c:v>0.26088349960483798</c:v>
                </c:pt>
                <c:pt idx="14924">
                  <c:v>-0.17470994262543199</c:v>
                </c:pt>
                <c:pt idx="14925">
                  <c:v>-4.7256573332428599E-4</c:v>
                </c:pt>
                <c:pt idx="14926">
                  <c:v>0.16546779321154101</c:v>
                </c:pt>
                <c:pt idx="14927">
                  <c:v>-0.20374950544078399</c:v>
                </c:pt>
                <c:pt idx="14928">
                  <c:v>0.18621033807964901</c:v>
                </c:pt>
                <c:pt idx="14929">
                  <c:v>0.33970517010364898</c:v>
                </c:pt>
                <c:pt idx="14930">
                  <c:v>6.59035778446216E-2</c:v>
                </c:pt>
                <c:pt idx="14931">
                  <c:v>0.26503200857845899</c:v>
                </c:pt>
                <c:pt idx="14932">
                  <c:v>0.29407157139381102</c:v>
                </c:pt>
                <c:pt idx="14933">
                  <c:v>0.23599244576310799</c:v>
                </c:pt>
                <c:pt idx="14934">
                  <c:v>7.8244522139189494E-3</c:v>
                </c:pt>
                <c:pt idx="14935">
                  <c:v>7.8349104765486496E-2</c:v>
                </c:pt>
                <c:pt idx="14936">
                  <c:v>-3.7809146495918898E-2</c:v>
                </c:pt>
                <c:pt idx="14937">
                  <c:v>3.6759432402973299E-3</c:v>
                </c:pt>
                <c:pt idx="14938">
                  <c:v>0.211101391921378</c:v>
                </c:pt>
                <c:pt idx="14939">
                  <c:v>0.73796203157132401</c:v>
                </c:pt>
                <c:pt idx="14940">
                  <c:v>0.72551650465045903</c:v>
                </c:pt>
                <c:pt idx="14941">
                  <c:v>1.2108920545641899</c:v>
                </c:pt>
                <c:pt idx="14942">
                  <c:v>0.81678370207013495</c:v>
                </c:pt>
                <c:pt idx="14943">
                  <c:v>1.0076151148567301</c:v>
                </c:pt>
                <c:pt idx="14944">
                  <c:v>0.93294195333153995</c:v>
                </c:pt>
                <c:pt idx="14945">
                  <c:v>1.18600100072246</c:v>
                </c:pt>
                <c:pt idx="14946">
                  <c:v>1.1694069648279699</c:v>
                </c:pt>
                <c:pt idx="14947">
                  <c:v>1.09473380330278</c:v>
                </c:pt>
                <c:pt idx="14948">
                  <c:v>1.03250616869846</c:v>
                </c:pt>
                <c:pt idx="14949">
                  <c:v>1.5137332096385701</c:v>
                </c:pt>
                <c:pt idx="14950">
                  <c:v>1.20674354559057</c:v>
                </c:pt>
                <c:pt idx="14951">
                  <c:v>1.3394958327464599</c:v>
                </c:pt>
                <c:pt idx="14952">
                  <c:v>1.36853539556181</c:v>
                </c:pt>
                <c:pt idx="14953">
                  <c:v>1.2399316173795389</c:v>
                </c:pt>
                <c:pt idx="14954">
                  <c:v>1.3602383776145699</c:v>
                </c:pt>
                <c:pt idx="14955">
                  <c:v>1.6381884788472201</c:v>
                </c:pt>
                <c:pt idx="14956">
                  <c:v>1.6091489160318599</c:v>
                </c:pt>
                <c:pt idx="14957">
                  <c:v>1.45565408400786</c:v>
                </c:pt>
                <c:pt idx="14958">
                  <c:v>1.52203022758581</c:v>
                </c:pt>
                <c:pt idx="14959">
                  <c:v>1.43491153913976</c:v>
                </c:pt>
                <c:pt idx="14960">
                  <c:v>1.4017234673507799</c:v>
                </c:pt>
                <c:pt idx="14961">
                  <c:v>1.5137332096385701</c:v>
                </c:pt>
                <c:pt idx="14962">
                  <c:v>1.41002048529803</c:v>
                </c:pt>
                <c:pt idx="14963">
                  <c:v>1.5552182993747801</c:v>
                </c:pt>
                <c:pt idx="14964">
                  <c:v>1.5967033891110001</c:v>
                </c:pt>
                <c:pt idx="14965">
                  <c:v>1.5054361916913199</c:v>
                </c:pt>
                <c:pt idx="14966">
                  <c:v>1.5759608442428901</c:v>
                </c:pt>
                <c:pt idx="14967">
                  <c:v>1.4888421557968401</c:v>
                </c:pt>
                <c:pt idx="14968">
                  <c:v>1.32705030582559</c:v>
                </c:pt>
                <c:pt idx="14969">
                  <c:v>1.5469212814275399</c:v>
                </c:pt>
                <c:pt idx="14970">
                  <c:v>1.28556521608938</c:v>
                </c:pt>
                <c:pt idx="14971">
                  <c:v>1.41831750324527</c:v>
                </c:pt>
                <c:pt idx="14972">
                  <c:v>1.43076303016613</c:v>
                </c:pt>
                <c:pt idx="14973">
                  <c:v>1.3602383776145699</c:v>
                </c:pt>
                <c:pt idx="14974">
                  <c:v>1.32705030582559</c:v>
                </c:pt>
                <c:pt idx="14975">
                  <c:v>1.5095847006649501</c:v>
                </c:pt>
                <c:pt idx="14976">
                  <c:v>1.58010935321651</c:v>
                </c:pt>
                <c:pt idx="14977">
                  <c:v>1.39342644940354</c:v>
                </c:pt>
                <c:pt idx="14978">
                  <c:v>1.48054513784959</c:v>
                </c:pt>
                <c:pt idx="14979">
                  <c:v>1.39342644940354</c:v>
                </c:pt>
                <c:pt idx="14980">
                  <c:v>1.2565256532740301</c:v>
                </c:pt>
                <c:pt idx="14981">
                  <c:v>1.289713725063</c:v>
                </c:pt>
                <c:pt idx="14982">
                  <c:v>1.1901495096960799</c:v>
                </c:pt>
                <c:pt idx="14983">
                  <c:v>1.33119881479922</c:v>
                </c:pt>
                <c:pt idx="14984">
                  <c:v>1.43076303016613</c:v>
                </c:pt>
                <c:pt idx="14985">
                  <c:v>1.43906004811338</c:v>
                </c:pt>
                <c:pt idx="14986">
                  <c:v>1.289713725063</c:v>
                </c:pt>
                <c:pt idx="14987">
                  <c:v>1.1071793302236499</c:v>
                </c:pt>
                <c:pt idx="14988">
                  <c:v>1.0739912584346789</c:v>
                </c:pt>
                <c:pt idx="14989">
                  <c:v>1.18600100072246</c:v>
                </c:pt>
                <c:pt idx="14990">
                  <c:v>1.20259503661695</c:v>
                </c:pt>
                <c:pt idx="14991">
                  <c:v>1.1237733661181299</c:v>
                </c:pt>
                <c:pt idx="14992">
                  <c:v>0.97857555204137803</c:v>
                </c:pt>
                <c:pt idx="14993">
                  <c:v>1.24822863532678</c:v>
                </c:pt>
                <c:pt idx="14994">
                  <c:v>0.970278534094135</c:v>
                </c:pt>
                <c:pt idx="14995">
                  <c:v>0.97442704306775596</c:v>
                </c:pt>
                <c:pt idx="14996">
                  <c:v>1.0698427494610501</c:v>
                </c:pt>
                <c:pt idx="14997">
                  <c:v>0.88730835462170199</c:v>
                </c:pt>
                <c:pt idx="14998">
                  <c:v>0.559576145705594</c:v>
                </c:pt>
                <c:pt idx="14999">
                  <c:v>0.15717077526429701</c:v>
                </c:pt>
                <c:pt idx="15000">
                  <c:v>0.443417894444189</c:v>
                </c:pt>
                <c:pt idx="15001">
                  <c:v>0.51394254699575703</c:v>
                </c:pt>
                <c:pt idx="15002">
                  <c:v>0.29822008036743203</c:v>
                </c:pt>
                <c:pt idx="15003">
                  <c:v>0.56372465467921595</c:v>
                </c:pt>
                <c:pt idx="15004">
                  <c:v>0.89975388154256697</c:v>
                </c:pt>
                <c:pt idx="15005">
                  <c:v>0.202804373974135</c:v>
                </c:pt>
                <c:pt idx="15006">
                  <c:v>0.69232843286148604</c:v>
                </c:pt>
                <c:pt idx="15007">
                  <c:v>0.33970517010364898</c:v>
                </c:pt>
                <c:pt idx="15008">
                  <c:v>0.48490298418040501</c:v>
                </c:pt>
                <c:pt idx="15009">
                  <c:v>0.59276421749456698</c:v>
                </c:pt>
                <c:pt idx="15010">
                  <c:v>0.15717077526429701</c:v>
                </c:pt>
                <c:pt idx="15011">
                  <c:v>0.19450735602689201</c:v>
                </c:pt>
                <c:pt idx="15012">
                  <c:v>2.8566997082027101E-2</c:v>
                </c:pt>
                <c:pt idx="15013">
                  <c:v>-3.3660637522297199E-2</c:v>
                </c:pt>
                <c:pt idx="15014">
                  <c:v>9.4943140659973002E-2</c:v>
                </c:pt>
                <c:pt idx="15015">
                  <c:v>-0.19960099646716201</c:v>
                </c:pt>
                <c:pt idx="15016">
                  <c:v>-8.7695836805675303E-3</c:v>
                </c:pt>
                <c:pt idx="15017">
                  <c:v>0.202804373974135</c:v>
                </c:pt>
                <c:pt idx="15018">
                  <c:v>0.31066560728829701</c:v>
                </c:pt>
                <c:pt idx="15019">
                  <c:v>-0.13322485288921601</c:v>
                </c:pt>
                <c:pt idx="15020">
                  <c:v>-0.15396739775732399</c:v>
                </c:pt>
                <c:pt idx="15021">
                  <c:v>-0.353095828491162</c:v>
                </c:pt>
                <c:pt idx="15022">
                  <c:v>-0.27012564901872999</c:v>
                </c:pt>
                <c:pt idx="15023">
                  <c:v>-0.31575924772856701</c:v>
                </c:pt>
                <c:pt idx="15024">
                  <c:v>-0.27012564901872999</c:v>
                </c:pt>
                <c:pt idx="15025">
                  <c:v>0.43926938547056699</c:v>
                </c:pt>
                <c:pt idx="15026">
                  <c:v>7.8349104765486496E-2</c:v>
                </c:pt>
                <c:pt idx="15027">
                  <c:v>0.26503200857845899</c:v>
                </c:pt>
                <c:pt idx="15028">
                  <c:v>0.103240158607216</c:v>
                </c:pt>
                <c:pt idx="15029">
                  <c:v>0.182061829106027</c:v>
                </c:pt>
                <c:pt idx="15030">
                  <c:v>-2.95121285486756E-2</c:v>
                </c:pt>
                <c:pt idx="15031">
                  <c:v>-0.236937577229757</c:v>
                </c:pt>
                <c:pt idx="15032">
                  <c:v>0.80433817514926997</c:v>
                </c:pt>
                <c:pt idx="15033">
                  <c:v>-0.129076343915595</c:v>
                </c:pt>
                <c:pt idx="15034">
                  <c:v>-0.431917498989973</c:v>
                </c:pt>
                <c:pt idx="15035">
                  <c:v>0.20695288294775699</c:v>
                </c:pt>
                <c:pt idx="15036">
                  <c:v>0.50564552904851301</c:v>
                </c:pt>
                <c:pt idx="15037">
                  <c:v>0.47660596623316198</c:v>
                </c:pt>
                <c:pt idx="15038">
                  <c:v>0.22354691884224301</c:v>
                </c:pt>
                <c:pt idx="15039">
                  <c:v>0.54713061878472902</c:v>
                </c:pt>
                <c:pt idx="15040">
                  <c:v>0.24428946371035101</c:v>
                </c:pt>
                <c:pt idx="15041">
                  <c:v>0.55127912775835097</c:v>
                </c:pt>
                <c:pt idx="15042">
                  <c:v>0.717219486703216</c:v>
                </c:pt>
                <c:pt idx="15043">
                  <c:v>0.71307097772959405</c:v>
                </c:pt>
                <c:pt idx="15044">
                  <c:v>0.57202167262645898</c:v>
                </c:pt>
                <c:pt idx="15045">
                  <c:v>0.50564552904851301</c:v>
                </c:pt>
                <c:pt idx="15046">
                  <c:v>0.80433817514926997</c:v>
                </c:pt>
                <c:pt idx="15047">
                  <c:v>0.94123897127878298</c:v>
                </c:pt>
                <c:pt idx="15048">
                  <c:v>0.84167475591186403</c:v>
                </c:pt>
                <c:pt idx="15049">
                  <c:v>1.3477928506937</c:v>
                </c:pt>
                <c:pt idx="15050">
                  <c:v>1.48054513784959</c:v>
                </c:pt>
                <c:pt idx="15051">
                  <c:v>1.3602383776145699</c:v>
                </c:pt>
                <c:pt idx="15052">
                  <c:v>1.4266145211925101</c:v>
                </c:pt>
                <c:pt idx="15053">
                  <c:v>1.4224660122188899</c:v>
                </c:pt>
                <c:pt idx="15054">
                  <c:v>1.43906004811338</c:v>
                </c:pt>
                <c:pt idx="15055">
                  <c:v>1.54277277245392</c:v>
                </c:pt>
                <c:pt idx="15056">
                  <c:v>1.43491153913976</c:v>
                </c:pt>
                <c:pt idx="15057">
                  <c:v>1.48054513784959</c:v>
                </c:pt>
                <c:pt idx="15058">
                  <c:v>1.5469212814275399</c:v>
                </c:pt>
                <c:pt idx="15059">
                  <c:v>1.5593668083484</c:v>
                </c:pt>
                <c:pt idx="15060">
                  <c:v>1.45980259298149</c:v>
                </c:pt>
                <c:pt idx="15061">
                  <c:v>1.60085189808462</c:v>
                </c:pt>
                <c:pt idx="15062">
                  <c:v>1.6091489160318599</c:v>
                </c:pt>
                <c:pt idx="15063">
                  <c:v>1.8041288377920801</c:v>
                </c:pt>
                <c:pt idx="15064">
                  <c:v>1.6298914608999699</c:v>
                </c:pt>
                <c:pt idx="15065">
                  <c:v>1.60085189808462</c:v>
                </c:pt>
                <c:pt idx="15066">
                  <c:v>1.5925548801373799</c:v>
                </c:pt>
                <c:pt idx="15067">
                  <c:v>1.6547825147416999</c:v>
                </c:pt>
                <c:pt idx="15068">
                  <c:v>1.75434673010862</c:v>
                </c:pt>
                <c:pt idx="15069">
                  <c:v>1.62159444295273</c:v>
                </c:pt>
                <c:pt idx="15070">
                  <c:v>1.5469212814275399</c:v>
                </c:pt>
                <c:pt idx="15071">
                  <c:v>1.37268390453543</c:v>
                </c:pt>
                <c:pt idx="15072">
                  <c:v>1.7170101493460299</c:v>
                </c:pt>
                <c:pt idx="15073">
                  <c:v>1.87465349034365</c:v>
                </c:pt>
                <c:pt idx="15074">
                  <c:v>1.62159444295273</c:v>
                </c:pt>
                <c:pt idx="15075">
                  <c:v>1.62159444295273</c:v>
                </c:pt>
                <c:pt idx="15076">
                  <c:v>1.6589310237153201</c:v>
                </c:pt>
                <c:pt idx="15077">
                  <c:v>1.7999803288184599</c:v>
                </c:pt>
                <c:pt idx="15078">
                  <c:v>1.81657436471295</c:v>
                </c:pt>
                <c:pt idx="15079">
                  <c:v>1.77094076600311</c:v>
                </c:pt>
                <c:pt idx="15080">
                  <c:v>1.5593668083484</c:v>
                </c:pt>
                <c:pt idx="15081">
                  <c:v>1.51788171861219</c:v>
                </c:pt>
                <c:pt idx="15082">
                  <c:v>1.3021592519838601</c:v>
                </c:pt>
                <c:pt idx="15083">
                  <c:v>1.45980259298149</c:v>
                </c:pt>
                <c:pt idx="15084">
                  <c:v>1.4432085570869999</c:v>
                </c:pt>
                <c:pt idx="15085">
                  <c:v>1.31045626993111</c:v>
                </c:pt>
                <c:pt idx="15086">
                  <c:v>1.11962485714451</c:v>
                </c:pt>
                <c:pt idx="15087">
                  <c:v>1.1528129289334901</c:v>
                </c:pt>
                <c:pt idx="15088">
                  <c:v>1.1528129289334901</c:v>
                </c:pt>
                <c:pt idx="15089">
                  <c:v>0.93294195333153995</c:v>
                </c:pt>
                <c:pt idx="15090">
                  <c:v>1.1694069648279699</c:v>
                </c:pt>
                <c:pt idx="15091">
                  <c:v>0.75455606746581105</c:v>
                </c:pt>
                <c:pt idx="15092">
                  <c:v>0.70892246875597298</c:v>
                </c:pt>
                <c:pt idx="15093">
                  <c:v>0.82922922899100004</c:v>
                </c:pt>
                <c:pt idx="15094">
                  <c:v>0.61765527133629705</c:v>
                </c:pt>
                <c:pt idx="15095">
                  <c:v>0.65084334312527004</c:v>
                </c:pt>
                <c:pt idx="15096">
                  <c:v>0.73381352259770205</c:v>
                </c:pt>
                <c:pt idx="15097">
                  <c:v>0.77944712130754001</c:v>
                </c:pt>
                <c:pt idx="15098">
                  <c:v>0.32311113420916199</c:v>
                </c:pt>
                <c:pt idx="15099">
                  <c:v>0.75870457643943201</c:v>
                </c:pt>
                <c:pt idx="15100">
                  <c:v>0.60935825338905403</c:v>
                </c:pt>
                <c:pt idx="15101">
                  <c:v>0.66328887004613502</c:v>
                </c:pt>
                <c:pt idx="15102">
                  <c:v>0.37704175086624298</c:v>
                </c:pt>
                <c:pt idx="15103">
                  <c:v>0.14057673936981099</c:v>
                </c:pt>
                <c:pt idx="15104">
                  <c:v>0.25673499063121602</c:v>
                </c:pt>
                <c:pt idx="15105">
                  <c:v>0.65499185209889199</c:v>
                </c:pt>
                <c:pt idx="15106">
                  <c:v>0.39778429573435098</c:v>
                </c:pt>
                <c:pt idx="15107">
                  <c:v>0.23599244576310799</c:v>
                </c:pt>
                <c:pt idx="15108">
                  <c:v>0.696476941835108</c:v>
                </c:pt>
                <c:pt idx="15109">
                  <c:v>7.8349104765486496E-2</c:v>
                </c:pt>
                <c:pt idx="15110">
                  <c:v>-2.5363619575054001E-2</c:v>
                </c:pt>
                <c:pt idx="15111">
                  <c:v>0.25258648165759501</c:v>
                </c:pt>
                <c:pt idx="15112">
                  <c:v>1.61214701611622E-2</c:v>
                </c:pt>
                <c:pt idx="15113">
                  <c:v>0.132279721422568</c:v>
                </c:pt>
                <c:pt idx="15114">
                  <c:v>0.33140815215640501</c:v>
                </c:pt>
                <c:pt idx="15115">
                  <c:v>-2.1215110601432399E-2</c:v>
                </c:pt>
                <c:pt idx="15116">
                  <c:v>-0.13737336186283799</c:v>
                </c:pt>
                <c:pt idx="15117">
                  <c:v>-0.19960099646716201</c:v>
                </c:pt>
                <c:pt idx="15118">
                  <c:v>-7.9294236232135107E-2</c:v>
                </c:pt>
                <c:pt idx="15119">
                  <c:v>-4.62107470694591E-3</c:v>
                </c:pt>
                <c:pt idx="15120">
                  <c:v>-3.3660637522297199E-2</c:v>
                </c:pt>
                <c:pt idx="15121">
                  <c:v>0.33555666113002702</c:v>
                </c:pt>
                <c:pt idx="15122">
                  <c:v>0.20695288294775699</c:v>
                </c:pt>
                <c:pt idx="15123">
                  <c:v>-0.20374950544078399</c:v>
                </c:pt>
                <c:pt idx="15124">
                  <c:v>-4.6106164443162102E-2</c:v>
                </c:pt>
                <c:pt idx="15125">
                  <c:v>-0.19960099646716201</c:v>
                </c:pt>
                <c:pt idx="15126">
                  <c:v>-0.20374950544078399</c:v>
                </c:pt>
                <c:pt idx="15127">
                  <c:v>5.34580509237568E-2</c:v>
                </c:pt>
                <c:pt idx="15128">
                  <c:v>0.53053658289024297</c:v>
                </c:pt>
                <c:pt idx="15129">
                  <c:v>-0.22034354133527001</c:v>
                </c:pt>
                <c:pt idx="15130">
                  <c:v>-0.274274157992351</c:v>
                </c:pt>
                <c:pt idx="15131">
                  <c:v>7.0052086818243306E-2</c:v>
                </c:pt>
                <c:pt idx="15132">
                  <c:v>0.31481411626191902</c:v>
                </c:pt>
                <c:pt idx="15133">
                  <c:v>0.61765527133629705</c:v>
                </c:pt>
                <c:pt idx="15134">
                  <c:v>0.46830894828591901</c:v>
                </c:pt>
                <c:pt idx="15135">
                  <c:v>0.63010079825716203</c:v>
                </c:pt>
                <c:pt idx="15136">
                  <c:v>0.27332902652570301</c:v>
                </c:pt>
                <c:pt idx="15137">
                  <c:v>0.348002188050892</c:v>
                </c:pt>
                <c:pt idx="15138">
                  <c:v>0.51809105596937799</c:v>
                </c:pt>
                <c:pt idx="15139">
                  <c:v>0.52223956494299995</c:v>
                </c:pt>
                <c:pt idx="15140">
                  <c:v>0.28577455344656699</c:v>
                </c:pt>
                <c:pt idx="15141">
                  <c:v>0.52223956494299995</c:v>
                </c:pt>
                <c:pt idx="15142">
                  <c:v>0.68817992388786497</c:v>
                </c:pt>
                <c:pt idx="15143">
                  <c:v>0.66328887004613502</c:v>
                </c:pt>
                <c:pt idx="15144">
                  <c:v>1.0615457315138099</c:v>
                </c:pt>
                <c:pt idx="15145">
                  <c:v>1.17770398277522</c:v>
                </c:pt>
                <c:pt idx="15146">
                  <c:v>1.92443559802711</c:v>
                </c:pt>
                <c:pt idx="15147">
                  <c:v>1.5676638262956499</c:v>
                </c:pt>
                <c:pt idx="15148">
                  <c:v>1.5012876827177</c:v>
                </c:pt>
                <c:pt idx="15149">
                  <c:v>1.6132974250054899</c:v>
                </c:pt>
                <c:pt idx="15150">
                  <c:v>1.38927794042992</c:v>
                </c:pt>
                <c:pt idx="15151">
                  <c:v>1.62159444295273</c:v>
                </c:pt>
                <c:pt idx="15152">
                  <c:v>1.4058719763244001</c:v>
                </c:pt>
                <c:pt idx="15153">
                  <c:v>1.1735554738015901</c:v>
                </c:pt>
                <c:pt idx="15154">
                  <c:v>1.3809809224826799</c:v>
                </c:pt>
                <c:pt idx="15155">
                  <c:v>1.48054513784959</c:v>
                </c:pt>
                <c:pt idx="15156">
                  <c:v>1.68797058653067</c:v>
                </c:pt>
                <c:pt idx="15157">
                  <c:v>2.0530393762093802</c:v>
                </c:pt>
                <c:pt idx="15158">
                  <c:v>3.1192061824301289</c:v>
                </c:pt>
                <c:pt idx="15159">
                  <c:v>1.93688112494797</c:v>
                </c:pt>
                <c:pt idx="15160">
                  <c:v>1.5925548801373799</c:v>
                </c:pt>
                <c:pt idx="15161">
                  <c:v>1.32705030582559</c:v>
                </c:pt>
                <c:pt idx="15162">
                  <c:v>1.41002048529803</c:v>
                </c:pt>
                <c:pt idx="15163">
                  <c:v>1.3477928506937</c:v>
                </c:pt>
                <c:pt idx="15164">
                  <c:v>1.5344757545066701</c:v>
                </c:pt>
                <c:pt idx="15165">
                  <c:v>1.5510697904011601</c:v>
                </c:pt>
                <c:pt idx="15166">
                  <c:v>1.4432085570869999</c:v>
                </c:pt>
                <c:pt idx="15167">
                  <c:v>1.33119881479922</c:v>
                </c:pt>
                <c:pt idx="15168">
                  <c:v>1.5137332096385701</c:v>
                </c:pt>
                <c:pt idx="15169">
                  <c:v>1.3353473237728399</c:v>
                </c:pt>
                <c:pt idx="15170">
                  <c:v>1.4432085570869999</c:v>
                </c:pt>
                <c:pt idx="15171">
                  <c:v>1.31045626993111</c:v>
                </c:pt>
                <c:pt idx="15172">
                  <c:v>1.49713917374408</c:v>
                </c:pt>
                <c:pt idx="15173">
                  <c:v>1.6298914608999699</c:v>
                </c:pt>
                <c:pt idx="15174">
                  <c:v>1.58010935321651</c:v>
                </c:pt>
                <c:pt idx="15175">
                  <c:v>1.4224660122188899</c:v>
                </c:pt>
                <c:pt idx="15176">
                  <c:v>1.2731196891685099</c:v>
                </c:pt>
                <c:pt idx="15177">
                  <c:v>1.4888421557968401</c:v>
                </c:pt>
                <c:pt idx="15178">
                  <c:v>1.20674354559057</c:v>
                </c:pt>
                <c:pt idx="15179">
                  <c:v>1.5054361916913199</c:v>
                </c:pt>
                <c:pt idx="15180">
                  <c:v>1.20259503661695</c:v>
                </c:pt>
                <c:pt idx="15181">
                  <c:v>1.3021592519838601</c:v>
                </c:pt>
                <c:pt idx="15182">
                  <c:v>1.3394958327464599</c:v>
                </c:pt>
                <c:pt idx="15183">
                  <c:v>1.4058719763244001</c:v>
                </c:pt>
                <c:pt idx="15184">
                  <c:v>1.2357831084059201</c:v>
                </c:pt>
                <c:pt idx="15185">
                  <c:v>1.3187532878783499</c:v>
                </c:pt>
                <c:pt idx="15186">
                  <c:v>1.35194135966732</c:v>
                </c:pt>
                <c:pt idx="15187">
                  <c:v>1.1320703840653801</c:v>
                </c:pt>
                <c:pt idx="15188">
                  <c:v>1.18185249174884</c:v>
                </c:pt>
                <c:pt idx="15189">
                  <c:v>1.0200606417775899</c:v>
                </c:pt>
                <c:pt idx="15190">
                  <c:v>0.37704175086624298</c:v>
                </c:pt>
                <c:pt idx="15191">
                  <c:v>1.3851294314563001</c:v>
                </c:pt>
                <c:pt idx="15192">
                  <c:v>0.84167475591186403</c:v>
                </c:pt>
                <c:pt idx="15193">
                  <c:v>0.66743737901975697</c:v>
                </c:pt>
                <c:pt idx="15194">
                  <c:v>1.0242091507512201</c:v>
                </c:pt>
                <c:pt idx="15195">
                  <c:v>0.812635193096513</c:v>
                </c:pt>
                <c:pt idx="15196">
                  <c:v>0.78774413925478304</c:v>
                </c:pt>
                <c:pt idx="15197">
                  <c:v>1.05324871356657</c:v>
                </c:pt>
                <c:pt idx="15198">
                  <c:v>0.31066560728829701</c:v>
                </c:pt>
                <c:pt idx="15199">
                  <c:v>0.76285308541305397</c:v>
                </c:pt>
                <c:pt idx="15200">
                  <c:v>0.559576145705594</c:v>
                </c:pt>
                <c:pt idx="15201">
                  <c:v>0.31896262523553998</c:v>
                </c:pt>
                <c:pt idx="15202">
                  <c:v>0.66743737901975697</c:v>
                </c:pt>
                <c:pt idx="15203">
                  <c:v>0.40193280470797299</c:v>
                </c:pt>
                <c:pt idx="15204">
                  <c:v>0.580318690573702</c:v>
                </c:pt>
                <c:pt idx="15205">
                  <c:v>0.123982703475324</c:v>
                </c:pt>
                <c:pt idx="15206">
                  <c:v>0.24014095473673</c:v>
                </c:pt>
                <c:pt idx="15207">
                  <c:v>0.47660596623316198</c:v>
                </c:pt>
                <c:pt idx="15208">
                  <c:v>7.0052086818243306E-2</c:v>
                </c:pt>
                <c:pt idx="15209">
                  <c:v>-2.1215110601432399E-2</c:v>
                </c:pt>
                <c:pt idx="15210">
                  <c:v>0.219398409868622</c:v>
                </c:pt>
                <c:pt idx="15211">
                  <c:v>0.248437972683973</c:v>
                </c:pt>
                <c:pt idx="15212">
                  <c:v>0.16961630218516199</c:v>
                </c:pt>
                <c:pt idx="15213">
                  <c:v>1.19729611875406E-2</c:v>
                </c:pt>
                <c:pt idx="15214">
                  <c:v>-2.95121285486756E-2</c:v>
                </c:pt>
                <c:pt idx="15215">
                  <c:v>0.161319284237919</c:v>
                </c:pt>
                <c:pt idx="15216">
                  <c:v>0.31481411626191902</c:v>
                </c:pt>
                <c:pt idx="15217">
                  <c:v>0.39778429573435098</c:v>
                </c:pt>
                <c:pt idx="15218">
                  <c:v>2.4418488108405401E-2</c:v>
                </c:pt>
                <c:pt idx="15219">
                  <c:v>-7.9294236232135107E-2</c:v>
                </c:pt>
                <c:pt idx="15220">
                  <c:v>-0.19545248749353999</c:v>
                </c:pt>
                <c:pt idx="15221">
                  <c:v>-0.16226441570456701</c:v>
                </c:pt>
                <c:pt idx="15222">
                  <c:v>-0.129076343915595</c:v>
                </c:pt>
                <c:pt idx="15223">
                  <c:v>0.60935825338905403</c:v>
                </c:pt>
                <c:pt idx="15224">
                  <c:v>0.53468509186386504</c:v>
                </c:pt>
                <c:pt idx="15225">
                  <c:v>-0.104185290073865</c:v>
                </c:pt>
                <c:pt idx="15226">
                  <c:v>0.182061829106027</c:v>
                </c:pt>
                <c:pt idx="15227">
                  <c:v>0.22354691884224301</c:v>
                </c:pt>
                <c:pt idx="15228">
                  <c:v>0.55127912775835097</c:v>
                </c:pt>
                <c:pt idx="15229">
                  <c:v>0.675734396967</c:v>
                </c:pt>
                <c:pt idx="15230">
                  <c:v>0.48490298418040501</c:v>
                </c:pt>
                <c:pt idx="15231">
                  <c:v>1.0034666058831101</c:v>
                </c:pt>
                <c:pt idx="15232">
                  <c:v>0.53883360083748599</c:v>
                </c:pt>
                <c:pt idx="15233">
                  <c:v>0.58446719954732396</c:v>
                </c:pt>
                <c:pt idx="15234">
                  <c:v>4.1012524002891897E-2</c:v>
                </c:pt>
                <c:pt idx="15235">
                  <c:v>0.18621033807964901</c:v>
                </c:pt>
                <c:pt idx="15236">
                  <c:v>0.82093221104375602</c:v>
                </c:pt>
                <c:pt idx="15237">
                  <c:v>0.84167475591186403</c:v>
                </c:pt>
                <c:pt idx="15238">
                  <c:v>0.50149702007489205</c:v>
                </c:pt>
                <c:pt idx="15239">
                  <c:v>0.87486282770083701</c:v>
                </c:pt>
                <c:pt idx="15240">
                  <c:v>1.0698427494610501</c:v>
                </c:pt>
                <c:pt idx="15241">
                  <c:v>0.94123897127878298</c:v>
                </c:pt>
                <c:pt idx="15242">
                  <c:v>1.31045626993111</c:v>
                </c:pt>
                <c:pt idx="15243">
                  <c:v>1.47639662887597</c:v>
                </c:pt>
                <c:pt idx="15244">
                  <c:v>1.43906004811338</c:v>
                </c:pt>
                <c:pt idx="15245">
                  <c:v>1.41831750324527</c:v>
                </c:pt>
                <c:pt idx="15246">
                  <c:v>1.37268390453543</c:v>
                </c:pt>
                <c:pt idx="15247">
                  <c:v>1.58010935321651</c:v>
                </c:pt>
                <c:pt idx="15248">
                  <c:v>1.49713917374408</c:v>
                </c:pt>
                <c:pt idx="15249">
                  <c:v>1.48054513784959</c:v>
                </c:pt>
                <c:pt idx="15250">
                  <c:v>1.5261787365594299</c:v>
                </c:pt>
                <c:pt idx="15251">
                  <c:v>1.62159444295273</c:v>
                </c:pt>
                <c:pt idx="15252">
                  <c:v>1.5676638262956499</c:v>
                </c:pt>
                <c:pt idx="15253">
                  <c:v>1.5676638262956499</c:v>
                </c:pt>
                <c:pt idx="15254">
                  <c:v>1.47224811990235</c:v>
                </c:pt>
                <c:pt idx="15255">
                  <c:v>1.6962676044779199</c:v>
                </c:pt>
                <c:pt idx="15256">
                  <c:v>1.8248713826601899</c:v>
                </c:pt>
                <c:pt idx="15257">
                  <c:v>1.39342644940354</c:v>
                </c:pt>
                <c:pt idx="15258">
                  <c:v>1.41831750324527</c:v>
                </c:pt>
                <c:pt idx="15259">
                  <c:v>1.7667922570294901</c:v>
                </c:pt>
                <c:pt idx="15260">
                  <c:v>1.5593668083484</c:v>
                </c:pt>
                <c:pt idx="15261">
                  <c:v>1.49713917374408</c:v>
                </c:pt>
                <c:pt idx="15262">
                  <c:v>1.5884063711637599</c:v>
                </c:pt>
                <c:pt idx="15263">
                  <c:v>1.4680996109287301</c:v>
                </c:pt>
                <c:pt idx="15264">
                  <c:v>1.47224811990235</c:v>
                </c:pt>
                <c:pt idx="15265">
                  <c:v>1.7377526942141299</c:v>
                </c:pt>
                <c:pt idx="15266">
                  <c:v>1.5925548801373799</c:v>
                </c:pt>
                <c:pt idx="15267">
                  <c:v>1.4639511019551099</c:v>
                </c:pt>
                <c:pt idx="15268">
                  <c:v>1.45980259298149</c:v>
                </c:pt>
                <c:pt idx="15269">
                  <c:v>1.70871313139878</c:v>
                </c:pt>
                <c:pt idx="15270">
                  <c:v>1.4058719763244001</c:v>
                </c:pt>
                <c:pt idx="15271">
                  <c:v>1.4017234673507799</c:v>
                </c:pt>
                <c:pt idx="15272">
                  <c:v>1.3229017968519701</c:v>
                </c:pt>
                <c:pt idx="15273">
                  <c:v>1.43906004811338</c:v>
                </c:pt>
                <c:pt idx="15274">
                  <c:v>1.0408031866456999</c:v>
                </c:pt>
                <c:pt idx="15275">
                  <c:v>1.19844652764332</c:v>
                </c:pt>
                <c:pt idx="15276">
                  <c:v>1.2399316173795389</c:v>
                </c:pt>
                <c:pt idx="15277">
                  <c:v>1.09473380330278</c:v>
                </c:pt>
                <c:pt idx="15278">
                  <c:v>1.1528129289334901</c:v>
                </c:pt>
                <c:pt idx="15279">
                  <c:v>0.68817992388786497</c:v>
                </c:pt>
                <c:pt idx="15280">
                  <c:v>0.82093221104375602</c:v>
                </c:pt>
                <c:pt idx="15281">
                  <c:v>0.80848668412289104</c:v>
                </c:pt>
                <c:pt idx="15282">
                  <c:v>0.82508072001737798</c:v>
                </c:pt>
                <c:pt idx="15283">
                  <c:v>1.0615457315138099</c:v>
                </c:pt>
                <c:pt idx="15284">
                  <c:v>0.53883360083748599</c:v>
                </c:pt>
                <c:pt idx="15285">
                  <c:v>0.74211054054494596</c:v>
                </c:pt>
                <c:pt idx="15286">
                  <c:v>0.37289324189262102</c:v>
                </c:pt>
                <c:pt idx="15287">
                  <c:v>0.41852684060245898</c:v>
                </c:pt>
                <c:pt idx="15288">
                  <c:v>0.601061235441811</c:v>
                </c:pt>
                <c:pt idx="15289">
                  <c:v>0.28577455344656699</c:v>
                </c:pt>
                <c:pt idx="15290">
                  <c:v>0.406081313681594</c:v>
                </c:pt>
                <c:pt idx="15291">
                  <c:v>0.42682385854970301</c:v>
                </c:pt>
                <c:pt idx="15292">
                  <c:v>0.56787316365283802</c:v>
                </c:pt>
                <c:pt idx="15293">
                  <c:v>0.36044771497175698</c:v>
                </c:pt>
                <c:pt idx="15294">
                  <c:v>0.14472524834343201</c:v>
                </c:pt>
                <c:pt idx="15295">
                  <c:v>0.464160439312297</c:v>
                </c:pt>
                <c:pt idx="15296">
                  <c:v>0.43926938547056699</c:v>
                </c:pt>
                <c:pt idx="15297">
                  <c:v>0.173764811158784</c:v>
                </c:pt>
                <c:pt idx="15298">
                  <c:v>0.59276421749456698</c:v>
                </c:pt>
                <c:pt idx="15299">
                  <c:v>0.14057673936981099</c:v>
                </c:pt>
                <c:pt idx="15300">
                  <c:v>-0.27012564901872999</c:v>
                </c:pt>
                <c:pt idx="15301">
                  <c:v>-0.16641292467818899</c:v>
                </c:pt>
                <c:pt idx="15302">
                  <c:v>-0.14567037981008099</c:v>
                </c:pt>
                <c:pt idx="15303">
                  <c:v>-0.32820477464943199</c:v>
                </c:pt>
                <c:pt idx="15304">
                  <c:v>4.1012524002891897E-2</c:v>
                </c:pt>
                <c:pt idx="15305">
                  <c:v>-9.5888272126621502E-2</c:v>
                </c:pt>
                <c:pt idx="15306">
                  <c:v>-0.274274157992351</c:v>
                </c:pt>
                <c:pt idx="15307">
                  <c:v>-0.216195032361649</c:v>
                </c:pt>
                <c:pt idx="15308">
                  <c:v>-0.29086819388683799</c:v>
                </c:pt>
                <c:pt idx="15309">
                  <c:v>-0.26182863107148602</c:v>
                </c:pt>
                <c:pt idx="15310">
                  <c:v>-3.3660637522297199E-2</c:v>
                </c:pt>
                <c:pt idx="15311">
                  <c:v>-0.469254079752567</c:v>
                </c:pt>
                <c:pt idx="15312">
                  <c:v>-0.42776899001635099</c:v>
                </c:pt>
                <c:pt idx="15313">
                  <c:v>0.32311113420916199</c:v>
                </c:pt>
                <c:pt idx="15314">
                  <c:v>0.71307097772959405</c:v>
                </c:pt>
                <c:pt idx="15315">
                  <c:v>-0.13737336186283799</c:v>
                </c:pt>
                <c:pt idx="15316">
                  <c:v>-0.120779325968351</c:v>
                </c:pt>
                <c:pt idx="15317">
                  <c:v>-0.187155469546297</c:v>
                </c:pt>
                <c:pt idx="15318">
                  <c:v>0.123982703475324</c:v>
                </c:pt>
                <c:pt idx="15319">
                  <c:v>-9.1739763152999906E-2</c:v>
                </c:pt>
                <c:pt idx="15320">
                  <c:v>0.53053658289024297</c:v>
                </c:pt>
                <c:pt idx="15321">
                  <c:v>-3.7809146495918898E-2</c:v>
                </c:pt>
                <c:pt idx="15322">
                  <c:v>-0.120779325968351</c:v>
                </c:pt>
                <c:pt idx="15323">
                  <c:v>6.59035778446216E-2</c:v>
                </c:pt>
                <c:pt idx="15324">
                  <c:v>0.385338768813486</c:v>
                </c:pt>
                <c:pt idx="15325">
                  <c:v>0.48490298418040501</c:v>
                </c:pt>
                <c:pt idx="15326">
                  <c:v>0.173764811158784</c:v>
                </c:pt>
                <c:pt idx="15327">
                  <c:v>0.601061235441811</c:v>
                </c:pt>
                <c:pt idx="15328">
                  <c:v>0.48075447520678399</c:v>
                </c:pt>
                <c:pt idx="15329">
                  <c:v>0.47245745725954003</c:v>
                </c:pt>
                <c:pt idx="15330">
                  <c:v>0.53053658289024297</c:v>
                </c:pt>
                <c:pt idx="15331">
                  <c:v>0.46001193033867499</c:v>
                </c:pt>
                <c:pt idx="15332">
                  <c:v>0.22769542781586499</c:v>
                </c:pt>
                <c:pt idx="15333">
                  <c:v>0.67988290594062095</c:v>
                </c:pt>
                <c:pt idx="15334">
                  <c:v>0.66743737901975697</c:v>
                </c:pt>
                <c:pt idx="15335">
                  <c:v>0.60935825338905403</c:v>
                </c:pt>
                <c:pt idx="15336">
                  <c:v>0.93709046230516202</c:v>
                </c:pt>
                <c:pt idx="15337">
                  <c:v>1.2938622340366199</c:v>
                </c:pt>
                <c:pt idx="15338">
                  <c:v>1.3768324135090499</c:v>
                </c:pt>
                <c:pt idx="15339">
                  <c:v>1.4888421557968401</c:v>
                </c:pt>
                <c:pt idx="15340">
                  <c:v>1.4680996109287301</c:v>
                </c:pt>
                <c:pt idx="15341">
                  <c:v>1.5884063711637599</c:v>
                </c:pt>
                <c:pt idx="15342">
                  <c:v>1.45980259298149</c:v>
                </c:pt>
                <c:pt idx="15343">
                  <c:v>1.45150557503424</c:v>
                </c:pt>
                <c:pt idx="15344">
                  <c:v>1.5552182993747801</c:v>
                </c:pt>
                <c:pt idx="15345">
                  <c:v>1.7211586583196501</c:v>
                </c:pt>
                <c:pt idx="15346">
                  <c:v>1.5137332096385701</c:v>
                </c:pt>
                <c:pt idx="15347">
                  <c:v>1.4639511019551099</c:v>
                </c:pt>
                <c:pt idx="15348">
                  <c:v>1.54277277245392</c:v>
                </c:pt>
                <c:pt idx="15349">
                  <c:v>1.3975749583771599</c:v>
                </c:pt>
                <c:pt idx="15350">
                  <c:v>1.4680996109287301</c:v>
                </c:pt>
                <c:pt idx="15351">
                  <c:v>1.7833862929239701</c:v>
                </c:pt>
                <c:pt idx="15352">
                  <c:v>1.5759608442428901</c:v>
                </c:pt>
                <c:pt idx="15353">
                  <c:v>1.43491153913976</c:v>
                </c:pt>
                <c:pt idx="15354">
                  <c:v>1.6174459339791101</c:v>
                </c:pt>
                <c:pt idx="15355">
                  <c:v>1.62159444295273</c:v>
                </c:pt>
                <c:pt idx="15356">
                  <c:v>1.6298914608999699</c:v>
                </c:pt>
                <c:pt idx="15357">
                  <c:v>1.77094076600311</c:v>
                </c:pt>
                <c:pt idx="15358">
                  <c:v>1.43491153913976</c:v>
                </c:pt>
                <c:pt idx="15359">
                  <c:v>1.43076303016613</c:v>
                </c:pt>
                <c:pt idx="15360">
                  <c:v>1.45150557503424</c:v>
                </c:pt>
                <c:pt idx="15361">
                  <c:v>1.6340399698735899</c:v>
                </c:pt>
                <c:pt idx="15362">
                  <c:v>1.56351531732203</c:v>
                </c:pt>
                <c:pt idx="15363">
                  <c:v>1.70871313139878</c:v>
                </c:pt>
                <c:pt idx="15364">
                  <c:v>1.70871313139878</c:v>
                </c:pt>
                <c:pt idx="15365">
                  <c:v>1.6589310237153201</c:v>
                </c:pt>
                <c:pt idx="15366">
                  <c:v>1.62159444295273</c:v>
                </c:pt>
                <c:pt idx="15367">
                  <c:v>1.6506340057680799</c:v>
                </c:pt>
                <c:pt idx="15368">
                  <c:v>1.6298914608999699</c:v>
                </c:pt>
                <c:pt idx="15369">
                  <c:v>1.5095847006649501</c:v>
                </c:pt>
                <c:pt idx="15370">
                  <c:v>1.3187532878783499</c:v>
                </c:pt>
                <c:pt idx="15371">
                  <c:v>1.3146047789047299</c:v>
                </c:pt>
                <c:pt idx="15372">
                  <c:v>1.3975749583771599</c:v>
                </c:pt>
                <c:pt idx="15373">
                  <c:v>0.92464493538429704</c:v>
                </c:pt>
                <c:pt idx="15374">
                  <c:v>0.95368449819964796</c:v>
                </c:pt>
                <c:pt idx="15375">
                  <c:v>0.92464493538429704</c:v>
                </c:pt>
                <c:pt idx="15376">
                  <c:v>1.3809809224826799</c:v>
                </c:pt>
                <c:pt idx="15377">
                  <c:v>0.65914036107251295</c:v>
                </c:pt>
                <c:pt idx="15378">
                  <c:v>0.48905149315402702</c:v>
                </c:pt>
                <c:pt idx="15379">
                  <c:v>0.50979403802213497</c:v>
                </c:pt>
                <c:pt idx="15380">
                  <c:v>0.48490298418040501</c:v>
                </c:pt>
                <c:pt idx="15381">
                  <c:v>0.211101391921378</c:v>
                </c:pt>
                <c:pt idx="15382">
                  <c:v>0.41022982265521601</c:v>
                </c:pt>
                <c:pt idx="15383">
                  <c:v>0.54298210981110795</c:v>
                </c:pt>
                <c:pt idx="15384">
                  <c:v>0.50149702007489205</c:v>
                </c:pt>
                <c:pt idx="15385">
                  <c:v>9.0794631686351407E-2</c:v>
                </c:pt>
                <c:pt idx="15386">
                  <c:v>-9.1739763152999906E-2</c:v>
                </c:pt>
                <c:pt idx="15387">
                  <c:v>0.161319284237919</c:v>
                </c:pt>
                <c:pt idx="15388">
                  <c:v>0.28577455344656699</c:v>
                </c:pt>
                <c:pt idx="15389">
                  <c:v>-4.62107470694591E-3</c:v>
                </c:pt>
                <c:pt idx="15390">
                  <c:v>0.211101391921378</c:v>
                </c:pt>
                <c:pt idx="15391">
                  <c:v>-0.21204652338802699</c:v>
                </c:pt>
                <c:pt idx="15392">
                  <c:v>0.40193280470797299</c:v>
                </c:pt>
                <c:pt idx="15393">
                  <c:v>0.219398409868622</c:v>
                </c:pt>
                <c:pt idx="15394">
                  <c:v>7.8349104765486496E-2</c:v>
                </c:pt>
                <c:pt idx="15395">
                  <c:v>-7.0997218284891805E-2</c:v>
                </c:pt>
                <c:pt idx="15396">
                  <c:v>-2.95121285486756E-2</c:v>
                </c:pt>
                <c:pt idx="15397">
                  <c:v>6.1755068870999998E-2</c:v>
                </c:pt>
                <c:pt idx="15398">
                  <c:v>-7.0997218284891805E-2</c:v>
                </c:pt>
                <c:pt idx="15399">
                  <c:v>0.11153717655445899</c:v>
                </c:pt>
                <c:pt idx="15400">
                  <c:v>-0.104185290073865</c:v>
                </c:pt>
                <c:pt idx="15401">
                  <c:v>-1.29180926541891E-2</c:v>
                </c:pt>
                <c:pt idx="15402">
                  <c:v>9.4943140659973002E-2</c:v>
                </c:pt>
                <c:pt idx="15403">
                  <c:v>5.7606559897378402E-2</c:v>
                </c:pt>
                <c:pt idx="15404">
                  <c:v>2.4418488108405401E-2</c:v>
                </c:pt>
                <c:pt idx="15405">
                  <c:v>-0.26597714004510797</c:v>
                </c:pt>
                <c:pt idx="15406">
                  <c:v>-0.25353161312424299</c:v>
                </c:pt>
                <c:pt idx="15407">
                  <c:v>-1.29180926541891E-2</c:v>
                </c:pt>
                <c:pt idx="15408">
                  <c:v>-0.17056143365181101</c:v>
                </c:pt>
                <c:pt idx="15409">
                  <c:v>-0.36554135541202698</c:v>
                </c:pt>
                <c:pt idx="15410">
                  <c:v>-0.46510557077894599</c:v>
                </c:pt>
                <c:pt idx="15411">
                  <c:v>-0.37798688233289202</c:v>
                </c:pt>
                <c:pt idx="15412">
                  <c:v>-8.3442745205756702E-2</c:v>
                </c:pt>
                <c:pt idx="15413">
                  <c:v>-0.25768012209786501</c:v>
                </c:pt>
                <c:pt idx="15414">
                  <c:v>-0.16641292467818899</c:v>
                </c:pt>
                <c:pt idx="15415">
                  <c:v>-2.5363619575054001E-2</c:v>
                </c:pt>
                <c:pt idx="15416">
                  <c:v>-0.29916521183408101</c:v>
                </c:pt>
                <c:pt idx="15417">
                  <c:v>-0.42362048104272898</c:v>
                </c:pt>
                <c:pt idx="15418">
                  <c:v>-0.17470994262543199</c:v>
                </c:pt>
                <c:pt idx="15419">
                  <c:v>-0.17056143365181101</c:v>
                </c:pt>
                <c:pt idx="15420">
                  <c:v>-0.120779325968351</c:v>
                </c:pt>
                <c:pt idx="15421">
                  <c:v>-8.7695836805675303E-3</c:v>
                </c:pt>
                <c:pt idx="15422">
                  <c:v>-0.120779325968351</c:v>
                </c:pt>
                <c:pt idx="15423">
                  <c:v>0.50149702007489205</c:v>
                </c:pt>
                <c:pt idx="15424">
                  <c:v>-2.95121285486756E-2</c:v>
                </c:pt>
                <c:pt idx="15425">
                  <c:v>-1.7066601627810801E-2</c:v>
                </c:pt>
                <c:pt idx="15426">
                  <c:v>0.25258648165759501</c:v>
                </c:pt>
                <c:pt idx="15427">
                  <c:v>-5.8551691364026999E-2</c:v>
                </c:pt>
                <c:pt idx="15428">
                  <c:v>0.202804373974135</c:v>
                </c:pt>
                <c:pt idx="15429">
                  <c:v>0.45586342136505398</c:v>
                </c:pt>
                <c:pt idx="15430">
                  <c:v>3.2715506055648699E-2</c:v>
                </c:pt>
                <c:pt idx="15431">
                  <c:v>0.62595228928353996</c:v>
                </c:pt>
                <c:pt idx="15432">
                  <c:v>0.59276421749456698</c:v>
                </c:pt>
                <c:pt idx="15433">
                  <c:v>0.78774413925478304</c:v>
                </c:pt>
                <c:pt idx="15434">
                  <c:v>1.2772681981421301</c:v>
                </c:pt>
                <c:pt idx="15435">
                  <c:v>0.58446719954732396</c:v>
                </c:pt>
                <c:pt idx="15436">
                  <c:v>0.66328887004613502</c:v>
                </c:pt>
                <c:pt idx="15437">
                  <c:v>0.77529861233391895</c:v>
                </c:pt>
                <c:pt idx="15438">
                  <c:v>1.1279218750917599</c:v>
                </c:pt>
                <c:pt idx="15439">
                  <c:v>1.16525845585435</c:v>
                </c:pt>
                <c:pt idx="15440">
                  <c:v>1.1113278391972701</c:v>
                </c:pt>
                <c:pt idx="15441">
                  <c:v>1.1901495096960799</c:v>
                </c:pt>
                <c:pt idx="15442">
                  <c:v>1.4017234673507799</c:v>
                </c:pt>
                <c:pt idx="15443">
                  <c:v>1.3021592519838601</c:v>
                </c:pt>
                <c:pt idx="15444">
                  <c:v>1.1942980186697001</c:v>
                </c:pt>
                <c:pt idx="15445">
                  <c:v>1.01176362383035</c:v>
                </c:pt>
                <c:pt idx="15446">
                  <c:v>1.1735554738015901</c:v>
                </c:pt>
                <c:pt idx="15447">
                  <c:v>1.2606741622476501</c:v>
                </c:pt>
                <c:pt idx="15448">
                  <c:v>1.0864367853555399</c:v>
                </c:pt>
                <c:pt idx="15449">
                  <c:v>1.20674354559057</c:v>
                </c:pt>
                <c:pt idx="15450">
                  <c:v>1.33119881479922</c:v>
                </c:pt>
                <c:pt idx="15451">
                  <c:v>1.5303272455330501</c:v>
                </c:pt>
                <c:pt idx="15452">
                  <c:v>1.4929906647704601</c:v>
                </c:pt>
                <c:pt idx="15453">
                  <c:v>1.1694069648279699</c:v>
                </c:pt>
                <c:pt idx="15454">
                  <c:v>1.22333758148505</c:v>
                </c:pt>
                <c:pt idx="15455">
                  <c:v>1.05324871356657</c:v>
                </c:pt>
                <c:pt idx="15456">
                  <c:v>1.20674354559057</c:v>
                </c:pt>
                <c:pt idx="15457">
                  <c:v>1.3146047789047299</c:v>
                </c:pt>
                <c:pt idx="15458">
                  <c:v>1.1030308212500299</c:v>
                </c:pt>
                <c:pt idx="15459">
                  <c:v>1.2731196891685099</c:v>
                </c:pt>
                <c:pt idx="15460">
                  <c:v>0.97442704306775596</c:v>
                </c:pt>
                <c:pt idx="15461">
                  <c:v>1.2523771443003999</c:v>
                </c:pt>
                <c:pt idx="15462">
                  <c:v>0.91634791743705402</c:v>
                </c:pt>
                <c:pt idx="15463">
                  <c:v>1.0034666058831101</c:v>
                </c:pt>
                <c:pt idx="15464">
                  <c:v>0.57617018160008104</c:v>
                </c:pt>
                <c:pt idx="15465">
                  <c:v>0.70892246875597298</c:v>
                </c:pt>
                <c:pt idx="15466">
                  <c:v>0.68817992388786497</c:v>
                </c:pt>
                <c:pt idx="15467">
                  <c:v>0.53468509186386504</c:v>
                </c:pt>
                <c:pt idx="15468">
                  <c:v>1.0864367853555399</c:v>
                </c:pt>
                <c:pt idx="15469">
                  <c:v>0.96613002512051305</c:v>
                </c:pt>
                <c:pt idx="15470">
                  <c:v>1.0034666058831101</c:v>
                </c:pt>
                <c:pt idx="15471">
                  <c:v>0.91219940846343195</c:v>
                </c:pt>
                <c:pt idx="15472">
                  <c:v>0.53468509186386504</c:v>
                </c:pt>
                <c:pt idx="15473">
                  <c:v>0.88730835462170199</c:v>
                </c:pt>
                <c:pt idx="15474">
                  <c:v>0.65084334312527004</c:v>
                </c:pt>
                <c:pt idx="15475">
                  <c:v>0.70477395978235102</c:v>
                </c:pt>
                <c:pt idx="15476">
                  <c:v>0.94123897127878298</c:v>
                </c:pt>
                <c:pt idx="15477">
                  <c:v>1.0449516956193201</c:v>
                </c:pt>
                <c:pt idx="15478">
                  <c:v>1.03665467767208</c:v>
                </c:pt>
                <c:pt idx="15479">
                  <c:v>0.55542763673197304</c:v>
                </c:pt>
                <c:pt idx="15480">
                  <c:v>0.696476941835108</c:v>
                </c:pt>
                <c:pt idx="15481">
                  <c:v>1.16525845585435</c:v>
                </c:pt>
                <c:pt idx="15482">
                  <c:v>0.78774413925478304</c:v>
                </c:pt>
                <c:pt idx="15483">
                  <c:v>0.47660596623316198</c:v>
                </c:pt>
                <c:pt idx="15484">
                  <c:v>0.812635193096513</c:v>
                </c:pt>
                <c:pt idx="15485">
                  <c:v>0.41852684060245898</c:v>
                </c:pt>
                <c:pt idx="15486">
                  <c:v>0.675734396967</c:v>
                </c:pt>
                <c:pt idx="15487">
                  <c:v>9.0794631686351407E-2</c:v>
                </c:pt>
                <c:pt idx="15488">
                  <c:v>0.289923062420189</c:v>
                </c:pt>
                <c:pt idx="15489">
                  <c:v>0.67158588799337804</c:v>
                </c:pt>
                <c:pt idx="15490">
                  <c:v>0.44756640341781101</c:v>
                </c:pt>
                <c:pt idx="15491">
                  <c:v>0.348002188050892</c:v>
                </c:pt>
                <c:pt idx="15492">
                  <c:v>0.30236858934105398</c:v>
                </c:pt>
                <c:pt idx="15493">
                  <c:v>0.38119025983986499</c:v>
                </c:pt>
                <c:pt idx="15494">
                  <c:v>0.202804373974135</c:v>
                </c:pt>
                <c:pt idx="15495">
                  <c:v>0.58861570852094602</c:v>
                </c:pt>
                <c:pt idx="15496">
                  <c:v>0.19035884705327</c:v>
                </c:pt>
                <c:pt idx="15497">
                  <c:v>0.161319284237919</c:v>
                </c:pt>
                <c:pt idx="15498">
                  <c:v>0.33970517010364898</c:v>
                </c:pt>
                <c:pt idx="15499">
                  <c:v>-9.1739763152999906E-2</c:v>
                </c:pt>
                <c:pt idx="15500">
                  <c:v>0.26503200857845899</c:v>
                </c:pt>
                <c:pt idx="15501">
                  <c:v>0.63839781620440506</c:v>
                </c:pt>
                <c:pt idx="15502">
                  <c:v>0.68817992388786497</c:v>
                </c:pt>
                <c:pt idx="15503">
                  <c:v>0.55542763673197304</c:v>
                </c:pt>
                <c:pt idx="15504">
                  <c:v>0.51809105596937799</c:v>
                </c:pt>
                <c:pt idx="15505">
                  <c:v>0.42682385854970301</c:v>
                </c:pt>
                <c:pt idx="15506">
                  <c:v>0.35629920599813503</c:v>
                </c:pt>
                <c:pt idx="15507">
                  <c:v>1.19729611875406E-2</c:v>
                </c:pt>
                <c:pt idx="15508">
                  <c:v>-0.19545248749353999</c:v>
                </c:pt>
                <c:pt idx="15509">
                  <c:v>-0.19960099646716201</c:v>
                </c:pt>
                <c:pt idx="15510">
                  <c:v>-0.24108608620337801</c:v>
                </c:pt>
                <c:pt idx="15511">
                  <c:v>-0.274274157992351</c:v>
                </c:pt>
                <c:pt idx="15512">
                  <c:v>-0.24938310415062101</c:v>
                </c:pt>
                <c:pt idx="15513">
                  <c:v>-0.23278906825613499</c:v>
                </c:pt>
                <c:pt idx="15514">
                  <c:v>-0.19960099646716201</c:v>
                </c:pt>
                <c:pt idx="15515">
                  <c:v>-0.24108608620337801</c:v>
                </c:pt>
                <c:pt idx="15516">
                  <c:v>-0.27012564901872999</c:v>
                </c:pt>
                <c:pt idx="15517">
                  <c:v>0.173764811158784</c:v>
                </c:pt>
                <c:pt idx="15518">
                  <c:v>6.59035778446216E-2</c:v>
                </c:pt>
                <c:pt idx="15519">
                  <c:v>7.8244522139189494E-3</c:v>
                </c:pt>
                <c:pt idx="15520">
                  <c:v>6.1755068870999998E-2</c:v>
                </c:pt>
                <c:pt idx="15521">
                  <c:v>8.2497613739108105E-2</c:v>
                </c:pt>
                <c:pt idx="15522">
                  <c:v>0.35215069702451302</c:v>
                </c:pt>
                <c:pt idx="15523">
                  <c:v>0.30236858934105398</c:v>
                </c:pt>
                <c:pt idx="15524">
                  <c:v>6.59035778446216E-2</c:v>
                </c:pt>
                <c:pt idx="15525">
                  <c:v>0.14887375731705399</c:v>
                </c:pt>
                <c:pt idx="15526">
                  <c:v>7.8349104765486496E-2</c:v>
                </c:pt>
                <c:pt idx="15527">
                  <c:v>0.16546779321154101</c:v>
                </c:pt>
                <c:pt idx="15528">
                  <c:v>0.123982703475324</c:v>
                </c:pt>
                <c:pt idx="15529">
                  <c:v>0.182061829106027</c:v>
                </c:pt>
                <c:pt idx="15530">
                  <c:v>0.29822008036743203</c:v>
                </c:pt>
                <c:pt idx="15531">
                  <c:v>0.36874473291900001</c:v>
                </c:pt>
                <c:pt idx="15532">
                  <c:v>0.38119025983986499</c:v>
                </c:pt>
                <c:pt idx="15533">
                  <c:v>0.385338768813486</c:v>
                </c:pt>
                <c:pt idx="15534">
                  <c:v>0.33970517010364898</c:v>
                </c:pt>
                <c:pt idx="15535">
                  <c:v>0.27747753549932402</c:v>
                </c:pt>
                <c:pt idx="15536">
                  <c:v>0.42682385854970301</c:v>
                </c:pt>
                <c:pt idx="15537">
                  <c:v>0.31481411626191902</c:v>
                </c:pt>
                <c:pt idx="15538">
                  <c:v>0.33140815215640501</c:v>
                </c:pt>
                <c:pt idx="15539">
                  <c:v>0.153022266290676</c:v>
                </c:pt>
                <c:pt idx="15540">
                  <c:v>-0.19545248749353999</c:v>
                </c:pt>
                <c:pt idx="15541">
                  <c:v>-0.23278906825613499</c:v>
                </c:pt>
                <c:pt idx="15542">
                  <c:v>-6.6848709311270196E-2</c:v>
                </c:pt>
                <c:pt idx="15543">
                  <c:v>-0.14152187083645901</c:v>
                </c:pt>
                <c:pt idx="15544">
                  <c:v>-0.16641292467818899</c:v>
                </c:pt>
                <c:pt idx="15545">
                  <c:v>-7.9294236232135107E-2</c:v>
                </c:pt>
                <c:pt idx="15546">
                  <c:v>-0.108333799047486</c:v>
                </c:pt>
                <c:pt idx="15547">
                  <c:v>1.61214701611622E-2</c:v>
                </c:pt>
                <c:pt idx="15548">
                  <c:v>-0.108333799047486</c:v>
                </c:pt>
                <c:pt idx="15549">
                  <c:v>-4.62107470694591E-3</c:v>
                </c:pt>
                <c:pt idx="15550">
                  <c:v>0.13642823039618901</c:v>
                </c:pt>
                <c:pt idx="15551">
                  <c:v>0.107388667580838</c:v>
                </c:pt>
                <c:pt idx="15552">
                  <c:v>0.49734851110126999</c:v>
                </c:pt>
                <c:pt idx="15553">
                  <c:v>0.79604115720202695</c:v>
                </c:pt>
                <c:pt idx="15554">
                  <c:v>0.75870457643943201</c:v>
                </c:pt>
                <c:pt idx="15555">
                  <c:v>0.72966501362408098</c:v>
                </c:pt>
                <c:pt idx="15556">
                  <c:v>0.79189264822840499</c:v>
                </c:pt>
                <c:pt idx="15557">
                  <c:v>0.68403141491424302</c:v>
                </c:pt>
                <c:pt idx="15558">
                  <c:v>0.72136799567683796</c:v>
                </c:pt>
                <c:pt idx="15559">
                  <c:v>0.73381352259770205</c:v>
                </c:pt>
                <c:pt idx="15560">
                  <c:v>0.696476941835108</c:v>
                </c:pt>
                <c:pt idx="15561">
                  <c:v>0.77944712130754001</c:v>
                </c:pt>
                <c:pt idx="15562">
                  <c:v>0.74625904951856703</c:v>
                </c:pt>
                <c:pt idx="15563">
                  <c:v>0.66328887004613502</c:v>
                </c:pt>
                <c:pt idx="15564">
                  <c:v>0.59276421749456698</c:v>
                </c:pt>
                <c:pt idx="15565">
                  <c:v>0.59276421749456698</c:v>
                </c:pt>
                <c:pt idx="15566">
                  <c:v>0.60520974441543196</c:v>
                </c:pt>
                <c:pt idx="15567">
                  <c:v>0.41022982265521601</c:v>
                </c:pt>
                <c:pt idx="15568">
                  <c:v>0.52223956494299995</c:v>
                </c:pt>
                <c:pt idx="15569">
                  <c:v>0.37289324189262102</c:v>
                </c:pt>
                <c:pt idx="15570">
                  <c:v>0.327259643182784</c:v>
                </c:pt>
                <c:pt idx="15571">
                  <c:v>0.231843936789486</c:v>
                </c:pt>
                <c:pt idx="15572">
                  <c:v>0.26088349960483798</c:v>
                </c:pt>
                <c:pt idx="15573">
                  <c:v>0.18621033807964901</c:v>
                </c:pt>
                <c:pt idx="15574">
                  <c:v>0.17791332013240499</c:v>
                </c:pt>
                <c:pt idx="15575">
                  <c:v>0.173764811158784</c:v>
                </c:pt>
                <c:pt idx="15576">
                  <c:v>5.34580509237568E-2</c:v>
                </c:pt>
                <c:pt idx="15577">
                  <c:v>9.4943140659973002E-2</c:v>
                </c:pt>
                <c:pt idx="15578">
                  <c:v>5.34580509237568E-2</c:v>
                </c:pt>
                <c:pt idx="15579">
                  <c:v>2.4418488108405401E-2</c:v>
                </c:pt>
                <c:pt idx="15580">
                  <c:v>3.2715506055648699E-2</c:v>
                </c:pt>
                <c:pt idx="15581">
                  <c:v>-0.22449205030889199</c:v>
                </c:pt>
                <c:pt idx="15582">
                  <c:v>-0.332353283623054</c:v>
                </c:pt>
                <c:pt idx="15583">
                  <c:v>-0.390432409253757</c:v>
                </c:pt>
                <c:pt idx="15584">
                  <c:v>-0.236937577229757</c:v>
                </c:pt>
                <c:pt idx="15585">
                  <c:v>-0.31161073875494599</c:v>
                </c:pt>
                <c:pt idx="15586">
                  <c:v>-0.24108608620337801</c:v>
                </c:pt>
                <c:pt idx="15587">
                  <c:v>0.22354691884224301</c:v>
                </c:pt>
                <c:pt idx="15588">
                  <c:v>8.6646122712729701E-2</c:v>
                </c:pt>
                <c:pt idx="15589">
                  <c:v>8.2497613739108105E-2</c:v>
                </c:pt>
                <c:pt idx="15590">
                  <c:v>-4.7256573332428599E-4</c:v>
                </c:pt>
                <c:pt idx="15591">
                  <c:v>0.14887375731705399</c:v>
                </c:pt>
                <c:pt idx="15592">
                  <c:v>5.7606559897378402E-2</c:v>
                </c:pt>
                <c:pt idx="15593">
                  <c:v>8.2497613739108105E-2</c:v>
                </c:pt>
                <c:pt idx="15594">
                  <c:v>0.17791332013240499</c:v>
                </c:pt>
                <c:pt idx="15595">
                  <c:v>-5.8551691364026999E-2</c:v>
                </c:pt>
                <c:pt idx="15596">
                  <c:v>-9.5888272126621502E-2</c:v>
                </c:pt>
                <c:pt idx="15597">
                  <c:v>-4.62107470694591E-3</c:v>
                </c:pt>
                <c:pt idx="15598">
                  <c:v>0.327259643182784</c:v>
                </c:pt>
                <c:pt idx="15599">
                  <c:v>0.38948727778710801</c:v>
                </c:pt>
                <c:pt idx="15600">
                  <c:v>0.42267534957608099</c:v>
                </c:pt>
                <c:pt idx="15601">
                  <c:v>0.306517098314676</c:v>
                </c:pt>
                <c:pt idx="15602">
                  <c:v>0.47245745725954003</c:v>
                </c:pt>
                <c:pt idx="15603">
                  <c:v>0.49320000212764797</c:v>
                </c:pt>
                <c:pt idx="15604">
                  <c:v>0.46001193033867499</c:v>
                </c:pt>
                <c:pt idx="15605">
                  <c:v>0.219398409868622</c:v>
                </c:pt>
                <c:pt idx="15606">
                  <c:v>-0.19130397851991901</c:v>
                </c:pt>
                <c:pt idx="15607">
                  <c:v>-0.26182863107148602</c:v>
                </c:pt>
                <c:pt idx="15608">
                  <c:v>-0.22034354133527001</c:v>
                </c:pt>
                <c:pt idx="15609">
                  <c:v>-0.19545248749353999</c:v>
                </c:pt>
                <c:pt idx="15610">
                  <c:v>-0.40702644514824299</c:v>
                </c:pt>
                <c:pt idx="15611">
                  <c:v>1.7626437480558601</c:v>
                </c:pt>
                <c:pt idx="15612">
                  <c:v>1.70871313139878</c:v>
                </c:pt>
                <c:pt idx="15613">
                  <c:v>0.61350676236267498</c:v>
                </c:pt>
                <c:pt idx="15614">
                  <c:v>0.66743737901975697</c:v>
                </c:pt>
                <c:pt idx="15615">
                  <c:v>0.77115010336029699</c:v>
                </c:pt>
                <c:pt idx="15616">
                  <c:v>0.63839781620440506</c:v>
                </c:pt>
                <c:pt idx="15617">
                  <c:v>0.93294195333153995</c:v>
                </c:pt>
                <c:pt idx="15618">
                  <c:v>1.0491002045929501</c:v>
                </c:pt>
                <c:pt idx="15619">
                  <c:v>0.84997177385910805</c:v>
                </c:pt>
                <c:pt idx="15620">
                  <c:v>1.1901495096960799</c:v>
                </c:pt>
                <c:pt idx="15621">
                  <c:v>1.0988823122764</c:v>
                </c:pt>
                <c:pt idx="15622">
                  <c:v>1.1113278391972701</c:v>
                </c:pt>
                <c:pt idx="15623">
                  <c:v>1.3394958327464599</c:v>
                </c:pt>
                <c:pt idx="15624">
                  <c:v>1.3851294314563001</c:v>
                </c:pt>
                <c:pt idx="15625">
                  <c:v>1.36853539556181</c:v>
                </c:pt>
                <c:pt idx="15626">
                  <c:v>1.6174459339791101</c:v>
                </c:pt>
                <c:pt idx="15627">
                  <c:v>1.5303272455330501</c:v>
                </c:pt>
                <c:pt idx="15628">
                  <c:v>1.70456462242516</c:v>
                </c:pt>
                <c:pt idx="15629">
                  <c:v>1.47224811990235</c:v>
                </c:pt>
                <c:pt idx="15630">
                  <c:v>1.5676638262956499</c:v>
                </c:pt>
                <c:pt idx="15631">
                  <c:v>1.64233698782084</c:v>
                </c:pt>
                <c:pt idx="15632">
                  <c:v>1.62574295192635</c:v>
                </c:pt>
                <c:pt idx="15633">
                  <c:v>1.3851294314563001</c:v>
                </c:pt>
                <c:pt idx="15634">
                  <c:v>1.6547825147416999</c:v>
                </c:pt>
                <c:pt idx="15635">
                  <c:v>1.6921190955043</c:v>
                </c:pt>
                <c:pt idx="15636">
                  <c:v>1.60500040705824</c:v>
                </c:pt>
                <c:pt idx="15637">
                  <c:v>1.5552182993747801</c:v>
                </c:pt>
                <c:pt idx="15638">
                  <c:v>1.66722804166257</c:v>
                </c:pt>
                <c:pt idx="15639">
                  <c:v>1.62159444295273</c:v>
                </c:pt>
                <c:pt idx="15640">
                  <c:v>1.5552182993747801</c:v>
                </c:pt>
                <c:pt idx="15641">
                  <c:v>1.5303272455330501</c:v>
                </c:pt>
                <c:pt idx="15642">
                  <c:v>1.66307953268895</c:v>
                </c:pt>
                <c:pt idx="15643">
                  <c:v>1.5925548801373799</c:v>
                </c:pt>
                <c:pt idx="15644">
                  <c:v>1.3809809224826799</c:v>
                </c:pt>
                <c:pt idx="15645">
                  <c:v>1.39342644940354</c:v>
                </c:pt>
                <c:pt idx="15646">
                  <c:v>1.4473570660606201</c:v>
                </c:pt>
                <c:pt idx="15647">
                  <c:v>1.47639662887597</c:v>
                </c:pt>
                <c:pt idx="15648">
                  <c:v>1.43491153913976</c:v>
                </c:pt>
                <c:pt idx="15649">
                  <c:v>1.24822863532678</c:v>
                </c:pt>
                <c:pt idx="15650">
                  <c:v>1.43076303016613</c:v>
                </c:pt>
                <c:pt idx="15651">
                  <c:v>1.38927794042992</c:v>
                </c:pt>
                <c:pt idx="15652">
                  <c:v>1.22748609045868</c:v>
                </c:pt>
                <c:pt idx="15653">
                  <c:v>1.2399316173795389</c:v>
                </c:pt>
                <c:pt idx="15654">
                  <c:v>1.0864367853555399</c:v>
                </c:pt>
                <c:pt idx="15655">
                  <c:v>0.87486282770083701</c:v>
                </c:pt>
                <c:pt idx="15656">
                  <c:v>0.48905149315402702</c:v>
                </c:pt>
                <c:pt idx="15657">
                  <c:v>0.49320000212764797</c:v>
                </c:pt>
                <c:pt idx="15658">
                  <c:v>0.50149702007489205</c:v>
                </c:pt>
                <c:pt idx="15659">
                  <c:v>0.41022982265521601</c:v>
                </c:pt>
                <c:pt idx="15660">
                  <c:v>0.22354691884224301</c:v>
                </c:pt>
                <c:pt idx="15661">
                  <c:v>0.16546779321154101</c:v>
                </c:pt>
                <c:pt idx="15662">
                  <c:v>0.289923062420189</c:v>
                </c:pt>
                <c:pt idx="15663">
                  <c:v>0.38119025983986499</c:v>
                </c:pt>
                <c:pt idx="15664">
                  <c:v>0.36044771497175698</c:v>
                </c:pt>
                <c:pt idx="15665">
                  <c:v>0.32311113420916199</c:v>
                </c:pt>
                <c:pt idx="15666">
                  <c:v>0.25258648165759501</c:v>
                </c:pt>
                <c:pt idx="15667">
                  <c:v>0.25258648165759501</c:v>
                </c:pt>
                <c:pt idx="15668">
                  <c:v>0.19450735602689201</c:v>
                </c:pt>
                <c:pt idx="15669">
                  <c:v>0.29822008036743203</c:v>
                </c:pt>
                <c:pt idx="15670">
                  <c:v>0.27332902652570301</c:v>
                </c:pt>
                <c:pt idx="15671">
                  <c:v>0.364596223945378</c:v>
                </c:pt>
                <c:pt idx="15672">
                  <c:v>5.34580509237568E-2</c:v>
                </c:pt>
                <c:pt idx="15673">
                  <c:v>0.23599244576310799</c:v>
                </c:pt>
                <c:pt idx="15674">
                  <c:v>-3.7809146495918898E-2</c:v>
                </c:pt>
                <c:pt idx="15675">
                  <c:v>0.13642823039618901</c:v>
                </c:pt>
                <c:pt idx="15676">
                  <c:v>0.14472524834343201</c:v>
                </c:pt>
                <c:pt idx="15677">
                  <c:v>-0.43606600796359402</c:v>
                </c:pt>
                <c:pt idx="15678">
                  <c:v>-0.120779325968351</c:v>
                </c:pt>
                <c:pt idx="15679">
                  <c:v>6.1755068870999998E-2</c:v>
                </c:pt>
                <c:pt idx="15680">
                  <c:v>-0.187155469546297</c:v>
                </c:pt>
                <c:pt idx="15681">
                  <c:v>1.61214701611622E-2</c:v>
                </c:pt>
                <c:pt idx="15682">
                  <c:v>-0.13322485288921601</c:v>
                </c:pt>
                <c:pt idx="15683">
                  <c:v>8.2497613739108105E-2</c:v>
                </c:pt>
                <c:pt idx="15684">
                  <c:v>0.19450735602689201</c:v>
                </c:pt>
                <c:pt idx="15685">
                  <c:v>7.0052086818243306E-2</c:v>
                </c:pt>
                <c:pt idx="15686">
                  <c:v>0.119834194501703</c:v>
                </c:pt>
                <c:pt idx="15687">
                  <c:v>3.6864015029270301E-2</c:v>
                </c:pt>
                <c:pt idx="15688">
                  <c:v>-2.5363619575054001E-2</c:v>
                </c:pt>
                <c:pt idx="15689">
                  <c:v>5.7606559897378402E-2</c:v>
                </c:pt>
                <c:pt idx="15690">
                  <c:v>0.580318690573702</c:v>
                </c:pt>
                <c:pt idx="15691">
                  <c:v>0.14887375731705399</c:v>
                </c:pt>
                <c:pt idx="15692">
                  <c:v>2.8566997082027101E-2</c:v>
                </c:pt>
                <c:pt idx="15693">
                  <c:v>0.53053658289024297</c:v>
                </c:pt>
                <c:pt idx="15694">
                  <c:v>0.67158588799337804</c:v>
                </c:pt>
                <c:pt idx="15695">
                  <c:v>0.37704175086624298</c:v>
                </c:pt>
                <c:pt idx="15696">
                  <c:v>0.97442704306775596</c:v>
                </c:pt>
                <c:pt idx="15697">
                  <c:v>0.86656580975359399</c:v>
                </c:pt>
                <c:pt idx="15698">
                  <c:v>0.84167475591186403</c:v>
                </c:pt>
                <c:pt idx="15699">
                  <c:v>0.71307097772959405</c:v>
                </c:pt>
                <c:pt idx="15700">
                  <c:v>0.65084334312527004</c:v>
                </c:pt>
                <c:pt idx="15701">
                  <c:v>0.85412028283272901</c:v>
                </c:pt>
                <c:pt idx="15702">
                  <c:v>1.1528129289334901</c:v>
                </c:pt>
                <c:pt idx="15703">
                  <c:v>1.1113278391972701</c:v>
                </c:pt>
                <c:pt idx="15704">
                  <c:v>1.26897118019489</c:v>
                </c:pt>
                <c:pt idx="15705">
                  <c:v>1.3851294314563001</c:v>
                </c:pt>
                <c:pt idx="15706">
                  <c:v>1.47639662887597</c:v>
                </c:pt>
                <c:pt idx="15707">
                  <c:v>1.3975749583771599</c:v>
                </c:pt>
                <c:pt idx="15708">
                  <c:v>1.3560898686409499</c:v>
                </c:pt>
                <c:pt idx="15709">
                  <c:v>1.3477928506937</c:v>
                </c:pt>
                <c:pt idx="15710">
                  <c:v>1.4680996109287301</c:v>
                </c:pt>
                <c:pt idx="15711">
                  <c:v>1.3643868865881901</c:v>
                </c:pt>
                <c:pt idx="15712">
                  <c:v>1.3602383776145699</c:v>
                </c:pt>
                <c:pt idx="15713">
                  <c:v>1.5137332096385701</c:v>
                </c:pt>
                <c:pt idx="15714">
                  <c:v>1.33119881479922</c:v>
                </c:pt>
                <c:pt idx="15715">
                  <c:v>1.4058719763244001</c:v>
                </c:pt>
                <c:pt idx="15716">
                  <c:v>1.38927794042992</c:v>
                </c:pt>
                <c:pt idx="15717">
                  <c:v>1.56351531732203</c:v>
                </c:pt>
                <c:pt idx="15718">
                  <c:v>1.68797058653067</c:v>
                </c:pt>
                <c:pt idx="15719">
                  <c:v>1.4929906647704601</c:v>
                </c:pt>
                <c:pt idx="15720">
                  <c:v>0.46001193033867499</c:v>
                </c:pt>
                <c:pt idx="15721">
                  <c:v>3.1275032003773799</c:v>
                </c:pt>
                <c:pt idx="15722">
                  <c:v>2.0157027954467801</c:v>
                </c:pt>
                <c:pt idx="15723">
                  <c:v>1.5718123352692699</c:v>
                </c:pt>
                <c:pt idx="15724">
                  <c:v>1.52203022758581</c:v>
                </c:pt>
                <c:pt idx="15725">
                  <c:v>1.5386242634803</c:v>
                </c:pt>
                <c:pt idx="15726">
                  <c:v>1.5469212814275399</c:v>
                </c:pt>
                <c:pt idx="15727">
                  <c:v>1.5303272455330501</c:v>
                </c:pt>
                <c:pt idx="15728">
                  <c:v>1.3851294314563001</c:v>
                </c:pt>
                <c:pt idx="15729">
                  <c:v>1.43906004811338</c:v>
                </c:pt>
                <c:pt idx="15730">
                  <c:v>1.47639662887597</c:v>
                </c:pt>
                <c:pt idx="15731">
                  <c:v>1.3436443417200801</c:v>
                </c:pt>
                <c:pt idx="15732">
                  <c:v>1.19844652764332</c:v>
                </c:pt>
                <c:pt idx="15733">
                  <c:v>1.22748609045868</c:v>
                </c:pt>
                <c:pt idx="15734">
                  <c:v>1.31045626993111</c:v>
                </c:pt>
                <c:pt idx="15735">
                  <c:v>1.3851294314563001</c:v>
                </c:pt>
                <c:pt idx="15736">
                  <c:v>1.5137332096385701</c:v>
                </c:pt>
                <c:pt idx="15737">
                  <c:v>1.4473570660606201</c:v>
                </c:pt>
                <c:pt idx="15738">
                  <c:v>1.5012876827177</c:v>
                </c:pt>
                <c:pt idx="15739">
                  <c:v>1.45980259298149</c:v>
                </c:pt>
                <c:pt idx="15740">
                  <c:v>0.94123897127878298</c:v>
                </c:pt>
                <c:pt idx="15741">
                  <c:v>0.95368449819964796</c:v>
                </c:pt>
                <c:pt idx="15742">
                  <c:v>0.80433817514926997</c:v>
                </c:pt>
                <c:pt idx="15743">
                  <c:v>0.88315984564808103</c:v>
                </c:pt>
                <c:pt idx="15744">
                  <c:v>0.88730835462170199</c:v>
                </c:pt>
                <c:pt idx="15745">
                  <c:v>1.01176362383035</c:v>
                </c:pt>
                <c:pt idx="15746">
                  <c:v>0.696476941835108</c:v>
                </c:pt>
                <c:pt idx="15747">
                  <c:v>1.28556521608938</c:v>
                </c:pt>
                <c:pt idx="15748">
                  <c:v>1.0491002045929501</c:v>
                </c:pt>
                <c:pt idx="15749">
                  <c:v>0.76700159438667503</c:v>
                </c:pt>
                <c:pt idx="15750">
                  <c:v>0.84997177385910805</c:v>
                </c:pt>
                <c:pt idx="15751">
                  <c:v>0.43926938547056699</c:v>
                </c:pt>
                <c:pt idx="15752">
                  <c:v>0.65914036107251295</c:v>
                </c:pt>
                <c:pt idx="15753">
                  <c:v>0.24014095473673</c:v>
                </c:pt>
                <c:pt idx="15754">
                  <c:v>0.30236858934105398</c:v>
                </c:pt>
                <c:pt idx="15755">
                  <c:v>0.27747753549932402</c:v>
                </c:pt>
                <c:pt idx="15756">
                  <c:v>-0.120779325968351</c:v>
                </c:pt>
                <c:pt idx="15757">
                  <c:v>0.44756640341781101</c:v>
                </c:pt>
                <c:pt idx="15758">
                  <c:v>0.559576145705594</c:v>
                </c:pt>
                <c:pt idx="15759">
                  <c:v>9.4943140659973002E-2</c:v>
                </c:pt>
                <c:pt idx="15760">
                  <c:v>0.21524990089500001</c:v>
                </c:pt>
                <c:pt idx="15761">
                  <c:v>0.14472524834343201</c:v>
                </c:pt>
                <c:pt idx="15762">
                  <c:v>2.4418488108405401E-2</c:v>
                </c:pt>
                <c:pt idx="15763">
                  <c:v>4.5161032976513499E-2</c:v>
                </c:pt>
                <c:pt idx="15764">
                  <c:v>9.9091649633594597E-2</c:v>
                </c:pt>
                <c:pt idx="15765">
                  <c:v>-0.14152187083645901</c:v>
                </c:pt>
                <c:pt idx="15766">
                  <c:v>-0.187155469546297</c:v>
                </c:pt>
                <c:pt idx="15767">
                  <c:v>-0.100036781100243</c:v>
                </c:pt>
                <c:pt idx="15768">
                  <c:v>-6.6848709311270196E-2</c:v>
                </c:pt>
                <c:pt idx="15769">
                  <c:v>2.4418488108405401E-2</c:v>
                </c:pt>
                <c:pt idx="15770">
                  <c:v>-0.19545248749353999</c:v>
                </c:pt>
                <c:pt idx="15771">
                  <c:v>-0.14152187083645901</c:v>
                </c:pt>
                <c:pt idx="15772">
                  <c:v>-0.60200636690845899</c:v>
                </c:pt>
                <c:pt idx="15773">
                  <c:v>-0.35724433746478401</c:v>
                </c:pt>
                <c:pt idx="15774">
                  <c:v>-0.21204652338802699</c:v>
                </c:pt>
                <c:pt idx="15775">
                  <c:v>-0.24108608620337801</c:v>
                </c:pt>
                <c:pt idx="15776">
                  <c:v>-0.24108608620337801</c:v>
                </c:pt>
                <c:pt idx="15777">
                  <c:v>-0.35724433746478401</c:v>
                </c:pt>
                <c:pt idx="15778">
                  <c:v>-2.5363619575054001E-2</c:v>
                </c:pt>
                <c:pt idx="15779">
                  <c:v>-0.24938310415062101</c:v>
                </c:pt>
                <c:pt idx="15780">
                  <c:v>-8.3442745205756702E-2</c:v>
                </c:pt>
                <c:pt idx="15781">
                  <c:v>-0.245234595177</c:v>
                </c:pt>
                <c:pt idx="15782">
                  <c:v>4.5161032976513499E-2</c:v>
                </c:pt>
                <c:pt idx="15783">
                  <c:v>-0.18300696057267599</c:v>
                </c:pt>
                <c:pt idx="15784">
                  <c:v>-6.6848709311270196E-2</c:v>
                </c:pt>
                <c:pt idx="15785">
                  <c:v>0.24014095473673</c:v>
                </c:pt>
                <c:pt idx="15786">
                  <c:v>-0.187155469546297</c:v>
                </c:pt>
                <c:pt idx="15787">
                  <c:v>-0.469254079752567</c:v>
                </c:pt>
                <c:pt idx="15788">
                  <c:v>0.41437833162883803</c:v>
                </c:pt>
                <c:pt idx="15789">
                  <c:v>0.248437972683973</c:v>
                </c:pt>
                <c:pt idx="15790">
                  <c:v>0.33140815215640501</c:v>
                </c:pt>
                <c:pt idx="15791">
                  <c:v>0.66743737901975697</c:v>
                </c:pt>
                <c:pt idx="15792">
                  <c:v>0.49320000212764797</c:v>
                </c:pt>
                <c:pt idx="15793">
                  <c:v>0.443417894444189</c:v>
                </c:pt>
                <c:pt idx="15794">
                  <c:v>0.25673499063121602</c:v>
                </c:pt>
                <c:pt idx="15795">
                  <c:v>0.53468509186386504</c:v>
                </c:pt>
                <c:pt idx="15796">
                  <c:v>0.48075447520678399</c:v>
                </c:pt>
                <c:pt idx="15797">
                  <c:v>0.77944712130754001</c:v>
                </c:pt>
                <c:pt idx="15798">
                  <c:v>0.717219486703216</c:v>
                </c:pt>
                <c:pt idx="15799">
                  <c:v>0.72136799567683796</c:v>
                </c:pt>
                <c:pt idx="15800">
                  <c:v>1.24408012635316</c:v>
                </c:pt>
                <c:pt idx="15801">
                  <c:v>1.54277277245392</c:v>
                </c:pt>
                <c:pt idx="15802">
                  <c:v>1.5925548801373799</c:v>
                </c:pt>
                <c:pt idx="15803">
                  <c:v>1.4888421557968401</c:v>
                </c:pt>
                <c:pt idx="15804">
                  <c:v>1.5884063711637599</c:v>
                </c:pt>
                <c:pt idx="15805">
                  <c:v>1.5552182993747801</c:v>
                </c:pt>
                <c:pt idx="15806">
                  <c:v>1.5303272455330501</c:v>
                </c:pt>
                <c:pt idx="15807">
                  <c:v>1.6091489160318599</c:v>
                </c:pt>
                <c:pt idx="15808">
                  <c:v>1.6381884788472201</c:v>
                </c:pt>
                <c:pt idx="15809">
                  <c:v>1.70871313139878</c:v>
                </c:pt>
                <c:pt idx="15810">
                  <c:v>1.3851294314563001</c:v>
                </c:pt>
                <c:pt idx="15811">
                  <c:v>1.3768324135090499</c:v>
                </c:pt>
                <c:pt idx="15812">
                  <c:v>1.3975749583771599</c:v>
                </c:pt>
                <c:pt idx="15813">
                  <c:v>1.5303272455330501</c:v>
                </c:pt>
                <c:pt idx="15814">
                  <c:v>1.7833862929239701</c:v>
                </c:pt>
                <c:pt idx="15815">
                  <c:v>1.77508927497673</c:v>
                </c:pt>
                <c:pt idx="15816">
                  <c:v>1.6921190955043</c:v>
                </c:pt>
                <c:pt idx="15817">
                  <c:v>1.77508927497673</c:v>
                </c:pt>
                <c:pt idx="15818">
                  <c:v>1.6547825147416999</c:v>
                </c:pt>
                <c:pt idx="15819">
                  <c:v>1.6547825147416999</c:v>
                </c:pt>
                <c:pt idx="15820">
                  <c:v>1.58425786219013</c:v>
                </c:pt>
                <c:pt idx="15821">
                  <c:v>2.4761872915187801</c:v>
                </c:pt>
                <c:pt idx="15822">
                  <c:v>2.5674544889384601</c:v>
                </c:pt>
                <c:pt idx="15823">
                  <c:v>1.8497624365019201</c:v>
                </c:pt>
                <c:pt idx="15824">
                  <c:v>1.70456462242516</c:v>
                </c:pt>
                <c:pt idx="15825">
                  <c:v>1.6547825147416999</c:v>
                </c:pt>
                <c:pt idx="15826">
                  <c:v>1.6174459339791101</c:v>
                </c:pt>
                <c:pt idx="15827">
                  <c:v>1.6091489160318599</c:v>
                </c:pt>
                <c:pt idx="15828">
                  <c:v>1.5593668083484</c:v>
                </c:pt>
                <c:pt idx="15829">
                  <c:v>1.4888421557968401</c:v>
                </c:pt>
                <c:pt idx="15830">
                  <c:v>1.56351531732203</c:v>
                </c:pt>
                <c:pt idx="15831">
                  <c:v>1.5386242634803</c:v>
                </c:pt>
                <c:pt idx="15832">
                  <c:v>1.49713917374408</c:v>
                </c:pt>
                <c:pt idx="15833">
                  <c:v>1.5925548801373799</c:v>
                </c:pt>
                <c:pt idx="15834">
                  <c:v>1.3436443417200801</c:v>
                </c:pt>
                <c:pt idx="15835">
                  <c:v>1.30630776095749</c:v>
                </c:pt>
                <c:pt idx="15836">
                  <c:v>1.47224811990235</c:v>
                </c:pt>
                <c:pt idx="15837">
                  <c:v>1.51788171861219</c:v>
                </c:pt>
                <c:pt idx="15838">
                  <c:v>1.43906004811338</c:v>
                </c:pt>
                <c:pt idx="15839">
                  <c:v>1.56351531732203</c:v>
                </c:pt>
                <c:pt idx="15840">
                  <c:v>1.41831750324527</c:v>
                </c:pt>
                <c:pt idx="15841">
                  <c:v>1.4680996109287301</c:v>
                </c:pt>
                <c:pt idx="15842">
                  <c:v>1.0781397674083</c:v>
                </c:pt>
                <c:pt idx="15843">
                  <c:v>1.0491002045929501</c:v>
                </c:pt>
                <c:pt idx="15844">
                  <c:v>0.95368449819964796</c:v>
                </c:pt>
                <c:pt idx="15845">
                  <c:v>0.928793444357919</c:v>
                </c:pt>
                <c:pt idx="15846">
                  <c:v>1.0283576597248401</c:v>
                </c:pt>
                <c:pt idx="15847">
                  <c:v>0.79604115720202695</c:v>
                </c:pt>
                <c:pt idx="15848">
                  <c:v>0.63010079825716203</c:v>
                </c:pt>
                <c:pt idx="15849">
                  <c:v>0.559576145705594</c:v>
                </c:pt>
                <c:pt idx="15850">
                  <c:v>0.47245745725954003</c:v>
                </c:pt>
                <c:pt idx="15851">
                  <c:v>0.66328887004613502</c:v>
                </c:pt>
                <c:pt idx="15852">
                  <c:v>0.57202167262645898</c:v>
                </c:pt>
                <c:pt idx="15853">
                  <c:v>0.47245745725954003</c:v>
                </c:pt>
                <c:pt idx="15854">
                  <c:v>6.59035778446216E-2</c:v>
                </c:pt>
                <c:pt idx="15855">
                  <c:v>4.5161032976513499E-2</c:v>
                </c:pt>
                <c:pt idx="15856">
                  <c:v>2.8566997082027101E-2</c:v>
                </c:pt>
                <c:pt idx="15857">
                  <c:v>-4.19576554695405E-2</c:v>
                </c:pt>
                <c:pt idx="15858">
                  <c:v>-0.11663081699473</c:v>
                </c:pt>
                <c:pt idx="15859">
                  <c:v>0.153022266290676</c:v>
                </c:pt>
                <c:pt idx="15860">
                  <c:v>9.4943140659973002E-2</c:v>
                </c:pt>
                <c:pt idx="15861">
                  <c:v>1.61214701611622E-2</c:v>
                </c:pt>
                <c:pt idx="15862">
                  <c:v>-0.108333799047486</c:v>
                </c:pt>
                <c:pt idx="15863">
                  <c:v>-0.178858451599054</c:v>
                </c:pt>
                <c:pt idx="15864">
                  <c:v>2.0269979134783799E-2</c:v>
                </c:pt>
                <c:pt idx="15865">
                  <c:v>4.9309541950135198E-2</c:v>
                </c:pt>
                <c:pt idx="15866">
                  <c:v>-0.100036781100243</c:v>
                </c:pt>
                <c:pt idx="15867">
                  <c:v>-0.19960099646716201</c:v>
                </c:pt>
                <c:pt idx="15868">
                  <c:v>-9.5888272126621502E-2</c:v>
                </c:pt>
                <c:pt idx="15869">
                  <c:v>-0.21204652338802699</c:v>
                </c:pt>
                <c:pt idx="15870">
                  <c:v>0.202804373974135</c:v>
                </c:pt>
                <c:pt idx="15871">
                  <c:v>2.4418488108405401E-2</c:v>
                </c:pt>
                <c:pt idx="15872">
                  <c:v>-0.19960099646716201</c:v>
                </c:pt>
                <c:pt idx="15873">
                  <c:v>-0.19960099646716201</c:v>
                </c:pt>
                <c:pt idx="15874">
                  <c:v>-0.149818888783703</c:v>
                </c:pt>
                <c:pt idx="15875">
                  <c:v>-3.3660637522297199E-2</c:v>
                </c:pt>
                <c:pt idx="15876">
                  <c:v>0.107388667580838</c:v>
                </c:pt>
                <c:pt idx="15877">
                  <c:v>9.0794631686351407E-2</c:v>
                </c:pt>
                <c:pt idx="15878">
                  <c:v>-0.27842266696597301</c:v>
                </c:pt>
                <c:pt idx="15879">
                  <c:v>-0.20374950544078399</c:v>
                </c:pt>
                <c:pt idx="15880">
                  <c:v>-0.245234595177</c:v>
                </c:pt>
                <c:pt idx="15881">
                  <c:v>0.70477395978235102</c:v>
                </c:pt>
                <c:pt idx="15882">
                  <c:v>2.4418488108405401E-2</c:v>
                </c:pt>
                <c:pt idx="15883">
                  <c:v>-7.9294236232135107E-2</c:v>
                </c:pt>
                <c:pt idx="15884">
                  <c:v>6.1755068870999998E-2</c:v>
                </c:pt>
                <c:pt idx="15885">
                  <c:v>0.43926938547056699</c:v>
                </c:pt>
                <c:pt idx="15886">
                  <c:v>0.696476941835108</c:v>
                </c:pt>
                <c:pt idx="15887">
                  <c:v>0.76285308541305397</c:v>
                </c:pt>
                <c:pt idx="15888">
                  <c:v>0.57617018160008104</c:v>
                </c:pt>
                <c:pt idx="15889">
                  <c:v>0.87901133667445897</c:v>
                </c:pt>
                <c:pt idx="15890">
                  <c:v>0.57617018160008104</c:v>
                </c:pt>
                <c:pt idx="15891">
                  <c:v>0.75870457643943201</c:v>
                </c:pt>
                <c:pt idx="15892">
                  <c:v>0.76700159438667503</c:v>
                </c:pt>
                <c:pt idx="15893">
                  <c:v>0.91219940846343195</c:v>
                </c:pt>
                <c:pt idx="15894">
                  <c:v>0.696476941835108</c:v>
                </c:pt>
                <c:pt idx="15895">
                  <c:v>0.84167475591186403</c:v>
                </c:pt>
                <c:pt idx="15896">
                  <c:v>1.2606741622476501</c:v>
                </c:pt>
                <c:pt idx="15897">
                  <c:v>1.41002048529803</c:v>
                </c:pt>
                <c:pt idx="15898">
                  <c:v>1.4888421557968401</c:v>
                </c:pt>
                <c:pt idx="15899">
                  <c:v>1.56351531732203</c:v>
                </c:pt>
                <c:pt idx="15900">
                  <c:v>1.48054513784959</c:v>
                </c:pt>
                <c:pt idx="15901">
                  <c:v>1.5759608442428901</c:v>
                </c:pt>
                <c:pt idx="15902">
                  <c:v>1.5967033891110001</c:v>
                </c:pt>
                <c:pt idx="15903">
                  <c:v>1.51788171861219</c:v>
                </c:pt>
                <c:pt idx="15904">
                  <c:v>1.6547825147416999</c:v>
                </c:pt>
                <c:pt idx="15905">
                  <c:v>1.9036930531589991</c:v>
                </c:pt>
                <c:pt idx="15906">
                  <c:v>1.3477928506937</c:v>
                </c:pt>
                <c:pt idx="15907">
                  <c:v>1.4639511019551099</c:v>
                </c:pt>
                <c:pt idx="15908">
                  <c:v>1.5676638262956499</c:v>
                </c:pt>
                <c:pt idx="15909">
                  <c:v>1.6298914608999699</c:v>
                </c:pt>
                <c:pt idx="15910">
                  <c:v>1.8414654185546699</c:v>
                </c:pt>
                <c:pt idx="15911">
                  <c:v>1.87880199931727</c:v>
                </c:pt>
                <c:pt idx="15912">
                  <c:v>1.7211586583196501</c:v>
                </c:pt>
                <c:pt idx="15913">
                  <c:v>1.83316840060743</c:v>
                </c:pt>
                <c:pt idx="15914">
                  <c:v>2.0239998133940298</c:v>
                </c:pt>
                <c:pt idx="15915">
                  <c:v>1.98666323263143</c:v>
                </c:pt>
                <c:pt idx="15916">
                  <c:v>3.4178988285308902</c:v>
                </c:pt>
                <c:pt idx="15917">
                  <c:v>2.2521678069432198</c:v>
                </c:pt>
                <c:pt idx="15918">
                  <c:v>1.67137655063619</c:v>
                </c:pt>
                <c:pt idx="15919">
                  <c:v>1.6091489160318599</c:v>
                </c:pt>
                <c:pt idx="15920">
                  <c:v>1.6796735685834301</c:v>
                </c:pt>
                <c:pt idx="15921">
                  <c:v>1.8248713826601899</c:v>
                </c:pt>
                <c:pt idx="15922">
                  <c:v>1.9659206877633191</c:v>
                </c:pt>
                <c:pt idx="15923">
                  <c:v>1.6298914608999699</c:v>
                </c:pt>
                <c:pt idx="15924">
                  <c:v>1.7419012031877601</c:v>
                </c:pt>
                <c:pt idx="15925">
                  <c:v>1.8041288377920801</c:v>
                </c:pt>
                <c:pt idx="15926">
                  <c:v>1.6755250596098099</c:v>
                </c:pt>
                <c:pt idx="15927">
                  <c:v>1.66722804166257</c:v>
                </c:pt>
                <c:pt idx="15928">
                  <c:v>1.6921190955043</c:v>
                </c:pt>
                <c:pt idx="15929">
                  <c:v>1.5967033891110001</c:v>
                </c:pt>
                <c:pt idx="15930">
                  <c:v>1.7128616403724</c:v>
                </c:pt>
                <c:pt idx="15931">
                  <c:v>1.0739912584346789</c:v>
                </c:pt>
                <c:pt idx="15932">
                  <c:v>0.88730835462170199</c:v>
                </c:pt>
                <c:pt idx="15933">
                  <c:v>0.928793444357919</c:v>
                </c:pt>
                <c:pt idx="15934">
                  <c:v>1.0615457315138099</c:v>
                </c:pt>
                <c:pt idx="15935">
                  <c:v>0.92464493538429704</c:v>
                </c:pt>
                <c:pt idx="15936">
                  <c:v>0.89145686359532395</c:v>
                </c:pt>
                <c:pt idx="15937">
                  <c:v>0.94123897127878298</c:v>
                </c:pt>
                <c:pt idx="15938">
                  <c:v>0.75870457643943201</c:v>
                </c:pt>
                <c:pt idx="15939">
                  <c:v>0.82922922899100004</c:v>
                </c:pt>
                <c:pt idx="15940">
                  <c:v>0.72136799567683796</c:v>
                </c:pt>
                <c:pt idx="15941">
                  <c:v>0.79189264822840499</c:v>
                </c:pt>
                <c:pt idx="15942">
                  <c:v>0.54713061878472902</c:v>
                </c:pt>
                <c:pt idx="15943">
                  <c:v>0.41852684060245898</c:v>
                </c:pt>
                <c:pt idx="15944">
                  <c:v>0.54713061878472902</c:v>
                </c:pt>
                <c:pt idx="15945">
                  <c:v>0.61765527133629705</c:v>
                </c:pt>
                <c:pt idx="15946">
                  <c:v>0.41022982265521601</c:v>
                </c:pt>
                <c:pt idx="15947">
                  <c:v>0.58861570852094602</c:v>
                </c:pt>
                <c:pt idx="15948">
                  <c:v>0.45171491239143202</c:v>
                </c:pt>
                <c:pt idx="15949">
                  <c:v>0.41022982265521601</c:v>
                </c:pt>
                <c:pt idx="15950">
                  <c:v>6.59035778446216E-2</c:v>
                </c:pt>
                <c:pt idx="15951">
                  <c:v>0.45586342136505398</c:v>
                </c:pt>
                <c:pt idx="15952">
                  <c:v>0.269180517552081</c:v>
                </c:pt>
                <c:pt idx="15953">
                  <c:v>-6.2700200337648601E-2</c:v>
                </c:pt>
                <c:pt idx="15954">
                  <c:v>0.25258648165759501</c:v>
                </c:pt>
                <c:pt idx="15955">
                  <c:v>0.13642823039618901</c:v>
                </c:pt>
                <c:pt idx="15956">
                  <c:v>-7.5145727258513401E-2</c:v>
                </c:pt>
                <c:pt idx="15957">
                  <c:v>-0.11663081699473</c:v>
                </c:pt>
                <c:pt idx="15958">
                  <c:v>-0.19545248749353999</c:v>
                </c:pt>
                <c:pt idx="15959">
                  <c:v>-0.30331372080770302</c:v>
                </c:pt>
                <c:pt idx="15960">
                  <c:v>-0.41947197206910802</c:v>
                </c:pt>
                <c:pt idx="15961">
                  <c:v>-0.23278906825613499</c:v>
                </c:pt>
                <c:pt idx="15962">
                  <c:v>-0.24108608620337801</c:v>
                </c:pt>
                <c:pt idx="15963">
                  <c:v>-0.34479881054391898</c:v>
                </c:pt>
                <c:pt idx="15964">
                  <c:v>-0.43606600796359402</c:v>
                </c:pt>
                <c:pt idx="15965">
                  <c:v>-0.44021451693721603</c:v>
                </c:pt>
                <c:pt idx="15966">
                  <c:v>-0.24108608620337801</c:v>
                </c:pt>
                <c:pt idx="15967">
                  <c:v>-5.0254673416783698E-2</c:v>
                </c:pt>
                <c:pt idx="15968">
                  <c:v>-6.6848709311270196E-2</c:v>
                </c:pt>
                <c:pt idx="15969">
                  <c:v>-0.34479881054391898</c:v>
                </c:pt>
                <c:pt idx="15970">
                  <c:v>-0.104185290073865</c:v>
                </c:pt>
                <c:pt idx="15971">
                  <c:v>0.14472524834343201</c:v>
                </c:pt>
                <c:pt idx="15972">
                  <c:v>-6.6848709311270196E-2</c:v>
                </c:pt>
                <c:pt idx="15973">
                  <c:v>0.14472524834343201</c:v>
                </c:pt>
                <c:pt idx="15974">
                  <c:v>-7.0997218284891805E-2</c:v>
                </c:pt>
                <c:pt idx="15975">
                  <c:v>-0.16641292467818899</c:v>
                </c:pt>
                <c:pt idx="15976">
                  <c:v>-5.0254673416783698E-2</c:v>
                </c:pt>
                <c:pt idx="15977">
                  <c:v>0.231843936789486</c:v>
                </c:pt>
                <c:pt idx="15978">
                  <c:v>9.4943140659973002E-2</c:v>
                </c:pt>
                <c:pt idx="15979">
                  <c:v>0.153022266290676</c:v>
                </c:pt>
                <c:pt idx="15980">
                  <c:v>0.51394254699575703</c:v>
                </c:pt>
                <c:pt idx="15981">
                  <c:v>0.63010079825716203</c:v>
                </c:pt>
                <c:pt idx="15982">
                  <c:v>0.61350676236267498</c:v>
                </c:pt>
                <c:pt idx="15983">
                  <c:v>1.15696143790711</c:v>
                </c:pt>
                <c:pt idx="15984">
                  <c:v>1.01176362383035</c:v>
                </c:pt>
                <c:pt idx="15985">
                  <c:v>0.89145686359532395</c:v>
                </c:pt>
                <c:pt idx="15986">
                  <c:v>0.94538748025240504</c:v>
                </c:pt>
                <c:pt idx="15987">
                  <c:v>0.98687256998862105</c:v>
                </c:pt>
                <c:pt idx="15988">
                  <c:v>1.2938622340366199</c:v>
                </c:pt>
                <c:pt idx="15989">
                  <c:v>0.98272406101499998</c:v>
                </c:pt>
                <c:pt idx="15990">
                  <c:v>1.2399316173795389</c:v>
                </c:pt>
                <c:pt idx="15991">
                  <c:v>1.15696143790711</c:v>
                </c:pt>
                <c:pt idx="15992">
                  <c:v>1.41002048529803</c:v>
                </c:pt>
                <c:pt idx="15993">
                  <c:v>1.5386242634803</c:v>
                </c:pt>
                <c:pt idx="15994">
                  <c:v>1.5510697904011601</c:v>
                </c:pt>
                <c:pt idx="15995">
                  <c:v>1.52203022758581</c:v>
                </c:pt>
                <c:pt idx="15996">
                  <c:v>1.5676638262956499</c:v>
                </c:pt>
                <c:pt idx="15997">
                  <c:v>1.70456462242516</c:v>
                </c:pt>
                <c:pt idx="15998">
                  <c:v>1.5386242634803</c:v>
                </c:pt>
                <c:pt idx="15999">
                  <c:v>1.6547825147416999</c:v>
                </c:pt>
                <c:pt idx="16000">
                  <c:v>1.5925548801373799</c:v>
                </c:pt>
                <c:pt idx="16001">
                  <c:v>1.3560898686409499</c:v>
                </c:pt>
                <c:pt idx="16002">
                  <c:v>1.5344757545066701</c:v>
                </c:pt>
                <c:pt idx="16003">
                  <c:v>1.5469212814275399</c:v>
                </c:pt>
                <c:pt idx="16004">
                  <c:v>1.6174459339791101</c:v>
                </c:pt>
                <c:pt idx="16005">
                  <c:v>1.6340399698735899</c:v>
                </c:pt>
                <c:pt idx="16006">
                  <c:v>0.89145686359532395</c:v>
                </c:pt>
                <c:pt idx="16007">
                  <c:v>3.0320874939840792</c:v>
                </c:pt>
                <c:pt idx="16008">
                  <c:v>1.9659206877633191</c:v>
                </c:pt>
                <c:pt idx="16009">
                  <c:v>1.5095847006649501</c:v>
                </c:pt>
                <c:pt idx="16010">
                  <c:v>1.81657436471295</c:v>
                </c:pt>
                <c:pt idx="16011">
                  <c:v>1.56351531732203</c:v>
                </c:pt>
                <c:pt idx="16012">
                  <c:v>1.5884063711637599</c:v>
                </c:pt>
                <c:pt idx="16013">
                  <c:v>1.4639511019551099</c:v>
                </c:pt>
                <c:pt idx="16014">
                  <c:v>1.4432085570869999</c:v>
                </c:pt>
                <c:pt idx="16015">
                  <c:v>1.5967033891110001</c:v>
                </c:pt>
                <c:pt idx="16016">
                  <c:v>1.70871313139878</c:v>
                </c:pt>
                <c:pt idx="16017">
                  <c:v>1.4680996109287301</c:v>
                </c:pt>
                <c:pt idx="16018">
                  <c:v>1.52203022758581</c:v>
                </c:pt>
                <c:pt idx="16019">
                  <c:v>1.60500040705824</c:v>
                </c:pt>
                <c:pt idx="16020">
                  <c:v>1.5386242634803</c:v>
                </c:pt>
                <c:pt idx="16021">
                  <c:v>1.60500040705824</c:v>
                </c:pt>
                <c:pt idx="16022">
                  <c:v>1.48054513784959</c:v>
                </c:pt>
                <c:pt idx="16023">
                  <c:v>1.5884063711637599</c:v>
                </c:pt>
                <c:pt idx="16024">
                  <c:v>1.62574295192635</c:v>
                </c:pt>
                <c:pt idx="16025">
                  <c:v>1.5593668083484</c:v>
                </c:pt>
                <c:pt idx="16026">
                  <c:v>1.49713917374408</c:v>
                </c:pt>
                <c:pt idx="16027">
                  <c:v>0.59276421749456698</c:v>
                </c:pt>
                <c:pt idx="16028">
                  <c:v>0.22354691884224301</c:v>
                </c:pt>
                <c:pt idx="16029">
                  <c:v>0.19450735602689201</c:v>
                </c:pt>
                <c:pt idx="16030">
                  <c:v>-4.19576554695405E-2</c:v>
                </c:pt>
                <c:pt idx="16031">
                  <c:v>-0.19130397851991901</c:v>
                </c:pt>
                <c:pt idx="16032">
                  <c:v>-5.0254673416783698E-2</c:v>
                </c:pt>
                <c:pt idx="16033">
                  <c:v>7.0052086818243306E-2</c:v>
                </c:pt>
                <c:pt idx="16034">
                  <c:v>7.0052086818243306E-2</c:v>
                </c:pt>
                <c:pt idx="16035">
                  <c:v>-0.108333799047486</c:v>
                </c:pt>
                <c:pt idx="16036">
                  <c:v>-0.25768012209786501</c:v>
                </c:pt>
                <c:pt idx="16037">
                  <c:v>-0.22449205030889199</c:v>
                </c:pt>
                <c:pt idx="16038">
                  <c:v>-0.274274157992351</c:v>
                </c:pt>
                <c:pt idx="16039">
                  <c:v>0.123982703475324</c:v>
                </c:pt>
                <c:pt idx="16040">
                  <c:v>-0.13737336186283799</c:v>
                </c:pt>
                <c:pt idx="16041">
                  <c:v>-0.30746222978132398</c:v>
                </c:pt>
                <c:pt idx="16042">
                  <c:v>-0.15396739775732399</c:v>
                </c:pt>
                <c:pt idx="16043">
                  <c:v>-0.28671968491321598</c:v>
                </c:pt>
                <c:pt idx="16044">
                  <c:v>-0.39872942720100002</c:v>
                </c:pt>
                <c:pt idx="16045">
                  <c:v>-0.17470994262543199</c:v>
                </c:pt>
                <c:pt idx="16046">
                  <c:v>-0.35724433746478401</c:v>
                </c:pt>
                <c:pt idx="16047">
                  <c:v>-0.30746222978132398</c:v>
                </c:pt>
                <c:pt idx="16048">
                  <c:v>-0.37383837335927</c:v>
                </c:pt>
                <c:pt idx="16049">
                  <c:v>-0.44021451693721603</c:v>
                </c:pt>
                <c:pt idx="16050">
                  <c:v>-0.35724433746478401</c:v>
                </c:pt>
                <c:pt idx="16051">
                  <c:v>-0.390432409253757</c:v>
                </c:pt>
                <c:pt idx="16052">
                  <c:v>-0.48584811564705399</c:v>
                </c:pt>
                <c:pt idx="16053">
                  <c:v>-0.53563022333051302</c:v>
                </c:pt>
                <c:pt idx="16054">
                  <c:v>-0.42776899001635099</c:v>
                </c:pt>
                <c:pt idx="16055">
                  <c:v>-0.37383837335927</c:v>
                </c:pt>
                <c:pt idx="16056">
                  <c:v>-0.431917498989973</c:v>
                </c:pt>
                <c:pt idx="16057">
                  <c:v>-0.40287793617462098</c:v>
                </c:pt>
                <c:pt idx="16058">
                  <c:v>-0.32405626567581097</c:v>
                </c:pt>
                <c:pt idx="16059">
                  <c:v>-0.448511534884459</c:v>
                </c:pt>
                <c:pt idx="16060">
                  <c:v>-0.37383837335927</c:v>
                </c:pt>
                <c:pt idx="16061">
                  <c:v>-0.28257117593959402</c:v>
                </c:pt>
                <c:pt idx="16062">
                  <c:v>-0.41947197206910802</c:v>
                </c:pt>
                <c:pt idx="16063">
                  <c:v>-0.46095706180532398</c:v>
                </c:pt>
                <c:pt idx="16064">
                  <c:v>-0.34065030157029702</c:v>
                </c:pt>
                <c:pt idx="16065">
                  <c:v>-0.58956083998759401</c:v>
                </c:pt>
                <c:pt idx="16066">
                  <c:v>-0.46095706180532398</c:v>
                </c:pt>
                <c:pt idx="16067">
                  <c:v>-0.274274157992351</c:v>
                </c:pt>
                <c:pt idx="16068">
                  <c:v>-0.49414513359429701</c:v>
                </c:pt>
                <c:pt idx="16069">
                  <c:v>-0.431917498989973</c:v>
                </c:pt>
                <c:pt idx="16070">
                  <c:v>-0.411174954121865</c:v>
                </c:pt>
                <c:pt idx="16071">
                  <c:v>-0.46095706180532398</c:v>
                </c:pt>
                <c:pt idx="16072">
                  <c:v>-0.23278906825613499</c:v>
                </c:pt>
                <c:pt idx="16073">
                  <c:v>-0.30331372080770302</c:v>
                </c:pt>
                <c:pt idx="16074">
                  <c:v>-0.41947197206910802</c:v>
                </c:pt>
                <c:pt idx="16075">
                  <c:v>-0.38213539130651297</c:v>
                </c:pt>
                <c:pt idx="16076">
                  <c:v>-0.38628390028013498</c:v>
                </c:pt>
                <c:pt idx="16077">
                  <c:v>-0.26597714004510797</c:v>
                </c:pt>
                <c:pt idx="16078">
                  <c:v>3.6759432402973299E-3</c:v>
                </c:pt>
                <c:pt idx="16079">
                  <c:v>-1.7066601627810801E-2</c:v>
                </c:pt>
                <c:pt idx="16080">
                  <c:v>0.289923062420189</c:v>
                </c:pt>
                <c:pt idx="16081">
                  <c:v>0.41437833162883803</c:v>
                </c:pt>
                <c:pt idx="16082">
                  <c:v>0.202804373974135</c:v>
                </c:pt>
                <c:pt idx="16083">
                  <c:v>1.61214701611622E-2</c:v>
                </c:pt>
                <c:pt idx="16084">
                  <c:v>0.327259643182784</c:v>
                </c:pt>
                <c:pt idx="16085">
                  <c:v>0.38948727778710801</c:v>
                </c:pt>
                <c:pt idx="16086">
                  <c:v>-0.11663081699473</c:v>
                </c:pt>
                <c:pt idx="16087">
                  <c:v>0.56787316365283802</c:v>
                </c:pt>
                <c:pt idx="16088">
                  <c:v>0.56787316365283802</c:v>
                </c:pt>
                <c:pt idx="16089">
                  <c:v>0.34385367907726999</c:v>
                </c:pt>
                <c:pt idx="16090">
                  <c:v>0.17791332013240499</c:v>
                </c:pt>
                <c:pt idx="16091">
                  <c:v>0.51394254699575703</c:v>
                </c:pt>
                <c:pt idx="16092">
                  <c:v>0.269180517552081</c:v>
                </c:pt>
                <c:pt idx="16093">
                  <c:v>0.50979403802213497</c:v>
                </c:pt>
                <c:pt idx="16094">
                  <c:v>0.42267534957608099</c:v>
                </c:pt>
                <c:pt idx="16095">
                  <c:v>-4.19576554695405E-2</c:v>
                </c:pt>
                <c:pt idx="16096">
                  <c:v>0.75040755849218899</c:v>
                </c:pt>
                <c:pt idx="16097">
                  <c:v>0.70892246875597298</c:v>
                </c:pt>
                <c:pt idx="16098">
                  <c:v>0.70892246875597298</c:v>
                </c:pt>
                <c:pt idx="16099">
                  <c:v>0.37704175086624298</c:v>
                </c:pt>
                <c:pt idx="16100">
                  <c:v>0.36044771497175698</c:v>
                </c:pt>
                <c:pt idx="16101">
                  <c:v>0.65084334312527004</c:v>
                </c:pt>
                <c:pt idx="16102">
                  <c:v>0.92464493538429704</c:v>
                </c:pt>
                <c:pt idx="16103">
                  <c:v>0.75870457643943201</c:v>
                </c:pt>
                <c:pt idx="16104">
                  <c:v>0.52223956494299995</c:v>
                </c:pt>
                <c:pt idx="16105">
                  <c:v>0.47245745725954003</c:v>
                </c:pt>
                <c:pt idx="16106">
                  <c:v>0.36044771497175698</c:v>
                </c:pt>
                <c:pt idx="16107">
                  <c:v>0.49734851110126999</c:v>
                </c:pt>
                <c:pt idx="16108">
                  <c:v>0.55542763673197304</c:v>
                </c:pt>
                <c:pt idx="16109">
                  <c:v>0.39778429573435098</c:v>
                </c:pt>
                <c:pt idx="16110">
                  <c:v>0.601061235441811</c:v>
                </c:pt>
                <c:pt idx="16111">
                  <c:v>0.64669483415164797</c:v>
                </c:pt>
                <c:pt idx="16112">
                  <c:v>0.161319284237919</c:v>
                </c:pt>
                <c:pt idx="16113">
                  <c:v>0.22354691884224301</c:v>
                </c:pt>
                <c:pt idx="16114">
                  <c:v>7.0052086818243306E-2</c:v>
                </c:pt>
                <c:pt idx="16115">
                  <c:v>0.19450735602689201</c:v>
                </c:pt>
                <c:pt idx="16116">
                  <c:v>0.29822008036743203</c:v>
                </c:pt>
                <c:pt idx="16117">
                  <c:v>-4.62107470694591E-3</c:v>
                </c:pt>
                <c:pt idx="16118">
                  <c:v>0.24014095473673</c:v>
                </c:pt>
                <c:pt idx="16119">
                  <c:v>0.31481411626191902</c:v>
                </c:pt>
                <c:pt idx="16120">
                  <c:v>-0.16226441570456701</c:v>
                </c:pt>
                <c:pt idx="16121">
                  <c:v>0.24014095473673</c:v>
                </c:pt>
                <c:pt idx="16122">
                  <c:v>-4.19576554695405E-2</c:v>
                </c:pt>
                <c:pt idx="16123">
                  <c:v>-2.95121285486756E-2</c:v>
                </c:pt>
                <c:pt idx="16124">
                  <c:v>0.14472524834343201</c:v>
                </c:pt>
                <c:pt idx="16125">
                  <c:v>0.12813121244894601</c:v>
                </c:pt>
                <c:pt idx="16126">
                  <c:v>-6.2700200337648601E-2</c:v>
                </c:pt>
                <c:pt idx="16127">
                  <c:v>0.248437972683973</c:v>
                </c:pt>
                <c:pt idx="16128">
                  <c:v>-0.21204652338802699</c:v>
                </c:pt>
                <c:pt idx="16129">
                  <c:v>4.9309541950135198E-2</c:v>
                </c:pt>
                <c:pt idx="16130">
                  <c:v>-4.19576554695405E-2</c:v>
                </c:pt>
                <c:pt idx="16131">
                  <c:v>-0.25768012209786501</c:v>
                </c:pt>
                <c:pt idx="16132">
                  <c:v>-9.5888272126621502E-2</c:v>
                </c:pt>
                <c:pt idx="16133">
                  <c:v>-0.22034354133527001</c:v>
                </c:pt>
                <c:pt idx="16134">
                  <c:v>-0.38213539130651297</c:v>
                </c:pt>
                <c:pt idx="16135">
                  <c:v>-0.20374950544078399</c:v>
                </c:pt>
                <c:pt idx="16136">
                  <c:v>-0.17056143365181101</c:v>
                </c:pt>
                <c:pt idx="16137">
                  <c:v>-0.100036781100243</c:v>
                </c:pt>
                <c:pt idx="16138">
                  <c:v>-0.353095828491162</c:v>
                </c:pt>
                <c:pt idx="16139">
                  <c:v>-0.34065030157029702</c:v>
                </c:pt>
                <c:pt idx="16140">
                  <c:v>-0.59370934896121597</c:v>
                </c:pt>
                <c:pt idx="16141">
                  <c:v>-0.52318469640964804</c:v>
                </c:pt>
                <c:pt idx="16142">
                  <c:v>-0.178858451599054</c:v>
                </c:pt>
                <c:pt idx="16143">
                  <c:v>-0.34065030157029702</c:v>
                </c:pt>
                <c:pt idx="16144">
                  <c:v>-0.56881829511948601</c:v>
                </c:pt>
                <c:pt idx="16145">
                  <c:v>-0.60615487588208095</c:v>
                </c:pt>
                <c:pt idx="16146">
                  <c:v>-0.45680855283170202</c:v>
                </c:pt>
                <c:pt idx="16147">
                  <c:v>-0.489996624620675</c:v>
                </c:pt>
                <c:pt idx="16148">
                  <c:v>-0.16226441570456701</c:v>
                </c:pt>
                <c:pt idx="16149">
                  <c:v>-0.469254079752567</c:v>
                </c:pt>
                <c:pt idx="16150">
                  <c:v>-0.40287793617462098</c:v>
                </c:pt>
                <c:pt idx="16151">
                  <c:v>-0.44021451693721603</c:v>
                </c:pt>
                <c:pt idx="16152">
                  <c:v>-0.43606600796359402</c:v>
                </c:pt>
                <c:pt idx="16153">
                  <c:v>-0.48169960667343198</c:v>
                </c:pt>
                <c:pt idx="16154">
                  <c:v>-0.274274157992351</c:v>
                </c:pt>
                <c:pt idx="16155">
                  <c:v>-0.489996624620675</c:v>
                </c:pt>
                <c:pt idx="16156">
                  <c:v>-0.32405626567581097</c:v>
                </c:pt>
                <c:pt idx="16157">
                  <c:v>-0.53148171435689195</c:v>
                </c:pt>
                <c:pt idx="16158">
                  <c:v>-0.36968986438564799</c:v>
                </c:pt>
                <c:pt idx="16159">
                  <c:v>-0.27842266696597301</c:v>
                </c:pt>
                <c:pt idx="16160">
                  <c:v>-7.5145727258513401E-2</c:v>
                </c:pt>
                <c:pt idx="16161">
                  <c:v>-0.11663081699473</c:v>
                </c:pt>
                <c:pt idx="16162">
                  <c:v>0.202804373974135</c:v>
                </c:pt>
                <c:pt idx="16163">
                  <c:v>-0.22449205030889199</c:v>
                </c:pt>
                <c:pt idx="16164">
                  <c:v>-8.7695836805675303E-3</c:v>
                </c:pt>
                <c:pt idx="16165">
                  <c:v>-0.28257117593959402</c:v>
                </c:pt>
                <c:pt idx="16166">
                  <c:v>-0.245234595177</c:v>
                </c:pt>
                <c:pt idx="16167">
                  <c:v>-0.27012564901872999</c:v>
                </c:pt>
                <c:pt idx="16168">
                  <c:v>-0.19960099646716201</c:v>
                </c:pt>
                <c:pt idx="16169">
                  <c:v>-0.31575924772856701</c:v>
                </c:pt>
                <c:pt idx="16170">
                  <c:v>-6.2700200337648601E-2</c:v>
                </c:pt>
                <c:pt idx="16171">
                  <c:v>-0.34479881054391898</c:v>
                </c:pt>
                <c:pt idx="16172">
                  <c:v>-0.22864055928251301</c:v>
                </c:pt>
                <c:pt idx="16173">
                  <c:v>-0.38213539130651297</c:v>
                </c:pt>
                <c:pt idx="16174">
                  <c:v>-0.353095828491162</c:v>
                </c:pt>
                <c:pt idx="16175">
                  <c:v>-4.19576554695405E-2</c:v>
                </c:pt>
                <c:pt idx="16176">
                  <c:v>-0.25768012209786501</c:v>
                </c:pt>
                <c:pt idx="16177">
                  <c:v>-0.19130397851991901</c:v>
                </c:pt>
                <c:pt idx="16178">
                  <c:v>-0.26597714004510797</c:v>
                </c:pt>
                <c:pt idx="16179">
                  <c:v>-0.28257117593959402</c:v>
                </c:pt>
                <c:pt idx="16180">
                  <c:v>-0.44436302591083798</c:v>
                </c:pt>
                <c:pt idx="16181">
                  <c:v>-0.149818888783703</c:v>
                </c:pt>
                <c:pt idx="16182">
                  <c:v>-0.39458091822737801</c:v>
                </c:pt>
                <c:pt idx="16183">
                  <c:v>0.14887375731705399</c:v>
                </c:pt>
                <c:pt idx="16184">
                  <c:v>0.269180517552081</c:v>
                </c:pt>
                <c:pt idx="16185">
                  <c:v>2.4418488108405401E-2</c:v>
                </c:pt>
                <c:pt idx="16186">
                  <c:v>3.2715506055648699E-2</c:v>
                </c:pt>
                <c:pt idx="16187">
                  <c:v>-1.7066601627810801E-2</c:v>
                </c:pt>
                <c:pt idx="16188">
                  <c:v>4.1012524002891897E-2</c:v>
                </c:pt>
                <c:pt idx="16189">
                  <c:v>-4.62107470694591E-3</c:v>
                </c:pt>
                <c:pt idx="16190">
                  <c:v>3.6864015029270301E-2</c:v>
                </c:pt>
                <c:pt idx="16191">
                  <c:v>-0.24108608620337801</c:v>
                </c:pt>
                <c:pt idx="16192">
                  <c:v>0.42682385854970301</c:v>
                </c:pt>
                <c:pt idx="16193">
                  <c:v>0.60520974441543196</c:v>
                </c:pt>
                <c:pt idx="16194">
                  <c:v>1.1113278391972701</c:v>
                </c:pt>
                <c:pt idx="16195">
                  <c:v>0.63839781620440506</c:v>
                </c:pt>
                <c:pt idx="16196">
                  <c:v>0.94538748025240504</c:v>
                </c:pt>
                <c:pt idx="16197">
                  <c:v>0.76700159438667503</c:v>
                </c:pt>
                <c:pt idx="16198">
                  <c:v>0.87486282770083701</c:v>
                </c:pt>
                <c:pt idx="16199">
                  <c:v>0.93709046230516202</c:v>
                </c:pt>
                <c:pt idx="16200">
                  <c:v>0.63839781620440506</c:v>
                </c:pt>
                <c:pt idx="16201">
                  <c:v>0.559576145705594</c:v>
                </c:pt>
                <c:pt idx="16202">
                  <c:v>0.57202167262645898</c:v>
                </c:pt>
                <c:pt idx="16203">
                  <c:v>0.56787316365283802</c:v>
                </c:pt>
                <c:pt idx="16204">
                  <c:v>0.63839781620440506</c:v>
                </c:pt>
                <c:pt idx="16205">
                  <c:v>0.87071431872721605</c:v>
                </c:pt>
                <c:pt idx="16206">
                  <c:v>0.98272406101499998</c:v>
                </c:pt>
                <c:pt idx="16207">
                  <c:v>0.90390239051618904</c:v>
                </c:pt>
                <c:pt idx="16208">
                  <c:v>1.0200606417775899</c:v>
                </c:pt>
                <c:pt idx="16209">
                  <c:v>1.01176362383035</c:v>
                </c:pt>
                <c:pt idx="16210">
                  <c:v>0.57202167262645898</c:v>
                </c:pt>
                <c:pt idx="16211">
                  <c:v>0.78359563028116197</c:v>
                </c:pt>
                <c:pt idx="16212">
                  <c:v>0.68403141491424302</c:v>
                </c:pt>
                <c:pt idx="16213">
                  <c:v>0.52638807391662101</c:v>
                </c:pt>
                <c:pt idx="16214">
                  <c:v>0.61350676236267498</c:v>
                </c:pt>
                <c:pt idx="16215">
                  <c:v>0.63010079825716203</c:v>
                </c:pt>
                <c:pt idx="16216">
                  <c:v>0.580318690573702</c:v>
                </c:pt>
                <c:pt idx="16217">
                  <c:v>0.72966501362408098</c:v>
                </c:pt>
                <c:pt idx="16218">
                  <c:v>0.717219486703216</c:v>
                </c:pt>
                <c:pt idx="16219">
                  <c:v>0.78359563028116197</c:v>
                </c:pt>
                <c:pt idx="16220">
                  <c:v>0.70062545080872896</c:v>
                </c:pt>
                <c:pt idx="16221">
                  <c:v>0.717219486703216</c:v>
                </c:pt>
                <c:pt idx="16222">
                  <c:v>0.65084334312527004</c:v>
                </c:pt>
                <c:pt idx="16223">
                  <c:v>0.53883360083748599</c:v>
                </c:pt>
                <c:pt idx="16224">
                  <c:v>0.31066560728829701</c:v>
                </c:pt>
                <c:pt idx="16225">
                  <c:v>0.675734396967</c:v>
                </c:pt>
                <c:pt idx="16226">
                  <c:v>0.84997177385910805</c:v>
                </c:pt>
                <c:pt idx="16227">
                  <c:v>0.71307097772959405</c:v>
                </c:pt>
                <c:pt idx="16228">
                  <c:v>0.61765527133629705</c:v>
                </c:pt>
                <c:pt idx="16229">
                  <c:v>0.35629920599813503</c:v>
                </c:pt>
                <c:pt idx="16230">
                  <c:v>0.58861570852094602</c:v>
                </c:pt>
                <c:pt idx="16231">
                  <c:v>0.58446719954732396</c:v>
                </c:pt>
                <c:pt idx="16232">
                  <c:v>0.59276421749456698</c:v>
                </c:pt>
                <c:pt idx="16233">
                  <c:v>0.72136799567683796</c:v>
                </c:pt>
                <c:pt idx="16234">
                  <c:v>0.49320000212764797</c:v>
                </c:pt>
                <c:pt idx="16235">
                  <c:v>0.601061235441811</c:v>
                </c:pt>
                <c:pt idx="16236">
                  <c:v>0.173764811158784</c:v>
                </c:pt>
                <c:pt idx="16237">
                  <c:v>-2.95121285486756E-2</c:v>
                </c:pt>
                <c:pt idx="16238">
                  <c:v>0.50979403802213497</c:v>
                </c:pt>
                <c:pt idx="16239">
                  <c:v>0.38119025983986499</c:v>
                </c:pt>
                <c:pt idx="16240">
                  <c:v>0.21524990089500001</c:v>
                </c:pt>
                <c:pt idx="16241">
                  <c:v>0.202804373974135</c:v>
                </c:pt>
                <c:pt idx="16242">
                  <c:v>0.14887375731705399</c:v>
                </c:pt>
                <c:pt idx="16243">
                  <c:v>-0.124927834941973</c:v>
                </c:pt>
                <c:pt idx="16244">
                  <c:v>-7.9294236232135107E-2</c:v>
                </c:pt>
                <c:pt idx="16245">
                  <c:v>-3.7809146495918898E-2</c:v>
                </c:pt>
                <c:pt idx="16246">
                  <c:v>0.16961630218516199</c:v>
                </c:pt>
                <c:pt idx="16247">
                  <c:v>0.14057673936981099</c:v>
                </c:pt>
                <c:pt idx="16248">
                  <c:v>1.19729611875406E-2</c:v>
                </c:pt>
                <c:pt idx="16249">
                  <c:v>7.8244522139189494E-3</c:v>
                </c:pt>
                <c:pt idx="16250">
                  <c:v>-0.14152187083645901</c:v>
                </c:pt>
                <c:pt idx="16251">
                  <c:v>-0.11663081699473</c:v>
                </c:pt>
                <c:pt idx="16252">
                  <c:v>-0.187155469546297</c:v>
                </c:pt>
                <c:pt idx="16253">
                  <c:v>-0.245234595177</c:v>
                </c:pt>
                <c:pt idx="16254">
                  <c:v>0.103240158607216</c:v>
                </c:pt>
                <c:pt idx="16255">
                  <c:v>-0.120779325968351</c:v>
                </c:pt>
                <c:pt idx="16256">
                  <c:v>-4.19576554695405E-2</c:v>
                </c:pt>
                <c:pt idx="16257">
                  <c:v>-0.11248230802110799</c:v>
                </c:pt>
                <c:pt idx="16258">
                  <c:v>0.14472524834343201</c:v>
                </c:pt>
                <c:pt idx="16259">
                  <c:v>0.14472524834343201</c:v>
                </c:pt>
                <c:pt idx="16260">
                  <c:v>0.211101391921378</c:v>
                </c:pt>
                <c:pt idx="16261">
                  <c:v>7.4200595791864901E-2</c:v>
                </c:pt>
                <c:pt idx="16262">
                  <c:v>0.39778429573435098</c:v>
                </c:pt>
                <c:pt idx="16263">
                  <c:v>0.61765527133629705</c:v>
                </c:pt>
                <c:pt idx="16264">
                  <c:v>0.289923062420189</c:v>
                </c:pt>
                <c:pt idx="16265">
                  <c:v>0.48905149315402702</c:v>
                </c:pt>
                <c:pt idx="16266">
                  <c:v>0.53883360083748599</c:v>
                </c:pt>
                <c:pt idx="16267">
                  <c:v>0.45171491239143202</c:v>
                </c:pt>
                <c:pt idx="16268">
                  <c:v>0.696476941835108</c:v>
                </c:pt>
                <c:pt idx="16269">
                  <c:v>0.59276421749456698</c:v>
                </c:pt>
                <c:pt idx="16270">
                  <c:v>1.43491153913976</c:v>
                </c:pt>
                <c:pt idx="16271">
                  <c:v>1.2606741622476501</c:v>
                </c:pt>
                <c:pt idx="16272">
                  <c:v>1.2565256532740301</c:v>
                </c:pt>
                <c:pt idx="16273">
                  <c:v>1.31045626993111</c:v>
                </c:pt>
                <c:pt idx="16274">
                  <c:v>1.1445159109862399</c:v>
                </c:pt>
                <c:pt idx="16275">
                  <c:v>1.2565256532740301</c:v>
                </c:pt>
                <c:pt idx="16276">
                  <c:v>0.88315984564808103</c:v>
                </c:pt>
                <c:pt idx="16277">
                  <c:v>1.2772681981421301</c:v>
                </c:pt>
                <c:pt idx="16278">
                  <c:v>1.26897118019489</c:v>
                </c:pt>
                <c:pt idx="16279">
                  <c:v>1.3809809224826799</c:v>
                </c:pt>
                <c:pt idx="16280">
                  <c:v>1.5510697904011601</c:v>
                </c:pt>
                <c:pt idx="16281">
                  <c:v>1.6298914608999699</c:v>
                </c:pt>
                <c:pt idx="16282">
                  <c:v>1.60500040705824</c:v>
                </c:pt>
                <c:pt idx="16283">
                  <c:v>1.72945567626689</c:v>
                </c:pt>
                <c:pt idx="16284">
                  <c:v>1.6921190955043</c:v>
                </c:pt>
                <c:pt idx="16285">
                  <c:v>1.5469212814275399</c:v>
                </c:pt>
                <c:pt idx="16286">
                  <c:v>1.5261787365594299</c:v>
                </c:pt>
                <c:pt idx="16287">
                  <c:v>1.48054513784959</c:v>
                </c:pt>
                <c:pt idx="16288">
                  <c:v>1.4058719763244001</c:v>
                </c:pt>
                <c:pt idx="16289">
                  <c:v>1.4888421557968401</c:v>
                </c:pt>
                <c:pt idx="16290">
                  <c:v>1.5344757545066701</c:v>
                </c:pt>
                <c:pt idx="16291">
                  <c:v>3.1938793439553201</c:v>
                </c:pt>
                <c:pt idx="16292">
                  <c:v>2.899335206828189</c:v>
                </c:pt>
                <c:pt idx="16293">
                  <c:v>2.4264051838353189</c:v>
                </c:pt>
                <c:pt idx="16294">
                  <c:v>1.8082773467657001</c:v>
                </c:pt>
                <c:pt idx="16295">
                  <c:v>2.2480192979695901</c:v>
                </c:pt>
                <c:pt idx="16296">
                  <c:v>2.2812073697585702</c:v>
                </c:pt>
                <c:pt idx="16297">
                  <c:v>2.0032572685259198</c:v>
                </c:pt>
                <c:pt idx="16298">
                  <c:v>2.08622744799835</c:v>
                </c:pt>
                <c:pt idx="16299">
                  <c:v>1.8829505082908899</c:v>
                </c:pt>
                <c:pt idx="16300">
                  <c:v>1.8041288377920801</c:v>
                </c:pt>
                <c:pt idx="16301">
                  <c:v>1.7626437480558601</c:v>
                </c:pt>
                <c:pt idx="16302">
                  <c:v>1.6174459339791101</c:v>
                </c:pt>
                <c:pt idx="16303">
                  <c:v>1.7792377839503499</c:v>
                </c:pt>
                <c:pt idx="16304">
                  <c:v>1.8870990172645099</c:v>
                </c:pt>
                <c:pt idx="16305">
                  <c:v>1.7128616403724</c:v>
                </c:pt>
                <c:pt idx="16306">
                  <c:v>1.9285841070007299</c:v>
                </c:pt>
                <c:pt idx="16307">
                  <c:v>1.7128616403724</c:v>
                </c:pt>
                <c:pt idx="16308">
                  <c:v>1.9908117416050499</c:v>
                </c:pt>
                <c:pt idx="16309">
                  <c:v>1.87465349034365</c:v>
                </c:pt>
                <c:pt idx="16310">
                  <c:v>1.7667922570294901</c:v>
                </c:pt>
                <c:pt idx="16311">
                  <c:v>1.7377526942141299</c:v>
                </c:pt>
                <c:pt idx="16312">
                  <c:v>1.73360418524051</c:v>
                </c:pt>
                <c:pt idx="16313">
                  <c:v>1.5137332096385701</c:v>
                </c:pt>
                <c:pt idx="16314">
                  <c:v>1.5593668083484</c:v>
                </c:pt>
                <c:pt idx="16315">
                  <c:v>1.3602383776145699</c:v>
                </c:pt>
                <c:pt idx="16316">
                  <c:v>1.3353473237728399</c:v>
                </c:pt>
                <c:pt idx="16317">
                  <c:v>1.4266145211925101</c:v>
                </c:pt>
                <c:pt idx="16318">
                  <c:v>1.2772681981421301</c:v>
                </c:pt>
                <c:pt idx="16319">
                  <c:v>1.47224811990235</c:v>
                </c:pt>
                <c:pt idx="16320">
                  <c:v>1.20259503661695</c:v>
                </c:pt>
                <c:pt idx="16321">
                  <c:v>1.28556521608938</c:v>
                </c:pt>
                <c:pt idx="16322">
                  <c:v>1.1694069648279699</c:v>
                </c:pt>
                <c:pt idx="16323">
                  <c:v>1.2316345994322999</c:v>
                </c:pt>
                <c:pt idx="16324">
                  <c:v>1.1901495096960799</c:v>
                </c:pt>
                <c:pt idx="16325">
                  <c:v>0.93294195333153995</c:v>
                </c:pt>
                <c:pt idx="16326">
                  <c:v>0.98687256998862105</c:v>
                </c:pt>
                <c:pt idx="16327">
                  <c:v>0.57202167262645898</c:v>
                </c:pt>
                <c:pt idx="16328">
                  <c:v>0.45171491239143202</c:v>
                </c:pt>
                <c:pt idx="16329">
                  <c:v>0.58446719954732396</c:v>
                </c:pt>
                <c:pt idx="16330">
                  <c:v>0.70477395978235102</c:v>
                </c:pt>
                <c:pt idx="16331">
                  <c:v>0.50149702007489205</c:v>
                </c:pt>
                <c:pt idx="16332">
                  <c:v>0.21524990089500001</c:v>
                </c:pt>
                <c:pt idx="16333">
                  <c:v>0.11568568552808101</c:v>
                </c:pt>
                <c:pt idx="16334">
                  <c:v>-2.1215110601432399E-2</c:v>
                </c:pt>
                <c:pt idx="16335">
                  <c:v>9.9091649633594597E-2</c:v>
                </c:pt>
                <c:pt idx="16336">
                  <c:v>2.0269979134783799E-2</c:v>
                </c:pt>
                <c:pt idx="16337">
                  <c:v>0.22769542781586499</c:v>
                </c:pt>
                <c:pt idx="16338">
                  <c:v>0.20695288294775699</c:v>
                </c:pt>
                <c:pt idx="16339">
                  <c:v>-0.13737336186283799</c:v>
                </c:pt>
                <c:pt idx="16340">
                  <c:v>6.59035778446216E-2</c:v>
                </c:pt>
                <c:pt idx="16341">
                  <c:v>4.9309541950135198E-2</c:v>
                </c:pt>
                <c:pt idx="16342">
                  <c:v>-8.7695836805675303E-3</c:v>
                </c:pt>
                <c:pt idx="16343">
                  <c:v>-0.108333799047486</c:v>
                </c:pt>
                <c:pt idx="16344">
                  <c:v>-2.95121285486756E-2</c:v>
                </c:pt>
                <c:pt idx="16345">
                  <c:v>1.61214701611622E-2</c:v>
                </c:pt>
                <c:pt idx="16346">
                  <c:v>-0.236937577229757</c:v>
                </c:pt>
                <c:pt idx="16347">
                  <c:v>-5.8551691364026999E-2</c:v>
                </c:pt>
                <c:pt idx="16348">
                  <c:v>-0.47340258872618901</c:v>
                </c:pt>
                <c:pt idx="16349">
                  <c:v>-0.48584811564705399</c:v>
                </c:pt>
                <c:pt idx="16350">
                  <c:v>-0.31161073875494599</c:v>
                </c:pt>
                <c:pt idx="16351">
                  <c:v>-0.51073916948878395</c:v>
                </c:pt>
                <c:pt idx="16352">
                  <c:v>-0.411174954121865</c:v>
                </c:pt>
                <c:pt idx="16353">
                  <c:v>-0.25353161312424299</c:v>
                </c:pt>
                <c:pt idx="16354">
                  <c:v>0.24014095473673</c:v>
                </c:pt>
                <c:pt idx="16355">
                  <c:v>-0.149818888783703</c:v>
                </c:pt>
                <c:pt idx="16356">
                  <c:v>-0.11248230802110799</c:v>
                </c:pt>
                <c:pt idx="16357">
                  <c:v>-0.25768012209786501</c:v>
                </c:pt>
                <c:pt idx="16358">
                  <c:v>-0.14567037981008099</c:v>
                </c:pt>
                <c:pt idx="16359">
                  <c:v>-0.245234595177</c:v>
                </c:pt>
                <c:pt idx="16360">
                  <c:v>-8.7591254179378297E-2</c:v>
                </c:pt>
                <c:pt idx="16361">
                  <c:v>0.57202167262645898</c:v>
                </c:pt>
                <c:pt idx="16362">
                  <c:v>-0.19960099646716201</c:v>
                </c:pt>
                <c:pt idx="16363">
                  <c:v>-7.5145727258513401E-2</c:v>
                </c:pt>
                <c:pt idx="16364">
                  <c:v>0.601061235441811</c:v>
                </c:pt>
                <c:pt idx="16365">
                  <c:v>0.45586342136505398</c:v>
                </c:pt>
                <c:pt idx="16366">
                  <c:v>0.64669483415164797</c:v>
                </c:pt>
                <c:pt idx="16367">
                  <c:v>0.67988290594062095</c:v>
                </c:pt>
                <c:pt idx="16368">
                  <c:v>0.78774413925478304</c:v>
                </c:pt>
                <c:pt idx="16369">
                  <c:v>0.76285308541305397</c:v>
                </c:pt>
                <c:pt idx="16370">
                  <c:v>0.54713061878472902</c:v>
                </c:pt>
                <c:pt idx="16371">
                  <c:v>0.59276421749456698</c:v>
                </c:pt>
                <c:pt idx="16372">
                  <c:v>0.99516958793586396</c:v>
                </c:pt>
                <c:pt idx="16373">
                  <c:v>0.78774413925478304</c:v>
                </c:pt>
                <c:pt idx="16374">
                  <c:v>0.696476941835108</c:v>
                </c:pt>
                <c:pt idx="16375">
                  <c:v>1.1320703840653801</c:v>
                </c:pt>
                <c:pt idx="16376">
                  <c:v>1.11547634817089</c:v>
                </c:pt>
                <c:pt idx="16377">
                  <c:v>1.2357831084059201</c:v>
                </c:pt>
                <c:pt idx="16378">
                  <c:v>1.3975749583771599</c:v>
                </c:pt>
                <c:pt idx="16379">
                  <c:v>1.3353473237728399</c:v>
                </c:pt>
                <c:pt idx="16380">
                  <c:v>1.4058719763244001</c:v>
                </c:pt>
                <c:pt idx="16381">
                  <c:v>1.2980107430102401</c:v>
                </c:pt>
                <c:pt idx="16382">
                  <c:v>1.5593668083484</c:v>
                </c:pt>
                <c:pt idx="16383">
                  <c:v>1.56351531732203</c:v>
                </c:pt>
                <c:pt idx="16384">
                  <c:v>1.45980259298149</c:v>
                </c:pt>
                <c:pt idx="16385">
                  <c:v>1.4266145211925101</c:v>
                </c:pt>
                <c:pt idx="16386">
                  <c:v>1.5676638262956499</c:v>
                </c:pt>
                <c:pt idx="16387">
                  <c:v>1.62159444295273</c:v>
                </c:pt>
                <c:pt idx="16388">
                  <c:v>1.7419012031877601</c:v>
                </c:pt>
                <c:pt idx="16389">
                  <c:v>1.70456462242516</c:v>
                </c:pt>
                <c:pt idx="16390">
                  <c:v>1.6547825147416999</c:v>
                </c:pt>
                <c:pt idx="16391">
                  <c:v>1.7419012031877601</c:v>
                </c:pt>
                <c:pt idx="16392">
                  <c:v>1.77094076600311</c:v>
                </c:pt>
                <c:pt idx="16393">
                  <c:v>1.8082773467657001</c:v>
                </c:pt>
                <c:pt idx="16394">
                  <c:v>1.8622079634227799</c:v>
                </c:pt>
                <c:pt idx="16395">
                  <c:v>1.64648549679446</c:v>
                </c:pt>
                <c:pt idx="16396">
                  <c:v>1.64233698782084</c:v>
                </c:pt>
                <c:pt idx="16397">
                  <c:v>1.6547825147416999</c:v>
                </c:pt>
                <c:pt idx="16398">
                  <c:v>1.58425786219013</c:v>
                </c:pt>
                <c:pt idx="16399">
                  <c:v>1.7377526942141299</c:v>
                </c:pt>
                <c:pt idx="16400">
                  <c:v>1.72530716729327</c:v>
                </c:pt>
                <c:pt idx="16401">
                  <c:v>1.7999803288184599</c:v>
                </c:pt>
                <c:pt idx="16402">
                  <c:v>1.8414654185546699</c:v>
                </c:pt>
                <c:pt idx="16403">
                  <c:v>1.77508927497673</c:v>
                </c:pt>
                <c:pt idx="16404">
                  <c:v>1.70871313139878</c:v>
                </c:pt>
                <c:pt idx="16405">
                  <c:v>1.66307953268895</c:v>
                </c:pt>
                <c:pt idx="16406">
                  <c:v>1.72945567626689</c:v>
                </c:pt>
                <c:pt idx="16407">
                  <c:v>1.79168331087122</c:v>
                </c:pt>
                <c:pt idx="16408">
                  <c:v>1.56351531732203</c:v>
                </c:pt>
                <c:pt idx="16409">
                  <c:v>1.51788171861219</c:v>
                </c:pt>
                <c:pt idx="16410">
                  <c:v>1.6589310237153201</c:v>
                </c:pt>
                <c:pt idx="16411">
                  <c:v>1.2980107430102401</c:v>
                </c:pt>
                <c:pt idx="16412">
                  <c:v>1.26897118019489</c:v>
                </c:pt>
                <c:pt idx="16413">
                  <c:v>1.0408031866456999</c:v>
                </c:pt>
                <c:pt idx="16414">
                  <c:v>0.93294195333153995</c:v>
                </c:pt>
                <c:pt idx="16415">
                  <c:v>1.01176362383035</c:v>
                </c:pt>
                <c:pt idx="16416">
                  <c:v>0.87486282770083701</c:v>
                </c:pt>
                <c:pt idx="16417">
                  <c:v>1.47224811990235</c:v>
                </c:pt>
                <c:pt idx="16418">
                  <c:v>1.3851294314563001</c:v>
                </c:pt>
                <c:pt idx="16419">
                  <c:v>0.95783300717327002</c:v>
                </c:pt>
                <c:pt idx="16420">
                  <c:v>0.87901133667445897</c:v>
                </c:pt>
                <c:pt idx="16421">
                  <c:v>0.91634791743705402</c:v>
                </c:pt>
                <c:pt idx="16422">
                  <c:v>1.0491002045929501</c:v>
                </c:pt>
                <c:pt idx="16423">
                  <c:v>0.29822008036743203</c:v>
                </c:pt>
                <c:pt idx="16424">
                  <c:v>0.52638807391662101</c:v>
                </c:pt>
                <c:pt idx="16425">
                  <c:v>0.385338768813486</c:v>
                </c:pt>
                <c:pt idx="16426">
                  <c:v>0.32311113420916199</c:v>
                </c:pt>
                <c:pt idx="16427">
                  <c:v>0.464160439312297</c:v>
                </c:pt>
                <c:pt idx="16428">
                  <c:v>0.36874473291900001</c:v>
                </c:pt>
                <c:pt idx="16429">
                  <c:v>0.61765527133629705</c:v>
                </c:pt>
                <c:pt idx="16430">
                  <c:v>0.833377737964621</c:v>
                </c:pt>
                <c:pt idx="16431">
                  <c:v>0.29822008036743203</c:v>
                </c:pt>
                <c:pt idx="16432">
                  <c:v>-2.1215110601432399E-2</c:v>
                </c:pt>
                <c:pt idx="16433">
                  <c:v>7.8244522139189494E-3</c:v>
                </c:pt>
                <c:pt idx="16434">
                  <c:v>0.25673499063121602</c:v>
                </c:pt>
                <c:pt idx="16435">
                  <c:v>0.173764811158784</c:v>
                </c:pt>
                <c:pt idx="16436">
                  <c:v>0.51809105596937799</c:v>
                </c:pt>
                <c:pt idx="16437">
                  <c:v>0.19865586500051299</c:v>
                </c:pt>
                <c:pt idx="16438">
                  <c:v>-0.22034354133527001</c:v>
                </c:pt>
                <c:pt idx="16439">
                  <c:v>-0.29916521183408101</c:v>
                </c:pt>
                <c:pt idx="16440">
                  <c:v>-0.19960099646716201</c:v>
                </c:pt>
                <c:pt idx="16441">
                  <c:v>-0.100036781100243</c:v>
                </c:pt>
                <c:pt idx="16442">
                  <c:v>-0.18300696057267599</c:v>
                </c:pt>
                <c:pt idx="16443">
                  <c:v>-7.9294236232135107E-2</c:v>
                </c:pt>
                <c:pt idx="16444">
                  <c:v>-0.38628390028013498</c:v>
                </c:pt>
                <c:pt idx="16445">
                  <c:v>-0.489996624620675</c:v>
                </c:pt>
                <c:pt idx="16446">
                  <c:v>-0.29916521183408101</c:v>
                </c:pt>
                <c:pt idx="16447">
                  <c:v>-0.11248230802110799</c:v>
                </c:pt>
                <c:pt idx="16448">
                  <c:v>-0.34065030157029702</c:v>
                </c:pt>
                <c:pt idx="16449">
                  <c:v>-0.39872942720100002</c:v>
                </c:pt>
                <c:pt idx="16450">
                  <c:v>7.4200595791864901E-2</c:v>
                </c:pt>
                <c:pt idx="16451">
                  <c:v>0.443417894444189</c:v>
                </c:pt>
                <c:pt idx="16452">
                  <c:v>0.33970517010364898</c:v>
                </c:pt>
                <c:pt idx="16453">
                  <c:v>0.16961630218516199</c:v>
                </c:pt>
                <c:pt idx="16454">
                  <c:v>-8.7695836805675303E-3</c:v>
                </c:pt>
                <c:pt idx="16455">
                  <c:v>-0.16226441570456701</c:v>
                </c:pt>
                <c:pt idx="16456">
                  <c:v>-0.23278906825613499</c:v>
                </c:pt>
                <c:pt idx="16457">
                  <c:v>1.24408012635316</c:v>
                </c:pt>
                <c:pt idx="16458">
                  <c:v>-0.104185290073865</c:v>
                </c:pt>
                <c:pt idx="16459">
                  <c:v>-0.187155469546297</c:v>
                </c:pt>
                <c:pt idx="16460">
                  <c:v>0.79604115720202695</c:v>
                </c:pt>
                <c:pt idx="16461">
                  <c:v>0.43512087649694597</c:v>
                </c:pt>
                <c:pt idx="16462">
                  <c:v>0.90390239051618904</c:v>
                </c:pt>
                <c:pt idx="16463">
                  <c:v>1.3436443417200801</c:v>
                </c:pt>
                <c:pt idx="16464">
                  <c:v>1.20259503661695</c:v>
                </c:pt>
                <c:pt idx="16465">
                  <c:v>1.0988823122764</c:v>
                </c:pt>
                <c:pt idx="16466">
                  <c:v>0.80433817514926997</c:v>
                </c:pt>
                <c:pt idx="16467">
                  <c:v>1.0076151148567301</c:v>
                </c:pt>
                <c:pt idx="16468">
                  <c:v>1.16525845585435</c:v>
                </c:pt>
                <c:pt idx="16469">
                  <c:v>1.26482267122127</c:v>
                </c:pt>
                <c:pt idx="16470">
                  <c:v>1.01591213280397</c:v>
                </c:pt>
                <c:pt idx="16471">
                  <c:v>1.20674354559057</c:v>
                </c:pt>
                <c:pt idx="16472">
                  <c:v>1.45150557503424</c:v>
                </c:pt>
                <c:pt idx="16473">
                  <c:v>1.5012876827177</c:v>
                </c:pt>
                <c:pt idx="16474">
                  <c:v>1.5303272455330501</c:v>
                </c:pt>
                <c:pt idx="16475">
                  <c:v>1.58010935321651</c:v>
                </c:pt>
                <c:pt idx="16476">
                  <c:v>1.5469212814275399</c:v>
                </c:pt>
                <c:pt idx="16477">
                  <c:v>1.5718123352692699</c:v>
                </c:pt>
                <c:pt idx="16478">
                  <c:v>1.66722804166257</c:v>
                </c:pt>
                <c:pt idx="16479">
                  <c:v>1.48054513784959</c:v>
                </c:pt>
                <c:pt idx="16480">
                  <c:v>1.9078415621326199</c:v>
                </c:pt>
                <c:pt idx="16481">
                  <c:v>1.60500040705824</c:v>
                </c:pt>
                <c:pt idx="16482">
                  <c:v>1.8456139275282999</c:v>
                </c:pt>
                <c:pt idx="16483">
                  <c:v>1.64233698782084</c:v>
                </c:pt>
                <c:pt idx="16484">
                  <c:v>1.6589310237153201</c:v>
                </c:pt>
                <c:pt idx="16485">
                  <c:v>1.6755250596098099</c:v>
                </c:pt>
                <c:pt idx="16486">
                  <c:v>1.6506340057680799</c:v>
                </c:pt>
                <c:pt idx="16487">
                  <c:v>1.6132974250054899</c:v>
                </c:pt>
                <c:pt idx="16488">
                  <c:v>1.7833862929239701</c:v>
                </c:pt>
                <c:pt idx="16489">
                  <c:v>1.77094076600311</c:v>
                </c:pt>
                <c:pt idx="16490">
                  <c:v>1.87465349034365</c:v>
                </c:pt>
                <c:pt idx="16491">
                  <c:v>1.8870990172645099</c:v>
                </c:pt>
                <c:pt idx="16492">
                  <c:v>1.6091489160318599</c:v>
                </c:pt>
                <c:pt idx="16493">
                  <c:v>1.67137655063619</c:v>
                </c:pt>
                <c:pt idx="16494">
                  <c:v>1.6796735685834301</c:v>
                </c:pt>
                <c:pt idx="16495">
                  <c:v>1.58425786219013</c:v>
                </c:pt>
                <c:pt idx="16496">
                  <c:v>1.6340399698735899</c:v>
                </c:pt>
                <c:pt idx="16497">
                  <c:v>1.62574295192635</c:v>
                </c:pt>
                <c:pt idx="16498">
                  <c:v>1.5925548801373799</c:v>
                </c:pt>
                <c:pt idx="16499">
                  <c:v>1.66722804166257</c:v>
                </c:pt>
                <c:pt idx="16500">
                  <c:v>1.5386242634803</c:v>
                </c:pt>
                <c:pt idx="16501">
                  <c:v>1.70871313139878</c:v>
                </c:pt>
                <c:pt idx="16502">
                  <c:v>1.7667922570294901</c:v>
                </c:pt>
                <c:pt idx="16503">
                  <c:v>1.7004161134515401</c:v>
                </c:pt>
                <c:pt idx="16504">
                  <c:v>1.7626437480558601</c:v>
                </c:pt>
                <c:pt idx="16505">
                  <c:v>1.9119900711062401</c:v>
                </c:pt>
                <c:pt idx="16506">
                  <c:v>1.8870990172645099</c:v>
                </c:pt>
                <c:pt idx="16507">
                  <c:v>1.79168331087122</c:v>
                </c:pt>
                <c:pt idx="16508">
                  <c:v>1.73360418524051</c:v>
                </c:pt>
                <c:pt idx="16509">
                  <c:v>1.9036930531589991</c:v>
                </c:pt>
                <c:pt idx="16510">
                  <c:v>1.79583181984484</c:v>
                </c:pt>
                <c:pt idx="16511">
                  <c:v>1.83316840060743</c:v>
                </c:pt>
                <c:pt idx="16512">
                  <c:v>1.45980259298149</c:v>
                </c:pt>
                <c:pt idx="16513">
                  <c:v>1.5137332096385701</c:v>
                </c:pt>
                <c:pt idx="16514">
                  <c:v>1.24822863532678</c:v>
                </c:pt>
                <c:pt idx="16515">
                  <c:v>1.2938622340366199</c:v>
                </c:pt>
                <c:pt idx="16516">
                  <c:v>0.96198151614689098</c:v>
                </c:pt>
                <c:pt idx="16517">
                  <c:v>1.1735554738015901</c:v>
                </c:pt>
                <c:pt idx="16518">
                  <c:v>0.96198151614689098</c:v>
                </c:pt>
                <c:pt idx="16519">
                  <c:v>0.72551650465045903</c:v>
                </c:pt>
                <c:pt idx="16520">
                  <c:v>0.63424930723078399</c:v>
                </c:pt>
                <c:pt idx="16521">
                  <c:v>0.85826879180635096</c:v>
                </c:pt>
                <c:pt idx="16522">
                  <c:v>0.46001193033867499</c:v>
                </c:pt>
                <c:pt idx="16523">
                  <c:v>1.2523771443003999</c:v>
                </c:pt>
                <c:pt idx="16524">
                  <c:v>0.84997177385910805</c:v>
                </c:pt>
                <c:pt idx="16525">
                  <c:v>0.67988290594062095</c:v>
                </c:pt>
                <c:pt idx="16526">
                  <c:v>0.49320000212764797</c:v>
                </c:pt>
                <c:pt idx="16527">
                  <c:v>0.103240158607216</c:v>
                </c:pt>
                <c:pt idx="16528">
                  <c:v>0.327259643182784</c:v>
                </c:pt>
                <c:pt idx="16529">
                  <c:v>0.289923062420189</c:v>
                </c:pt>
                <c:pt idx="16530">
                  <c:v>3.6759432402973299E-3</c:v>
                </c:pt>
                <c:pt idx="16531">
                  <c:v>5.7606559897378402E-2</c:v>
                </c:pt>
                <c:pt idx="16532">
                  <c:v>7.0052086818243306E-2</c:v>
                </c:pt>
                <c:pt idx="16533">
                  <c:v>0.119834194501703</c:v>
                </c:pt>
                <c:pt idx="16534">
                  <c:v>-2.1215110601432399E-2</c:v>
                </c:pt>
                <c:pt idx="16535">
                  <c:v>0.16546779321154101</c:v>
                </c:pt>
                <c:pt idx="16536">
                  <c:v>2.8566997082027101E-2</c:v>
                </c:pt>
                <c:pt idx="16537">
                  <c:v>0.13642823039618901</c:v>
                </c:pt>
                <c:pt idx="16538">
                  <c:v>0.11153717655445899</c:v>
                </c:pt>
                <c:pt idx="16539">
                  <c:v>5.7606559897378402E-2</c:v>
                </c:pt>
                <c:pt idx="16540">
                  <c:v>-0.26182863107148602</c:v>
                </c:pt>
                <c:pt idx="16541">
                  <c:v>9.0794631686351407E-2</c:v>
                </c:pt>
                <c:pt idx="16542">
                  <c:v>0.20695288294775699</c:v>
                </c:pt>
                <c:pt idx="16543">
                  <c:v>-0.13737336186283799</c:v>
                </c:pt>
                <c:pt idx="16544">
                  <c:v>-0.11248230802110799</c:v>
                </c:pt>
                <c:pt idx="16545">
                  <c:v>-0.30331372080770302</c:v>
                </c:pt>
                <c:pt idx="16546">
                  <c:v>-0.21204652338802699</c:v>
                </c:pt>
                <c:pt idx="16547">
                  <c:v>9.4943140659973002E-2</c:v>
                </c:pt>
                <c:pt idx="16548">
                  <c:v>-0.19130397851991901</c:v>
                </c:pt>
                <c:pt idx="16549">
                  <c:v>-0.120779325968351</c:v>
                </c:pt>
                <c:pt idx="16550">
                  <c:v>-0.22034354133527001</c:v>
                </c:pt>
                <c:pt idx="16551">
                  <c:v>-3.7809146495918898E-2</c:v>
                </c:pt>
                <c:pt idx="16552">
                  <c:v>0.11153717655445899</c:v>
                </c:pt>
                <c:pt idx="16553">
                  <c:v>1.05739722254019</c:v>
                </c:pt>
                <c:pt idx="16554">
                  <c:v>0.13642823039618901</c:v>
                </c:pt>
                <c:pt idx="16555">
                  <c:v>-4.62107470694591E-3</c:v>
                </c:pt>
                <c:pt idx="16556">
                  <c:v>0.57617018160008104</c:v>
                </c:pt>
                <c:pt idx="16557">
                  <c:v>0.48905149315402702</c:v>
                </c:pt>
                <c:pt idx="16558">
                  <c:v>0.812635193096513</c:v>
                </c:pt>
                <c:pt idx="16559">
                  <c:v>0.87901133667445897</c:v>
                </c:pt>
                <c:pt idx="16560">
                  <c:v>0.86241730077997303</c:v>
                </c:pt>
                <c:pt idx="16561">
                  <c:v>0.80848668412289104</c:v>
                </c:pt>
                <c:pt idx="16562">
                  <c:v>0.64254632517802701</c:v>
                </c:pt>
                <c:pt idx="16563">
                  <c:v>0.84997177385910805</c:v>
                </c:pt>
                <c:pt idx="16564">
                  <c:v>1.0698427494610501</c:v>
                </c:pt>
                <c:pt idx="16565">
                  <c:v>0.82508072001737798</c:v>
                </c:pt>
                <c:pt idx="16566">
                  <c:v>0.78359563028116197</c:v>
                </c:pt>
                <c:pt idx="16567">
                  <c:v>0.73796203157132401</c:v>
                </c:pt>
                <c:pt idx="16568">
                  <c:v>1.2606741622476501</c:v>
                </c:pt>
                <c:pt idx="16569">
                  <c:v>1.41416899427165</c:v>
                </c:pt>
                <c:pt idx="16570">
                  <c:v>1.3477928506937</c:v>
                </c:pt>
                <c:pt idx="16571">
                  <c:v>1.5386242634803</c:v>
                </c:pt>
                <c:pt idx="16572">
                  <c:v>1.5967033891110001</c:v>
                </c:pt>
                <c:pt idx="16573">
                  <c:v>1.51788171861219</c:v>
                </c:pt>
                <c:pt idx="16574">
                  <c:v>1.5469212814275399</c:v>
                </c:pt>
                <c:pt idx="16575">
                  <c:v>1.56351531732203</c:v>
                </c:pt>
                <c:pt idx="16576">
                  <c:v>1.6340399698735899</c:v>
                </c:pt>
                <c:pt idx="16577">
                  <c:v>1.72530716729327</c:v>
                </c:pt>
                <c:pt idx="16578">
                  <c:v>1.62574295192635</c:v>
                </c:pt>
                <c:pt idx="16579">
                  <c:v>1.8456139275282999</c:v>
                </c:pt>
                <c:pt idx="16580">
                  <c:v>1.7833862929239701</c:v>
                </c:pt>
                <c:pt idx="16581">
                  <c:v>1.7833862929239701</c:v>
                </c:pt>
                <c:pt idx="16582">
                  <c:v>1.70456462242516</c:v>
                </c:pt>
                <c:pt idx="16583">
                  <c:v>1.7875348018975901</c:v>
                </c:pt>
                <c:pt idx="16584">
                  <c:v>1.6921190955043</c:v>
                </c:pt>
                <c:pt idx="16585">
                  <c:v>1.72530716729327</c:v>
                </c:pt>
                <c:pt idx="16586">
                  <c:v>1.5759608442428901</c:v>
                </c:pt>
                <c:pt idx="16587">
                  <c:v>1.72530716729327</c:v>
                </c:pt>
                <c:pt idx="16588">
                  <c:v>1.66307953268895</c:v>
                </c:pt>
                <c:pt idx="16589">
                  <c:v>1.7004161134515401</c:v>
                </c:pt>
                <c:pt idx="16590">
                  <c:v>1.7875348018975901</c:v>
                </c:pt>
                <c:pt idx="16591">
                  <c:v>2.1940886813125098</c:v>
                </c:pt>
                <c:pt idx="16592">
                  <c:v>3.01964196706321</c:v>
                </c:pt>
                <c:pt idx="16593">
                  <c:v>1.77508927497673</c:v>
                </c:pt>
                <c:pt idx="16594">
                  <c:v>2.0032572685259198</c:v>
                </c:pt>
                <c:pt idx="16595">
                  <c:v>1.9327326159743501</c:v>
                </c:pt>
                <c:pt idx="16596">
                  <c:v>1.9659206877633191</c:v>
                </c:pt>
                <c:pt idx="16597">
                  <c:v>1.85391094547554</c:v>
                </c:pt>
                <c:pt idx="16598">
                  <c:v>1.62159444295273</c:v>
                </c:pt>
                <c:pt idx="16599">
                  <c:v>1.6132974250054899</c:v>
                </c:pt>
                <c:pt idx="16600">
                  <c:v>1.5261787365594299</c:v>
                </c:pt>
                <c:pt idx="16601">
                  <c:v>1.6091489160318599</c:v>
                </c:pt>
                <c:pt idx="16602">
                  <c:v>1.6174459339791101</c:v>
                </c:pt>
                <c:pt idx="16603">
                  <c:v>1.1113278391972701</c:v>
                </c:pt>
                <c:pt idx="16604">
                  <c:v>1.0242091507512201</c:v>
                </c:pt>
                <c:pt idx="16605">
                  <c:v>0.91219940846343195</c:v>
                </c:pt>
                <c:pt idx="16606">
                  <c:v>0.99102107896224301</c:v>
                </c:pt>
                <c:pt idx="16607">
                  <c:v>0.99516958793586396</c:v>
                </c:pt>
                <c:pt idx="16608">
                  <c:v>1.05739722254019</c:v>
                </c:pt>
                <c:pt idx="16609">
                  <c:v>0.88730835462170199</c:v>
                </c:pt>
                <c:pt idx="16610">
                  <c:v>0.92049642641067497</c:v>
                </c:pt>
                <c:pt idx="16611">
                  <c:v>0.97857555204137803</c:v>
                </c:pt>
                <c:pt idx="16612">
                  <c:v>0.68403141491424302</c:v>
                </c:pt>
                <c:pt idx="16613">
                  <c:v>0.84582326488548598</c:v>
                </c:pt>
                <c:pt idx="16614">
                  <c:v>0.61350676236267498</c:v>
                </c:pt>
                <c:pt idx="16615">
                  <c:v>0.41437833162883803</c:v>
                </c:pt>
                <c:pt idx="16616">
                  <c:v>0.45171491239143202</c:v>
                </c:pt>
                <c:pt idx="16617">
                  <c:v>0.74625904951856703</c:v>
                </c:pt>
                <c:pt idx="16618">
                  <c:v>0.50149702007489205</c:v>
                </c:pt>
                <c:pt idx="16619">
                  <c:v>0.63424930723078399</c:v>
                </c:pt>
                <c:pt idx="16620">
                  <c:v>0.47245745725954003</c:v>
                </c:pt>
                <c:pt idx="16621">
                  <c:v>0.46001193033867499</c:v>
                </c:pt>
                <c:pt idx="16622">
                  <c:v>0.33140815215640501</c:v>
                </c:pt>
                <c:pt idx="16623">
                  <c:v>0.38119025983986499</c:v>
                </c:pt>
                <c:pt idx="16624">
                  <c:v>0.25673499063121602</c:v>
                </c:pt>
                <c:pt idx="16625">
                  <c:v>0.364596223945378</c:v>
                </c:pt>
                <c:pt idx="16626">
                  <c:v>0.44756640341781101</c:v>
                </c:pt>
                <c:pt idx="16627">
                  <c:v>0.50564552904851301</c:v>
                </c:pt>
                <c:pt idx="16628">
                  <c:v>-0.38628390028013498</c:v>
                </c:pt>
                <c:pt idx="16629">
                  <c:v>-0.42362048104272898</c:v>
                </c:pt>
                <c:pt idx="16630">
                  <c:v>-0.19130397851991901</c:v>
                </c:pt>
                <c:pt idx="16631">
                  <c:v>-0.236937577229757</c:v>
                </c:pt>
                <c:pt idx="16632">
                  <c:v>-5.44031823904053E-2</c:v>
                </c:pt>
                <c:pt idx="16633">
                  <c:v>-0.19545248749353999</c:v>
                </c:pt>
                <c:pt idx="16634">
                  <c:v>-0.431917498989973</c:v>
                </c:pt>
                <c:pt idx="16635">
                  <c:v>-0.38628390028013498</c:v>
                </c:pt>
                <c:pt idx="16636">
                  <c:v>-0.27842266696597301</c:v>
                </c:pt>
                <c:pt idx="16637">
                  <c:v>-0.26182863107148602</c:v>
                </c:pt>
                <c:pt idx="16638">
                  <c:v>-7.5145727258513401E-2</c:v>
                </c:pt>
                <c:pt idx="16639">
                  <c:v>0.11568568552808101</c:v>
                </c:pt>
                <c:pt idx="16640">
                  <c:v>-0.28671968491321598</c:v>
                </c:pt>
                <c:pt idx="16641">
                  <c:v>-0.21204652338802699</c:v>
                </c:pt>
                <c:pt idx="16642">
                  <c:v>6.1755068870999998E-2</c:v>
                </c:pt>
                <c:pt idx="16643">
                  <c:v>0.15717077526429701</c:v>
                </c:pt>
                <c:pt idx="16644">
                  <c:v>-8.3442745205756702E-2</c:v>
                </c:pt>
                <c:pt idx="16645">
                  <c:v>3.6759432402973299E-3</c:v>
                </c:pt>
                <c:pt idx="16646">
                  <c:v>-8.3442745205756702E-2</c:v>
                </c:pt>
                <c:pt idx="16647">
                  <c:v>-7.0997218284891805E-2</c:v>
                </c:pt>
                <c:pt idx="16648">
                  <c:v>-3.3660637522297199E-2</c:v>
                </c:pt>
                <c:pt idx="16649">
                  <c:v>0.42682385854970301</c:v>
                </c:pt>
                <c:pt idx="16650">
                  <c:v>-0.19960099646716201</c:v>
                </c:pt>
                <c:pt idx="16651">
                  <c:v>0.306517098314676</c:v>
                </c:pt>
                <c:pt idx="16652">
                  <c:v>0.33970517010364898</c:v>
                </c:pt>
                <c:pt idx="16653">
                  <c:v>0.43926938547056699</c:v>
                </c:pt>
                <c:pt idx="16654">
                  <c:v>0.75870457643943201</c:v>
                </c:pt>
                <c:pt idx="16655">
                  <c:v>0.80433817514926997</c:v>
                </c:pt>
                <c:pt idx="16656">
                  <c:v>0.97442704306775596</c:v>
                </c:pt>
                <c:pt idx="16657">
                  <c:v>0.97442704306775596</c:v>
                </c:pt>
                <c:pt idx="16658">
                  <c:v>0.66743737901975697</c:v>
                </c:pt>
                <c:pt idx="16659">
                  <c:v>0.83752624693824296</c:v>
                </c:pt>
                <c:pt idx="16660">
                  <c:v>0.833377737964621</c:v>
                </c:pt>
                <c:pt idx="16661">
                  <c:v>1.0491002045929501</c:v>
                </c:pt>
                <c:pt idx="16662">
                  <c:v>0.75040755849218899</c:v>
                </c:pt>
                <c:pt idx="16663">
                  <c:v>1.2523771443003999</c:v>
                </c:pt>
                <c:pt idx="16664">
                  <c:v>1.32705030582559</c:v>
                </c:pt>
                <c:pt idx="16665">
                  <c:v>1.5718123352692699</c:v>
                </c:pt>
                <c:pt idx="16666">
                  <c:v>1.45150557503424</c:v>
                </c:pt>
                <c:pt idx="16667">
                  <c:v>1.5759608442428901</c:v>
                </c:pt>
                <c:pt idx="16668">
                  <c:v>1.52203022758581</c:v>
                </c:pt>
                <c:pt idx="16669">
                  <c:v>1.6340399698735899</c:v>
                </c:pt>
                <c:pt idx="16670">
                  <c:v>1.7667922570294901</c:v>
                </c:pt>
                <c:pt idx="16671">
                  <c:v>1.5261787365594299</c:v>
                </c:pt>
                <c:pt idx="16672">
                  <c:v>1.54277277245392</c:v>
                </c:pt>
                <c:pt idx="16673">
                  <c:v>1.5759608442428901</c:v>
                </c:pt>
                <c:pt idx="16674">
                  <c:v>1.6381884788472201</c:v>
                </c:pt>
                <c:pt idx="16675">
                  <c:v>1.47639662887597</c:v>
                </c:pt>
                <c:pt idx="16676">
                  <c:v>1.5137332096385701</c:v>
                </c:pt>
                <c:pt idx="16677">
                  <c:v>1.5386242634803</c:v>
                </c:pt>
                <c:pt idx="16678">
                  <c:v>1.72945567626689</c:v>
                </c:pt>
                <c:pt idx="16679">
                  <c:v>1.5137332096385701</c:v>
                </c:pt>
                <c:pt idx="16680">
                  <c:v>1.6962676044779199</c:v>
                </c:pt>
                <c:pt idx="16681">
                  <c:v>1.8082773467657001</c:v>
                </c:pt>
                <c:pt idx="16682">
                  <c:v>1.9742177057105701</c:v>
                </c:pt>
                <c:pt idx="16683">
                  <c:v>1.2523771443003999</c:v>
                </c:pt>
                <c:pt idx="16684">
                  <c:v>3.3556711939265691</c:v>
                </c:pt>
                <c:pt idx="16685">
                  <c:v>1.9493266518688399</c:v>
                </c:pt>
                <c:pt idx="16686">
                  <c:v>1.8082773467657001</c:v>
                </c:pt>
                <c:pt idx="16687">
                  <c:v>1.8622079634227799</c:v>
                </c:pt>
                <c:pt idx="16688">
                  <c:v>1.7460497121613801</c:v>
                </c:pt>
                <c:pt idx="16689">
                  <c:v>1.58425786219013</c:v>
                </c:pt>
                <c:pt idx="16690">
                  <c:v>1.7875348018975901</c:v>
                </c:pt>
                <c:pt idx="16691">
                  <c:v>1.58425786219013</c:v>
                </c:pt>
                <c:pt idx="16692">
                  <c:v>1.51788171861219</c:v>
                </c:pt>
                <c:pt idx="16693">
                  <c:v>1.60085189808462</c:v>
                </c:pt>
                <c:pt idx="16694">
                  <c:v>1.47639662887597</c:v>
                </c:pt>
                <c:pt idx="16695">
                  <c:v>1.58010935321651</c:v>
                </c:pt>
                <c:pt idx="16696">
                  <c:v>1.7128616403724</c:v>
                </c:pt>
                <c:pt idx="16697">
                  <c:v>1.7128616403724</c:v>
                </c:pt>
                <c:pt idx="16698">
                  <c:v>1.64648549679446</c:v>
                </c:pt>
                <c:pt idx="16699">
                  <c:v>0.73381352259770205</c:v>
                </c:pt>
                <c:pt idx="16700">
                  <c:v>0.75870457643943201</c:v>
                </c:pt>
                <c:pt idx="16701">
                  <c:v>0.16961630218516199</c:v>
                </c:pt>
                <c:pt idx="16702">
                  <c:v>0.11153717655445899</c:v>
                </c:pt>
                <c:pt idx="16703">
                  <c:v>-5.0254673416783698E-2</c:v>
                </c:pt>
                <c:pt idx="16704">
                  <c:v>0.19865586500051299</c:v>
                </c:pt>
                <c:pt idx="16705">
                  <c:v>-4.6106164443162102E-2</c:v>
                </c:pt>
                <c:pt idx="16706">
                  <c:v>-0.14567037981008099</c:v>
                </c:pt>
                <c:pt idx="16707">
                  <c:v>0.24014095473673</c:v>
                </c:pt>
                <c:pt idx="16708">
                  <c:v>0.21524990089500001</c:v>
                </c:pt>
                <c:pt idx="16709">
                  <c:v>-0.120779325968351</c:v>
                </c:pt>
                <c:pt idx="16710">
                  <c:v>4.9309541950135198E-2</c:v>
                </c:pt>
                <c:pt idx="16711">
                  <c:v>-0.129076343915595</c:v>
                </c:pt>
                <c:pt idx="16712">
                  <c:v>2.8566997082027101E-2</c:v>
                </c:pt>
                <c:pt idx="16713">
                  <c:v>5.7606559897378402E-2</c:v>
                </c:pt>
                <c:pt idx="16714">
                  <c:v>-0.104185290073865</c:v>
                </c:pt>
                <c:pt idx="16715">
                  <c:v>-0.245234595177</c:v>
                </c:pt>
                <c:pt idx="16716">
                  <c:v>6.59035778446216E-2</c:v>
                </c:pt>
                <c:pt idx="16717">
                  <c:v>6.1755068870999998E-2</c:v>
                </c:pt>
                <c:pt idx="16718">
                  <c:v>-0.43606600796359402</c:v>
                </c:pt>
                <c:pt idx="16719">
                  <c:v>-0.23278906825613499</c:v>
                </c:pt>
                <c:pt idx="16720">
                  <c:v>-0.34894731951753999</c:v>
                </c:pt>
                <c:pt idx="16721">
                  <c:v>0.25673499063121602</c:v>
                </c:pt>
                <c:pt idx="16722">
                  <c:v>-1.7066601627810801E-2</c:v>
                </c:pt>
                <c:pt idx="16723">
                  <c:v>-0.30746222978132398</c:v>
                </c:pt>
                <c:pt idx="16724">
                  <c:v>-0.207898014414405</c:v>
                </c:pt>
                <c:pt idx="16725">
                  <c:v>-0.14567037981008099</c:v>
                </c:pt>
                <c:pt idx="16726">
                  <c:v>-0.158115906730946</c:v>
                </c:pt>
                <c:pt idx="16727">
                  <c:v>-0.30331372080770302</c:v>
                </c:pt>
                <c:pt idx="16728">
                  <c:v>-0.178858451599054</c:v>
                </c:pt>
                <c:pt idx="16729">
                  <c:v>-0.22864055928251301</c:v>
                </c:pt>
                <c:pt idx="16730">
                  <c:v>-0.411174954121865</c:v>
                </c:pt>
                <c:pt idx="16731">
                  <c:v>-0.21204652338802699</c:v>
                </c:pt>
                <c:pt idx="16732">
                  <c:v>-0.51903618743602697</c:v>
                </c:pt>
                <c:pt idx="16733">
                  <c:v>-0.37798688233289202</c:v>
                </c:pt>
                <c:pt idx="16734">
                  <c:v>-0.35724433746478401</c:v>
                </c:pt>
                <c:pt idx="16735">
                  <c:v>-0.29916521183408101</c:v>
                </c:pt>
                <c:pt idx="16736">
                  <c:v>-0.24938310415062101</c:v>
                </c:pt>
                <c:pt idx="16737">
                  <c:v>-0.22034354133527001</c:v>
                </c:pt>
                <c:pt idx="16738">
                  <c:v>-0.47755109769981102</c:v>
                </c:pt>
                <c:pt idx="16739">
                  <c:v>-0.55222425922499996</c:v>
                </c:pt>
                <c:pt idx="16740">
                  <c:v>-0.56052127717224298</c:v>
                </c:pt>
                <c:pt idx="16741">
                  <c:v>-0.36968986438564799</c:v>
                </c:pt>
                <c:pt idx="16742">
                  <c:v>-9.1739763152999906E-2</c:v>
                </c:pt>
                <c:pt idx="16743">
                  <c:v>-0.47340258872618901</c:v>
                </c:pt>
                <c:pt idx="16744">
                  <c:v>-0.55222425922499996</c:v>
                </c:pt>
                <c:pt idx="16745">
                  <c:v>-0.44021451693721603</c:v>
                </c:pt>
                <c:pt idx="16746">
                  <c:v>-0.65178847459191902</c:v>
                </c:pt>
                <c:pt idx="16747">
                  <c:v>-0.49829364256791903</c:v>
                </c:pt>
                <c:pt idx="16748">
                  <c:v>-0.54392724127775605</c:v>
                </c:pt>
                <c:pt idx="16749">
                  <c:v>-0.44436302591083798</c:v>
                </c:pt>
                <c:pt idx="16750">
                  <c:v>-0.44021451693721603</c:v>
                </c:pt>
                <c:pt idx="16751">
                  <c:v>-0.51903618743602697</c:v>
                </c:pt>
                <c:pt idx="16752">
                  <c:v>0.23599244576310799</c:v>
                </c:pt>
                <c:pt idx="16753">
                  <c:v>-0.26597714004510797</c:v>
                </c:pt>
                <c:pt idx="16754">
                  <c:v>-0.33650179259667501</c:v>
                </c:pt>
                <c:pt idx="16755">
                  <c:v>-0.34065030157029702</c:v>
                </c:pt>
                <c:pt idx="16756">
                  <c:v>-0.22034354133527001</c:v>
                </c:pt>
                <c:pt idx="16757">
                  <c:v>3.6759432402973299E-3</c:v>
                </c:pt>
                <c:pt idx="16758">
                  <c:v>-3.3660637522297199E-2</c:v>
                </c:pt>
                <c:pt idx="16759">
                  <c:v>0.182061829106027</c:v>
                </c:pt>
                <c:pt idx="16760">
                  <c:v>0.63424930723078399</c:v>
                </c:pt>
                <c:pt idx="16761">
                  <c:v>0.29407157139381102</c:v>
                </c:pt>
                <c:pt idx="16762">
                  <c:v>1.19729611875406E-2</c:v>
                </c:pt>
                <c:pt idx="16763">
                  <c:v>0.14887375731705399</c:v>
                </c:pt>
                <c:pt idx="16764">
                  <c:v>0.13642823039618901</c:v>
                </c:pt>
                <c:pt idx="16765">
                  <c:v>0.16961630218516199</c:v>
                </c:pt>
                <c:pt idx="16766">
                  <c:v>7.4200595791864901E-2</c:v>
                </c:pt>
                <c:pt idx="16767">
                  <c:v>9.9091649633594597E-2</c:v>
                </c:pt>
                <c:pt idx="16768">
                  <c:v>0.58861570852094602</c:v>
                </c:pt>
                <c:pt idx="16769">
                  <c:v>0.60935825338905403</c:v>
                </c:pt>
                <c:pt idx="16770">
                  <c:v>0.61765527133629705</c:v>
                </c:pt>
                <c:pt idx="16771">
                  <c:v>0.82922922899100004</c:v>
                </c:pt>
                <c:pt idx="16772">
                  <c:v>0.696476941835108</c:v>
                </c:pt>
                <c:pt idx="16773">
                  <c:v>0.56787316365283802</c:v>
                </c:pt>
                <c:pt idx="16774">
                  <c:v>0.54713061878472902</c:v>
                </c:pt>
                <c:pt idx="16775">
                  <c:v>0.31481411626191902</c:v>
                </c:pt>
                <c:pt idx="16776">
                  <c:v>0.31066560728829701</c:v>
                </c:pt>
                <c:pt idx="16777">
                  <c:v>0.37289324189262102</c:v>
                </c:pt>
                <c:pt idx="16778">
                  <c:v>0.27332902652570301</c:v>
                </c:pt>
                <c:pt idx="16779">
                  <c:v>0.36874473291900001</c:v>
                </c:pt>
                <c:pt idx="16780">
                  <c:v>0.40193280470797299</c:v>
                </c:pt>
                <c:pt idx="16781">
                  <c:v>0.41852684060245898</c:v>
                </c:pt>
                <c:pt idx="16782">
                  <c:v>0.74211054054494596</c:v>
                </c:pt>
                <c:pt idx="16783">
                  <c:v>0.55127912775835097</c:v>
                </c:pt>
                <c:pt idx="16784">
                  <c:v>-4.62107470694591E-3</c:v>
                </c:pt>
                <c:pt idx="16785">
                  <c:v>0.33555666113002702</c:v>
                </c:pt>
                <c:pt idx="16786">
                  <c:v>2.4418488108405401E-2</c:v>
                </c:pt>
                <c:pt idx="16787">
                  <c:v>-4.19576554695405E-2</c:v>
                </c:pt>
                <c:pt idx="16788">
                  <c:v>-0.100036781100243</c:v>
                </c:pt>
                <c:pt idx="16789">
                  <c:v>5.7606559897378402E-2</c:v>
                </c:pt>
                <c:pt idx="16790">
                  <c:v>0.18621033807964901</c:v>
                </c:pt>
                <c:pt idx="16791">
                  <c:v>7.8244522139189494E-3</c:v>
                </c:pt>
                <c:pt idx="16792">
                  <c:v>0.123982703475324</c:v>
                </c:pt>
                <c:pt idx="16793">
                  <c:v>0.182061829106027</c:v>
                </c:pt>
                <c:pt idx="16794">
                  <c:v>0.15717077526429701</c:v>
                </c:pt>
                <c:pt idx="16795">
                  <c:v>0.14887375731705399</c:v>
                </c:pt>
                <c:pt idx="16796">
                  <c:v>-2.5363619575054001E-2</c:v>
                </c:pt>
                <c:pt idx="16797">
                  <c:v>3.2715506055648699E-2</c:v>
                </c:pt>
                <c:pt idx="16798">
                  <c:v>-2.5363619575054001E-2</c:v>
                </c:pt>
                <c:pt idx="16799">
                  <c:v>6.1755068870999998E-2</c:v>
                </c:pt>
                <c:pt idx="16800">
                  <c:v>2.0269979134783799E-2</c:v>
                </c:pt>
                <c:pt idx="16801">
                  <c:v>7.8349104765486496E-2</c:v>
                </c:pt>
                <c:pt idx="16802">
                  <c:v>0.11568568552808101</c:v>
                </c:pt>
                <c:pt idx="16803">
                  <c:v>-9.5888272126621502E-2</c:v>
                </c:pt>
                <c:pt idx="16804">
                  <c:v>7.8349104765486496E-2</c:v>
                </c:pt>
                <c:pt idx="16805">
                  <c:v>0.28577455344656699</c:v>
                </c:pt>
                <c:pt idx="16806">
                  <c:v>0.28577455344656699</c:v>
                </c:pt>
                <c:pt idx="16807">
                  <c:v>0.161319284237919</c:v>
                </c:pt>
                <c:pt idx="16808">
                  <c:v>0.24428946371035101</c:v>
                </c:pt>
                <c:pt idx="16809">
                  <c:v>4.1012524002891897E-2</c:v>
                </c:pt>
                <c:pt idx="16810">
                  <c:v>0.16546779321154101</c:v>
                </c:pt>
                <c:pt idx="16811">
                  <c:v>-5.0254673416783698E-2</c:v>
                </c:pt>
                <c:pt idx="16812">
                  <c:v>-0.14152187083645901</c:v>
                </c:pt>
                <c:pt idx="16813">
                  <c:v>-0.15396739775732399</c:v>
                </c:pt>
                <c:pt idx="16814">
                  <c:v>-0.32820477464943199</c:v>
                </c:pt>
                <c:pt idx="16815">
                  <c:v>-0.17470994262543199</c:v>
                </c:pt>
                <c:pt idx="16816">
                  <c:v>-0.29086819388683799</c:v>
                </c:pt>
                <c:pt idx="16817">
                  <c:v>-0.48584811564705399</c:v>
                </c:pt>
                <c:pt idx="16818">
                  <c:v>-0.61445189382932397</c:v>
                </c:pt>
                <c:pt idx="16819">
                  <c:v>-0.61860040280294604</c:v>
                </c:pt>
                <c:pt idx="16820">
                  <c:v>-0.28257117593959402</c:v>
                </c:pt>
                <c:pt idx="16821">
                  <c:v>-0.489996624620675</c:v>
                </c:pt>
                <c:pt idx="16822">
                  <c:v>-0.43606600796359402</c:v>
                </c:pt>
                <c:pt idx="16823">
                  <c:v>-6.2700200337648601E-2</c:v>
                </c:pt>
                <c:pt idx="16824">
                  <c:v>-0.216195032361649</c:v>
                </c:pt>
                <c:pt idx="16825">
                  <c:v>-0.22864055928251301</c:v>
                </c:pt>
                <c:pt idx="16826">
                  <c:v>-0.236937577229757</c:v>
                </c:pt>
                <c:pt idx="16827">
                  <c:v>-0.38213539130651297</c:v>
                </c:pt>
                <c:pt idx="16828">
                  <c:v>-0.36139284643840502</c:v>
                </c:pt>
                <c:pt idx="16829">
                  <c:v>-0.32820477464943199</c:v>
                </c:pt>
                <c:pt idx="16830">
                  <c:v>-0.41532346309548601</c:v>
                </c:pt>
                <c:pt idx="16831">
                  <c:v>-0.35724433746478401</c:v>
                </c:pt>
                <c:pt idx="16832">
                  <c:v>-0.37798688233289202</c:v>
                </c:pt>
                <c:pt idx="16833">
                  <c:v>-0.39458091822737801</c:v>
                </c:pt>
                <c:pt idx="16834">
                  <c:v>-0.44021451693721603</c:v>
                </c:pt>
                <c:pt idx="16835">
                  <c:v>-0.46510557077894599</c:v>
                </c:pt>
                <c:pt idx="16836">
                  <c:v>-0.45680855283170202</c:v>
                </c:pt>
                <c:pt idx="16837">
                  <c:v>-0.39458091822737801</c:v>
                </c:pt>
                <c:pt idx="16838">
                  <c:v>-0.36554135541202698</c:v>
                </c:pt>
                <c:pt idx="16839">
                  <c:v>-0.41947197206910802</c:v>
                </c:pt>
                <c:pt idx="16840">
                  <c:v>-0.47755109769981102</c:v>
                </c:pt>
                <c:pt idx="16841">
                  <c:v>-0.28671968491321598</c:v>
                </c:pt>
                <c:pt idx="16842">
                  <c:v>-0.56466978614586505</c:v>
                </c:pt>
                <c:pt idx="16843">
                  <c:v>-0.49414513359429701</c:v>
                </c:pt>
                <c:pt idx="16844">
                  <c:v>-0.28671968491321598</c:v>
                </c:pt>
                <c:pt idx="16845">
                  <c:v>-0.32405626567581097</c:v>
                </c:pt>
                <c:pt idx="16846">
                  <c:v>-0.46095706180532398</c:v>
                </c:pt>
                <c:pt idx="16847">
                  <c:v>-9.5888272126621502E-2</c:v>
                </c:pt>
                <c:pt idx="16848">
                  <c:v>-0.19545248749353999</c:v>
                </c:pt>
                <c:pt idx="16849">
                  <c:v>-0.20374950544078399</c:v>
                </c:pt>
                <c:pt idx="16850">
                  <c:v>-6.6848709311270196E-2</c:v>
                </c:pt>
                <c:pt idx="16851">
                  <c:v>-0.22864055928251301</c:v>
                </c:pt>
                <c:pt idx="16852">
                  <c:v>-0.22449205030889199</c:v>
                </c:pt>
                <c:pt idx="16853">
                  <c:v>-0.178858451599054</c:v>
                </c:pt>
                <c:pt idx="16854">
                  <c:v>-0.23278906825613499</c:v>
                </c:pt>
                <c:pt idx="16855">
                  <c:v>0.24428946371035101</c:v>
                </c:pt>
                <c:pt idx="16856">
                  <c:v>6.1755068870999998E-2</c:v>
                </c:pt>
                <c:pt idx="16857">
                  <c:v>-0.17056143365181101</c:v>
                </c:pt>
                <c:pt idx="16858">
                  <c:v>-0.13322485288921601</c:v>
                </c:pt>
                <c:pt idx="16859">
                  <c:v>-9.1739763152999906E-2</c:v>
                </c:pt>
                <c:pt idx="16860">
                  <c:v>0.173764811158784</c:v>
                </c:pt>
                <c:pt idx="16861">
                  <c:v>8.2497613739108105E-2</c:v>
                </c:pt>
                <c:pt idx="16862">
                  <c:v>-1.29180926541891E-2</c:v>
                </c:pt>
                <c:pt idx="16863">
                  <c:v>0.19035884705327</c:v>
                </c:pt>
                <c:pt idx="16864">
                  <c:v>1.16110994688073</c:v>
                </c:pt>
                <c:pt idx="16865">
                  <c:v>0.60935825338905403</c:v>
                </c:pt>
                <c:pt idx="16866">
                  <c:v>0.74625904951856703</c:v>
                </c:pt>
                <c:pt idx="16867">
                  <c:v>0.65914036107251295</c:v>
                </c:pt>
                <c:pt idx="16868">
                  <c:v>0.72136799567683796</c:v>
                </c:pt>
                <c:pt idx="16869">
                  <c:v>1.0408031866456999</c:v>
                </c:pt>
                <c:pt idx="16870">
                  <c:v>0.86656580975359399</c:v>
                </c:pt>
                <c:pt idx="16871">
                  <c:v>1.0283576597248401</c:v>
                </c:pt>
                <c:pt idx="16872">
                  <c:v>0.96198151614689098</c:v>
                </c:pt>
                <c:pt idx="16873">
                  <c:v>1.1030308212500299</c:v>
                </c:pt>
                <c:pt idx="16874">
                  <c:v>0.90390239051618904</c:v>
                </c:pt>
                <c:pt idx="16875">
                  <c:v>0.88730835462170199</c:v>
                </c:pt>
                <c:pt idx="16876">
                  <c:v>0.696476941835108</c:v>
                </c:pt>
                <c:pt idx="16877">
                  <c:v>0.67988290594062095</c:v>
                </c:pt>
                <c:pt idx="16878">
                  <c:v>0.92464493538429704</c:v>
                </c:pt>
                <c:pt idx="16879">
                  <c:v>0.51394254699575703</c:v>
                </c:pt>
                <c:pt idx="16880">
                  <c:v>0.66743737901975697</c:v>
                </c:pt>
                <c:pt idx="16881">
                  <c:v>0.68403141491424302</c:v>
                </c:pt>
                <c:pt idx="16882">
                  <c:v>1.3602383776145699</c:v>
                </c:pt>
                <c:pt idx="16883">
                  <c:v>0.95368449819964796</c:v>
                </c:pt>
                <c:pt idx="16884">
                  <c:v>0.970278534094135</c:v>
                </c:pt>
                <c:pt idx="16885">
                  <c:v>0.97442704306775596</c:v>
                </c:pt>
                <c:pt idx="16886">
                  <c:v>0.87071431872721605</c:v>
                </c:pt>
                <c:pt idx="16887">
                  <c:v>0.80848668412289104</c:v>
                </c:pt>
                <c:pt idx="16888">
                  <c:v>0.83752624693824296</c:v>
                </c:pt>
                <c:pt idx="16889">
                  <c:v>0.89975388154256697</c:v>
                </c:pt>
                <c:pt idx="16890">
                  <c:v>0.85826879180635096</c:v>
                </c:pt>
                <c:pt idx="16891">
                  <c:v>0.78774413925478304</c:v>
                </c:pt>
                <c:pt idx="16892">
                  <c:v>0.70062545080872896</c:v>
                </c:pt>
                <c:pt idx="16893">
                  <c:v>0.64669483415164797</c:v>
                </c:pt>
                <c:pt idx="16894">
                  <c:v>0.75870457643943201</c:v>
                </c:pt>
                <c:pt idx="16895">
                  <c:v>1.0905852943291601</c:v>
                </c:pt>
                <c:pt idx="16896">
                  <c:v>1.5386242634803</c:v>
                </c:pt>
                <c:pt idx="16897">
                  <c:v>1.31045626993111</c:v>
                </c:pt>
                <c:pt idx="16898">
                  <c:v>0.99516958793586396</c:v>
                </c:pt>
                <c:pt idx="16899">
                  <c:v>0.99516958793586396</c:v>
                </c:pt>
                <c:pt idx="16900">
                  <c:v>0.73381352259770205</c:v>
                </c:pt>
                <c:pt idx="16901">
                  <c:v>1.3436443417200801</c:v>
                </c:pt>
                <c:pt idx="16902">
                  <c:v>1.22748609045868</c:v>
                </c:pt>
                <c:pt idx="16903">
                  <c:v>1.1901495096960799</c:v>
                </c:pt>
                <c:pt idx="16904">
                  <c:v>1.1445159109862399</c:v>
                </c:pt>
                <c:pt idx="16905">
                  <c:v>0.73796203157132401</c:v>
                </c:pt>
                <c:pt idx="16906">
                  <c:v>1.21918907251143</c:v>
                </c:pt>
                <c:pt idx="16907">
                  <c:v>1.0739912584346789</c:v>
                </c:pt>
                <c:pt idx="16908">
                  <c:v>0.78359563028116197</c:v>
                </c:pt>
                <c:pt idx="16909">
                  <c:v>0.72136799567683796</c:v>
                </c:pt>
                <c:pt idx="16910">
                  <c:v>0.85826879180635096</c:v>
                </c:pt>
                <c:pt idx="16911">
                  <c:v>0.65084334312527004</c:v>
                </c:pt>
                <c:pt idx="16912">
                  <c:v>0.27332902652570301</c:v>
                </c:pt>
                <c:pt idx="16913">
                  <c:v>0.51394254699575703</c:v>
                </c:pt>
                <c:pt idx="16914">
                  <c:v>0.31896262523553998</c:v>
                </c:pt>
                <c:pt idx="16915">
                  <c:v>0.39778429573435098</c:v>
                </c:pt>
                <c:pt idx="16916">
                  <c:v>0.29822008036743203</c:v>
                </c:pt>
                <c:pt idx="16917">
                  <c:v>0.41437833162883803</c:v>
                </c:pt>
                <c:pt idx="16918">
                  <c:v>0.64669483415164797</c:v>
                </c:pt>
                <c:pt idx="16919">
                  <c:v>9.0794631686351407E-2</c:v>
                </c:pt>
                <c:pt idx="16920">
                  <c:v>-0.100036781100243</c:v>
                </c:pt>
                <c:pt idx="16921">
                  <c:v>-0.17056143365181101</c:v>
                </c:pt>
                <c:pt idx="16922">
                  <c:v>-8.7591254179378297E-2</c:v>
                </c:pt>
                <c:pt idx="16923">
                  <c:v>0.11568568552808101</c:v>
                </c:pt>
                <c:pt idx="16924">
                  <c:v>-0.31161073875494599</c:v>
                </c:pt>
                <c:pt idx="16925">
                  <c:v>-0.50244215154154004</c:v>
                </c:pt>
                <c:pt idx="16926">
                  <c:v>-0.29086819388683799</c:v>
                </c:pt>
                <c:pt idx="16927">
                  <c:v>-8.3442745205756702E-2</c:v>
                </c:pt>
                <c:pt idx="16928">
                  <c:v>-0.17470994262543199</c:v>
                </c:pt>
                <c:pt idx="16929">
                  <c:v>-0.216195032361649</c:v>
                </c:pt>
                <c:pt idx="16930">
                  <c:v>0.123982703475324</c:v>
                </c:pt>
                <c:pt idx="16931">
                  <c:v>0.289923062420189</c:v>
                </c:pt>
                <c:pt idx="16932">
                  <c:v>0.11568568552808101</c:v>
                </c:pt>
                <c:pt idx="16933">
                  <c:v>-3.3660637522297199E-2</c:v>
                </c:pt>
                <c:pt idx="16934">
                  <c:v>0.16546779321154101</c:v>
                </c:pt>
                <c:pt idx="16935">
                  <c:v>0.123982703475324</c:v>
                </c:pt>
                <c:pt idx="16936">
                  <c:v>0.30236858934105398</c:v>
                </c:pt>
                <c:pt idx="16937">
                  <c:v>0.87901133667445897</c:v>
                </c:pt>
                <c:pt idx="16938">
                  <c:v>7.8244522139189494E-3</c:v>
                </c:pt>
                <c:pt idx="16939">
                  <c:v>-0.100036781100243</c:v>
                </c:pt>
                <c:pt idx="16940">
                  <c:v>0.92049642641067497</c:v>
                </c:pt>
                <c:pt idx="16941">
                  <c:v>0.56372465467921595</c:v>
                </c:pt>
                <c:pt idx="16942">
                  <c:v>1.136218893039</c:v>
                </c:pt>
                <c:pt idx="16943">
                  <c:v>0.74625904951856703</c:v>
                </c:pt>
                <c:pt idx="16944">
                  <c:v>0.99516958793586396</c:v>
                </c:pt>
                <c:pt idx="16945">
                  <c:v>1.01591213280397</c:v>
                </c:pt>
                <c:pt idx="16946">
                  <c:v>0.96613002512051305</c:v>
                </c:pt>
                <c:pt idx="16947">
                  <c:v>1.18600100072246</c:v>
                </c:pt>
                <c:pt idx="16948">
                  <c:v>1.1030308212500299</c:v>
                </c:pt>
                <c:pt idx="16949">
                  <c:v>0.77944712130754001</c:v>
                </c:pt>
                <c:pt idx="16950">
                  <c:v>0.82922922899100004</c:v>
                </c:pt>
                <c:pt idx="16951">
                  <c:v>0.99102107896224301</c:v>
                </c:pt>
                <c:pt idx="16952">
                  <c:v>1.24822863532678</c:v>
                </c:pt>
                <c:pt idx="16953">
                  <c:v>1.64648549679446</c:v>
                </c:pt>
                <c:pt idx="16954">
                  <c:v>1.7377526942141299</c:v>
                </c:pt>
                <c:pt idx="16955">
                  <c:v>1.7667922570294901</c:v>
                </c:pt>
                <c:pt idx="16956">
                  <c:v>1.67137655063619</c:v>
                </c:pt>
                <c:pt idx="16957">
                  <c:v>1.7584952390822399</c:v>
                </c:pt>
                <c:pt idx="16958">
                  <c:v>1.4639511019551099</c:v>
                </c:pt>
                <c:pt idx="16959">
                  <c:v>1.4432085570869999</c:v>
                </c:pt>
                <c:pt idx="16960">
                  <c:v>1.45980259298149</c:v>
                </c:pt>
                <c:pt idx="16961">
                  <c:v>1.45565408400786</c:v>
                </c:pt>
                <c:pt idx="16962">
                  <c:v>1.5095847006649501</c:v>
                </c:pt>
                <c:pt idx="16963">
                  <c:v>1.4639511019551099</c:v>
                </c:pt>
                <c:pt idx="16964">
                  <c:v>1.85805945444916</c:v>
                </c:pt>
                <c:pt idx="16965">
                  <c:v>0.833377737964621</c:v>
                </c:pt>
                <c:pt idx="16966">
                  <c:v>3.6709578759218102</c:v>
                </c:pt>
                <c:pt idx="16967">
                  <c:v>2.2853558787321901</c:v>
                </c:pt>
                <c:pt idx="16968">
                  <c:v>2.2189797351542402</c:v>
                </c:pt>
                <c:pt idx="16969">
                  <c:v>1.70456462242516</c:v>
                </c:pt>
                <c:pt idx="16970">
                  <c:v>1.92028708905349</c:v>
                </c:pt>
                <c:pt idx="16971">
                  <c:v>1.6962676044779199</c:v>
                </c:pt>
                <c:pt idx="16972">
                  <c:v>1.9991087595523001</c:v>
                </c:pt>
                <c:pt idx="16973">
                  <c:v>1.79168331087122</c:v>
                </c:pt>
                <c:pt idx="16974">
                  <c:v>2.04474235826213</c:v>
                </c:pt>
                <c:pt idx="16975">
                  <c:v>1.9036930531589991</c:v>
                </c:pt>
                <c:pt idx="16976">
                  <c:v>1.7004161134515401</c:v>
                </c:pt>
                <c:pt idx="16977">
                  <c:v>1.6340399698735899</c:v>
                </c:pt>
                <c:pt idx="16978">
                  <c:v>1.7667922570294901</c:v>
                </c:pt>
                <c:pt idx="16979">
                  <c:v>1.73360418524051</c:v>
                </c:pt>
                <c:pt idx="16980">
                  <c:v>1.7875348018975901</c:v>
                </c:pt>
                <c:pt idx="16981">
                  <c:v>1.70456462242516</c:v>
                </c:pt>
                <c:pt idx="16982">
                  <c:v>1.6921190955043</c:v>
                </c:pt>
                <c:pt idx="16983">
                  <c:v>1.6547825147416999</c:v>
                </c:pt>
                <c:pt idx="16984">
                  <c:v>1.58010935321651</c:v>
                </c:pt>
                <c:pt idx="16985">
                  <c:v>1.5884063711637599</c:v>
                </c:pt>
                <c:pt idx="16986">
                  <c:v>1.9659206877633191</c:v>
                </c:pt>
                <c:pt idx="16987">
                  <c:v>1.6921190955043</c:v>
                </c:pt>
                <c:pt idx="16988">
                  <c:v>1.30630776095749</c:v>
                </c:pt>
                <c:pt idx="16989">
                  <c:v>1.7875348018975901</c:v>
                </c:pt>
                <c:pt idx="16990">
                  <c:v>1.3851294314563001</c:v>
                </c:pt>
                <c:pt idx="16991">
                  <c:v>1.37268390453543</c:v>
                </c:pt>
                <c:pt idx="16992">
                  <c:v>1.2980107430102401</c:v>
                </c:pt>
                <c:pt idx="16993">
                  <c:v>1.17770398277522</c:v>
                </c:pt>
                <c:pt idx="16994">
                  <c:v>1.21918907251143</c:v>
                </c:pt>
                <c:pt idx="16995">
                  <c:v>1.1113278391972701</c:v>
                </c:pt>
                <c:pt idx="16996">
                  <c:v>1.3146047789047299</c:v>
                </c:pt>
                <c:pt idx="16997">
                  <c:v>1.3353473237728399</c:v>
                </c:pt>
                <c:pt idx="16998">
                  <c:v>1.3768324135090499</c:v>
                </c:pt>
                <c:pt idx="16999">
                  <c:v>0.97857555204137803</c:v>
                </c:pt>
                <c:pt idx="17000">
                  <c:v>0.75870457643943201</c:v>
                </c:pt>
                <c:pt idx="17001">
                  <c:v>1.01591213280397</c:v>
                </c:pt>
                <c:pt idx="17002">
                  <c:v>0.65084334312527004</c:v>
                </c:pt>
                <c:pt idx="17003">
                  <c:v>0.46830894828591901</c:v>
                </c:pt>
                <c:pt idx="17004">
                  <c:v>0.17791332013240499</c:v>
                </c:pt>
                <c:pt idx="17005">
                  <c:v>0.22769542781586499</c:v>
                </c:pt>
                <c:pt idx="17006">
                  <c:v>-2.1215110601432399E-2</c:v>
                </c:pt>
                <c:pt idx="17007">
                  <c:v>0.348002188050892</c:v>
                </c:pt>
                <c:pt idx="17008">
                  <c:v>0.39363578676073002</c:v>
                </c:pt>
                <c:pt idx="17009">
                  <c:v>0.59276421749456698</c:v>
                </c:pt>
                <c:pt idx="17010">
                  <c:v>0.33140815215640501</c:v>
                </c:pt>
                <c:pt idx="17011">
                  <c:v>0.24428946371035101</c:v>
                </c:pt>
                <c:pt idx="17012">
                  <c:v>0.31896262523553998</c:v>
                </c:pt>
                <c:pt idx="17013">
                  <c:v>0.26088349960483798</c:v>
                </c:pt>
                <c:pt idx="17014">
                  <c:v>-5.44031823904053E-2</c:v>
                </c:pt>
                <c:pt idx="17015">
                  <c:v>3.6864015029270301E-2</c:v>
                </c:pt>
                <c:pt idx="17016">
                  <c:v>0.19035884705327</c:v>
                </c:pt>
                <c:pt idx="17017">
                  <c:v>0.46001193033867499</c:v>
                </c:pt>
                <c:pt idx="17018">
                  <c:v>0.269180517552081</c:v>
                </c:pt>
                <c:pt idx="17019">
                  <c:v>6.59035778446216E-2</c:v>
                </c:pt>
                <c:pt idx="17020">
                  <c:v>-0.43606600796359402</c:v>
                </c:pt>
                <c:pt idx="17021">
                  <c:v>-0.216195032361649</c:v>
                </c:pt>
                <c:pt idx="17022">
                  <c:v>-2.5363619575054001E-2</c:v>
                </c:pt>
                <c:pt idx="17023">
                  <c:v>-0.129076343915595</c:v>
                </c:pt>
                <c:pt idx="17024">
                  <c:v>3.6864015029270301E-2</c:v>
                </c:pt>
                <c:pt idx="17025">
                  <c:v>-0.21204652338802699</c:v>
                </c:pt>
                <c:pt idx="17026">
                  <c:v>0.119834194501703</c:v>
                </c:pt>
                <c:pt idx="17027">
                  <c:v>0.32311113420916199</c:v>
                </c:pt>
                <c:pt idx="17028">
                  <c:v>9.4943140659973002E-2</c:v>
                </c:pt>
                <c:pt idx="17029">
                  <c:v>7.0052086818243306E-2</c:v>
                </c:pt>
                <c:pt idx="17030">
                  <c:v>0.123982703475324</c:v>
                </c:pt>
                <c:pt idx="17031">
                  <c:v>5.7606559897378402E-2</c:v>
                </c:pt>
                <c:pt idx="17032">
                  <c:v>-5.44031823904053E-2</c:v>
                </c:pt>
                <c:pt idx="17033">
                  <c:v>0.27747753549932402</c:v>
                </c:pt>
                <c:pt idx="17034">
                  <c:v>0.107388667580838</c:v>
                </c:pt>
                <c:pt idx="17035">
                  <c:v>0.248437972683973</c:v>
                </c:pt>
                <c:pt idx="17036">
                  <c:v>0.31066560728829701</c:v>
                </c:pt>
                <c:pt idx="17037">
                  <c:v>0.99931809690948603</c:v>
                </c:pt>
                <c:pt idx="17038">
                  <c:v>0.98687256998862105</c:v>
                </c:pt>
                <c:pt idx="17039">
                  <c:v>1.1237733661181299</c:v>
                </c:pt>
                <c:pt idx="17040">
                  <c:v>1.05324871356657</c:v>
                </c:pt>
                <c:pt idx="17041">
                  <c:v>0.79189264822840499</c:v>
                </c:pt>
                <c:pt idx="17042">
                  <c:v>0.64669483415164797</c:v>
                </c:pt>
                <c:pt idx="17043">
                  <c:v>0.928793444357919</c:v>
                </c:pt>
                <c:pt idx="17044">
                  <c:v>1.03250616869846</c:v>
                </c:pt>
                <c:pt idx="17045">
                  <c:v>1.09473380330278</c:v>
                </c:pt>
                <c:pt idx="17046">
                  <c:v>1.0905852943291601</c:v>
                </c:pt>
                <c:pt idx="17047">
                  <c:v>0.94538748025240504</c:v>
                </c:pt>
                <c:pt idx="17048">
                  <c:v>1.065694240487429</c:v>
                </c:pt>
                <c:pt idx="17049">
                  <c:v>1.0242091507512201</c:v>
                </c:pt>
                <c:pt idx="17050">
                  <c:v>1.39342644940354</c:v>
                </c:pt>
                <c:pt idx="17051">
                  <c:v>1.5593668083484</c:v>
                </c:pt>
                <c:pt idx="17052">
                  <c:v>1.5469212814275399</c:v>
                </c:pt>
                <c:pt idx="17053">
                  <c:v>1.6506340057680799</c:v>
                </c:pt>
                <c:pt idx="17054">
                  <c:v>1.8290198916338101</c:v>
                </c:pt>
                <c:pt idx="17055">
                  <c:v>1.62159444295273</c:v>
                </c:pt>
                <c:pt idx="17056">
                  <c:v>1.77094076600311</c:v>
                </c:pt>
                <c:pt idx="17057">
                  <c:v>1.49713917374408</c:v>
                </c:pt>
                <c:pt idx="17058">
                  <c:v>1.5967033891110001</c:v>
                </c:pt>
                <c:pt idx="17059">
                  <c:v>1.6962676044779199</c:v>
                </c:pt>
                <c:pt idx="17060">
                  <c:v>1.4929906647704601</c:v>
                </c:pt>
                <c:pt idx="17061">
                  <c:v>1.6174459339791101</c:v>
                </c:pt>
                <c:pt idx="17062">
                  <c:v>1.6298914608999699</c:v>
                </c:pt>
                <c:pt idx="17063">
                  <c:v>1.7128616403724</c:v>
                </c:pt>
                <c:pt idx="17064">
                  <c:v>1.7667922570294901</c:v>
                </c:pt>
                <c:pt idx="17065">
                  <c:v>1.7419012031877601</c:v>
                </c:pt>
                <c:pt idx="17066">
                  <c:v>1.7792377839503499</c:v>
                </c:pt>
                <c:pt idx="17067">
                  <c:v>1.8456139275282999</c:v>
                </c:pt>
                <c:pt idx="17068">
                  <c:v>1.5759608442428901</c:v>
                </c:pt>
                <c:pt idx="17069">
                  <c:v>1.7170101493460299</c:v>
                </c:pt>
                <c:pt idx="17070">
                  <c:v>1.6174459339791101</c:v>
                </c:pt>
                <c:pt idx="17071">
                  <c:v>3.08186960166754</c:v>
                </c:pt>
                <c:pt idx="17072">
                  <c:v>2.11111850184008</c:v>
                </c:pt>
                <c:pt idx="17073">
                  <c:v>1.6547825147416999</c:v>
                </c:pt>
                <c:pt idx="17074">
                  <c:v>1.45150557503424</c:v>
                </c:pt>
                <c:pt idx="17075">
                  <c:v>1.8497624365019201</c:v>
                </c:pt>
                <c:pt idx="17076">
                  <c:v>1.6547825147416999</c:v>
                </c:pt>
                <c:pt idx="17077">
                  <c:v>1.7377526942141299</c:v>
                </c:pt>
                <c:pt idx="17078">
                  <c:v>1.45150557503424</c:v>
                </c:pt>
                <c:pt idx="17079">
                  <c:v>1.68382207755705</c:v>
                </c:pt>
                <c:pt idx="17080">
                  <c:v>1.58425786219013</c:v>
                </c:pt>
                <c:pt idx="17081">
                  <c:v>1.66722804166257</c:v>
                </c:pt>
                <c:pt idx="17082">
                  <c:v>1.51788171861219</c:v>
                </c:pt>
                <c:pt idx="17083">
                  <c:v>0.88730835462170199</c:v>
                </c:pt>
                <c:pt idx="17084">
                  <c:v>1.11547634817089</c:v>
                </c:pt>
                <c:pt idx="17085">
                  <c:v>0.98272406101499998</c:v>
                </c:pt>
                <c:pt idx="17086">
                  <c:v>0.78359563028116197</c:v>
                </c:pt>
                <c:pt idx="17087">
                  <c:v>0.970278534094135</c:v>
                </c:pt>
                <c:pt idx="17088">
                  <c:v>0.89975388154256697</c:v>
                </c:pt>
                <c:pt idx="17089">
                  <c:v>0.94538748025240504</c:v>
                </c:pt>
                <c:pt idx="17090">
                  <c:v>1.0034666058831101</c:v>
                </c:pt>
                <c:pt idx="17091">
                  <c:v>0.99931809690948603</c:v>
                </c:pt>
                <c:pt idx="17092">
                  <c:v>0.87901133667445897</c:v>
                </c:pt>
                <c:pt idx="17093">
                  <c:v>0.82093221104375602</c:v>
                </c:pt>
                <c:pt idx="17094">
                  <c:v>1.05324871356657</c:v>
                </c:pt>
                <c:pt idx="17095">
                  <c:v>0.47660596623316198</c:v>
                </c:pt>
                <c:pt idx="17096">
                  <c:v>0.53468509186386504</c:v>
                </c:pt>
                <c:pt idx="17097">
                  <c:v>0.211101391921378</c:v>
                </c:pt>
                <c:pt idx="17098">
                  <c:v>0.123982703475324</c:v>
                </c:pt>
                <c:pt idx="17099">
                  <c:v>0.26503200857845899</c:v>
                </c:pt>
                <c:pt idx="17100">
                  <c:v>0.202804373974135</c:v>
                </c:pt>
                <c:pt idx="17101">
                  <c:v>0.28577455344656699</c:v>
                </c:pt>
                <c:pt idx="17102">
                  <c:v>0.58446719954732396</c:v>
                </c:pt>
                <c:pt idx="17103">
                  <c:v>0.57617018160008104</c:v>
                </c:pt>
                <c:pt idx="17104">
                  <c:v>0.289923062420189</c:v>
                </c:pt>
                <c:pt idx="17105">
                  <c:v>0.14472524834343201</c:v>
                </c:pt>
                <c:pt idx="17106">
                  <c:v>-0.14152187083645901</c:v>
                </c:pt>
                <c:pt idx="17107">
                  <c:v>-0.32820477464943199</c:v>
                </c:pt>
                <c:pt idx="17108">
                  <c:v>-0.13322485288921601</c:v>
                </c:pt>
                <c:pt idx="17109">
                  <c:v>-0.13322485288921601</c:v>
                </c:pt>
                <c:pt idx="17110">
                  <c:v>-0.245234595177</c:v>
                </c:pt>
                <c:pt idx="17111">
                  <c:v>-4.19576554695405E-2</c:v>
                </c:pt>
                <c:pt idx="17112">
                  <c:v>8.2497613739108105E-2</c:v>
                </c:pt>
                <c:pt idx="17113">
                  <c:v>7.8244522139189494E-3</c:v>
                </c:pt>
                <c:pt idx="17114">
                  <c:v>-0.27842266696597301</c:v>
                </c:pt>
                <c:pt idx="17115">
                  <c:v>-0.28671968491321598</c:v>
                </c:pt>
                <c:pt idx="17116">
                  <c:v>-0.73475865406435104</c:v>
                </c:pt>
                <c:pt idx="17117">
                  <c:v>-0.52733320538327</c:v>
                </c:pt>
                <c:pt idx="17118">
                  <c:v>-0.51488767846240502</c:v>
                </c:pt>
                <c:pt idx="17119">
                  <c:v>-0.62274891177656699</c:v>
                </c:pt>
                <c:pt idx="17120">
                  <c:v>-0.51073916948878395</c:v>
                </c:pt>
                <c:pt idx="17121">
                  <c:v>-0.45266004385808101</c:v>
                </c:pt>
                <c:pt idx="17122">
                  <c:v>-0.15396739775732399</c:v>
                </c:pt>
                <c:pt idx="17123">
                  <c:v>-7.9294236232135107E-2</c:v>
                </c:pt>
                <c:pt idx="17124">
                  <c:v>-0.21204652338802699</c:v>
                </c:pt>
                <c:pt idx="17125">
                  <c:v>-0.38628390028013498</c:v>
                </c:pt>
                <c:pt idx="17126">
                  <c:v>-0.52318469640964804</c:v>
                </c:pt>
                <c:pt idx="17127">
                  <c:v>-0.48169960667343198</c:v>
                </c:pt>
                <c:pt idx="17128">
                  <c:v>-0.48169960667343198</c:v>
                </c:pt>
                <c:pt idx="17129">
                  <c:v>0.132279721422568</c:v>
                </c:pt>
                <c:pt idx="17130">
                  <c:v>-0.56466978614586505</c:v>
                </c:pt>
                <c:pt idx="17131">
                  <c:v>-0.70157058227537805</c:v>
                </c:pt>
                <c:pt idx="17132">
                  <c:v>-0.31990775670218902</c:v>
                </c:pt>
                <c:pt idx="17133">
                  <c:v>-0.21204652338802699</c:v>
                </c:pt>
                <c:pt idx="17134">
                  <c:v>-5.8551691364026999E-2</c:v>
                </c:pt>
                <c:pt idx="17135">
                  <c:v>-0.18300696057267599</c:v>
                </c:pt>
                <c:pt idx="17136">
                  <c:v>0.33140815215640501</c:v>
                </c:pt>
                <c:pt idx="17137">
                  <c:v>-0.11248230802110799</c:v>
                </c:pt>
                <c:pt idx="17138">
                  <c:v>-7.9294236232135107E-2</c:v>
                </c:pt>
                <c:pt idx="17139">
                  <c:v>-4.19576554695405E-2</c:v>
                </c:pt>
                <c:pt idx="17140">
                  <c:v>0.23599244576310799</c:v>
                </c:pt>
                <c:pt idx="17141">
                  <c:v>-6.6848709311270196E-2</c:v>
                </c:pt>
                <c:pt idx="17142">
                  <c:v>2.4418488108405401E-2</c:v>
                </c:pt>
                <c:pt idx="17143">
                  <c:v>0.32311113420916199</c:v>
                </c:pt>
                <c:pt idx="17144">
                  <c:v>9.9091649633594597E-2</c:v>
                </c:pt>
                <c:pt idx="17145">
                  <c:v>0.24014095473673</c:v>
                </c:pt>
                <c:pt idx="17146">
                  <c:v>0.41022982265521601</c:v>
                </c:pt>
                <c:pt idx="17147">
                  <c:v>0.248437972683973</c:v>
                </c:pt>
                <c:pt idx="17148">
                  <c:v>0.65499185209889199</c:v>
                </c:pt>
                <c:pt idx="17149">
                  <c:v>0.74625904951856703</c:v>
                </c:pt>
                <c:pt idx="17150">
                  <c:v>0.99516958793586396</c:v>
                </c:pt>
                <c:pt idx="17151">
                  <c:v>0.99102107896224301</c:v>
                </c:pt>
                <c:pt idx="17152">
                  <c:v>0.98272406101499998</c:v>
                </c:pt>
                <c:pt idx="17153">
                  <c:v>1.01591213280397</c:v>
                </c:pt>
                <c:pt idx="17154">
                  <c:v>0.97857555204137803</c:v>
                </c:pt>
                <c:pt idx="17155">
                  <c:v>0.94538748025240504</c:v>
                </c:pt>
                <c:pt idx="17156">
                  <c:v>0.94123897127878298</c:v>
                </c:pt>
                <c:pt idx="17157">
                  <c:v>0.93294195333153995</c:v>
                </c:pt>
                <c:pt idx="17158">
                  <c:v>0.99516958793586396</c:v>
                </c:pt>
                <c:pt idx="17159">
                  <c:v>1.0864367853555399</c:v>
                </c:pt>
                <c:pt idx="17160">
                  <c:v>1.0449516956193201</c:v>
                </c:pt>
                <c:pt idx="17161">
                  <c:v>0.96198151614689098</c:v>
                </c:pt>
                <c:pt idx="17162">
                  <c:v>1.18185249174884</c:v>
                </c:pt>
                <c:pt idx="17163">
                  <c:v>1.0449516956193201</c:v>
                </c:pt>
                <c:pt idx="17164">
                  <c:v>1.16525845585435</c:v>
                </c:pt>
                <c:pt idx="17165">
                  <c:v>0.98272406101499998</c:v>
                </c:pt>
                <c:pt idx="17166">
                  <c:v>1.0034666058831101</c:v>
                </c:pt>
                <c:pt idx="17167">
                  <c:v>1.1071793302236499</c:v>
                </c:pt>
                <c:pt idx="17168">
                  <c:v>1.0076151148567301</c:v>
                </c:pt>
                <c:pt idx="17169">
                  <c:v>0.87901133667445897</c:v>
                </c:pt>
                <c:pt idx="17170">
                  <c:v>0.21524990089500001</c:v>
                </c:pt>
                <c:pt idx="17171">
                  <c:v>1.19729611875406E-2</c:v>
                </c:pt>
                <c:pt idx="17172">
                  <c:v>-0.178858451599054</c:v>
                </c:pt>
                <c:pt idx="17173">
                  <c:v>-0.11663081699473</c:v>
                </c:pt>
                <c:pt idx="17174">
                  <c:v>4.1012524002891897E-2</c:v>
                </c:pt>
                <c:pt idx="17175">
                  <c:v>0.19865586500051299</c:v>
                </c:pt>
                <c:pt idx="17176">
                  <c:v>0.32311113420916199</c:v>
                </c:pt>
                <c:pt idx="17177">
                  <c:v>0.25258648165759501</c:v>
                </c:pt>
                <c:pt idx="17178">
                  <c:v>2.8566997082027101E-2</c:v>
                </c:pt>
                <c:pt idx="17179">
                  <c:v>0.123982703475324</c:v>
                </c:pt>
                <c:pt idx="17180">
                  <c:v>0.19865586500051299</c:v>
                </c:pt>
                <c:pt idx="17181">
                  <c:v>0.28577455344656699</c:v>
                </c:pt>
                <c:pt idx="17182">
                  <c:v>0.50979403802213497</c:v>
                </c:pt>
                <c:pt idx="17183">
                  <c:v>0.211101391921378</c:v>
                </c:pt>
                <c:pt idx="17184">
                  <c:v>0.29822008036743203</c:v>
                </c:pt>
                <c:pt idx="17185">
                  <c:v>0.46830894828591901</c:v>
                </c:pt>
                <c:pt idx="17186">
                  <c:v>0.77529861233391895</c:v>
                </c:pt>
                <c:pt idx="17187">
                  <c:v>0.58861570852094602</c:v>
                </c:pt>
                <c:pt idx="17188">
                  <c:v>0.74625904951856703</c:v>
                </c:pt>
                <c:pt idx="17189">
                  <c:v>0.52223956494299995</c:v>
                </c:pt>
                <c:pt idx="17190">
                  <c:v>0.64254632517802701</c:v>
                </c:pt>
                <c:pt idx="17191">
                  <c:v>0.70892246875597298</c:v>
                </c:pt>
                <c:pt idx="17192">
                  <c:v>0.73796203157132401</c:v>
                </c:pt>
                <c:pt idx="17193">
                  <c:v>0.87901133667445897</c:v>
                </c:pt>
                <c:pt idx="17194">
                  <c:v>0.67988290594062095</c:v>
                </c:pt>
                <c:pt idx="17195">
                  <c:v>0.70477395978235102</c:v>
                </c:pt>
                <c:pt idx="17196">
                  <c:v>0.66328887004613502</c:v>
                </c:pt>
                <c:pt idx="17197">
                  <c:v>0.27332902652570301</c:v>
                </c:pt>
                <c:pt idx="17198">
                  <c:v>5.34580509237568E-2</c:v>
                </c:pt>
                <c:pt idx="17199">
                  <c:v>-7.9294236232135107E-2</c:v>
                </c:pt>
                <c:pt idx="17200">
                  <c:v>0.231843936789486</c:v>
                </c:pt>
                <c:pt idx="17201">
                  <c:v>9.9091649633594597E-2</c:v>
                </c:pt>
                <c:pt idx="17202">
                  <c:v>-0.17056143365181101</c:v>
                </c:pt>
                <c:pt idx="17203">
                  <c:v>-0.178858451599054</c:v>
                </c:pt>
                <c:pt idx="17204">
                  <c:v>-7.9294236232135107E-2</c:v>
                </c:pt>
                <c:pt idx="17205">
                  <c:v>-3.3660637522297199E-2</c:v>
                </c:pt>
                <c:pt idx="17206">
                  <c:v>-0.17470994262543199</c:v>
                </c:pt>
                <c:pt idx="17207">
                  <c:v>-0.36139284643840502</c:v>
                </c:pt>
                <c:pt idx="17208">
                  <c:v>-0.35724433746478401</c:v>
                </c:pt>
                <c:pt idx="17209">
                  <c:v>-0.60200636690845899</c:v>
                </c:pt>
                <c:pt idx="17210">
                  <c:v>-0.32405626567581097</c:v>
                </c:pt>
                <c:pt idx="17211">
                  <c:v>-0.38628390028013498</c:v>
                </c:pt>
                <c:pt idx="17212">
                  <c:v>-0.87995646814110795</c:v>
                </c:pt>
                <c:pt idx="17213">
                  <c:v>-0.89240199506197204</c:v>
                </c:pt>
                <c:pt idx="17214">
                  <c:v>-0.92973857582456698</c:v>
                </c:pt>
                <c:pt idx="17215">
                  <c:v>-0.75550119893245904</c:v>
                </c:pt>
                <c:pt idx="17216">
                  <c:v>-0.82187734251040501</c:v>
                </c:pt>
                <c:pt idx="17217">
                  <c:v>-0.57711531306672903</c:v>
                </c:pt>
                <c:pt idx="17218">
                  <c:v>-0.95877813863991801</c:v>
                </c:pt>
                <c:pt idx="17219">
                  <c:v>-0.95462962966629705</c:v>
                </c:pt>
                <c:pt idx="17220">
                  <c:v>-1.01685726427062</c:v>
                </c:pt>
                <c:pt idx="17221">
                  <c:v>-0.88410497711472902</c:v>
                </c:pt>
                <c:pt idx="17222">
                  <c:v>-0.70571909124900001</c:v>
                </c:pt>
                <c:pt idx="17223">
                  <c:v>-1.0210057732442399</c:v>
                </c:pt>
                <c:pt idx="17224">
                  <c:v>-1.0044117373497601</c:v>
                </c:pt>
                <c:pt idx="17225">
                  <c:v>-1.0666393719540801</c:v>
                </c:pt>
                <c:pt idx="17226">
                  <c:v>-1.1081244616903001</c:v>
                </c:pt>
                <c:pt idx="17227">
                  <c:v>-0.95877813863991801</c:v>
                </c:pt>
                <c:pt idx="17228">
                  <c:v>-1.2948073655032699</c:v>
                </c:pt>
                <c:pt idx="17229">
                  <c:v>-1.3238469283186201</c:v>
                </c:pt>
                <c:pt idx="17230">
                  <c:v>-1.22013420397808</c:v>
                </c:pt>
                <c:pt idx="17231">
                  <c:v>-1.1952431501363501</c:v>
                </c:pt>
                <c:pt idx="17232">
                  <c:v>-1.15790656937376</c:v>
                </c:pt>
                <c:pt idx="17233">
                  <c:v>-1.0832334078485699</c:v>
                </c:pt>
                <c:pt idx="17234">
                  <c:v>-1.1330155155320301</c:v>
                </c:pt>
                <c:pt idx="17235">
                  <c:v>-1.2782133296087801</c:v>
                </c:pt>
                <c:pt idx="17236">
                  <c:v>-0.896550504035594</c:v>
                </c:pt>
                <c:pt idx="17237">
                  <c:v>-1.1288670065584001</c:v>
                </c:pt>
                <c:pt idx="17238">
                  <c:v>-0.90899603095645898</c:v>
                </c:pt>
                <c:pt idx="17239">
                  <c:v>-0.90484752198283702</c:v>
                </c:pt>
                <c:pt idx="17240">
                  <c:v>-0.96707515658716203</c:v>
                </c:pt>
                <c:pt idx="17241">
                  <c:v>1.7792377839503499</c:v>
                </c:pt>
                <c:pt idx="17242">
                  <c:v>1.66722804166257</c:v>
                </c:pt>
                <c:pt idx="17243">
                  <c:v>1.45980259298149</c:v>
                </c:pt>
                <c:pt idx="17244">
                  <c:v>0.92049642641067497</c:v>
                </c:pt>
                <c:pt idx="17245">
                  <c:v>0.833377737964621</c:v>
                </c:pt>
                <c:pt idx="17246">
                  <c:v>0.73381352259770205</c:v>
                </c:pt>
                <c:pt idx="17247">
                  <c:v>0.65084334312527004</c:v>
                </c:pt>
                <c:pt idx="17248">
                  <c:v>0.49320000212764797</c:v>
                </c:pt>
                <c:pt idx="17249">
                  <c:v>0.35629920599813503</c:v>
                </c:pt>
                <c:pt idx="17250">
                  <c:v>0.119834194501703</c:v>
                </c:pt>
                <c:pt idx="17251">
                  <c:v>0.33140815215640501</c:v>
                </c:pt>
                <c:pt idx="17252">
                  <c:v>0.211101391921378</c:v>
                </c:pt>
                <c:pt idx="17253">
                  <c:v>0.33555666113002702</c:v>
                </c:pt>
                <c:pt idx="17254">
                  <c:v>0.23599244576310799</c:v>
                </c:pt>
                <c:pt idx="17255">
                  <c:v>0.443417894444189</c:v>
                </c:pt>
                <c:pt idx="17256">
                  <c:v>0.23599244576310799</c:v>
                </c:pt>
                <c:pt idx="17257">
                  <c:v>0.49734851110126999</c:v>
                </c:pt>
                <c:pt idx="17258">
                  <c:v>0.48490298418040501</c:v>
                </c:pt>
                <c:pt idx="17259">
                  <c:v>0.50979403802213497</c:v>
                </c:pt>
                <c:pt idx="17260">
                  <c:v>0.64254632517802701</c:v>
                </c:pt>
                <c:pt idx="17261">
                  <c:v>0.38119025983986499</c:v>
                </c:pt>
                <c:pt idx="17262">
                  <c:v>0.73381352259770205</c:v>
                </c:pt>
                <c:pt idx="17263">
                  <c:v>0.61350676236267498</c:v>
                </c:pt>
                <c:pt idx="17264">
                  <c:v>0.72966501362408098</c:v>
                </c:pt>
                <c:pt idx="17265">
                  <c:v>0.57617018160008104</c:v>
                </c:pt>
                <c:pt idx="17266">
                  <c:v>0.601061235441811</c:v>
                </c:pt>
                <c:pt idx="17267">
                  <c:v>0.42682385854970301</c:v>
                </c:pt>
                <c:pt idx="17268">
                  <c:v>0.70062545080872896</c:v>
                </c:pt>
                <c:pt idx="17269">
                  <c:v>0.48905149315402702</c:v>
                </c:pt>
                <c:pt idx="17270">
                  <c:v>0.48075447520678399</c:v>
                </c:pt>
                <c:pt idx="17271">
                  <c:v>-2.1215110601432399E-2</c:v>
                </c:pt>
                <c:pt idx="17272">
                  <c:v>-0.18300696057267599</c:v>
                </c:pt>
                <c:pt idx="17273">
                  <c:v>-0.643491456644675</c:v>
                </c:pt>
                <c:pt idx="17274">
                  <c:v>-0.66008549253916204</c:v>
                </c:pt>
                <c:pt idx="17275">
                  <c:v>-0.41532346309548601</c:v>
                </c:pt>
                <c:pt idx="17276">
                  <c:v>-0.74720418098521602</c:v>
                </c:pt>
                <c:pt idx="17277">
                  <c:v>-0.64763996561829695</c:v>
                </c:pt>
                <c:pt idx="17278">
                  <c:v>-0.94218410274543196</c:v>
                </c:pt>
                <c:pt idx="17279">
                  <c:v>-0.90484752198283702</c:v>
                </c:pt>
                <c:pt idx="17280">
                  <c:v>-0.94218410274543196</c:v>
                </c:pt>
                <c:pt idx="17281">
                  <c:v>-1.0044117373497601</c:v>
                </c:pt>
                <c:pt idx="17282">
                  <c:v>-0.73890716303797299</c:v>
                </c:pt>
                <c:pt idx="17283">
                  <c:v>-0.81772883353678305</c:v>
                </c:pt>
                <c:pt idx="17284">
                  <c:v>-1.0044117373497601</c:v>
                </c:pt>
                <c:pt idx="17285">
                  <c:v>-0.93803559377181001</c:v>
                </c:pt>
                <c:pt idx="17286">
                  <c:v>-1.1496095514265099</c:v>
                </c:pt>
                <c:pt idx="17287">
                  <c:v>-0.98366919248164797</c:v>
                </c:pt>
                <c:pt idx="17288">
                  <c:v>-1.09567893476943</c:v>
                </c:pt>
                <c:pt idx="17289">
                  <c:v>-1.03759980913873</c:v>
                </c:pt>
                <c:pt idx="17290">
                  <c:v>-0.87165945019386404</c:v>
                </c:pt>
                <c:pt idx="17291">
                  <c:v>-1.0417483181123499</c:v>
                </c:pt>
                <c:pt idx="17292">
                  <c:v>-1.28651034755603</c:v>
                </c:pt>
                <c:pt idx="17293">
                  <c:v>-1.2076886770572199</c:v>
                </c:pt>
                <c:pt idx="17294">
                  <c:v>-1.12056998861116</c:v>
                </c:pt>
                <c:pt idx="17295">
                  <c:v>-1.1288670065584001</c:v>
                </c:pt>
                <c:pt idx="17296">
                  <c:v>-1.1454610424528899</c:v>
                </c:pt>
                <c:pt idx="17297">
                  <c:v>-1.11642147963754</c:v>
                </c:pt>
                <c:pt idx="17298">
                  <c:v>-1.30725289242413</c:v>
                </c:pt>
                <c:pt idx="17299">
                  <c:v>1.7833862929239701</c:v>
                </c:pt>
                <c:pt idx="17300">
                  <c:v>1.83316840060743</c:v>
                </c:pt>
                <c:pt idx="17301">
                  <c:v>1.0076151148567301</c:v>
                </c:pt>
                <c:pt idx="17302">
                  <c:v>-0.13737336186283799</c:v>
                </c:pt>
                <c:pt idx="17303">
                  <c:v>-9.5888272126621502E-2</c:v>
                </c:pt>
                <c:pt idx="17304">
                  <c:v>-9.5888272126621502E-2</c:v>
                </c:pt>
                <c:pt idx="17305">
                  <c:v>-0.332353283623054</c:v>
                </c:pt>
                <c:pt idx="17306">
                  <c:v>-4.62107470694591E-3</c:v>
                </c:pt>
                <c:pt idx="17307">
                  <c:v>-4.19576554695405E-2</c:v>
                </c:pt>
                <c:pt idx="17308">
                  <c:v>0.103240158607216</c:v>
                </c:pt>
                <c:pt idx="17309">
                  <c:v>-0.274274157992351</c:v>
                </c:pt>
                <c:pt idx="17310">
                  <c:v>-0.187155469546297</c:v>
                </c:pt>
                <c:pt idx="17311">
                  <c:v>-0.38213539130651297</c:v>
                </c:pt>
                <c:pt idx="17312">
                  <c:v>-5.0254673416783698E-2</c:v>
                </c:pt>
                <c:pt idx="17313">
                  <c:v>-0.37798688233289202</c:v>
                </c:pt>
                <c:pt idx="17314">
                  <c:v>-0.32405626567581097</c:v>
                </c:pt>
                <c:pt idx="17315">
                  <c:v>-0.17470994262543199</c:v>
                </c:pt>
                <c:pt idx="17316">
                  <c:v>-3.7809146495918898E-2</c:v>
                </c:pt>
                <c:pt idx="17317">
                  <c:v>6.1755068870999998E-2</c:v>
                </c:pt>
                <c:pt idx="17318">
                  <c:v>-5.8551691364026999E-2</c:v>
                </c:pt>
                <c:pt idx="17319">
                  <c:v>-0.37798688233289202</c:v>
                </c:pt>
                <c:pt idx="17320">
                  <c:v>-0.27012564901872999</c:v>
                </c:pt>
                <c:pt idx="17321">
                  <c:v>-0.178858451599054</c:v>
                </c:pt>
                <c:pt idx="17322">
                  <c:v>-0.31575924772856701</c:v>
                </c:pt>
                <c:pt idx="17323">
                  <c:v>-0.39458091822737801</c:v>
                </c:pt>
                <c:pt idx="17324">
                  <c:v>-0.13737336186283799</c:v>
                </c:pt>
                <c:pt idx="17325">
                  <c:v>-0.19130397851991901</c:v>
                </c:pt>
                <c:pt idx="17326">
                  <c:v>-0.32405626567581097</c:v>
                </c:pt>
                <c:pt idx="17327">
                  <c:v>-0.41532346309548601</c:v>
                </c:pt>
                <c:pt idx="17328">
                  <c:v>-0.25353161312424299</c:v>
                </c:pt>
                <c:pt idx="17329">
                  <c:v>-0.61030338485570201</c:v>
                </c:pt>
                <c:pt idx="17330">
                  <c:v>-0.63104592972381002</c:v>
                </c:pt>
                <c:pt idx="17331">
                  <c:v>-0.548075750251378</c:v>
                </c:pt>
                <c:pt idx="17332">
                  <c:v>-0.58956083998759401</c:v>
                </c:pt>
                <c:pt idx="17333">
                  <c:v>-0.70157058227537805</c:v>
                </c:pt>
                <c:pt idx="17334">
                  <c:v>-0.58541233101397305</c:v>
                </c:pt>
                <c:pt idx="17335">
                  <c:v>-0.93803559377181001</c:v>
                </c:pt>
                <c:pt idx="17336">
                  <c:v>-0.80528330661591896</c:v>
                </c:pt>
                <c:pt idx="17337">
                  <c:v>-0.74720418098521602</c:v>
                </c:pt>
                <c:pt idx="17338">
                  <c:v>-0.83847137840489205</c:v>
                </c:pt>
                <c:pt idx="17339">
                  <c:v>-0.98366919248164797</c:v>
                </c:pt>
                <c:pt idx="17340">
                  <c:v>-0.83017436045764803</c:v>
                </c:pt>
                <c:pt idx="17341">
                  <c:v>-0.92559006685094503</c:v>
                </c:pt>
                <c:pt idx="17342">
                  <c:v>-1.0002632283761299</c:v>
                </c:pt>
                <c:pt idx="17343">
                  <c:v>-0.68912505535451296</c:v>
                </c:pt>
                <c:pt idx="17344">
                  <c:v>-0.92559006685094503</c:v>
                </c:pt>
                <c:pt idx="17345">
                  <c:v>-0.85091690532575603</c:v>
                </c:pt>
                <c:pt idx="17346">
                  <c:v>-1.0044117373497601</c:v>
                </c:pt>
                <c:pt idx="17347">
                  <c:v>-0.97122366556078299</c:v>
                </c:pt>
                <c:pt idx="17348">
                  <c:v>-1.03345130016511</c:v>
                </c:pt>
                <c:pt idx="17349">
                  <c:v>-1.0915304257958101</c:v>
                </c:pt>
                <c:pt idx="17350">
                  <c:v>-1.12056998861116</c:v>
                </c:pt>
                <c:pt idx="17351">
                  <c:v>-1.02930279119149</c:v>
                </c:pt>
                <c:pt idx="17352">
                  <c:v>-0.93803559377181001</c:v>
                </c:pt>
                <c:pt idx="17353">
                  <c:v>-0.92973857582456698</c:v>
                </c:pt>
                <c:pt idx="17354">
                  <c:v>-0.96707515658716203</c:v>
                </c:pt>
                <c:pt idx="17355">
                  <c:v>-0.93803559377181001</c:v>
                </c:pt>
                <c:pt idx="17356">
                  <c:v>-1.0458968270859701</c:v>
                </c:pt>
                <c:pt idx="17357">
                  <c:v>-1.0500453360595901</c:v>
                </c:pt>
                <c:pt idx="17358">
                  <c:v>-1.1454610424528899</c:v>
                </c:pt>
                <c:pt idx="17359">
                  <c:v>-0.99196621042889099</c:v>
                </c:pt>
                <c:pt idx="17360">
                  <c:v>-1.1039759527166799</c:v>
                </c:pt>
                <c:pt idx="17361">
                  <c:v>-1.0002632283761299</c:v>
                </c:pt>
                <c:pt idx="17362">
                  <c:v>-1.0832334078485699</c:v>
                </c:pt>
                <c:pt idx="17363">
                  <c:v>-1.07908489887495</c:v>
                </c:pt>
                <c:pt idx="17364">
                  <c:v>-1.1454610424528899</c:v>
                </c:pt>
                <c:pt idx="17365">
                  <c:v>-1.24502525781981</c:v>
                </c:pt>
                <c:pt idx="17366">
                  <c:v>-1.1952431501363501</c:v>
                </c:pt>
                <c:pt idx="17367">
                  <c:v>-1.1496095514265099</c:v>
                </c:pt>
                <c:pt idx="17368">
                  <c:v>-0.88410497711472902</c:v>
                </c:pt>
                <c:pt idx="17369">
                  <c:v>-1.20354016808359</c:v>
                </c:pt>
                <c:pt idx="17370">
                  <c:v>-1.15790656937376</c:v>
                </c:pt>
                <c:pt idx="17371">
                  <c:v>-1.1703520962946199</c:v>
                </c:pt>
                <c:pt idx="17372">
                  <c:v>-1.1869461321891099</c:v>
                </c:pt>
                <c:pt idx="17373">
                  <c:v>-1.2076886770572199</c:v>
                </c:pt>
                <c:pt idx="17374">
                  <c:v>-1.34873798216035</c:v>
                </c:pt>
                <c:pt idx="17375">
                  <c:v>-1.1330155155320301</c:v>
                </c:pt>
                <c:pt idx="17376">
                  <c:v>-1.2284312219253199</c:v>
                </c:pt>
                <c:pt idx="17377">
                  <c:v>-1.1454610424528899</c:v>
                </c:pt>
                <c:pt idx="17378">
                  <c:v>-1.3196984193450001</c:v>
                </c:pt>
                <c:pt idx="17379">
                  <c:v>-1.72625229875992</c:v>
                </c:pt>
                <c:pt idx="17380">
                  <c:v>0.51809105596937799</c:v>
                </c:pt>
                <c:pt idx="17381">
                  <c:v>0.28162604447294598</c:v>
                </c:pt>
                <c:pt idx="17382">
                  <c:v>-0.58541233101397305</c:v>
                </c:pt>
                <c:pt idx="17383">
                  <c:v>-0.62274891177656699</c:v>
                </c:pt>
                <c:pt idx="17384">
                  <c:v>-0.72646163611710801</c:v>
                </c:pt>
                <c:pt idx="17385">
                  <c:v>-0.72646163611710801</c:v>
                </c:pt>
                <c:pt idx="17386">
                  <c:v>-0.65593698356553998</c:v>
                </c:pt>
                <c:pt idx="17387">
                  <c:v>-0.11248230802110799</c:v>
                </c:pt>
                <c:pt idx="17388">
                  <c:v>-0.13322485288921601</c:v>
                </c:pt>
                <c:pt idx="17389">
                  <c:v>-3.7809146495918898E-2</c:v>
                </c:pt>
                <c:pt idx="17390">
                  <c:v>-0.36968986438564799</c:v>
                </c:pt>
                <c:pt idx="17391">
                  <c:v>-0.46095706180532398</c:v>
                </c:pt>
                <c:pt idx="17392">
                  <c:v>-0.332353283623054</c:v>
                </c:pt>
                <c:pt idx="17393">
                  <c:v>-5.0254673416783698E-2</c:v>
                </c:pt>
                <c:pt idx="17394">
                  <c:v>-0.17056143365181101</c:v>
                </c:pt>
                <c:pt idx="17395">
                  <c:v>-0.32405626567581097</c:v>
                </c:pt>
                <c:pt idx="17396">
                  <c:v>-6.6848709311270196E-2</c:v>
                </c:pt>
                <c:pt idx="17397">
                  <c:v>-0.25768012209786501</c:v>
                </c:pt>
                <c:pt idx="17398">
                  <c:v>-0.33650179259667501</c:v>
                </c:pt>
                <c:pt idx="17399">
                  <c:v>-0.25353161312424299</c:v>
                </c:pt>
                <c:pt idx="17400">
                  <c:v>-0.129076343915595</c:v>
                </c:pt>
                <c:pt idx="17401">
                  <c:v>-0.11248230802110799</c:v>
                </c:pt>
                <c:pt idx="17402">
                  <c:v>-0.30331372080770302</c:v>
                </c:pt>
                <c:pt idx="17403">
                  <c:v>-0.17056143365181101</c:v>
                </c:pt>
                <c:pt idx="17404">
                  <c:v>-0.29086819388683799</c:v>
                </c:pt>
                <c:pt idx="17405">
                  <c:v>-8.7695836805675303E-3</c:v>
                </c:pt>
                <c:pt idx="17406">
                  <c:v>-0.39872942720100002</c:v>
                </c:pt>
                <c:pt idx="17407">
                  <c:v>-1.29180926541891E-2</c:v>
                </c:pt>
                <c:pt idx="17408">
                  <c:v>-0.27842266696597301</c:v>
                </c:pt>
                <c:pt idx="17409">
                  <c:v>-7.0997218284891805E-2</c:v>
                </c:pt>
                <c:pt idx="17410">
                  <c:v>-0.26597714004510797</c:v>
                </c:pt>
                <c:pt idx="17411">
                  <c:v>1.19729611875406E-2</c:v>
                </c:pt>
                <c:pt idx="17412">
                  <c:v>-6.6848709311270196E-2</c:v>
                </c:pt>
                <c:pt idx="17413">
                  <c:v>-0.178858451599054</c:v>
                </c:pt>
                <c:pt idx="17414">
                  <c:v>-0.46095706180532398</c:v>
                </c:pt>
                <c:pt idx="17415">
                  <c:v>-0.14152187083645901</c:v>
                </c:pt>
                <c:pt idx="17416">
                  <c:v>-6.6848709311270196E-2</c:v>
                </c:pt>
                <c:pt idx="17417">
                  <c:v>-0.60615487588208095</c:v>
                </c:pt>
                <c:pt idx="17418">
                  <c:v>-0.295016702860459</c:v>
                </c:pt>
                <c:pt idx="17419">
                  <c:v>-0.29916521183408101</c:v>
                </c:pt>
                <c:pt idx="17420">
                  <c:v>-0.54392724127775605</c:v>
                </c:pt>
                <c:pt idx="17421">
                  <c:v>-0.44021451693721603</c:v>
                </c:pt>
                <c:pt idx="17422">
                  <c:v>-0.18300696057267599</c:v>
                </c:pt>
                <c:pt idx="17423">
                  <c:v>-0.44436302591083798</c:v>
                </c:pt>
                <c:pt idx="17424">
                  <c:v>-0.51073916948878395</c:v>
                </c:pt>
                <c:pt idx="17425">
                  <c:v>-0.63934294767105404</c:v>
                </c:pt>
                <c:pt idx="17426">
                  <c:v>-0.45266004385808101</c:v>
                </c:pt>
                <c:pt idx="17427">
                  <c:v>-0.448511534884459</c:v>
                </c:pt>
                <c:pt idx="17428">
                  <c:v>-0.86751094122024297</c:v>
                </c:pt>
                <c:pt idx="17429">
                  <c:v>-0.469254079752567</c:v>
                </c:pt>
                <c:pt idx="17430">
                  <c:v>-0.83017436045764803</c:v>
                </c:pt>
                <c:pt idx="17431">
                  <c:v>-0.67253101946002702</c:v>
                </c:pt>
                <c:pt idx="17432">
                  <c:v>-0.92559006685094503</c:v>
                </c:pt>
                <c:pt idx="17433">
                  <c:v>-0.63104592972381002</c:v>
                </c:pt>
                <c:pt idx="17434">
                  <c:v>-0.86336243224662101</c:v>
                </c:pt>
                <c:pt idx="17435">
                  <c:v>-0.47755109769981102</c:v>
                </c:pt>
                <c:pt idx="17436">
                  <c:v>-0.96292664761353997</c:v>
                </c:pt>
                <c:pt idx="17437">
                  <c:v>-0.79698628866867505</c:v>
                </c:pt>
                <c:pt idx="17438">
                  <c:v>-0.98366919248164797</c:v>
                </c:pt>
                <c:pt idx="17439">
                  <c:v>-0.72646163611710801</c:v>
                </c:pt>
                <c:pt idx="17440">
                  <c:v>-0.87165945019386404</c:v>
                </c:pt>
                <c:pt idx="17441">
                  <c:v>-0.97122366556078299</c:v>
                </c:pt>
                <c:pt idx="17442">
                  <c:v>-1.11642147963754</c:v>
                </c:pt>
                <c:pt idx="17443">
                  <c:v>-0.93803559377181001</c:v>
                </c:pt>
                <c:pt idx="17444">
                  <c:v>-0.77624374380056704</c:v>
                </c:pt>
                <c:pt idx="17445">
                  <c:v>-0.67667952843364798</c:v>
                </c:pt>
                <c:pt idx="17446">
                  <c:v>-0.95462962966629705</c:v>
                </c:pt>
                <c:pt idx="17447">
                  <c:v>-0.73475865406435104</c:v>
                </c:pt>
                <c:pt idx="17448">
                  <c:v>-0.98366919248164797</c:v>
                </c:pt>
                <c:pt idx="17449">
                  <c:v>-1.0500453360595901</c:v>
                </c:pt>
                <c:pt idx="17450">
                  <c:v>-1.20354016808359</c:v>
                </c:pt>
                <c:pt idx="17451">
                  <c:v>-1.2284312219253199</c:v>
                </c:pt>
                <c:pt idx="17452">
                  <c:v>-1.1288670065584001</c:v>
                </c:pt>
                <c:pt idx="17453">
                  <c:v>-1.07493638990132</c:v>
                </c:pt>
                <c:pt idx="17454">
                  <c:v>-0.74305567201159395</c:v>
                </c:pt>
                <c:pt idx="17455">
                  <c:v>-0.86336243224662101</c:v>
                </c:pt>
                <c:pt idx="17456">
                  <c:v>-0.83432286943126999</c:v>
                </c:pt>
                <c:pt idx="17457">
                  <c:v>-0.97122366556078299</c:v>
                </c:pt>
                <c:pt idx="17458">
                  <c:v>-0.96707515658716203</c:v>
                </c:pt>
                <c:pt idx="17459">
                  <c:v>-0.95877813863991801</c:v>
                </c:pt>
                <c:pt idx="17460">
                  <c:v>-0.92559006685094503</c:v>
                </c:pt>
                <c:pt idx="17461">
                  <c:v>1.8705049813700301</c:v>
                </c:pt>
                <c:pt idx="17462">
                  <c:v>1.41831750324527</c:v>
                </c:pt>
                <c:pt idx="17463">
                  <c:v>1.5884063711637599</c:v>
                </c:pt>
                <c:pt idx="17464">
                  <c:v>0.75455606746581105</c:v>
                </c:pt>
                <c:pt idx="17465">
                  <c:v>0.464160439312297</c:v>
                </c:pt>
                <c:pt idx="17466">
                  <c:v>0.13642823039618901</c:v>
                </c:pt>
                <c:pt idx="17467">
                  <c:v>0.39363578676073002</c:v>
                </c:pt>
                <c:pt idx="17468">
                  <c:v>0.364596223945378</c:v>
                </c:pt>
                <c:pt idx="17469">
                  <c:v>0.53883360083748599</c:v>
                </c:pt>
                <c:pt idx="17470">
                  <c:v>0.47660596623316198</c:v>
                </c:pt>
                <c:pt idx="17471">
                  <c:v>0.45586342136505398</c:v>
                </c:pt>
                <c:pt idx="17472">
                  <c:v>0.55542763673197304</c:v>
                </c:pt>
                <c:pt idx="17473">
                  <c:v>0.59691272646818905</c:v>
                </c:pt>
                <c:pt idx="17474">
                  <c:v>0.70062545080872896</c:v>
                </c:pt>
                <c:pt idx="17475">
                  <c:v>0.54298210981110795</c:v>
                </c:pt>
                <c:pt idx="17476">
                  <c:v>0.77944712130754001</c:v>
                </c:pt>
                <c:pt idx="17477">
                  <c:v>0.63010079825716203</c:v>
                </c:pt>
                <c:pt idx="17478">
                  <c:v>0.67158588799337804</c:v>
                </c:pt>
                <c:pt idx="17479">
                  <c:v>0.64669483415164797</c:v>
                </c:pt>
                <c:pt idx="17480">
                  <c:v>0.72966501362408098</c:v>
                </c:pt>
                <c:pt idx="17481">
                  <c:v>0.69232843286148604</c:v>
                </c:pt>
                <c:pt idx="17482">
                  <c:v>0.56787316365283802</c:v>
                </c:pt>
                <c:pt idx="17483">
                  <c:v>0.84582326488548598</c:v>
                </c:pt>
                <c:pt idx="17484">
                  <c:v>1.30630776095749</c:v>
                </c:pt>
                <c:pt idx="17485">
                  <c:v>1.2399316173795389</c:v>
                </c:pt>
                <c:pt idx="17486">
                  <c:v>0.92464493538429704</c:v>
                </c:pt>
                <c:pt idx="17487">
                  <c:v>0.92049642641067497</c:v>
                </c:pt>
                <c:pt idx="17488">
                  <c:v>1.1113278391972701</c:v>
                </c:pt>
                <c:pt idx="17489">
                  <c:v>0.93294195333153995</c:v>
                </c:pt>
                <c:pt idx="17490">
                  <c:v>1.05739722254019</c:v>
                </c:pt>
                <c:pt idx="17491">
                  <c:v>0.89145686359532395</c:v>
                </c:pt>
                <c:pt idx="17492">
                  <c:v>1.1279218750917599</c:v>
                </c:pt>
                <c:pt idx="17493">
                  <c:v>0.87901133667445897</c:v>
                </c:pt>
                <c:pt idx="17494">
                  <c:v>0.970278534094135</c:v>
                </c:pt>
                <c:pt idx="17495">
                  <c:v>0.64669483415164797</c:v>
                </c:pt>
                <c:pt idx="17496">
                  <c:v>0.65499185209889199</c:v>
                </c:pt>
                <c:pt idx="17497">
                  <c:v>0.61350676236267498</c:v>
                </c:pt>
                <c:pt idx="17498">
                  <c:v>0.464160439312297</c:v>
                </c:pt>
                <c:pt idx="17499">
                  <c:v>0.65914036107251295</c:v>
                </c:pt>
                <c:pt idx="17500">
                  <c:v>0.364596223945378</c:v>
                </c:pt>
                <c:pt idx="17501">
                  <c:v>0.17791332013240499</c:v>
                </c:pt>
                <c:pt idx="17502">
                  <c:v>0.28162604447294598</c:v>
                </c:pt>
                <c:pt idx="17503">
                  <c:v>0.327259643182784</c:v>
                </c:pt>
                <c:pt idx="17504">
                  <c:v>0.385338768813486</c:v>
                </c:pt>
                <c:pt idx="17505">
                  <c:v>4.1012524002891897E-2</c:v>
                </c:pt>
                <c:pt idx="17506">
                  <c:v>3.2715506055648699E-2</c:v>
                </c:pt>
                <c:pt idx="17507">
                  <c:v>-0.36968986438564799</c:v>
                </c:pt>
                <c:pt idx="17508">
                  <c:v>-0.22864055928251301</c:v>
                </c:pt>
                <c:pt idx="17509">
                  <c:v>-0.64763996561829695</c:v>
                </c:pt>
                <c:pt idx="17510">
                  <c:v>-0.74720418098521602</c:v>
                </c:pt>
                <c:pt idx="17511">
                  <c:v>-0.55637276819862103</c:v>
                </c:pt>
                <c:pt idx="17512">
                  <c:v>-0.75135268995883697</c:v>
                </c:pt>
                <c:pt idx="17513">
                  <c:v>-0.88410497711472902</c:v>
                </c:pt>
                <c:pt idx="17514">
                  <c:v>-0.85921392327299995</c:v>
                </c:pt>
                <c:pt idx="17515">
                  <c:v>-0.73890716303797299</c:v>
                </c:pt>
                <c:pt idx="17516">
                  <c:v>-0.83847137840489205</c:v>
                </c:pt>
                <c:pt idx="17517">
                  <c:v>-0.92559006685094503</c:v>
                </c:pt>
                <c:pt idx="17518">
                  <c:v>-0.97537217453440495</c:v>
                </c:pt>
                <c:pt idx="17519">
                  <c:v>-0.79698628866867505</c:v>
                </c:pt>
                <c:pt idx="17520">
                  <c:v>-0.67667952843364798</c:v>
                </c:pt>
                <c:pt idx="17521">
                  <c:v>-0.93388708479818905</c:v>
                </c:pt>
                <c:pt idx="17522">
                  <c:v>-0.92973857582456698</c:v>
                </c:pt>
                <c:pt idx="17523">
                  <c:v>-1.0210057732442399</c:v>
                </c:pt>
                <c:pt idx="17524">
                  <c:v>-0.63104592972381002</c:v>
                </c:pt>
                <c:pt idx="17525">
                  <c:v>-0.83017436045764803</c:v>
                </c:pt>
                <c:pt idx="17526">
                  <c:v>-0.70986760022262096</c:v>
                </c:pt>
                <c:pt idx="17527">
                  <c:v>-0.74720418098521602</c:v>
                </c:pt>
                <c:pt idx="17528">
                  <c:v>-0.77624374380056704</c:v>
                </c:pt>
                <c:pt idx="17529">
                  <c:v>-0.94218410274543196</c:v>
                </c:pt>
                <c:pt idx="17530">
                  <c:v>-0.85921392327299995</c:v>
                </c:pt>
                <c:pt idx="17531">
                  <c:v>-0.917293048903702</c:v>
                </c:pt>
                <c:pt idx="17532">
                  <c:v>-0.95048112069267499</c:v>
                </c:pt>
                <c:pt idx="17533">
                  <c:v>-0.87995646814110795</c:v>
                </c:pt>
                <c:pt idx="17534">
                  <c:v>-0.73475865406435104</c:v>
                </c:pt>
                <c:pt idx="17535">
                  <c:v>-0.46510557077894599</c:v>
                </c:pt>
                <c:pt idx="17536">
                  <c:v>-0.70986760022262096</c:v>
                </c:pt>
                <c:pt idx="17537">
                  <c:v>-0.73061014509072897</c:v>
                </c:pt>
                <c:pt idx="17538">
                  <c:v>-0.72646163611710801</c:v>
                </c:pt>
                <c:pt idx="17539">
                  <c:v>-0.76794672585332402</c:v>
                </c:pt>
                <c:pt idx="17540">
                  <c:v>-0.73890716303797299</c:v>
                </c:pt>
                <c:pt idx="17541">
                  <c:v>-0.85921392327299995</c:v>
                </c:pt>
                <c:pt idx="17542">
                  <c:v>-0.80943181558954003</c:v>
                </c:pt>
                <c:pt idx="17543">
                  <c:v>-0.95048112069267499</c:v>
                </c:pt>
                <c:pt idx="17544">
                  <c:v>-0.65593698356553998</c:v>
                </c:pt>
                <c:pt idx="17545">
                  <c:v>-0.67667952843364798</c:v>
                </c:pt>
                <c:pt idx="17546">
                  <c:v>-0.58541233101397305</c:v>
                </c:pt>
                <c:pt idx="17547">
                  <c:v>0.37289324189262102</c:v>
                </c:pt>
                <c:pt idx="17548">
                  <c:v>-0.22449205030889199</c:v>
                </c:pt>
                <c:pt idx="17549">
                  <c:v>-0.55637276819862103</c:v>
                </c:pt>
                <c:pt idx="17550">
                  <c:v>-0.55637276819862103</c:v>
                </c:pt>
                <c:pt idx="17551">
                  <c:v>-0.26182863107148602</c:v>
                </c:pt>
                <c:pt idx="17552">
                  <c:v>-0.19130397851991901</c:v>
                </c:pt>
                <c:pt idx="17553">
                  <c:v>-0.448511534884459</c:v>
                </c:pt>
                <c:pt idx="17554">
                  <c:v>-0.36968986438564799</c:v>
                </c:pt>
                <c:pt idx="17555">
                  <c:v>-0.40287793617462098</c:v>
                </c:pt>
                <c:pt idx="17556">
                  <c:v>-2.5363619575054001E-2</c:v>
                </c:pt>
                <c:pt idx="17557">
                  <c:v>2.0269979134783799E-2</c:v>
                </c:pt>
                <c:pt idx="17558">
                  <c:v>0.289923062420189</c:v>
                </c:pt>
                <c:pt idx="17559">
                  <c:v>0.65084334312527004</c:v>
                </c:pt>
                <c:pt idx="17560">
                  <c:v>0.76285308541305397</c:v>
                </c:pt>
                <c:pt idx="17561">
                  <c:v>0.96198151614689098</c:v>
                </c:pt>
                <c:pt idx="17562">
                  <c:v>1.0076151148567301</c:v>
                </c:pt>
                <c:pt idx="17563">
                  <c:v>0.90390239051618904</c:v>
                </c:pt>
                <c:pt idx="17564">
                  <c:v>0.82922922899100004</c:v>
                </c:pt>
                <c:pt idx="17565">
                  <c:v>0.99931809690948603</c:v>
                </c:pt>
                <c:pt idx="17566">
                  <c:v>0.77115010336029699</c:v>
                </c:pt>
                <c:pt idx="17567">
                  <c:v>1.0242091507512201</c:v>
                </c:pt>
                <c:pt idx="17568">
                  <c:v>1.0905852943291601</c:v>
                </c:pt>
                <c:pt idx="17569">
                  <c:v>1.24822863532678</c:v>
                </c:pt>
                <c:pt idx="17570">
                  <c:v>1.1735554738015901</c:v>
                </c:pt>
                <c:pt idx="17571">
                  <c:v>1.03665467767208</c:v>
                </c:pt>
                <c:pt idx="17572">
                  <c:v>1.2565256532740301</c:v>
                </c:pt>
                <c:pt idx="17573">
                  <c:v>1.26897118019489</c:v>
                </c:pt>
                <c:pt idx="17574">
                  <c:v>1.2108920545641899</c:v>
                </c:pt>
                <c:pt idx="17575">
                  <c:v>1.3809809224826799</c:v>
                </c:pt>
                <c:pt idx="17576">
                  <c:v>1.2565256532740301</c:v>
                </c:pt>
                <c:pt idx="17577">
                  <c:v>1.18600100072246</c:v>
                </c:pt>
                <c:pt idx="17578">
                  <c:v>1.0822882763819199</c:v>
                </c:pt>
                <c:pt idx="17579">
                  <c:v>1.22333758148505</c:v>
                </c:pt>
                <c:pt idx="17580">
                  <c:v>1.4266145211925101</c:v>
                </c:pt>
                <c:pt idx="17581">
                  <c:v>1.1237733661181299</c:v>
                </c:pt>
                <c:pt idx="17582">
                  <c:v>1.49713917374408</c:v>
                </c:pt>
                <c:pt idx="17583">
                  <c:v>1.5012876827177</c:v>
                </c:pt>
                <c:pt idx="17584">
                  <c:v>1.5552182993747801</c:v>
                </c:pt>
                <c:pt idx="17585">
                  <c:v>1.5095847006649501</c:v>
                </c:pt>
                <c:pt idx="17586">
                  <c:v>1.5510697904011601</c:v>
                </c:pt>
                <c:pt idx="17587">
                  <c:v>1.45150557503424</c:v>
                </c:pt>
                <c:pt idx="17588">
                  <c:v>1.5344757545066701</c:v>
                </c:pt>
                <c:pt idx="17589">
                  <c:v>1.3643868865881901</c:v>
                </c:pt>
                <c:pt idx="17590">
                  <c:v>1.41002048529803</c:v>
                </c:pt>
                <c:pt idx="17591">
                  <c:v>0.93294195333153995</c:v>
                </c:pt>
                <c:pt idx="17592">
                  <c:v>0.64254632517802701</c:v>
                </c:pt>
                <c:pt idx="17593">
                  <c:v>0.406081313681594</c:v>
                </c:pt>
                <c:pt idx="17594">
                  <c:v>0.35629920599813503</c:v>
                </c:pt>
                <c:pt idx="17595">
                  <c:v>0.50149702007489205</c:v>
                </c:pt>
                <c:pt idx="17596">
                  <c:v>0.464160439312297</c:v>
                </c:pt>
                <c:pt idx="17597">
                  <c:v>0.64254632517802701</c:v>
                </c:pt>
                <c:pt idx="17598">
                  <c:v>0.48905149315402702</c:v>
                </c:pt>
                <c:pt idx="17599">
                  <c:v>0.55127912775835097</c:v>
                </c:pt>
                <c:pt idx="17600">
                  <c:v>0.76285308541305397</c:v>
                </c:pt>
                <c:pt idx="17601">
                  <c:v>0.36874473291900001</c:v>
                </c:pt>
                <c:pt idx="17602">
                  <c:v>0.464160439312297</c:v>
                </c:pt>
                <c:pt idx="17603">
                  <c:v>0.37289324189262102</c:v>
                </c:pt>
                <c:pt idx="17604">
                  <c:v>6.59035778446216E-2</c:v>
                </c:pt>
                <c:pt idx="17605">
                  <c:v>4.1012524002891897E-2</c:v>
                </c:pt>
                <c:pt idx="17606">
                  <c:v>-0.274274157992351</c:v>
                </c:pt>
                <c:pt idx="17607">
                  <c:v>-0.20374950544078399</c:v>
                </c:pt>
                <c:pt idx="17608">
                  <c:v>-0.38628390028013498</c:v>
                </c:pt>
                <c:pt idx="17609">
                  <c:v>-0.31990775670218902</c:v>
                </c:pt>
                <c:pt idx="17610">
                  <c:v>-0.22449205030889199</c:v>
                </c:pt>
                <c:pt idx="17611">
                  <c:v>-6.2700200337648601E-2</c:v>
                </c:pt>
                <c:pt idx="17612">
                  <c:v>-0.120779325968351</c:v>
                </c:pt>
                <c:pt idx="17613">
                  <c:v>-4.7256573332428599E-4</c:v>
                </c:pt>
                <c:pt idx="17614">
                  <c:v>-0.34479881054391898</c:v>
                </c:pt>
                <c:pt idx="17615">
                  <c:v>-0.274274157992351</c:v>
                </c:pt>
                <c:pt idx="17616">
                  <c:v>-0.52733320538327</c:v>
                </c:pt>
                <c:pt idx="17617">
                  <c:v>-0.39872942720100002</c:v>
                </c:pt>
                <c:pt idx="17618">
                  <c:v>-0.35724433746478401</c:v>
                </c:pt>
                <c:pt idx="17619">
                  <c:v>-0.53148171435689195</c:v>
                </c:pt>
                <c:pt idx="17620">
                  <c:v>-0.58126382204035099</c:v>
                </c:pt>
                <c:pt idx="17621">
                  <c:v>-0.56052127717224298</c:v>
                </c:pt>
                <c:pt idx="17622">
                  <c:v>-0.52733320538327</c:v>
                </c:pt>
                <c:pt idx="17623">
                  <c:v>-0.51903618743602697</c:v>
                </c:pt>
                <c:pt idx="17624">
                  <c:v>-0.56466978614586505</c:v>
                </c:pt>
                <c:pt idx="17625">
                  <c:v>-0.69327356432813503</c:v>
                </c:pt>
                <c:pt idx="17626">
                  <c:v>-0.643491456644675</c:v>
                </c:pt>
                <c:pt idx="17627">
                  <c:v>-0.64763996561829695</c:v>
                </c:pt>
                <c:pt idx="17628">
                  <c:v>-0.70986760022262096</c:v>
                </c:pt>
                <c:pt idx="17629">
                  <c:v>-0.74720418098521602</c:v>
                </c:pt>
                <c:pt idx="17630">
                  <c:v>-0.53563022333051302</c:v>
                </c:pt>
                <c:pt idx="17631">
                  <c:v>-0.14152187083645901</c:v>
                </c:pt>
                <c:pt idx="17632">
                  <c:v>-0.34065030157029702</c:v>
                </c:pt>
                <c:pt idx="17633">
                  <c:v>-0.31990775670218902</c:v>
                </c:pt>
                <c:pt idx="17634">
                  <c:v>-0.38628390028013498</c:v>
                </c:pt>
                <c:pt idx="17635">
                  <c:v>-0.67667952843364798</c:v>
                </c:pt>
                <c:pt idx="17636">
                  <c:v>-0.46095706180532398</c:v>
                </c:pt>
                <c:pt idx="17637">
                  <c:v>2.0269979134783799E-2</c:v>
                </c:pt>
                <c:pt idx="17638">
                  <c:v>-0.63104592972381002</c:v>
                </c:pt>
                <c:pt idx="17639">
                  <c:v>-0.759649707906081</c:v>
                </c:pt>
                <c:pt idx="17640">
                  <c:v>0.219398409868622</c:v>
                </c:pt>
                <c:pt idx="17641">
                  <c:v>-0.17056143365181101</c:v>
                </c:pt>
                <c:pt idx="17642">
                  <c:v>-3.7809146495918898E-2</c:v>
                </c:pt>
                <c:pt idx="17643">
                  <c:v>-0.30746222978132398</c:v>
                </c:pt>
                <c:pt idx="17644">
                  <c:v>-0.17056143365181101</c:v>
                </c:pt>
                <c:pt idx="17645">
                  <c:v>-0.25768012209786501</c:v>
                </c:pt>
                <c:pt idx="17646">
                  <c:v>-0.13322485288921601</c:v>
                </c:pt>
                <c:pt idx="17647">
                  <c:v>5.34580509237568E-2</c:v>
                </c:pt>
                <c:pt idx="17648">
                  <c:v>0.248437972683973</c:v>
                </c:pt>
                <c:pt idx="17649">
                  <c:v>-0.100036781100243</c:v>
                </c:pt>
                <c:pt idx="17650">
                  <c:v>-0.11248230802110799</c:v>
                </c:pt>
                <c:pt idx="17651">
                  <c:v>0.269180517552081</c:v>
                </c:pt>
                <c:pt idx="17652">
                  <c:v>0.23599244576310799</c:v>
                </c:pt>
                <c:pt idx="17653">
                  <c:v>4.5161032976513499E-2</c:v>
                </c:pt>
                <c:pt idx="17654">
                  <c:v>0.19450735602689201</c:v>
                </c:pt>
                <c:pt idx="17655">
                  <c:v>0.348002188050892</c:v>
                </c:pt>
                <c:pt idx="17656">
                  <c:v>0.50564552904851301</c:v>
                </c:pt>
                <c:pt idx="17657">
                  <c:v>0.38948727778710801</c:v>
                </c:pt>
                <c:pt idx="17658">
                  <c:v>0.59691272646818905</c:v>
                </c:pt>
                <c:pt idx="17659">
                  <c:v>0.63010079825716203</c:v>
                </c:pt>
                <c:pt idx="17660">
                  <c:v>0.60935825338905403</c:v>
                </c:pt>
                <c:pt idx="17661">
                  <c:v>0.92049642641067497</c:v>
                </c:pt>
                <c:pt idx="17662">
                  <c:v>0.88730835462170199</c:v>
                </c:pt>
                <c:pt idx="17663">
                  <c:v>0.77529861233391895</c:v>
                </c:pt>
                <c:pt idx="17664">
                  <c:v>0.84997177385910805</c:v>
                </c:pt>
                <c:pt idx="17665">
                  <c:v>0.72551650465045903</c:v>
                </c:pt>
                <c:pt idx="17666">
                  <c:v>0.86241730077997303</c:v>
                </c:pt>
                <c:pt idx="17667">
                  <c:v>0.72136799567683796</c:v>
                </c:pt>
                <c:pt idx="17668">
                  <c:v>0.89145686359532395</c:v>
                </c:pt>
                <c:pt idx="17669">
                  <c:v>0.812635193096513</c:v>
                </c:pt>
                <c:pt idx="17670">
                  <c:v>0.94123897127878298</c:v>
                </c:pt>
                <c:pt idx="17671">
                  <c:v>0.84582326488548598</c:v>
                </c:pt>
                <c:pt idx="17672">
                  <c:v>0.91219940846343195</c:v>
                </c:pt>
                <c:pt idx="17673">
                  <c:v>0.73381352259770205</c:v>
                </c:pt>
                <c:pt idx="17674">
                  <c:v>0.96613002512051305</c:v>
                </c:pt>
                <c:pt idx="17675">
                  <c:v>0.92049642641067497</c:v>
                </c:pt>
                <c:pt idx="17676">
                  <c:v>0.95783300717327002</c:v>
                </c:pt>
                <c:pt idx="17677">
                  <c:v>1.0283576597248401</c:v>
                </c:pt>
                <c:pt idx="17678">
                  <c:v>1.0781397674083</c:v>
                </c:pt>
                <c:pt idx="17679">
                  <c:v>1.0076151148567301</c:v>
                </c:pt>
                <c:pt idx="17680">
                  <c:v>0.93709046230516202</c:v>
                </c:pt>
                <c:pt idx="17681">
                  <c:v>1.0449516956193201</c:v>
                </c:pt>
                <c:pt idx="17682">
                  <c:v>1.0076151148567301</c:v>
                </c:pt>
                <c:pt idx="17683">
                  <c:v>1.065694240487429</c:v>
                </c:pt>
                <c:pt idx="17684">
                  <c:v>0.91219940846343195</c:v>
                </c:pt>
                <c:pt idx="17685">
                  <c:v>1.05739722254019</c:v>
                </c:pt>
                <c:pt idx="17686">
                  <c:v>0.88315984564808103</c:v>
                </c:pt>
                <c:pt idx="17687">
                  <c:v>0.696476941835108</c:v>
                </c:pt>
                <c:pt idx="17688">
                  <c:v>0.55542763673197304</c:v>
                </c:pt>
                <c:pt idx="17689">
                  <c:v>0.559576145705594</c:v>
                </c:pt>
                <c:pt idx="17690">
                  <c:v>0.53053658289024297</c:v>
                </c:pt>
                <c:pt idx="17691">
                  <c:v>0.41852684060245898</c:v>
                </c:pt>
                <c:pt idx="17692">
                  <c:v>0.35629920599813503</c:v>
                </c:pt>
                <c:pt idx="17693">
                  <c:v>0.36044771497175698</c:v>
                </c:pt>
                <c:pt idx="17694">
                  <c:v>0.327259643182784</c:v>
                </c:pt>
                <c:pt idx="17695">
                  <c:v>0.29822008036743203</c:v>
                </c:pt>
                <c:pt idx="17696">
                  <c:v>-8.7695836805675303E-3</c:v>
                </c:pt>
                <c:pt idx="17697">
                  <c:v>-3.7809146495918898E-2</c:v>
                </c:pt>
                <c:pt idx="17698">
                  <c:v>0.46001193033867499</c:v>
                </c:pt>
                <c:pt idx="17699">
                  <c:v>-0.16641292467818899</c:v>
                </c:pt>
                <c:pt idx="17700">
                  <c:v>-0.104185290073865</c:v>
                </c:pt>
                <c:pt idx="17701">
                  <c:v>-0.40702644514824299</c:v>
                </c:pt>
                <c:pt idx="17702">
                  <c:v>-0.38628390028013498</c:v>
                </c:pt>
                <c:pt idx="17703">
                  <c:v>-0.431917498989973</c:v>
                </c:pt>
                <c:pt idx="17704">
                  <c:v>-0.16226441570456701</c:v>
                </c:pt>
                <c:pt idx="17705">
                  <c:v>-0.431917498989973</c:v>
                </c:pt>
                <c:pt idx="17706">
                  <c:v>-0.66838251048640496</c:v>
                </c:pt>
                <c:pt idx="17707">
                  <c:v>-0.64763996561829695</c:v>
                </c:pt>
                <c:pt idx="17708">
                  <c:v>-0.61030338485570201</c:v>
                </c:pt>
                <c:pt idx="17709">
                  <c:v>-0.41947197206910802</c:v>
                </c:pt>
                <c:pt idx="17710">
                  <c:v>-0.56052127717224298</c:v>
                </c:pt>
                <c:pt idx="17711">
                  <c:v>-0.65593698356553998</c:v>
                </c:pt>
                <c:pt idx="17712">
                  <c:v>-0.684976546380892</c:v>
                </c:pt>
                <c:pt idx="17713">
                  <c:v>-0.61860040280294604</c:v>
                </c:pt>
                <c:pt idx="17714">
                  <c:v>-0.45266004385808101</c:v>
                </c:pt>
                <c:pt idx="17715">
                  <c:v>-0.44436302591083798</c:v>
                </c:pt>
                <c:pt idx="17716">
                  <c:v>-0.66838251048640496</c:v>
                </c:pt>
                <c:pt idx="17717">
                  <c:v>-0.684976546380892</c:v>
                </c:pt>
                <c:pt idx="17718">
                  <c:v>-0.78454076174780996</c:v>
                </c:pt>
                <c:pt idx="17719">
                  <c:v>-0.56466978614586505</c:v>
                </c:pt>
                <c:pt idx="17720">
                  <c:v>-0.46510557077894599</c:v>
                </c:pt>
                <c:pt idx="17721">
                  <c:v>-0.68912505535451296</c:v>
                </c:pt>
                <c:pt idx="17722">
                  <c:v>-0.60615487588208095</c:v>
                </c:pt>
                <c:pt idx="17723">
                  <c:v>-0.71401610919624303</c:v>
                </c:pt>
                <c:pt idx="17724">
                  <c:v>-0.52318469640964804</c:v>
                </c:pt>
                <c:pt idx="17725">
                  <c:v>-0.431917498989973</c:v>
                </c:pt>
                <c:pt idx="17726">
                  <c:v>-0.53563022333051302</c:v>
                </c:pt>
                <c:pt idx="17727">
                  <c:v>-0.73061014509072897</c:v>
                </c:pt>
                <c:pt idx="17728">
                  <c:v>-0.70986760022262096</c:v>
                </c:pt>
                <c:pt idx="17729">
                  <c:v>-0.58956083998759401</c:v>
                </c:pt>
                <c:pt idx="17730">
                  <c:v>-0.31990775670218902</c:v>
                </c:pt>
                <c:pt idx="17731">
                  <c:v>-0.57296680409310796</c:v>
                </c:pt>
                <c:pt idx="17732">
                  <c:v>-0.49829364256791903</c:v>
                </c:pt>
                <c:pt idx="17733">
                  <c:v>-0.16226441570456701</c:v>
                </c:pt>
                <c:pt idx="17734">
                  <c:v>-0.31575924772856701</c:v>
                </c:pt>
                <c:pt idx="17735">
                  <c:v>-0.759649707906081</c:v>
                </c:pt>
                <c:pt idx="17736">
                  <c:v>-0.30331372080770302</c:v>
                </c:pt>
                <c:pt idx="17737">
                  <c:v>-0.22034354133527001</c:v>
                </c:pt>
                <c:pt idx="17738">
                  <c:v>-0.26597714004510797</c:v>
                </c:pt>
                <c:pt idx="17739">
                  <c:v>-0.11248230802110799</c:v>
                </c:pt>
                <c:pt idx="17740">
                  <c:v>0.123982703475324</c:v>
                </c:pt>
                <c:pt idx="17741">
                  <c:v>-8.7591254179378297E-2</c:v>
                </c:pt>
                <c:pt idx="17742">
                  <c:v>-7.0997218284891805E-2</c:v>
                </c:pt>
                <c:pt idx="17743">
                  <c:v>-0.236937577229757</c:v>
                </c:pt>
                <c:pt idx="17744">
                  <c:v>-4.6106164443162102E-2</c:v>
                </c:pt>
                <c:pt idx="17745">
                  <c:v>7.0052086818243306E-2</c:v>
                </c:pt>
                <c:pt idx="17746">
                  <c:v>-0.22449205030889199</c:v>
                </c:pt>
                <c:pt idx="17747">
                  <c:v>-0.13737336186283799</c:v>
                </c:pt>
                <c:pt idx="17748">
                  <c:v>4.1012524002891897E-2</c:v>
                </c:pt>
                <c:pt idx="17749">
                  <c:v>0.25673499063121602</c:v>
                </c:pt>
                <c:pt idx="17750">
                  <c:v>0.30236858934105398</c:v>
                </c:pt>
                <c:pt idx="17751">
                  <c:v>0.20695288294775699</c:v>
                </c:pt>
                <c:pt idx="17752">
                  <c:v>0.27747753549932402</c:v>
                </c:pt>
                <c:pt idx="17753">
                  <c:v>0.66328887004613502</c:v>
                </c:pt>
                <c:pt idx="17754">
                  <c:v>0.62180378030991901</c:v>
                </c:pt>
                <c:pt idx="17755">
                  <c:v>0.63010079825716203</c:v>
                </c:pt>
                <c:pt idx="17756">
                  <c:v>0.65084334312527004</c:v>
                </c:pt>
                <c:pt idx="17757">
                  <c:v>0.84997177385910805</c:v>
                </c:pt>
                <c:pt idx="17758">
                  <c:v>1.0449516956193201</c:v>
                </c:pt>
                <c:pt idx="17759">
                  <c:v>0.73381352259770205</c:v>
                </c:pt>
                <c:pt idx="17760">
                  <c:v>0.99931809690948603</c:v>
                </c:pt>
                <c:pt idx="17761">
                  <c:v>1.0283576597248401</c:v>
                </c:pt>
                <c:pt idx="17762">
                  <c:v>1.03665467767208</c:v>
                </c:pt>
                <c:pt idx="17763">
                  <c:v>1.01176362383035</c:v>
                </c:pt>
                <c:pt idx="17764">
                  <c:v>1.0408031866456999</c:v>
                </c:pt>
                <c:pt idx="17765">
                  <c:v>0.99516958793586396</c:v>
                </c:pt>
                <c:pt idx="17766">
                  <c:v>1.2565256532740301</c:v>
                </c:pt>
                <c:pt idx="17767">
                  <c:v>1.2731196891685099</c:v>
                </c:pt>
                <c:pt idx="17768">
                  <c:v>1.18600100072246</c:v>
                </c:pt>
                <c:pt idx="17769">
                  <c:v>1.20259503661695</c:v>
                </c:pt>
                <c:pt idx="17770">
                  <c:v>1.2399316173795389</c:v>
                </c:pt>
                <c:pt idx="17771">
                  <c:v>1.11962485714451</c:v>
                </c:pt>
                <c:pt idx="17772">
                  <c:v>1.35194135966732</c:v>
                </c:pt>
                <c:pt idx="17773">
                  <c:v>1.30630776095749</c:v>
                </c:pt>
                <c:pt idx="17774">
                  <c:v>1.30630776095749</c:v>
                </c:pt>
                <c:pt idx="17775">
                  <c:v>1.1901495096960799</c:v>
                </c:pt>
                <c:pt idx="17776">
                  <c:v>1.20674354559057</c:v>
                </c:pt>
                <c:pt idx="17777">
                  <c:v>1.22333758148505</c:v>
                </c:pt>
                <c:pt idx="17778">
                  <c:v>1.22748609045868</c:v>
                </c:pt>
                <c:pt idx="17779">
                  <c:v>1.41416899427165</c:v>
                </c:pt>
                <c:pt idx="17780">
                  <c:v>1.30630776095749</c:v>
                </c:pt>
                <c:pt idx="17781">
                  <c:v>1.18600100072246</c:v>
                </c:pt>
                <c:pt idx="17782">
                  <c:v>1.1279218750917599</c:v>
                </c:pt>
                <c:pt idx="17783">
                  <c:v>0.79189264822840499</c:v>
                </c:pt>
                <c:pt idx="17784">
                  <c:v>0.41852684060245898</c:v>
                </c:pt>
                <c:pt idx="17785">
                  <c:v>0.45171491239143202</c:v>
                </c:pt>
                <c:pt idx="17786">
                  <c:v>0.68817992388786497</c:v>
                </c:pt>
                <c:pt idx="17787">
                  <c:v>0.68817992388786497</c:v>
                </c:pt>
                <c:pt idx="17788">
                  <c:v>0.63839781620440506</c:v>
                </c:pt>
                <c:pt idx="17789">
                  <c:v>0.54298210981110795</c:v>
                </c:pt>
                <c:pt idx="17790">
                  <c:v>0.57202167262645898</c:v>
                </c:pt>
                <c:pt idx="17791">
                  <c:v>0.54298210981110795</c:v>
                </c:pt>
                <c:pt idx="17792">
                  <c:v>0.48075447520678399</c:v>
                </c:pt>
                <c:pt idx="17793">
                  <c:v>0.47245745725954003</c:v>
                </c:pt>
                <c:pt idx="17794">
                  <c:v>0.36044771497175698</c:v>
                </c:pt>
                <c:pt idx="17795">
                  <c:v>4.9309541950135198E-2</c:v>
                </c:pt>
                <c:pt idx="17796">
                  <c:v>7.8349104765486496E-2</c:v>
                </c:pt>
                <c:pt idx="17797">
                  <c:v>1.61214701611622E-2</c:v>
                </c:pt>
                <c:pt idx="17798">
                  <c:v>-0.13737336186283799</c:v>
                </c:pt>
                <c:pt idx="17799">
                  <c:v>0.31481411626191902</c:v>
                </c:pt>
                <c:pt idx="17800">
                  <c:v>0.23599244576310799</c:v>
                </c:pt>
                <c:pt idx="17801">
                  <c:v>0.14887375731705399</c:v>
                </c:pt>
                <c:pt idx="17802">
                  <c:v>-0.216195032361649</c:v>
                </c:pt>
                <c:pt idx="17803">
                  <c:v>-0.30331372080770302</c:v>
                </c:pt>
                <c:pt idx="17804">
                  <c:v>-0.36968986438564799</c:v>
                </c:pt>
                <c:pt idx="17805">
                  <c:v>-0.50659066051516199</c:v>
                </c:pt>
                <c:pt idx="17806">
                  <c:v>-0.49829364256791903</c:v>
                </c:pt>
                <c:pt idx="17807">
                  <c:v>-0.65178847459191902</c:v>
                </c:pt>
                <c:pt idx="17808">
                  <c:v>-0.72231312714348594</c:v>
                </c:pt>
                <c:pt idx="17809">
                  <c:v>-0.78454076174780996</c:v>
                </c:pt>
                <c:pt idx="17810">
                  <c:v>-0.72646163611710801</c:v>
                </c:pt>
                <c:pt idx="17811">
                  <c:v>-0.58126382204035099</c:v>
                </c:pt>
                <c:pt idx="17812">
                  <c:v>-0.62689742075018895</c:v>
                </c:pt>
                <c:pt idx="17813">
                  <c:v>-0.70986760022262096</c:v>
                </c:pt>
                <c:pt idx="17814">
                  <c:v>-0.61445189382932397</c:v>
                </c:pt>
                <c:pt idx="17815">
                  <c:v>-0.780392252774189</c:v>
                </c:pt>
                <c:pt idx="17816">
                  <c:v>-0.58126382204035099</c:v>
                </c:pt>
                <c:pt idx="17817">
                  <c:v>-0.39458091822737801</c:v>
                </c:pt>
                <c:pt idx="17818">
                  <c:v>-0.47340258872618901</c:v>
                </c:pt>
                <c:pt idx="17819">
                  <c:v>-0.44436302591083798</c:v>
                </c:pt>
                <c:pt idx="17820">
                  <c:v>-0.60200636690845899</c:v>
                </c:pt>
                <c:pt idx="17821">
                  <c:v>-0.59370934896121597</c:v>
                </c:pt>
                <c:pt idx="17822">
                  <c:v>-0.56052127717224298</c:v>
                </c:pt>
                <c:pt idx="17823">
                  <c:v>-0.469254079752567</c:v>
                </c:pt>
                <c:pt idx="17824">
                  <c:v>-0.29086819388683799</c:v>
                </c:pt>
                <c:pt idx="17825">
                  <c:v>-0.66008549253916204</c:v>
                </c:pt>
                <c:pt idx="17826">
                  <c:v>-0.45680855283170202</c:v>
                </c:pt>
                <c:pt idx="17827">
                  <c:v>-0.41532346309548601</c:v>
                </c:pt>
                <c:pt idx="17828">
                  <c:v>-0.28671968491321598</c:v>
                </c:pt>
                <c:pt idx="17829">
                  <c:v>-0.29086819388683799</c:v>
                </c:pt>
                <c:pt idx="17830">
                  <c:v>-0.390432409253757</c:v>
                </c:pt>
                <c:pt idx="17831">
                  <c:v>-3.7809146495918898E-2</c:v>
                </c:pt>
                <c:pt idx="17832">
                  <c:v>-0.31161073875494599</c:v>
                </c:pt>
                <c:pt idx="17833">
                  <c:v>-2.5363619575054001E-2</c:v>
                </c:pt>
                <c:pt idx="17834">
                  <c:v>0.46001193033867499</c:v>
                </c:pt>
                <c:pt idx="17835">
                  <c:v>2.4418488108405401E-2</c:v>
                </c:pt>
                <c:pt idx="17836">
                  <c:v>-0.27842266696597301</c:v>
                </c:pt>
                <c:pt idx="17837">
                  <c:v>-4.7256573332428599E-4</c:v>
                </c:pt>
                <c:pt idx="17838">
                  <c:v>0.173764811158784</c:v>
                </c:pt>
                <c:pt idx="17839">
                  <c:v>0.30236858934105398</c:v>
                </c:pt>
                <c:pt idx="17840">
                  <c:v>0.22769542781586499</c:v>
                </c:pt>
                <c:pt idx="17841">
                  <c:v>0.31481411626191902</c:v>
                </c:pt>
                <c:pt idx="17842">
                  <c:v>0.59691272646818905</c:v>
                </c:pt>
                <c:pt idx="17843">
                  <c:v>0.72966501362408098</c:v>
                </c:pt>
                <c:pt idx="17844">
                  <c:v>0.62595228928353996</c:v>
                </c:pt>
                <c:pt idx="17845">
                  <c:v>0.95368449819964796</c:v>
                </c:pt>
                <c:pt idx="17846">
                  <c:v>1.18600100072246</c:v>
                </c:pt>
                <c:pt idx="17847">
                  <c:v>1.0822882763819199</c:v>
                </c:pt>
                <c:pt idx="17848">
                  <c:v>1.1735554738015901</c:v>
                </c:pt>
                <c:pt idx="17849">
                  <c:v>1.05324871356657</c:v>
                </c:pt>
                <c:pt idx="17850">
                  <c:v>1.0698427494610501</c:v>
                </c:pt>
                <c:pt idx="17851">
                  <c:v>1.18185249174884</c:v>
                </c:pt>
                <c:pt idx="17852">
                  <c:v>1.065694240487429</c:v>
                </c:pt>
                <c:pt idx="17853">
                  <c:v>1.03665467767208</c:v>
                </c:pt>
                <c:pt idx="17854">
                  <c:v>1.11547634817089</c:v>
                </c:pt>
                <c:pt idx="17855">
                  <c:v>0.89145686359532395</c:v>
                </c:pt>
                <c:pt idx="17856">
                  <c:v>1.0781397674083</c:v>
                </c:pt>
                <c:pt idx="17857">
                  <c:v>1.0449516956193201</c:v>
                </c:pt>
                <c:pt idx="17858">
                  <c:v>1.0242091507512201</c:v>
                </c:pt>
                <c:pt idx="17859">
                  <c:v>1.09473380330278</c:v>
                </c:pt>
                <c:pt idx="17860">
                  <c:v>1.1735554738015901</c:v>
                </c:pt>
                <c:pt idx="17861">
                  <c:v>0.97442704306775596</c:v>
                </c:pt>
                <c:pt idx="17862">
                  <c:v>1.1486644199598599</c:v>
                </c:pt>
                <c:pt idx="17863">
                  <c:v>1.1735554738015901</c:v>
                </c:pt>
                <c:pt idx="17864">
                  <c:v>0.94123897127878298</c:v>
                </c:pt>
                <c:pt idx="17865">
                  <c:v>1.0905852943291601</c:v>
                </c:pt>
                <c:pt idx="17866">
                  <c:v>1.1237733661181299</c:v>
                </c:pt>
                <c:pt idx="17867">
                  <c:v>1.24408012635316</c:v>
                </c:pt>
                <c:pt idx="17868">
                  <c:v>1.0242091507512201</c:v>
                </c:pt>
                <c:pt idx="17869">
                  <c:v>1.1030308212500299</c:v>
                </c:pt>
                <c:pt idx="17870">
                  <c:v>0.97857555204137803</c:v>
                </c:pt>
                <c:pt idx="17871">
                  <c:v>0.48075447520678399</c:v>
                </c:pt>
                <c:pt idx="17872">
                  <c:v>5.7606559897378402E-2</c:v>
                </c:pt>
                <c:pt idx="17873">
                  <c:v>-0.49829364256791903</c:v>
                </c:pt>
                <c:pt idx="17874">
                  <c:v>-0.26182863107148602</c:v>
                </c:pt>
                <c:pt idx="17875">
                  <c:v>-0.37383837335927</c:v>
                </c:pt>
                <c:pt idx="17876">
                  <c:v>-0.17056143365181101</c:v>
                </c:pt>
                <c:pt idx="17877">
                  <c:v>-0.120779325968351</c:v>
                </c:pt>
                <c:pt idx="17878">
                  <c:v>-0.20374950544078399</c:v>
                </c:pt>
                <c:pt idx="17879">
                  <c:v>-9.1739763152999906E-2</c:v>
                </c:pt>
                <c:pt idx="17880">
                  <c:v>-0.21204652338802699</c:v>
                </c:pt>
                <c:pt idx="17881">
                  <c:v>-0.23278906825613499</c:v>
                </c:pt>
                <c:pt idx="17882">
                  <c:v>-0.25768012209786501</c:v>
                </c:pt>
                <c:pt idx="17883">
                  <c:v>-0.36139284643840502</c:v>
                </c:pt>
                <c:pt idx="17884">
                  <c:v>-0.29086819388683799</c:v>
                </c:pt>
                <c:pt idx="17885">
                  <c:v>-0.25353161312424299</c:v>
                </c:pt>
                <c:pt idx="17886">
                  <c:v>-0.34894731951753999</c:v>
                </c:pt>
                <c:pt idx="17887">
                  <c:v>-0.42362048104272898</c:v>
                </c:pt>
                <c:pt idx="17888">
                  <c:v>-0.51073916948878395</c:v>
                </c:pt>
                <c:pt idx="17889">
                  <c:v>-0.32820477464943199</c:v>
                </c:pt>
                <c:pt idx="17890">
                  <c:v>-0.52733320538327</c:v>
                </c:pt>
                <c:pt idx="17891">
                  <c:v>-0.643491456644675</c:v>
                </c:pt>
                <c:pt idx="17892">
                  <c:v>-0.68912505535451296</c:v>
                </c:pt>
                <c:pt idx="17893">
                  <c:v>-0.81358032456316198</c:v>
                </c:pt>
                <c:pt idx="17894">
                  <c:v>-0.48584811564705399</c:v>
                </c:pt>
                <c:pt idx="17895">
                  <c:v>-0.73890716303797299</c:v>
                </c:pt>
                <c:pt idx="17896">
                  <c:v>-0.69327356432813503</c:v>
                </c:pt>
                <c:pt idx="17897">
                  <c:v>-0.759649707906081</c:v>
                </c:pt>
                <c:pt idx="17898">
                  <c:v>-0.57296680409310796</c:v>
                </c:pt>
                <c:pt idx="17899">
                  <c:v>-0.72231312714348594</c:v>
                </c:pt>
                <c:pt idx="17900">
                  <c:v>-0.431917498989973</c:v>
                </c:pt>
                <c:pt idx="17901">
                  <c:v>-0.77209523482694598</c:v>
                </c:pt>
                <c:pt idx="17902">
                  <c:v>-0.80943181558954003</c:v>
                </c:pt>
                <c:pt idx="17903">
                  <c:v>-0.79283777969505398</c:v>
                </c:pt>
                <c:pt idx="17904">
                  <c:v>-0.45680855283170202</c:v>
                </c:pt>
                <c:pt idx="17905">
                  <c:v>-0.70157058227537805</c:v>
                </c:pt>
                <c:pt idx="17906">
                  <c:v>-0.48584811564705399</c:v>
                </c:pt>
                <c:pt idx="17907">
                  <c:v>-0.58541233101397305</c:v>
                </c:pt>
                <c:pt idx="17908">
                  <c:v>-0.70157058227537805</c:v>
                </c:pt>
                <c:pt idx="17909">
                  <c:v>-0.58956083998759401</c:v>
                </c:pt>
                <c:pt idx="17910">
                  <c:v>-0.79698628866867505</c:v>
                </c:pt>
                <c:pt idx="17911">
                  <c:v>-0.43606600796359402</c:v>
                </c:pt>
                <c:pt idx="17912">
                  <c:v>-1.7066601627810801E-2</c:v>
                </c:pt>
                <c:pt idx="17913">
                  <c:v>-0.236937577229757</c:v>
                </c:pt>
                <c:pt idx="17914">
                  <c:v>-0.52733320538327</c:v>
                </c:pt>
                <c:pt idx="17915">
                  <c:v>-0.15396739775732399</c:v>
                </c:pt>
                <c:pt idx="17916">
                  <c:v>-0.11248230802110799</c:v>
                </c:pt>
                <c:pt idx="17917">
                  <c:v>-0.52733320538327</c:v>
                </c:pt>
                <c:pt idx="17918">
                  <c:v>0.20695288294775699</c:v>
                </c:pt>
                <c:pt idx="17919">
                  <c:v>0.31896262523553998</c:v>
                </c:pt>
                <c:pt idx="17920">
                  <c:v>-0.353095828491162</c:v>
                </c:pt>
                <c:pt idx="17921">
                  <c:v>-0.14152187083645901</c:v>
                </c:pt>
                <c:pt idx="17922">
                  <c:v>-0.27842266696597301</c:v>
                </c:pt>
                <c:pt idx="17923">
                  <c:v>0.24014095473673</c:v>
                </c:pt>
                <c:pt idx="17924">
                  <c:v>-0.245234595177</c:v>
                </c:pt>
                <c:pt idx="17925">
                  <c:v>-2.1215110601432399E-2</c:v>
                </c:pt>
                <c:pt idx="17926">
                  <c:v>-0.16226441570456701</c:v>
                </c:pt>
                <c:pt idx="17927">
                  <c:v>-0.178858451599054</c:v>
                </c:pt>
                <c:pt idx="17928">
                  <c:v>0.34385367907726999</c:v>
                </c:pt>
                <c:pt idx="17929">
                  <c:v>7.0052086818243306E-2</c:v>
                </c:pt>
                <c:pt idx="17930">
                  <c:v>1.61214701611622E-2</c:v>
                </c:pt>
                <c:pt idx="17931">
                  <c:v>-0.19960099646716201</c:v>
                </c:pt>
                <c:pt idx="17932">
                  <c:v>9.4943140659973002E-2</c:v>
                </c:pt>
                <c:pt idx="17933">
                  <c:v>0.153022266290676</c:v>
                </c:pt>
                <c:pt idx="17934">
                  <c:v>0.23599244576310799</c:v>
                </c:pt>
                <c:pt idx="17935">
                  <c:v>0.406081313681594</c:v>
                </c:pt>
                <c:pt idx="17936">
                  <c:v>0.153022266290676</c:v>
                </c:pt>
                <c:pt idx="17937">
                  <c:v>0.54713061878472902</c:v>
                </c:pt>
                <c:pt idx="17938">
                  <c:v>0.56787316365283802</c:v>
                </c:pt>
                <c:pt idx="17939">
                  <c:v>0.59276421749456698</c:v>
                </c:pt>
                <c:pt idx="17940">
                  <c:v>0.45171491239143202</c:v>
                </c:pt>
                <c:pt idx="17941">
                  <c:v>0.62595228928353996</c:v>
                </c:pt>
                <c:pt idx="17942">
                  <c:v>0.61350676236267498</c:v>
                </c:pt>
                <c:pt idx="17943">
                  <c:v>0.63839781620440506</c:v>
                </c:pt>
                <c:pt idx="17944">
                  <c:v>0.39778429573435098</c:v>
                </c:pt>
                <c:pt idx="17945">
                  <c:v>0.45586342136505398</c:v>
                </c:pt>
                <c:pt idx="17946">
                  <c:v>0.46001193033867499</c:v>
                </c:pt>
                <c:pt idx="17947">
                  <c:v>-0.17470994262543199</c:v>
                </c:pt>
                <c:pt idx="17948">
                  <c:v>2.8566997082027101E-2</c:v>
                </c:pt>
                <c:pt idx="17949">
                  <c:v>9.0794631686351407E-2</c:v>
                </c:pt>
                <c:pt idx="17950">
                  <c:v>-6.2700200337648601E-2</c:v>
                </c:pt>
                <c:pt idx="17951">
                  <c:v>1.19729611875406E-2</c:v>
                </c:pt>
                <c:pt idx="17952">
                  <c:v>2.4418488108405401E-2</c:v>
                </c:pt>
                <c:pt idx="17953">
                  <c:v>-0.11248230802110799</c:v>
                </c:pt>
                <c:pt idx="17954">
                  <c:v>8.6646122712729701E-2</c:v>
                </c:pt>
                <c:pt idx="17955">
                  <c:v>-0.104185290073865</c:v>
                </c:pt>
                <c:pt idx="17956">
                  <c:v>-0.14567037981008099</c:v>
                </c:pt>
                <c:pt idx="17957">
                  <c:v>-0.108333799047486</c:v>
                </c:pt>
                <c:pt idx="17958">
                  <c:v>-0.100036781100243</c:v>
                </c:pt>
                <c:pt idx="17959">
                  <c:v>-0.19960099646716201</c:v>
                </c:pt>
                <c:pt idx="17960">
                  <c:v>-8.7695836805675303E-3</c:v>
                </c:pt>
                <c:pt idx="17961">
                  <c:v>-8.3442745205756702E-2</c:v>
                </c:pt>
                <c:pt idx="17962">
                  <c:v>-0.37383837335927</c:v>
                </c:pt>
                <c:pt idx="17963">
                  <c:v>-0.32405626567581097</c:v>
                </c:pt>
                <c:pt idx="17964">
                  <c:v>-0.42776899001635099</c:v>
                </c:pt>
                <c:pt idx="17965">
                  <c:v>-0.26182863107148602</c:v>
                </c:pt>
                <c:pt idx="17966">
                  <c:v>-0.332353283623054</c:v>
                </c:pt>
                <c:pt idx="17967">
                  <c:v>-0.48169960667343198</c:v>
                </c:pt>
                <c:pt idx="17968">
                  <c:v>-0.36554135541202698</c:v>
                </c:pt>
                <c:pt idx="17969">
                  <c:v>-0.45266004385808101</c:v>
                </c:pt>
                <c:pt idx="17970">
                  <c:v>-0.14567037981008099</c:v>
                </c:pt>
                <c:pt idx="17971">
                  <c:v>-0.49829364256791903</c:v>
                </c:pt>
                <c:pt idx="17972">
                  <c:v>-0.643491456644675</c:v>
                </c:pt>
                <c:pt idx="17973">
                  <c:v>-0.59370934896121597</c:v>
                </c:pt>
                <c:pt idx="17974">
                  <c:v>-0.58126382204035099</c:v>
                </c:pt>
                <c:pt idx="17975">
                  <c:v>-0.56052127717224298</c:v>
                </c:pt>
                <c:pt idx="17976">
                  <c:v>-0.73890716303797299</c:v>
                </c:pt>
                <c:pt idx="17977">
                  <c:v>-0.73890716303797299</c:v>
                </c:pt>
                <c:pt idx="17978">
                  <c:v>-0.73890716303797299</c:v>
                </c:pt>
                <c:pt idx="17979">
                  <c:v>-0.72646163611710801</c:v>
                </c:pt>
                <c:pt idx="17980">
                  <c:v>-0.89240199506197204</c:v>
                </c:pt>
                <c:pt idx="17981">
                  <c:v>-0.77624374380056704</c:v>
                </c:pt>
                <c:pt idx="17982">
                  <c:v>-0.79283777969505398</c:v>
                </c:pt>
                <c:pt idx="17983">
                  <c:v>-0.85506541429937799</c:v>
                </c:pt>
                <c:pt idx="17984">
                  <c:v>-0.94633261171905403</c:v>
                </c:pt>
                <c:pt idx="17985">
                  <c:v>-0.82602585148402696</c:v>
                </c:pt>
                <c:pt idx="17986">
                  <c:v>-1.0210057732442399</c:v>
                </c:pt>
                <c:pt idx="17987">
                  <c:v>-0.95462962966629705</c:v>
                </c:pt>
                <c:pt idx="17988">
                  <c:v>-0.90069901300921595</c:v>
                </c:pt>
                <c:pt idx="17989">
                  <c:v>-0.88410497711472902</c:v>
                </c:pt>
                <c:pt idx="17990">
                  <c:v>-0.85921392327299995</c:v>
                </c:pt>
                <c:pt idx="17991">
                  <c:v>-0.88410497711472902</c:v>
                </c:pt>
                <c:pt idx="17992">
                  <c:v>-0.82187734251040501</c:v>
                </c:pt>
                <c:pt idx="17993">
                  <c:v>-1.03759980913873</c:v>
                </c:pt>
                <c:pt idx="17994">
                  <c:v>-1.01685726427062</c:v>
                </c:pt>
                <c:pt idx="17995">
                  <c:v>-0.97122366556078299</c:v>
                </c:pt>
                <c:pt idx="17996">
                  <c:v>-0.97952068350802701</c:v>
                </c:pt>
                <c:pt idx="17997">
                  <c:v>-1.0417483181123499</c:v>
                </c:pt>
                <c:pt idx="17998">
                  <c:v>-1.17864911424186</c:v>
                </c:pt>
                <c:pt idx="17999">
                  <c:v>-1.1745006052682401</c:v>
                </c:pt>
                <c:pt idx="18000">
                  <c:v>-1.2989558744768901</c:v>
                </c:pt>
                <c:pt idx="18001">
                  <c:v>-1.43170816163278</c:v>
                </c:pt>
                <c:pt idx="18002">
                  <c:v>-1.2989558744768901</c:v>
                </c:pt>
                <c:pt idx="18003">
                  <c:v>-1.4068171077910501</c:v>
                </c:pt>
                <c:pt idx="18004">
                  <c:v>-1.3985200898438099</c:v>
                </c:pt>
                <c:pt idx="18005">
                  <c:v>0.219398409868622</c:v>
                </c:pt>
                <c:pt idx="18006">
                  <c:v>0.86656580975359399</c:v>
                </c:pt>
                <c:pt idx="18007">
                  <c:v>-2.1215110601432399E-2</c:v>
                </c:pt>
                <c:pt idx="18008">
                  <c:v>-0.42362048104272898</c:v>
                </c:pt>
                <c:pt idx="18009">
                  <c:v>-0.489996624620675</c:v>
                </c:pt>
                <c:pt idx="18010">
                  <c:v>-2.5363619575054001E-2</c:v>
                </c:pt>
                <c:pt idx="18011">
                  <c:v>0.119834194501703</c:v>
                </c:pt>
                <c:pt idx="18012">
                  <c:v>-0.27842266696597301</c:v>
                </c:pt>
                <c:pt idx="18013">
                  <c:v>-0.29086819388683799</c:v>
                </c:pt>
                <c:pt idx="18014">
                  <c:v>-0.31575924772856701</c:v>
                </c:pt>
                <c:pt idx="18015">
                  <c:v>-0.36139284643840502</c:v>
                </c:pt>
                <c:pt idx="18016">
                  <c:v>-0.187155469546297</c:v>
                </c:pt>
                <c:pt idx="18017">
                  <c:v>-0.28257117593959402</c:v>
                </c:pt>
                <c:pt idx="18018">
                  <c:v>-0.32820477464943199</c:v>
                </c:pt>
                <c:pt idx="18019">
                  <c:v>-7.9294236232135107E-2</c:v>
                </c:pt>
                <c:pt idx="18020">
                  <c:v>0.31066560728829701</c:v>
                </c:pt>
                <c:pt idx="18021">
                  <c:v>6.1755068870999998E-2</c:v>
                </c:pt>
                <c:pt idx="18022">
                  <c:v>-2.5363619575054001E-2</c:v>
                </c:pt>
                <c:pt idx="18023">
                  <c:v>-6.6848709311270196E-2</c:v>
                </c:pt>
                <c:pt idx="18024">
                  <c:v>-0.26597714004510797</c:v>
                </c:pt>
                <c:pt idx="18025">
                  <c:v>-0.120779325968351</c:v>
                </c:pt>
                <c:pt idx="18026">
                  <c:v>-0.19545248749353999</c:v>
                </c:pt>
                <c:pt idx="18027">
                  <c:v>-0.26182863107148602</c:v>
                </c:pt>
                <c:pt idx="18028">
                  <c:v>0.202804373974135</c:v>
                </c:pt>
                <c:pt idx="18029">
                  <c:v>0.19865586500051299</c:v>
                </c:pt>
                <c:pt idx="18030">
                  <c:v>1.61214701611622E-2</c:v>
                </c:pt>
                <c:pt idx="18031">
                  <c:v>0.12813121244894601</c:v>
                </c:pt>
                <c:pt idx="18032">
                  <c:v>-0.13737336186283799</c:v>
                </c:pt>
                <c:pt idx="18033">
                  <c:v>-0.28671968491321598</c:v>
                </c:pt>
                <c:pt idx="18034">
                  <c:v>-0.11663081699473</c:v>
                </c:pt>
                <c:pt idx="18035">
                  <c:v>-0.30331372080770302</c:v>
                </c:pt>
                <c:pt idx="18036">
                  <c:v>-0.390432409253757</c:v>
                </c:pt>
                <c:pt idx="18037">
                  <c:v>-0.236937577229757</c:v>
                </c:pt>
                <c:pt idx="18038">
                  <c:v>7.8244522139189494E-3</c:v>
                </c:pt>
                <c:pt idx="18039">
                  <c:v>-0.100036781100243</c:v>
                </c:pt>
                <c:pt idx="18040">
                  <c:v>4.9309541950135198E-2</c:v>
                </c:pt>
                <c:pt idx="18041">
                  <c:v>-0.13737336186283799</c:v>
                </c:pt>
                <c:pt idx="18042">
                  <c:v>-0.26182863107148602</c:v>
                </c:pt>
                <c:pt idx="18043">
                  <c:v>-0.41947197206910802</c:v>
                </c:pt>
                <c:pt idx="18044">
                  <c:v>4.1012524002891897E-2</c:v>
                </c:pt>
                <c:pt idx="18045">
                  <c:v>-0.65593698356553998</c:v>
                </c:pt>
                <c:pt idx="18046">
                  <c:v>-0.48169960667343198</c:v>
                </c:pt>
                <c:pt idx="18047">
                  <c:v>-0.42362048104272898</c:v>
                </c:pt>
                <c:pt idx="18048">
                  <c:v>-0.25768012209786501</c:v>
                </c:pt>
                <c:pt idx="18049">
                  <c:v>-0.30331372080770302</c:v>
                </c:pt>
                <c:pt idx="18050">
                  <c:v>-0.41532346309548601</c:v>
                </c:pt>
                <c:pt idx="18051">
                  <c:v>-0.56466978614586505</c:v>
                </c:pt>
                <c:pt idx="18052">
                  <c:v>-0.59785785793483703</c:v>
                </c:pt>
                <c:pt idx="18053">
                  <c:v>-0.70571909124900001</c:v>
                </c:pt>
                <c:pt idx="18054">
                  <c:v>-0.65178847459191902</c:v>
                </c:pt>
                <c:pt idx="18055">
                  <c:v>-0.80943181558954003</c:v>
                </c:pt>
                <c:pt idx="18056">
                  <c:v>-0.55222425922499996</c:v>
                </c:pt>
                <c:pt idx="18057">
                  <c:v>-0.73890716303797299</c:v>
                </c:pt>
                <c:pt idx="18058">
                  <c:v>-0.70571909124900001</c:v>
                </c:pt>
                <c:pt idx="18059">
                  <c:v>-1.1039759527166799</c:v>
                </c:pt>
                <c:pt idx="18060">
                  <c:v>-0.90484752198283702</c:v>
                </c:pt>
                <c:pt idx="18061">
                  <c:v>-1.1662035873209999</c:v>
                </c:pt>
                <c:pt idx="18062">
                  <c:v>1.8622079634227799</c:v>
                </c:pt>
                <c:pt idx="18063">
                  <c:v>1.5925548801373799</c:v>
                </c:pt>
                <c:pt idx="18064">
                  <c:v>1.79583181984484</c:v>
                </c:pt>
                <c:pt idx="18065">
                  <c:v>1.62574295192635</c:v>
                </c:pt>
                <c:pt idx="18066">
                  <c:v>0.63424930723078399</c:v>
                </c:pt>
                <c:pt idx="18067">
                  <c:v>0.77944712130754001</c:v>
                </c:pt>
                <c:pt idx="18068">
                  <c:v>0.56787316365283802</c:v>
                </c:pt>
                <c:pt idx="18069">
                  <c:v>0.57202167262645898</c:v>
                </c:pt>
                <c:pt idx="18070">
                  <c:v>0.28577455344656699</c:v>
                </c:pt>
                <c:pt idx="18071">
                  <c:v>0.49320000212764797</c:v>
                </c:pt>
                <c:pt idx="18072">
                  <c:v>0.41437833162883803</c:v>
                </c:pt>
                <c:pt idx="18073">
                  <c:v>0.50979403802213497</c:v>
                </c:pt>
                <c:pt idx="18074">
                  <c:v>0.45586342136505398</c:v>
                </c:pt>
                <c:pt idx="18075">
                  <c:v>0.14057673936981099</c:v>
                </c:pt>
                <c:pt idx="18076">
                  <c:v>0.231843936789486</c:v>
                </c:pt>
                <c:pt idx="18077">
                  <c:v>5.7606559897378402E-2</c:v>
                </c:pt>
                <c:pt idx="18078">
                  <c:v>-5.44031823904053E-2</c:v>
                </c:pt>
                <c:pt idx="18079">
                  <c:v>-0.40702644514824299</c:v>
                </c:pt>
                <c:pt idx="18080">
                  <c:v>-0.216195032361649</c:v>
                </c:pt>
                <c:pt idx="18081">
                  <c:v>-0.34479881054391898</c:v>
                </c:pt>
                <c:pt idx="18082">
                  <c:v>-0.42362048104272898</c:v>
                </c:pt>
                <c:pt idx="18083">
                  <c:v>-0.49829364256791903</c:v>
                </c:pt>
                <c:pt idx="18084">
                  <c:v>-0.489996624620675</c:v>
                </c:pt>
                <c:pt idx="18085">
                  <c:v>-0.42362048104272898</c:v>
                </c:pt>
                <c:pt idx="18086">
                  <c:v>-0.38628390028013498</c:v>
                </c:pt>
                <c:pt idx="18087">
                  <c:v>-0.19545248749353999</c:v>
                </c:pt>
                <c:pt idx="18088">
                  <c:v>-0.65593698356553998</c:v>
                </c:pt>
                <c:pt idx="18089">
                  <c:v>-0.74305567201159395</c:v>
                </c:pt>
                <c:pt idx="18090">
                  <c:v>-0.71816461816986399</c:v>
                </c:pt>
                <c:pt idx="18091">
                  <c:v>-0.85506541429937799</c:v>
                </c:pt>
                <c:pt idx="18092">
                  <c:v>-0.63519443869743197</c:v>
                </c:pt>
                <c:pt idx="18093">
                  <c:v>-0.81358032456316198</c:v>
                </c:pt>
                <c:pt idx="18094">
                  <c:v>-0.92973857582456698</c:v>
                </c:pt>
                <c:pt idx="18095">
                  <c:v>-1.09567893476943</c:v>
                </c:pt>
                <c:pt idx="18096">
                  <c:v>-1.20354016808359</c:v>
                </c:pt>
                <c:pt idx="18097">
                  <c:v>-1.11642147963754</c:v>
                </c:pt>
                <c:pt idx="18098">
                  <c:v>1.52203022758581</c:v>
                </c:pt>
                <c:pt idx="18099">
                  <c:v>1.4929906647704601</c:v>
                </c:pt>
                <c:pt idx="18100">
                  <c:v>1.5054361916913199</c:v>
                </c:pt>
                <c:pt idx="18101">
                  <c:v>1.45565408400786</c:v>
                </c:pt>
                <c:pt idx="18102">
                  <c:v>0.65084334312527004</c:v>
                </c:pt>
                <c:pt idx="18103">
                  <c:v>0.37289324189262102</c:v>
                </c:pt>
                <c:pt idx="18104">
                  <c:v>0.38119025983986499</c:v>
                </c:pt>
                <c:pt idx="18105">
                  <c:v>0.39778429573435098</c:v>
                </c:pt>
                <c:pt idx="18106">
                  <c:v>0.33555666113002702</c:v>
                </c:pt>
                <c:pt idx="18107">
                  <c:v>0.21524990089500001</c:v>
                </c:pt>
                <c:pt idx="18108">
                  <c:v>0.182061829106027</c:v>
                </c:pt>
                <c:pt idx="18109">
                  <c:v>8.6646122712729701E-2</c:v>
                </c:pt>
                <c:pt idx="18110">
                  <c:v>0.22354691884224301</c:v>
                </c:pt>
                <c:pt idx="18111">
                  <c:v>0.42682385854970301</c:v>
                </c:pt>
                <c:pt idx="18112">
                  <c:v>0.43512087649694597</c:v>
                </c:pt>
                <c:pt idx="18113">
                  <c:v>0.53883360083748599</c:v>
                </c:pt>
                <c:pt idx="18114">
                  <c:v>0.63010079825716203</c:v>
                </c:pt>
                <c:pt idx="18115">
                  <c:v>0.696476941835108</c:v>
                </c:pt>
                <c:pt idx="18116">
                  <c:v>0.67158588799337804</c:v>
                </c:pt>
                <c:pt idx="18117">
                  <c:v>0.559576145705594</c:v>
                </c:pt>
                <c:pt idx="18118">
                  <c:v>0.55542763673197304</c:v>
                </c:pt>
                <c:pt idx="18119">
                  <c:v>0.54713061878472902</c:v>
                </c:pt>
                <c:pt idx="18120">
                  <c:v>0.65499185209889199</c:v>
                </c:pt>
                <c:pt idx="18121">
                  <c:v>0.60520974441543196</c:v>
                </c:pt>
                <c:pt idx="18122">
                  <c:v>0.41852684060245898</c:v>
                </c:pt>
                <c:pt idx="18123">
                  <c:v>0.69232843286148604</c:v>
                </c:pt>
                <c:pt idx="18124">
                  <c:v>0.77115010336029699</c:v>
                </c:pt>
                <c:pt idx="18125">
                  <c:v>0.62595228928353996</c:v>
                </c:pt>
                <c:pt idx="18126">
                  <c:v>0.48075447520678399</c:v>
                </c:pt>
                <c:pt idx="18127">
                  <c:v>0.47245745725954003</c:v>
                </c:pt>
                <c:pt idx="18128">
                  <c:v>0.364596223945378</c:v>
                </c:pt>
                <c:pt idx="18129">
                  <c:v>0.30236858934105398</c:v>
                </c:pt>
                <c:pt idx="18130">
                  <c:v>0.211101391921378</c:v>
                </c:pt>
                <c:pt idx="18131">
                  <c:v>0.19865586500051299</c:v>
                </c:pt>
                <c:pt idx="18132">
                  <c:v>0.15717077526429701</c:v>
                </c:pt>
                <c:pt idx="18133">
                  <c:v>-4.62107470694591E-3</c:v>
                </c:pt>
                <c:pt idx="18134">
                  <c:v>-2.95121285486756E-2</c:v>
                </c:pt>
                <c:pt idx="18135">
                  <c:v>-0.29086819388683799</c:v>
                </c:pt>
                <c:pt idx="18136">
                  <c:v>-0.31990775670218902</c:v>
                </c:pt>
                <c:pt idx="18137">
                  <c:v>-0.178858451599054</c:v>
                </c:pt>
                <c:pt idx="18138">
                  <c:v>-0.56052127717224298</c:v>
                </c:pt>
                <c:pt idx="18139">
                  <c:v>-0.53148171435689195</c:v>
                </c:pt>
                <c:pt idx="18140">
                  <c:v>-0.63934294767105404</c:v>
                </c:pt>
                <c:pt idx="18141">
                  <c:v>-0.664234001512783</c:v>
                </c:pt>
                <c:pt idx="18142">
                  <c:v>-0.80943181558954003</c:v>
                </c:pt>
                <c:pt idx="18143">
                  <c:v>-0.79698628866867505</c:v>
                </c:pt>
                <c:pt idx="18144">
                  <c:v>-0.63934294767105404</c:v>
                </c:pt>
                <c:pt idx="18145">
                  <c:v>-0.97122366556078299</c:v>
                </c:pt>
                <c:pt idx="18146">
                  <c:v>-0.88410497711472902</c:v>
                </c:pt>
                <c:pt idx="18147">
                  <c:v>-1.05834235400684</c:v>
                </c:pt>
                <c:pt idx="18148">
                  <c:v>-1.0251542822178601</c:v>
                </c:pt>
                <c:pt idx="18149">
                  <c:v>-1.8507075679685701</c:v>
                </c:pt>
                <c:pt idx="18150">
                  <c:v>1.6381884788472201</c:v>
                </c:pt>
                <c:pt idx="18151">
                  <c:v>1.5303272455330501</c:v>
                </c:pt>
                <c:pt idx="18152">
                  <c:v>1.3353473237728399</c:v>
                </c:pt>
                <c:pt idx="18153">
                  <c:v>1.0408031866456999</c:v>
                </c:pt>
                <c:pt idx="18154">
                  <c:v>0.35629920599813503</c:v>
                </c:pt>
                <c:pt idx="18155">
                  <c:v>0.43512087649694597</c:v>
                </c:pt>
                <c:pt idx="18156">
                  <c:v>2.0269979134783799E-2</c:v>
                </c:pt>
                <c:pt idx="18157">
                  <c:v>0.49320000212764797</c:v>
                </c:pt>
                <c:pt idx="18158">
                  <c:v>0.48075447520678399</c:v>
                </c:pt>
                <c:pt idx="18159">
                  <c:v>0.54713061878472902</c:v>
                </c:pt>
                <c:pt idx="18160">
                  <c:v>0.67158588799337804</c:v>
                </c:pt>
                <c:pt idx="18161">
                  <c:v>0.580318690573702</c:v>
                </c:pt>
                <c:pt idx="18162">
                  <c:v>0.65914036107251295</c:v>
                </c:pt>
                <c:pt idx="18163">
                  <c:v>0.48075447520678399</c:v>
                </c:pt>
                <c:pt idx="18164">
                  <c:v>0.76285308541305397</c:v>
                </c:pt>
                <c:pt idx="18165">
                  <c:v>0.56372465467921595</c:v>
                </c:pt>
                <c:pt idx="18166">
                  <c:v>0.69232843286148604</c:v>
                </c:pt>
                <c:pt idx="18167">
                  <c:v>0.58446719954732396</c:v>
                </c:pt>
                <c:pt idx="18168">
                  <c:v>0.61765527133629705</c:v>
                </c:pt>
                <c:pt idx="18169">
                  <c:v>0.60520974441543196</c:v>
                </c:pt>
                <c:pt idx="18170">
                  <c:v>0.82922922899100004</c:v>
                </c:pt>
                <c:pt idx="18171">
                  <c:v>0.70062545080872896</c:v>
                </c:pt>
                <c:pt idx="18172">
                  <c:v>0.61350676236267498</c:v>
                </c:pt>
                <c:pt idx="18173">
                  <c:v>0.53053658289024297</c:v>
                </c:pt>
                <c:pt idx="18174">
                  <c:v>0.84582326488548598</c:v>
                </c:pt>
                <c:pt idx="18175">
                  <c:v>0.77115010336029699</c:v>
                </c:pt>
                <c:pt idx="18176">
                  <c:v>0.67158588799337804</c:v>
                </c:pt>
                <c:pt idx="18177">
                  <c:v>0.63839781620440506</c:v>
                </c:pt>
                <c:pt idx="18178">
                  <c:v>0.62595228928353996</c:v>
                </c:pt>
                <c:pt idx="18179">
                  <c:v>0.64254632517802701</c:v>
                </c:pt>
                <c:pt idx="18180">
                  <c:v>0.33140815215640501</c:v>
                </c:pt>
                <c:pt idx="18181">
                  <c:v>0.35629920599813503</c:v>
                </c:pt>
                <c:pt idx="18182">
                  <c:v>3.2715506055648699E-2</c:v>
                </c:pt>
                <c:pt idx="18183">
                  <c:v>0.50979403802213497</c:v>
                </c:pt>
                <c:pt idx="18184">
                  <c:v>0.26503200857845899</c:v>
                </c:pt>
                <c:pt idx="18185">
                  <c:v>0.27747753549932402</c:v>
                </c:pt>
                <c:pt idx="18186">
                  <c:v>0.21524990089500001</c:v>
                </c:pt>
                <c:pt idx="18187">
                  <c:v>-0.19130397851991901</c:v>
                </c:pt>
                <c:pt idx="18188">
                  <c:v>-0.56466978614586505</c:v>
                </c:pt>
                <c:pt idx="18189">
                  <c:v>-0.46510557077894599</c:v>
                </c:pt>
                <c:pt idx="18190">
                  <c:v>-0.61860040280294604</c:v>
                </c:pt>
                <c:pt idx="18191">
                  <c:v>-0.54392724127775605</c:v>
                </c:pt>
                <c:pt idx="18192">
                  <c:v>-0.245234595177</c:v>
                </c:pt>
                <c:pt idx="18193">
                  <c:v>-0.38628390028013498</c:v>
                </c:pt>
                <c:pt idx="18194">
                  <c:v>-0.80943181558954003</c:v>
                </c:pt>
                <c:pt idx="18195">
                  <c:v>-0.95877813863991801</c:v>
                </c:pt>
                <c:pt idx="18196">
                  <c:v>-0.92559006685094503</c:v>
                </c:pt>
                <c:pt idx="18197">
                  <c:v>-0.95877813863991801</c:v>
                </c:pt>
                <c:pt idx="18198">
                  <c:v>-0.93388708479818905</c:v>
                </c:pt>
                <c:pt idx="18199">
                  <c:v>-0.332353283623054</c:v>
                </c:pt>
                <c:pt idx="18200">
                  <c:v>-0.93803559377181001</c:v>
                </c:pt>
                <c:pt idx="18201">
                  <c:v>-0.92144155787732396</c:v>
                </c:pt>
                <c:pt idx="18202">
                  <c:v>-1.15790656937376</c:v>
                </c:pt>
                <c:pt idx="18203">
                  <c:v>-1.3819260539493201</c:v>
                </c:pt>
                <c:pt idx="18204">
                  <c:v>1.1735554738015901</c:v>
                </c:pt>
                <c:pt idx="18205">
                  <c:v>1.4888421557968401</c:v>
                </c:pt>
                <c:pt idx="18206">
                  <c:v>1.5925548801373799</c:v>
                </c:pt>
                <c:pt idx="18207">
                  <c:v>1.4432085570869999</c:v>
                </c:pt>
                <c:pt idx="18208">
                  <c:v>1.7170101493460299</c:v>
                </c:pt>
                <c:pt idx="18209">
                  <c:v>1.2357831084059201</c:v>
                </c:pt>
                <c:pt idx="18210">
                  <c:v>0.81678370207013495</c:v>
                </c:pt>
                <c:pt idx="18211">
                  <c:v>0.78359563028116197</c:v>
                </c:pt>
                <c:pt idx="18212">
                  <c:v>0.61350676236267498</c:v>
                </c:pt>
                <c:pt idx="18213">
                  <c:v>0.717219486703216</c:v>
                </c:pt>
                <c:pt idx="18214">
                  <c:v>0.53053658289024297</c:v>
                </c:pt>
                <c:pt idx="18215">
                  <c:v>1.0408031866456999</c:v>
                </c:pt>
                <c:pt idx="18216">
                  <c:v>0.64669483415164797</c:v>
                </c:pt>
                <c:pt idx="18217">
                  <c:v>0.72136799567683796</c:v>
                </c:pt>
                <c:pt idx="18218">
                  <c:v>0.675734396967</c:v>
                </c:pt>
                <c:pt idx="18219">
                  <c:v>0.71307097772959405</c:v>
                </c:pt>
                <c:pt idx="18220">
                  <c:v>0.60520974441543196</c:v>
                </c:pt>
                <c:pt idx="18221">
                  <c:v>0.70477395978235102</c:v>
                </c:pt>
                <c:pt idx="18222">
                  <c:v>0.62595228928353996</c:v>
                </c:pt>
                <c:pt idx="18223">
                  <c:v>0.47660596623316198</c:v>
                </c:pt>
                <c:pt idx="18224">
                  <c:v>0.86241730077997303</c:v>
                </c:pt>
                <c:pt idx="18225">
                  <c:v>0.70062545080872896</c:v>
                </c:pt>
                <c:pt idx="18226">
                  <c:v>0.69232843286148604</c:v>
                </c:pt>
                <c:pt idx="18227">
                  <c:v>0.80018966617564802</c:v>
                </c:pt>
                <c:pt idx="18228">
                  <c:v>0.82093221104375602</c:v>
                </c:pt>
                <c:pt idx="18229">
                  <c:v>0.66743737901975697</c:v>
                </c:pt>
                <c:pt idx="18230">
                  <c:v>0.60935825338905403</c:v>
                </c:pt>
                <c:pt idx="18231">
                  <c:v>0.64669483415164797</c:v>
                </c:pt>
                <c:pt idx="18232">
                  <c:v>0.70477395978235102</c:v>
                </c:pt>
                <c:pt idx="18233">
                  <c:v>0.675734396967</c:v>
                </c:pt>
                <c:pt idx="18234">
                  <c:v>0.62180378030991901</c:v>
                </c:pt>
                <c:pt idx="18235">
                  <c:v>0.39778429573435098</c:v>
                </c:pt>
                <c:pt idx="18236">
                  <c:v>0.16961630218516199</c:v>
                </c:pt>
                <c:pt idx="18237">
                  <c:v>0.19035884705327</c:v>
                </c:pt>
                <c:pt idx="18238">
                  <c:v>0.119834194501703</c:v>
                </c:pt>
                <c:pt idx="18239">
                  <c:v>0.23599244576310799</c:v>
                </c:pt>
                <c:pt idx="18240">
                  <c:v>0.26503200857845899</c:v>
                </c:pt>
                <c:pt idx="18241">
                  <c:v>0.18621033807964901</c:v>
                </c:pt>
                <c:pt idx="18242">
                  <c:v>0.153022266290676</c:v>
                </c:pt>
                <c:pt idx="18243">
                  <c:v>-2.1215110601432399E-2</c:v>
                </c:pt>
                <c:pt idx="18244">
                  <c:v>6.59035778446216E-2</c:v>
                </c:pt>
                <c:pt idx="18245">
                  <c:v>-9.1739763152999906E-2</c:v>
                </c:pt>
                <c:pt idx="18246">
                  <c:v>-0.16226441570456701</c:v>
                </c:pt>
                <c:pt idx="18247">
                  <c:v>-0.33650179259667501</c:v>
                </c:pt>
                <c:pt idx="18248">
                  <c:v>-0.44021451693721603</c:v>
                </c:pt>
                <c:pt idx="18249">
                  <c:v>-0.46510557077894599</c:v>
                </c:pt>
                <c:pt idx="18250">
                  <c:v>-0.45266004385808101</c:v>
                </c:pt>
                <c:pt idx="18251">
                  <c:v>-0.61860040280294604</c:v>
                </c:pt>
                <c:pt idx="18252">
                  <c:v>-0.65178847459191902</c:v>
                </c:pt>
                <c:pt idx="18253">
                  <c:v>-0.83017436045764803</c:v>
                </c:pt>
                <c:pt idx="18254">
                  <c:v>-0.76794672585332402</c:v>
                </c:pt>
                <c:pt idx="18255">
                  <c:v>-0.72646163611710801</c:v>
                </c:pt>
                <c:pt idx="18256">
                  <c:v>-0.61445189382932397</c:v>
                </c:pt>
                <c:pt idx="18257">
                  <c:v>-0.76794672585332402</c:v>
                </c:pt>
                <c:pt idx="18258">
                  <c:v>-1.0915304257958101</c:v>
                </c:pt>
                <c:pt idx="18259">
                  <c:v>-1.11642147963754</c:v>
                </c:pt>
                <c:pt idx="18260">
                  <c:v>-1.0417483181123499</c:v>
                </c:pt>
                <c:pt idx="18261">
                  <c:v>-1.31140140139776</c:v>
                </c:pt>
                <c:pt idx="18262">
                  <c:v>-1.3031043834505101</c:v>
                </c:pt>
                <c:pt idx="18263">
                  <c:v>-1.2782133296087801</c:v>
                </c:pt>
                <c:pt idx="18264">
                  <c:v>-1.09567893476943</c:v>
                </c:pt>
                <c:pt idx="18265">
                  <c:v>-1.2284312219253199</c:v>
                </c:pt>
                <c:pt idx="18266">
                  <c:v>-1.2533222757670499</c:v>
                </c:pt>
                <c:pt idx="18267">
                  <c:v>-1.3611835090812201</c:v>
                </c:pt>
                <c:pt idx="18268">
                  <c:v>-1.29065885652965</c:v>
                </c:pt>
                <c:pt idx="18269">
                  <c:v>-1.34873798216035</c:v>
                </c:pt>
                <c:pt idx="18270">
                  <c:v>-1.39022307189657</c:v>
                </c:pt>
                <c:pt idx="18271">
                  <c:v>1.79168331087122</c:v>
                </c:pt>
                <c:pt idx="18272">
                  <c:v>1.7211586583196501</c:v>
                </c:pt>
                <c:pt idx="18273">
                  <c:v>1.5095847006649501</c:v>
                </c:pt>
                <c:pt idx="18274">
                  <c:v>0.49734851110126999</c:v>
                </c:pt>
                <c:pt idx="18275">
                  <c:v>0.28577455344656699</c:v>
                </c:pt>
                <c:pt idx="18276">
                  <c:v>0.31481411626191902</c:v>
                </c:pt>
                <c:pt idx="18277">
                  <c:v>0.31896262523553998</c:v>
                </c:pt>
                <c:pt idx="18278">
                  <c:v>0.33555666113002702</c:v>
                </c:pt>
                <c:pt idx="18279">
                  <c:v>0.46001193033867499</c:v>
                </c:pt>
                <c:pt idx="18280">
                  <c:v>0.56372465467921595</c:v>
                </c:pt>
                <c:pt idx="18281">
                  <c:v>0.44756640341781101</c:v>
                </c:pt>
                <c:pt idx="18282">
                  <c:v>0.63839781620440506</c:v>
                </c:pt>
                <c:pt idx="18283">
                  <c:v>0.50149702007489205</c:v>
                </c:pt>
                <c:pt idx="18284">
                  <c:v>0.66743737901975697</c:v>
                </c:pt>
                <c:pt idx="18285">
                  <c:v>0.55542763673197304</c:v>
                </c:pt>
                <c:pt idx="18286">
                  <c:v>0.79189264822840499</c:v>
                </c:pt>
                <c:pt idx="18287">
                  <c:v>0.84997177385910805</c:v>
                </c:pt>
                <c:pt idx="18288">
                  <c:v>0.75870457643943201</c:v>
                </c:pt>
                <c:pt idx="18289">
                  <c:v>0.56372465467921595</c:v>
                </c:pt>
                <c:pt idx="18290">
                  <c:v>0.717219486703216</c:v>
                </c:pt>
                <c:pt idx="18291">
                  <c:v>0.80848668412289104</c:v>
                </c:pt>
                <c:pt idx="18292">
                  <c:v>0.92049642641067497</c:v>
                </c:pt>
                <c:pt idx="18293">
                  <c:v>0.81678370207013495</c:v>
                </c:pt>
                <c:pt idx="18294">
                  <c:v>0.76700159438667503</c:v>
                </c:pt>
                <c:pt idx="18295">
                  <c:v>0.85826879180635096</c:v>
                </c:pt>
                <c:pt idx="18296">
                  <c:v>0.84582326488548598</c:v>
                </c:pt>
                <c:pt idx="18297">
                  <c:v>0.72966501362408098</c:v>
                </c:pt>
                <c:pt idx="18298">
                  <c:v>0.85412028283272901</c:v>
                </c:pt>
                <c:pt idx="18299">
                  <c:v>0.65914036107251295</c:v>
                </c:pt>
                <c:pt idx="18300">
                  <c:v>0.55542763673197304</c:v>
                </c:pt>
                <c:pt idx="18301">
                  <c:v>7.4200595791864901E-2</c:v>
                </c:pt>
                <c:pt idx="18302">
                  <c:v>-6.2700200337648601E-2</c:v>
                </c:pt>
                <c:pt idx="18303">
                  <c:v>-0.31161073875494599</c:v>
                </c:pt>
                <c:pt idx="18304">
                  <c:v>-0.42362048104272898</c:v>
                </c:pt>
                <c:pt idx="18305">
                  <c:v>-0.27012564901872999</c:v>
                </c:pt>
                <c:pt idx="18306">
                  <c:v>-0.38213539130651297</c:v>
                </c:pt>
                <c:pt idx="18307">
                  <c:v>-0.39458091822737801</c:v>
                </c:pt>
                <c:pt idx="18308">
                  <c:v>-0.56881829511948601</c:v>
                </c:pt>
                <c:pt idx="18309">
                  <c:v>-0.50659066051516199</c:v>
                </c:pt>
                <c:pt idx="18310">
                  <c:v>-0.780392252774189</c:v>
                </c:pt>
                <c:pt idx="18311">
                  <c:v>-0.69327356432813503</c:v>
                </c:pt>
                <c:pt idx="18312">
                  <c:v>-0.73890716303797299</c:v>
                </c:pt>
                <c:pt idx="18313">
                  <c:v>-0.80943181558954003</c:v>
                </c:pt>
                <c:pt idx="18314">
                  <c:v>-0.93803559377181001</c:v>
                </c:pt>
                <c:pt idx="18315">
                  <c:v>-0.96292664761353997</c:v>
                </c:pt>
                <c:pt idx="18316">
                  <c:v>-0.69327356432813503</c:v>
                </c:pt>
                <c:pt idx="18317">
                  <c:v>-0.63934294767105404</c:v>
                </c:pt>
                <c:pt idx="18318">
                  <c:v>-0.92559006685094503</c:v>
                </c:pt>
                <c:pt idx="18319">
                  <c:v>-0.88825348608835097</c:v>
                </c:pt>
                <c:pt idx="18320">
                  <c:v>-1.03759980913873</c:v>
                </c:pt>
                <c:pt idx="18321">
                  <c:v>-1.03759980913873</c:v>
                </c:pt>
                <c:pt idx="18322">
                  <c:v>-0.89240199506197204</c:v>
                </c:pt>
                <c:pt idx="18323">
                  <c:v>-0.88825348608835097</c:v>
                </c:pt>
                <c:pt idx="18324">
                  <c:v>-1.0210057732442399</c:v>
                </c:pt>
                <c:pt idx="18325">
                  <c:v>-1.0624908629804599</c:v>
                </c:pt>
                <c:pt idx="18326">
                  <c:v>-0.99611471940251295</c:v>
                </c:pt>
                <c:pt idx="18327">
                  <c:v>-1.2325797308989499</c:v>
                </c:pt>
                <c:pt idx="18328">
                  <c:v>-1.1496095514265099</c:v>
                </c:pt>
                <c:pt idx="18329">
                  <c:v>-1.1247184975847799</c:v>
                </c:pt>
                <c:pt idx="18330">
                  <c:v>-1.1662035873209999</c:v>
                </c:pt>
                <c:pt idx="18331">
                  <c:v>-1.17864911424186</c:v>
                </c:pt>
                <c:pt idx="18332">
                  <c:v>-1.1496095514265099</c:v>
                </c:pt>
                <c:pt idx="18333">
                  <c:v>1.37268390453543</c:v>
                </c:pt>
                <c:pt idx="18334">
                  <c:v>1.0200606417775899</c:v>
                </c:pt>
                <c:pt idx="18335">
                  <c:v>0.27332902652570301</c:v>
                </c:pt>
                <c:pt idx="18336">
                  <c:v>0.16961630218516199</c:v>
                </c:pt>
                <c:pt idx="18337">
                  <c:v>1.19729611875406E-2</c:v>
                </c:pt>
                <c:pt idx="18338">
                  <c:v>-0.21204652338802699</c:v>
                </c:pt>
                <c:pt idx="18339">
                  <c:v>-0.38628390028013498</c:v>
                </c:pt>
                <c:pt idx="18340">
                  <c:v>-0.36139284643840502</c:v>
                </c:pt>
                <c:pt idx="18341">
                  <c:v>-0.37383837335927</c:v>
                </c:pt>
                <c:pt idx="18342">
                  <c:v>0.12813121244894601</c:v>
                </c:pt>
                <c:pt idx="18343">
                  <c:v>-0.28257117593959402</c:v>
                </c:pt>
                <c:pt idx="18344">
                  <c:v>-0.22034354133527001</c:v>
                </c:pt>
                <c:pt idx="18345">
                  <c:v>5.7606559897378402E-2</c:v>
                </c:pt>
                <c:pt idx="18346">
                  <c:v>0.14472524834343201</c:v>
                </c:pt>
                <c:pt idx="18347">
                  <c:v>8.6646122712729701E-2</c:v>
                </c:pt>
                <c:pt idx="18348">
                  <c:v>-3.7809146495918898E-2</c:v>
                </c:pt>
                <c:pt idx="18349">
                  <c:v>-0.15396739775732399</c:v>
                </c:pt>
                <c:pt idx="18350">
                  <c:v>-9.1739763152999906E-2</c:v>
                </c:pt>
                <c:pt idx="18351">
                  <c:v>-4.7256573332428599E-4</c:v>
                </c:pt>
                <c:pt idx="18352">
                  <c:v>-0.236937577229757</c:v>
                </c:pt>
                <c:pt idx="18353">
                  <c:v>0.107388667580838</c:v>
                </c:pt>
                <c:pt idx="18354">
                  <c:v>0.231843936789486</c:v>
                </c:pt>
                <c:pt idx="18355">
                  <c:v>-9.1739763152999906E-2</c:v>
                </c:pt>
                <c:pt idx="18356">
                  <c:v>0.14472524834343201</c:v>
                </c:pt>
                <c:pt idx="18357">
                  <c:v>-0.178858451599054</c:v>
                </c:pt>
                <c:pt idx="18358">
                  <c:v>-0.29916521183408101</c:v>
                </c:pt>
                <c:pt idx="18359">
                  <c:v>-0.13322485288921601</c:v>
                </c:pt>
                <c:pt idx="18360">
                  <c:v>-0.21204652338802699</c:v>
                </c:pt>
                <c:pt idx="18361">
                  <c:v>-0.19960099646716201</c:v>
                </c:pt>
                <c:pt idx="18362">
                  <c:v>0.11153717655445899</c:v>
                </c:pt>
                <c:pt idx="18363">
                  <c:v>-0.34479881054391898</c:v>
                </c:pt>
                <c:pt idx="18364">
                  <c:v>-0.25768012209786501</c:v>
                </c:pt>
                <c:pt idx="18365">
                  <c:v>-0.20374950544078399</c:v>
                </c:pt>
                <c:pt idx="18366">
                  <c:v>-0.30331372080770302</c:v>
                </c:pt>
                <c:pt idx="18367">
                  <c:v>-0.27012564901872999</c:v>
                </c:pt>
                <c:pt idx="18368">
                  <c:v>-8.3442745205756702E-2</c:v>
                </c:pt>
                <c:pt idx="18369">
                  <c:v>-0.27012564901872999</c:v>
                </c:pt>
                <c:pt idx="18370">
                  <c:v>-0.295016702860459</c:v>
                </c:pt>
                <c:pt idx="18371">
                  <c:v>-0.25768012209786501</c:v>
                </c:pt>
                <c:pt idx="18372">
                  <c:v>-0.38628390028013498</c:v>
                </c:pt>
                <c:pt idx="18373">
                  <c:v>-0.32405626567581097</c:v>
                </c:pt>
                <c:pt idx="18374">
                  <c:v>-0.46510557077894599</c:v>
                </c:pt>
                <c:pt idx="18375">
                  <c:v>-0.26597714004510797</c:v>
                </c:pt>
                <c:pt idx="18376">
                  <c:v>-0.41947197206910802</c:v>
                </c:pt>
                <c:pt idx="18377">
                  <c:v>-0.46510557077894599</c:v>
                </c:pt>
                <c:pt idx="18378">
                  <c:v>-0.34894731951753999</c:v>
                </c:pt>
                <c:pt idx="18379">
                  <c:v>-0.32405626567581097</c:v>
                </c:pt>
                <c:pt idx="18380">
                  <c:v>-0.40287793617462098</c:v>
                </c:pt>
                <c:pt idx="18381">
                  <c:v>-0.49829364256791903</c:v>
                </c:pt>
                <c:pt idx="18382">
                  <c:v>-0.36139284643840502</c:v>
                </c:pt>
                <c:pt idx="18383">
                  <c:v>-0.64763996561829695</c:v>
                </c:pt>
                <c:pt idx="18384">
                  <c:v>-0.469254079752567</c:v>
                </c:pt>
                <c:pt idx="18385">
                  <c:v>-0.780392252774189</c:v>
                </c:pt>
                <c:pt idx="18386">
                  <c:v>-0.90069901300921595</c:v>
                </c:pt>
                <c:pt idx="18387">
                  <c:v>-0.65593698356553998</c:v>
                </c:pt>
                <c:pt idx="18388">
                  <c:v>-0.69327356432813503</c:v>
                </c:pt>
                <c:pt idx="18389">
                  <c:v>-0.65593698356553998</c:v>
                </c:pt>
                <c:pt idx="18390">
                  <c:v>-0.76794672585332402</c:v>
                </c:pt>
                <c:pt idx="18391">
                  <c:v>-0.89240199506197204</c:v>
                </c:pt>
                <c:pt idx="18392">
                  <c:v>-0.74305567201159395</c:v>
                </c:pt>
                <c:pt idx="18393">
                  <c:v>-0.88825348608835097</c:v>
                </c:pt>
                <c:pt idx="18394">
                  <c:v>-0.83432286943126999</c:v>
                </c:pt>
                <c:pt idx="18395">
                  <c:v>-0.79283777969505398</c:v>
                </c:pt>
                <c:pt idx="18396">
                  <c:v>-0.42362048104272898</c:v>
                </c:pt>
                <c:pt idx="18397">
                  <c:v>-0.61860040280294604</c:v>
                </c:pt>
                <c:pt idx="18398">
                  <c:v>-0.63934294767105404</c:v>
                </c:pt>
                <c:pt idx="18399">
                  <c:v>-0.664234001512783</c:v>
                </c:pt>
                <c:pt idx="18400">
                  <c:v>-0.684976546380892</c:v>
                </c:pt>
                <c:pt idx="18401">
                  <c:v>-0.65593698356553998</c:v>
                </c:pt>
                <c:pt idx="18402">
                  <c:v>-0.64763996561829695</c:v>
                </c:pt>
                <c:pt idx="18403">
                  <c:v>-0.59370934896121597</c:v>
                </c:pt>
                <c:pt idx="18404">
                  <c:v>-0.664234001512783</c:v>
                </c:pt>
                <c:pt idx="18405">
                  <c:v>-0.63934294767105404</c:v>
                </c:pt>
                <c:pt idx="18406">
                  <c:v>-0.71816461816986399</c:v>
                </c:pt>
                <c:pt idx="18407">
                  <c:v>-0.63104592972381002</c:v>
                </c:pt>
                <c:pt idx="18408">
                  <c:v>-0.65593698356553998</c:v>
                </c:pt>
                <c:pt idx="18409">
                  <c:v>-0.57296680409310796</c:v>
                </c:pt>
                <c:pt idx="18410">
                  <c:v>-0.52318469640964804</c:v>
                </c:pt>
                <c:pt idx="18411">
                  <c:v>-0.48584811564705399</c:v>
                </c:pt>
                <c:pt idx="18412">
                  <c:v>-0.50659066051516199</c:v>
                </c:pt>
                <c:pt idx="18413">
                  <c:v>-0.41532346309548601</c:v>
                </c:pt>
                <c:pt idx="18414">
                  <c:v>-0.54392724127775605</c:v>
                </c:pt>
                <c:pt idx="18415">
                  <c:v>-0.50659066051516199</c:v>
                </c:pt>
                <c:pt idx="18416">
                  <c:v>-0.48584811564705399</c:v>
                </c:pt>
                <c:pt idx="18417">
                  <c:v>-0.49414513359429701</c:v>
                </c:pt>
                <c:pt idx="18418">
                  <c:v>-0.100036781100243</c:v>
                </c:pt>
                <c:pt idx="18419">
                  <c:v>-0.53148171435689195</c:v>
                </c:pt>
                <c:pt idx="18420">
                  <c:v>-0.36139284643840502</c:v>
                </c:pt>
                <c:pt idx="18421">
                  <c:v>-0.69742207330175598</c:v>
                </c:pt>
                <c:pt idx="18422">
                  <c:v>-0.69742207330175598</c:v>
                </c:pt>
                <c:pt idx="18423">
                  <c:v>-0.67253101946002702</c:v>
                </c:pt>
                <c:pt idx="18424">
                  <c:v>0.37289324189262102</c:v>
                </c:pt>
                <c:pt idx="18425">
                  <c:v>0.16546779321154101</c:v>
                </c:pt>
                <c:pt idx="18426">
                  <c:v>-0.11663081699473</c:v>
                </c:pt>
                <c:pt idx="18427">
                  <c:v>-0.22034354133527001</c:v>
                </c:pt>
                <c:pt idx="18428">
                  <c:v>-0.28671968491321598</c:v>
                </c:pt>
                <c:pt idx="18429">
                  <c:v>-2.95121285486756E-2</c:v>
                </c:pt>
                <c:pt idx="18430">
                  <c:v>-0.245234595177</c:v>
                </c:pt>
                <c:pt idx="18431">
                  <c:v>-0.207898014414405</c:v>
                </c:pt>
                <c:pt idx="18432">
                  <c:v>-9.1739763152999906E-2</c:v>
                </c:pt>
                <c:pt idx="18433">
                  <c:v>0.231843936789486</c:v>
                </c:pt>
                <c:pt idx="18434">
                  <c:v>7.0052086818243306E-2</c:v>
                </c:pt>
                <c:pt idx="18435">
                  <c:v>0.14057673936981099</c:v>
                </c:pt>
                <c:pt idx="18436">
                  <c:v>-0.16641292467818899</c:v>
                </c:pt>
                <c:pt idx="18437">
                  <c:v>-0.21204652338802699</c:v>
                </c:pt>
                <c:pt idx="18438">
                  <c:v>0.22769542781586499</c:v>
                </c:pt>
                <c:pt idx="18439">
                  <c:v>-4.6106164443162102E-2</c:v>
                </c:pt>
                <c:pt idx="18440">
                  <c:v>-8.3442745205756702E-2</c:v>
                </c:pt>
                <c:pt idx="18441">
                  <c:v>0.38119025983986499</c:v>
                </c:pt>
                <c:pt idx="18442">
                  <c:v>0.57202167262645898</c:v>
                </c:pt>
                <c:pt idx="18443">
                  <c:v>0.42267534957608099</c:v>
                </c:pt>
                <c:pt idx="18444">
                  <c:v>0.26503200857845899</c:v>
                </c:pt>
                <c:pt idx="18445">
                  <c:v>0.22769542781586499</c:v>
                </c:pt>
                <c:pt idx="18446">
                  <c:v>0.219398409868622</c:v>
                </c:pt>
                <c:pt idx="18447">
                  <c:v>0.83752624693824296</c:v>
                </c:pt>
                <c:pt idx="18448">
                  <c:v>0.20695288294775699</c:v>
                </c:pt>
                <c:pt idx="18449">
                  <c:v>0.50149702007489205</c:v>
                </c:pt>
                <c:pt idx="18450">
                  <c:v>0.60935825338905403</c:v>
                </c:pt>
                <c:pt idx="18451">
                  <c:v>0.182061829106027</c:v>
                </c:pt>
                <c:pt idx="18452">
                  <c:v>0.25673499063121602</c:v>
                </c:pt>
                <c:pt idx="18453">
                  <c:v>0.123982703475324</c:v>
                </c:pt>
                <c:pt idx="18454">
                  <c:v>5.34580509237568E-2</c:v>
                </c:pt>
                <c:pt idx="18455">
                  <c:v>-0.216195032361649</c:v>
                </c:pt>
                <c:pt idx="18456">
                  <c:v>0.30236858934105398</c:v>
                </c:pt>
                <c:pt idx="18457">
                  <c:v>0.13642823039618901</c:v>
                </c:pt>
                <c:pt idx="18458">
                  <c:v>3.6759432402973299E-3</c:v>
                </c:pt>
                <c:pt idx="18459">
                  <c:v>-0.274274157992351</c:v>
                </c:pt>
                <c:pt idx="18460">
                  <c:v>-0.17470994262543199</c:v>
                </c:pt>
                <c:pt idx="18461">
                  <c:v>-0.236937577229757</c:v>
                </c:pt>
                <c:pt idx="18462">
                  <c:v>-0.48584811564705399</c:v>
                </c:pt>
                <c:pt idx="18463">
                  <c:v>-0.53563022333051302</c:v>
                </c:pt>
                <c:pt idx="18464">
                  <c:v>-0.36968986438564799</c:v>
                </c:pt>
                <c:pt idx="18465">
                  <c:v>-0.34065030157029702</c:v>
                </c:pt>
                <c:pt idx="18466">
                  <c:v>-0.63104592972381002</c:v>
                </c:pt>
                <c:pt idx="18467">
                  <c:v>-0.27842266696597301</c:v>
                </c:pt>
                <c:pt idx="18468">
                  <c:v>-0.74720418098521602</c:v>
                </c:pt>
                <c:pt idx="18469">
                  <c:v>-0.76794672585332402</c:v>
                </c:pt>
                <c:pt idx="18470">
                  <c:v>-0.801134797642297</c:v>
                </c:pt>
                <c:pt idx="18471">
                  <c:v>-0.85921392327299995</c:v>
                </c:pt>
                <c:pt idx="18472">
                  <c:v>-0.69327356432813503</c:v>
                </c:pt>
                <c:pt idx="18473">
                  <c:v>-0.78454076174780996</c:v>
                </c:pt>
                <c:pt idx="18474">
                  <c:v>-0.684976546380892</c:v>
                </c:pt>
                <c:pt idx="18475">
                  <c:v>-0.548075750251378</c:v>
                </c:pt>
                <c:pt idx="18476">
                  <c:v>-0.87995646814110795</c:v>
                </c:pt>
                <c:pt idx="18477">
                  <c:v>-0.54392724127775605</c:v>
                </c:pt>
                <c:pt idx="18478">
                  <c:v>-0.67253101946002702</c:v>
                </c:pt>
                <c:pt idx="18479">
                  <c:v>-0.59370934896121597</c:v>
                </c:pt>
                <c:pt idx="18480">
                  <c:v>-0.77624374380056704</c:v>
                </c:pt>
                <c:pt idx="18481">
                  <c:v>-0.78868927072143202</c:v>
                </c:pt>
                <c:pt idx="18482">
                  <c:v>-0.85091690532575603</c:v>
                </c:pt>
                <c:pt idx="18483">
                  <c:v>-0.72646163611710801</c:v>
                </c:pt>
                <c:pt idx="18484">
                  <c:v>-0.92144155787732396</c:v>
                </c:pt>
                <c:pt idx="18485">
                  <c:v>-0.78454076174780996</c:v>
                </c:pt>
                <c:pt idx="18486">
                  <c:v>-0.52733320538327</c:v>
                </c:pt>
                <c:pt idx="18487">
                  <c:v>-0.40287793617462098</c:v>
                </c:pt>
                <c:pt idx="18488">
                  <c:v>-0.74720418098521602</c:v>
                </c:pt>
                <c:pt idx="18489">
                  <c:v>-0.54392724127775605</c:v>
                </c:pt>
                <c:pt idx="18490">
                  <c:v>-0.61860040280294604</c:v>
                </c:pt>
                <c:pt idx="18491">
                  <c:v>-0.69742207330175598</c:v>
                </c:pt>
                <c:pt idx="18492">
                  <c:v>-0.60200636690845899</c:v>
                </c:pt>
                <c:pt idx="18493">
                  <c:v>-0.49414513359429701</c:v>
                </c:pt>
                <c:pt idx="18494">
                  <c:v>-0.98781770145527004</c:v>
                </c:pt>
                <c:pt idx="18495">
                  <c:v>-0.85921392327299995</c:v>
                </c:pt>
                <c:pt idx="18496">
                  <c:v>-0.83432286943126999</c:v>
                </c:pt>
                <c:pt idx="18497">
                  <c:v>-0.89240199506197204</c:v>
                </c:pt>
                <c:pt idx="18498">
                  <c:v>-0.50244215154154004</c:v>
                </c:pt>
                <c:pt idx="18499">
                  <c:v>-0.50244215154154004</c:v>
                </c:pt>
                <c:pt idx="18500">
                  <c:v>-0.67253101946002702</c:v>
                </c:pt>
                <c:pt idx="18501">
                  <c:v>-0.38628390028013498</c:v>
                </c:pt>
                <c:pt idx="18502">
                  <c:v>-0.56466978614586505</c:v>
                </c:pt>
                <c:pt idx="18503">
                  <c:v>-0.44436302591083798</c:v>
                </c:pt>
                <c:pt idx="18504">
                  <c:v>-0.411174954121865</c:v>
                </c:pt>
                <c:pt idx="18505">
                  <c:v>-0.45266004385808101</c:v>
                </c:pt>
                <c:pt idx="18506">
                  <c:v>-0.55222425922499996</c:v>
                </c:pt>
                <c:pt idx="18507">
                  <c:v>-0.36554135541202698</c:v>
                </c:pt>
                <c:pt idx="18508">
                  <c:v>-6.2700200337648601E-2</c:v>
                </c:pt>
                <c:pt idx="18509">
                  <c:v>0.41852684060245898</c:v>
                </c:pt>
                <c:pt idx="18510">
                  <c:v>-0.31990775670218902</c:v>
                </c:pt>
                <c:pt idx="18511">
                  <c:v>-4.6106164443162102E-2</c:v>
                </c:pt>
                <c:pt idx="18512">
                  <c:v>0.41852684060245898</c:v>
                </c:pt>
                <c:pt idx="18513">
                  <c:v>0.327259643182784</c:v>
                </c:pt>
                <c:pt idx="18514">
                  <c:v>0.64669483415164797</c:v>
                </c:pt>
                <c:pt idx="18515">
                  <c:v>0.70892246875597298</c:v>
                </c:pt>
                <c:pt idx="18516">
                  <c:v>0.84997177385910805</c:v>
                </c:pt>
                <c:pt idx="18517">
                  <c:v>0.90805089948980999</c:v>
                </c:pt>
                <c:pt idx="18518">
                  <c:v>1.1071793302236499</c:v>
                </c:pt>
                <c:pt idx="18519">
                  <c:v>1.1030308212500299</c:v>
                </c:pt>
                <c:pt idx="18520">
                  <c:v>0.97442704306775596</c:v>
                </c:pt>
                <c:pt idx="18521">
                  <c:v>1.0864367853555399</c:v>
                </c:pt>
                <c:pt idx="18522">
                  <c:v>1.1113278391972701</c:v>
                </c:pt>
                <c:pt idx="18523">
                  <c:v>1.136218893039</c:v>
                </c:pt>
                <c:pt idx="18524">
                  <c:v>1.2108920545641899</c:v>
                </c:pt>
                <c:pt idx="18525">
                  <c:v>0.92464493538429704</c:v>
                </c:pt>
                <c:pt idx="18526">
                  <c:v>1.09473380330278</c:v>
                </c:pt>
                <c:pt idx="18527">
                  <c:v>1.2108920545641899</c:v>
                </c:pt>
                <c:pt idx="18528">
                  <c:v>1.28556521608938</c:v>
                </c:pt>
                <c:pt idx="18529">
                  <c:v>1.3187532878783499</c:v>
                </c:pt>
                <c:pt idx="18530">
                  <c:v>1.35194135966732</c:v>
                </c:pt>
                <c:pt idx="18531">
                  <c:v>1.2399316173795389</c:v>
                </c:pt>
                <c:pt idx="18532">
                  <c:v>1.289713725063</c:v>
                </c:pt>
                <c:pt idx="18533">
                  <c:v>1.2108920545641899</c:v>
                </c:pt>
                <c:pt idx="18534">
                  <c:v>1.45980259298149</c:v>
                </c:pt>
                <c:pt idx="18535">
                  <c:v>1.16110994688073</c:v>
                </c:pt>
                <c:pt idx="18536">
                  <c:v>1.14036740201262</c:v>
                </c:pt>
                <c:pt idx="18537">
                  <c:v>1.0988823122764</c:v>
                </c:pt>
                <c:pt idx="18538">
                  <c:v>0.93294195333153995</c:v>
                </c:pt>
                <c:pt idx="18539">
                  <c:v>0.949535989226027</c:v>
                </c:pt>
                <c:pt idx="18540">
                  <c:v>0.99102107896224301</c:v>
                </c:pt>
                <c:pt idx="18541">
                  <c:v>0.812635193096513</c:v>
                </c:pt>
                <c:pt idx="18542">
                  <c:v>0.57202167262645898</c:v>
                </c:pt>
                <c:pt idx="18543">
                  <c:v>0.61350676236267498</c:v>
                </c:pt>
                <c:pt idx="18544">
                  <c:v>0.48905149315402702</c:v>
                </c:pt>
                <c:pt idx="18545">
                  <c:v>0.48490298418040501</c:v>
                </c:pt>
                <c:pt idx="18546">
                  <c:v>0.41022982265521601</c:v>
                </c:pt>
                <c:pt idx="18547">
                  <c:v>0.36044771497175698</c:v>
                </c:pt>
                <c:pt idx="18548">
                  <c:v>-9.5888272126621502E-2</c:v>
                </c:pt>
                <c:pt idx="18549">
                  <c:v>-6.6848709311270196E-2</c:v>
                </c:pt>
                <c:pt idx="18550">
                  <c:v>-0.17470994262543199</c:v>
                </c:pt>
                <c:pt idx="18551">
                  <c:v>-0.25353161312424299</c:v>
                </c:pt>
                <c:pt idx="18552">
                  <c:v>-0.38213539130651297</c:v>
                </c:pt>
                <c:pt idx="18553">
                  <c:v>-0.27012564901872999</c:v>
                </c:pt>
                <c:pt idx="18554">
                  <c:v>-0.46095706180532398</c:v>
                </c:pt>
                <c:pt idx="18555">
                  <c:v>-0.58956083998759401</c:v>
                </c:pt>
                <c:pt idx="18556">
                  <c:v>-0.40702644514824299</c:v>
                </c:pt>
                <c:pt idx="18557">
                  <c:v>0.202804373974135</c:v>
                </c:pt>
                <c:pt idx="18558">
                  <c:v>-0.58541233101397305</c:v>
                </c:pt>
                <c:pt idx="18559">
                  <c:v>-0.643491456644675</c:v>
                </c:pt>
                <c:pt idx="18560">
                  <c:v>-0.60615487588208095</c:v>
                </c:pt>
                <c:pt idx="18561">
                  <c:v>-0.60200636690845899</c:v>
                </c:pt>
                <c:pt idx="18562">
                  <c:v>-0.73475865406435104</c:v>
                </c:pt>
                <c:pt idx="18563">
                  <c:v>-0.69742207330175598</c:v>
                </c:pt>
                <c:pt idx="18564">
                  <c:v>-0.76379821687970195</c:v>
                </c:pt>
                <c:pt idx="18565">
                  <c:v>-0.65178847459191902</c:v>
                </c:pt>
                <c:pt idx="18566">
                  <c:v>-0.40287793617462098</c:v>
                </c:pt>
                <c:pt idx="18567">
                  <c:v>-0.664234001512783</c:v>
                </c:pt>
                <c:pt idx="18568">
                  <c:v>-0.58956083998759401</c:v>
                </c:pt>
                <c:pt idx="18569">
                  <c:v>-0.58126382204035099</c:v>
                </c:pt>
                <c:pt idx="18570">
                  <c:v>-0.47755109769981102</c:v>
                </c:pt>
                <c:pt idx="18571">
                  <c:v>-0.28671968491321598</c:v>
                </c:pt>
                <c:pt idx="18572">
                  <c:v>-0.47340258872618901</c:v>
                </c:pt>
                <c:pt idx="18573">
                  <c:v>-0.78454076174780996</c:v>
                </c:pt>
                <c:pt idx="18574">
                  <c:v>-0.82187734251040501</c:v>
                </c:pt>
                <c:pt idx="18575">
                  <c:v>-0.29086819388683799</c:v>
                </c:pt>
                <c:pt idx="18576">
                  <c:v>-0.31575924772856701</c:v>
                </c:pt>
                <c:pt idx="18577">
                  <c:v>0.132279721422568</c:v>
                </c:pt>
                <c:pt idx="18578">
                  <c:v>-0.35724433746478401</c:v>
                </c:pt>
                <c:pt idx="18579">
                  <c:v>9.9091649633594597E-2</c:v>
                </c:pt>
                <c:pt idx="18580">
                  <c:v>1.19729611875406E-2</c:v>
                </c:pt>
                <c:pt idx="18581">
                  <c:v>-0.149818888783703</c:v>
                </c:pt>
                <c:pt idx="18582">
                  <c:v>3.6864015029270301E-2</c:v>
                </c:pt>
                <c:pt idx="18583">
                  <c:v>0.39778429573435098</c:v>
                </c:pt>
                <c:pt idx="18584">
                  <c:v>-0.13737336186283799</c:v>
                </c:pt>
                <c:pt idx="18585">
                  <c:v>-0.22034354133527001</c:v>
                </c:pt>
                <c:pt idx="18586">
                  <c:v>2.4418488108405401E-2</c:v>
                </c:pt>
                <c:pt idx="18587">
                  <c:v>1.19729611875406E-2</c:v>
                </c:pt>
                <c:pt idx="18588">
                  <c:v>0.41437833162883803</c:v>
                </c:pt>
                <c:pt idx="18589">
                  <c:v>0.77115010336029699</c:v>
                </c:pt>
                <c:pt idx="18590">
                  <c:v>1.0905852943291601</c:v>
                </c:pt>
                <c:pt idx="18591">
                  <c:v>1.0615457315138099</c:v>
                </c:pt>
                <c:pt idx="18592">
                  <c:v>1.1486644199598599</c:v>
                </c:pt>
                <c:pt idx="18593">
                  <c:v>1.2606741622476501</c:v>
                </c:pt>
                <c:pt idx="18594">
                  <c:v>1.2606741622476501</c:v>
                </c:pt>
                <c:pt idx="18595">
                  <c:v>1.3353473237728399</c:v>
                </c:pt>
                <c:pt idx="18596">
                  <c:v>1.2772681981421301</c:v>
                </c:pt>
                <c:pt idx="18597">
                  <c:v>1.1942980186697001</c:v>
                </c:pt>
                <c:pt idx="18598">
                  <c:v>1.2108920545641899</c:v>
                </c:pt>
                <c:pt idx="18599">
                  <c:v>1.3975749583771599</c:v>
                </c:pt>
                <c:pt idx="18600">
                  <c:v>1.39342644940354</c:v>
                </c:pt>
                <c:pt idx="18601">
                  <c:v>1.43906004811338</c:v>
                </c:pt>
                <c:pt idx="18602">
                  <c:v>1.43076303016613</c:v>
                </c:pt>
                <c:pt idx="18603">
                  <c:v>1.28556521608938</c:v>
                </c:pt>
                <c:pt idx="18604">
                  <c:v>1.32705030582559</c:v>
                </c:pt>
                <c:pt idx="18605">
                  <c:v>1.3602383776145699</c:v>
                </c:pt>
                <c:pt idx="18606">
                  <c:v>1.20674354559057</c:v>
                </c:pt>
                <c:pt idx="18607">
                  <c:v>1.3394958327464599</c:v>
                </c:pt>
                <c:pt idx="18608">
                  <c:v>1.5137332096385701</c:v>
                </c:pt>
                <c:pt idx="18609">
                  <c:v>1.3768324135090499</c:v>
                </c:pt>
                <c:pt idx="18610">
                  <c:v>1.41831750324527</c:v>
                </c:pt>
                <c:pt idx="18611">
                  <c:v>1.35194135966732</c:v>
                </c:pt>
                <c:pt idx="18612">
                  <c:v>1.2938622340366199</c:v>
                </c:pt>
                <c:pt idx="18613">
                  <c:v>1.28556521608938</c:v>
                </c:pt>
                <c:pt idx="18614">
                  <c:v>1.2357831084059201</c:v>
                </c:pt>
                <c:pt idx="18615">
                  <c:v>0.99931809690948603</c:v>
                </c:pt>
                <c:pt idx="18616">
                  <c:v>0.70477395978235102</c:v>
                </c:pt>
                <c:pt idx="18617">
                  <c:v>0.82508072001737798</c:v>
                </c:pt>
                <c:pt idx="18618">
                  <c:v>0.696476941835108</c:v>
                </c:pt>
                <c:pt idx="18619">
                  <c:v>0.56372465467921595</c:v>
                </c:pt>
                <c:pt idx="18620">
                  <c:v>0.385338768813486</c:v>
                </c:pt>
                <c:pt idx="18621">
                  <c:v>0.35629920599813503</c:v>
                </c:pt>
                <c:pt idx="18622">
                  <c:v>-0.29916521183408101</c:v>
                </c:pt>
                <c:pt idx="18623">
                  <c:v>-0.16641292467818899</c:v>
                </c:pt>
                <c:pt idx="18624">
                  <c:v>-0.100036781100243</c:v>
                </c:pt>
                <c:pt idx="18625">
                  <c:v>0.11153717655445899</c:v>
                </c:pt>
                <c:pt idx="18626">
                  <c:v>-0.40702644514824299</c:v>
                </c:pt>
                <c:pt idx="18627">
                  <c:v>-0.59785785793483703</c:v>
                </c:pt>
                <c:pt idx="18628">
                  <c:v>-0.43606600796359402</c:v>
                </c:pt>
                <c:pt idx="18629">
                  <c:v>-0.54392724127775605</c:v>
                </c:pt>
                <c:pt idx="18630">
                  <c:v>-0.44021451693721603</c:v>
                </c:pt>
                <c:pt idx="18631">
                  <c:v>-0.70986760022262096</c:v>
                </c:pt>
                <c:pt idx="18632">
                  <c:v>2.4418488108405401E-2</c:v>
                </c:pt>
                <c:pt idx="18633">
                  <c:v>-0.26182863107148602</c:v>
                </c:pt>
                <c:pt idx="18634">
                  <c:v>-0.36139284643840502</c:v>
                </c:pt>
                <c:pt idx="18635">
                  <c:v>-0.28671968491321598</c:v>
                </c:pt>
                <c:pt idx="18636">
                  <c:v>-0.41532346309548601</c:v>
                </c:pt>
                <c:pt idx="18637">
                  <c:v>-0.34065030157029702</c:v>
                </c:pt>
                <c:pt idx="18638">
                  <c:v>0.19450735602689201</c:v>
                </c:pt>
                <c:pt idx="18639">
                  <c:v>0.31896262523553998</c:v>
                </c:pt>
                <c:pt idx="18640">
                  <c:v>0.19450735602689201</c:v>
                </c:pt>
                <c:pt idx="18641">
                  <c:v>0.53053658289024297</c:v>
                </c:pt>
                <c:pt idx="18642">
                  <c:v>0.22769542781586499</c:v>
                </c:pt>
                <c:pt idx="18643">
                  <c:v>0.43926938547056699</c:v>
                </c:pt>
                <c:pt idx="18644">
                  <c:v>0.327259643182784</c:v>
                </c:pt>
                <c:pt idx="18645">
                  <c:v>0.61765527133629705</c:v>
                </c:pt>
                <c:pt idx="18646">
                  <c:v>0.75870457643943201</c:v>
                </c:pt>
                <c:pt idx="18647">
                  <c:v>0.33140815215640501</c:v>
                </c:pt>
                <c:pt idx="18648">
                  <c:v>0.464160439312297</c:v>
                </c:pt>
                <c:pt idx="18649">
                  <c:v>0.50149702007489205</c:v>
                </c:pt>
                <c:pt idx="18650">
                  <c:v>0.77944712130754001</c:v>
                </c:pt>
                <c:pt idx="18651">
                  <c:v>0.928793444357919</c:v>
                </c:pt>
                <c:pt idx="18652">
                  <c:v>1.5012876827177</c:v>
                </c:pt>
                <c:pt idx="18653">
                  <c:v>1.3146047789047299</c:v>
                </c:pt>
                <c:pt idx="18654">
                  <c:v>1.3768324135090499</c:v>
                </c:pt>
                <c:pt idx="18655">
                  <c:v>1.52203022758581</c:v>
                </c:pt>
                <c:pt idx="18656">
                  <c:v>1.5884063711637599</c:v>
                </c:pt>
                <c:pt idx="18657">
                  <c:v>1.35194135966732</c:v>
                </c:pt>
                <c:pt idx="18658">
                  <c:v>1.4266145211925101</c:v>
                </c:pt>
                <c:pt idx="18659">
                  <c:v>1.52203022758581</c:v>
                </c:pt>
                <c:pt idx="18660">
                  <c:v>1.45980259298149</c:v>
                </c:pt>
                <c:pt idx="18661">
                  <c:v>1.47224811990235</c:v>
                </c:pt>
                <c:pt idx="18662">
                  <c:v>1.4017234673507799</c:v>
                </c:pt>
                <c:pt idx="18663">
                  <c:v>1.5386242634803</c:v>
                </c:pt>
                <c:pt idx="18664">
                  <c:v>1.38927794042992</c:v>
                </c:pt>
                <c:pt idx="18665">
                  <c:v>1.67137655063619</c:v>
                </c:pt>
                <c:pt idx="18666">
                  <c:v>1.3851294314563001</c:v>
                </c:pt>
                <c:pt idx="18667">
                  <c:v>1.4058719763244001</c:v>
                </c:pt>
                <c:pt idx="18668">
                  <c:v>1.4266145211925101</c:v>
                </c:pt>
                <c:pt idx="18669">
                  <c:v>1.5676638262956499</c:v>
                </c:pt>
                <c:pt idx="18670">
                  <c:v>1.6589310237153201</c:v>
                </c:pt>
                <c:pt idx="18671">
                  <c:v>1.54277277245392</c:v>
                </c:pt>
                <c:pt idx="18672">
                  <c:v>1.6755250596098099</c:v>
                </c:pt>
                <c:pt idx="18673">
                  <c:v>1.4266145211925101</c:v>
                </c:pt>
                <c:pt idx="18674">
                  <c:v>1.4846936468232199</c:v>
                </c:pt>
                <c:pt idx="18675">
                  <c:v>1.72945567626689</c:v>
                </c:pt>
                <c:pt idx="18676">
                  <c:v>1.3975749583771599</c:v>
                </c:pt>
                <c:pt idx="18677">
                  <c:v>1.43906004811338</c:v>
                </c:pt>
                <c:pt idx="18678">
                  <c:v>1.43491153913976</c:v>
                </c:pt>
                <c:pt idx="18679">
                  <c:v>1.45980259298149</c:v>
                </c:pt>
                <c:pt idx="18680">
                  <c:v>1.5054361916913199</c:v>
                </c:pt>
                <c:pt idx="18681">
                  <c:v>1.45150557503424</c:v>
                </c:pt>
                <c:pt idx="18682">
                  <c:v>1.6174459339791101</c:v>
                </c:pt>
                <c:pt idx="18683">
                  <c:v>1.4888421557968401</c:v>
                </c:pt>
                <c:pt idx="18684">
                  <c:v>1.4473570660606201</c:v>
                </c:pt>
                <c:pt idx="18685">
                  <c:v>1.3975749583771599</c:v>
                </c:pt>
                <c:pt idx="18686">
                  <c:v>1.15696143790711</c:v>
                </c:pt>
                <c:pt idx="18687">
                  <c:v>0.80018966617564802</c:v>
                </c:pt>
                <c:pt idx="18688">
                  <c:v>0.97442704306775596</c:v>
                </c:pt>
                <c:pt idx="18689">
                  <c:v>0.71307097772959405</c:v>
                </c:pt>
                <c:pt idx="18690">
                  <c:v>0.90805089948980999</c:v>
                </c:pt>
                <c:pt idx="18691">
                  <c:v>0.74211054054494596</c:v>
                </c:pt>
                <c:pt idx="18692">
                  <c:v>0.86656580975359399</c:v>
                </c:pt>
                <c:pt idx="18693">
                  <c:v>0.85412028283272901</c:v>
                </c:pt>
                <c:pt idx="18694">
                  <c:v>0.82922922899100004</c:v>
                </c:pt>
                <c:pt idx="18695">
                  <c:v>0.27332902652570301</c:v>
                </c:pt>
                <c:pt idx="18696">
                  <c:v>0.22769542781586499</c:v>
                </c:pt>
                <c:pt idx="18697">
                  <c:v>0.35629920599813503</c:v>
                </c:pt>
                <c:pt idx="18698">
                  <c:v>0.21524990089500001</c:v>
                </c:pt>
                <c:pt idx="18699">
                  <c:v>0.16961630218516199</c:v>
                </c:pt>
                <c:pt idx="18700">
                  <c:v>-0.25353161312424299</c:v>
                </c:pt>
                <c:pt idx="18701">
                  <c:v>-0.18300696057267599</c:v>
                </c:pt>
                <c:pt idx="18702">
                  <c:v>-0.178858451599054</c:v>
                </c:pt>
                <c:pt idx="18703">
                  <c:v>-0.100036781100243</c:v>
                </c:pt>
                <c:pt idx="18704">
                  <c:v>-0.42776899001635099</c:v>
                </c:pt>
                <c:pt idx="18705">
                  <c:v>-0.38628390028013498</c:v>
                </c:pt>
                <c:pt idx="18706">
                  <c:v>-0.14567037981008099</c:v>
                </c:pt>
                <c:pt idx="18707">
                  <c:v>-0.431917498989973</c:v>
                </c:pt>
                <c:pt idx="18708">
                  <c:v>-0.50659066051516199</c:v>
                </c:pt>
                <c:pt idx="18709">
                  <c:v>-0.448511534884459</c:v>
                </c:pt>
                <c:pt idx="18710">
                  <c:v>-0.66008549253916204</c:v>
                </c:pt>
                <c:pt idx="18711">
                  <c:v>-0.42776899001635099</c:v>
                </c:pt>
                <c:pt idx="18712">
                  <c:v>-0.37798688233289202</c:v>
                </c:pt>
                <c:pt idx="18713">
                  <c:v>-0.52733320538327</c:v>
                </c:pt>
                <c:pt idx="18714">
                  <c:v>-0.42362048104272898</c:v>
                </c:pt>
                <c:pt idx="18715">
                  <c:v>-0.51488767846240502</c:v>
                </c:pt>
                <c:pt idx="18716">
                  <c:v>-0.51073916948878395</c:v>
                </c:pt>
                <c:pt idx="18717">
                  <c:v>-0.643491456644675</c:v>
                </c:pt>
                <c:pt idx="18718">
                  <c:v>-0.50659066051516199</c:v>
                </c:pt>
                <c:pt idx="18719">
                  <c:v>-0.55637276819862103</c:v>
                </c:pt>
                <c:pt idx="18720">
                  <c:v>-0.45266004385808101</c:v>
                </c:pt>
                <c:pt idx="18721">
                  <c:v>-0.66838251048640496</c:v>
                </c:pt>
                <c:pt idx="18722">
                  <c:v>-0.59785785793483703</c:v>
                </c:pt>
                <c:pt idx="18723">
                  <c:v>-0.57711531306672903</c:v>
                </c:pt>
                <c:pt idx="18724">
                  <c:v>-0.39458091822737801</c:v>
                </c:pt>
                <c:pt idx="18725">
                  <c:v>-0.67667952843364798</c:v>
                </c:pt>
                <c:pt idx="18726">
                  <c:v>-0.411174954121865</c:v>
                </c:pt>
                <c:pt idx="18727">
                  <c:v>-0.489996624620675</c:v>
                </c:pt>
                <c:pt idx="18728">
                  <c:v>-0.48169960667343198</c:v>
                </c:pt>
                <c:pt idx="18729">
                  <c:v>-0.73475865406435104</c:v>
                </c:pt>
                <c:pt idx="18730">
                  <c:v>-0.124927834941973</c:v>
                </c:pt>
                <c:pt idx="18731">
                  <c:v>-0.48584811564705399</c:v>
                </c:pt>
                <c:pt idx="18732">
                  <c:v>0.31896262523553998</c:v>
                </c:pt>
                <c:pt idx="18733">
                  <c:v>-0.104185290073865</c:v>
                </c:pt>
                <c:pt idx="18734">
                  <c:v>-0.31161073875494599</c:v>
                </c:pt>
                <c:pt idx="18735">
                  <c:v>0.202804373974135</c:v>
                </c:pt>
                <c:pt idx="18736">
                  <c:v>-0.34065030157029702</c:v>
                </c:pt>
                <c:pt idx="18737">
                  <c:v>-0.36139284643840502</c:v>
                </c:pt>
                <c:pt idx="18738">
                  <c:v>0.22354691884224301</c:v>
                </c:pt>
                <c:pt idx="18739">
                  <c:v>-0.26182863107148602</c:v>
                </c:pt>
                <c:pt idx="18740">
                  <c:v>-0.24938310415062101</c:v>
                </c:pt>
                <c:pt idx="18741">
                  <c:v>0.269180517552081</c:v>
                </c:pt>
                <c:pt idx="18742">
                  <c:v>0.33140815215640501</c:v>
                </c:pt>
                <c:pt idx="18743">
                  <c:v>6.1755068870999998E-2</c:v>
                </c:pt>
                <c:pt idx="18744">
                  <c:v>0.443417894444189</c:v>
                </c:pt>
                <c:pt idx="18745">
                  <c:v>0.58446719954732396</c:v>
                </c:pt>
                <c:pt idx="18746">
                  <c:v>0.77529861233391895</c:v>
                </c:pt>
                <c:pt idx="18747">
                  <c:v>0.99102107896224301</c:v>
                </c:pt>
                <c:pt idx="18748">
                  <c:v>0.97857555204137803</c:v>
                </c:pt>
                <c:pt idx="18749">
                  <c:v>1.0698427494610501</c:v>
                </c:pt>
                <c:pt idx="18750">
                  <c:v>1.14036740201262</c:v>
                </c:pt>
                <c:pt idx="18751">
                  <c:v>1.36853539556181</c:v>
                </c:pt>
                <c:pt idx="18752">
                  <c:v>1.1071793302236499</c:v>
                </c:pt>
                <c:pt idx="18753">
                  <c:v>1.1528129289334901</c:v>
                </c:pt>
                <c:pt idx="18754">
                  <c:v>1.1486644199598599</c:v>
                </c:pt>
                <c:pt idx="18755">
                  <c:v>1.1694069648279699</c:v>
                </c:pt>
                <c:pt idx="18756">
                  <c:v>1.14036740201262</c:v>
                </c:pt>
                <c:pt idx="18757">
                  <c:v>1.47639662887597</c:v>
                </c:pt>
                <c:pt idx="18758">
                  <c:v>1.20674354559057</c:v>
                </c:pt>
                <c:pt idx="18759">
                  <c:v>1.136218893039</c:v>
                </c:pt>
                <c:pt idx="18760">
                  <c:v>1.4058719763244001</c:v>
                </c:pt>
                <c:pt idx="18761">
                  <c:v>1.19844652764332</c:v>
                </c:pt>
                <c:pt idx="18762">
                  <c:v>1.0615457315138099</c:v>
                </c:pt>
                <c:pt idx="18763">
                  <c:v>1.1113278391972701</c:v>
                </c:pt>
                <c:pt idx="18764">
                  <c:v>1.1237733661181299</c:v>
                </c:pt>
                <c:pt idx="18765">
                  <c:v>1.16110994688073</c:v>
                </c:pt>
                <c:pt idx="18766">
                  <c:v>1.1237733661181299</c:v>
                </c:pt>
                <c:pt idx="18767">
                  <c:v>1.01176362383035</c:v>
                </c:pt>
                <c:pt idx="18768">
                  <c:v>1.1237733661181299</c:v>
                </c:pt>
                <c:pt idx="18769">
                  <c:v>1.1320703840653801</c:v>
                </c:pt>
                <c:pt idx="18770">
                  <c:v>1.0822882763819199</c:v>
                </c:pt>
                <c:pt idx="18771">
                  <c:v>1.0822882763819199</c:v>
                </c:pt>
                <c:pt idx="18772">
                  <c:v>0.87901133667445897</c:v>
                </c:pt>
                <c:pt idx="18773">
                  <c:v>0.99931809690948603</c:v>
                </c:pt>
                <c:pt idx="18774">
                  <c:v>0.64669483415164797</c:v>
                </c:pt>
                <c:pt idx="18775">
                  <c:v>0.65914036107251295</c:v>
                </c:pt>
                <c:pt idx="18776">
                  <c:v>0.48075447520678399</c:v>
                </c:pt>
                <c:pt idx="18777">
                  <c:v>0.675734396967</c:v>
                </c:pt>
                <c:pt idx="18778">
                  <c:v>0.29407157139381102</c:v>
                </c:pt>
                <c:pt idx="18779">
                  <c:v>0.32311113420916199</c:v>
                </c:pt>
                <c:pt idx="18780">
                  <c:v>0.269180517552081</c:v>
                </c:pt>
                <c:pt idx="18781">
                  <c:v>0.32311113420916199</c:v>
                </c:pt>
                <c:pt idx="18782">
                  <c:v>0.31896262523553998</c:v>
                </c:pt>
                <c:pt idx="18783">
                  <c:v>0.231843936789486</c:v>
                </c:pt>
                <c:pt idx="18784">
                  <c:v>0.41437833162883803</c:v>
                </c:pt>
                <c:pt idx="18785">
                  <c:v>0.67158588799337804</c:v>
                </c:pt>
                <c:pt idx="18786">
                  <c:v>0.29407157139381102</c:v>
                </c:pt>
                <c:pt idx="18787">
                  <c:v>0.61350676236267498</c:v>
                </c:pt>
                <c:pt idx="18788">
                  <c:v>0.41852684060245898</c:v>
                </c:pt>
                <c:pt idx="18789">
                  <c:v>0.37289324189262102</c:v>
                </c:pt>
                <c:pt idx="18790">
                  <c:v>0.43512087649694597</c:v>
                </c:pt>
                <c:pt idx="18791">
                  <c:v>0.231843936789486</c:v>
                </c:pt>
                <c:pt idx="18792">
                  <c:v>-0.236937577229757</c:v>
                </c:pt>
                <c:pt idx="18793">
                  <c:v>-0.36139284643840502</c:v>
                </c:pt>
                <c:pt idx="18794">
                  <c:v>-0.22449205030889199</c:v>
                </c:pt>
                <c:pt idx="18795">
                  <c:v>-0.43606600796359402</c:v>
                </c:pt>
                <c:pt idx="18796">
                  <c:v>-0.38213539130651297</c:v>
                </c:pt>
                <c:pt idx="18797">
                  <c:v>-0.17470994262543199</c:v>
                </c:pt>
                <c:pt idx="18798">
                  <c:v>-4.62107470694591E-3</c:v>
                </c:pt>
                <c:pt idx="18799">
                  <c:v>-4.7256573332428599E-4</c:v>
                </c:pt>
                <c:pt idx="18800">
                  <c:v>-0.50244215154154004</c:v>
                </c:pt>
                <c:pt idx="18801">
                  <c:v>-0.90069901300921595</c:v>
                </c:pt>
                <c:pt idx="18802">
                  <c:v>-0.82187734251040501</c:v>
                </c:pt>
                <c:pt idx="18803">
                  <c:v>-0.72231312714348594</c:v>
                </c:pt>
                <c:pt idx="18804">
                  <c:v>-0.62689742075018895</c:v>
                </c:pt>
                <c:pt idx="18805">
                  <c:v>-0.76379821687970195</c:v>
                </c:pt>
                <c:pt idx="18806">
                  <c:v>-0.63519443869743197</c:v>
                </c:pt>
                <c:pt idx="18807">
                  <c:v>-0.61860040280294604</c:v>
                </c:pt>
                <c:pt idx="18808">
                  <c:v>-0.62274891177656699</c:v>
                </c:pt>
                <c:pt idx="18809">
                  <c:v>-0.68912505535451296</c:v>
                </c:pt>
                <c:pt idx="18810">
                  <c:v>-0.71401610919624303</c:v>
                </c:pt>
                <c:pt idx="18811">
                  <c:v>-0.68912505535451296</c:v>
                </c:pt>
                <c:pt idx="18812">
                  <c:v>-0.67667952843364798</c:v>
                </c:pt>
                <c:pt idx="18813">
                  <c:v>-0.42362048104272898</c:v>
                </c:pt>
                <c:pt idx="18814">
                  <c:v>-0.216195032361649</c:v>
                </c:pt>
                <c:pt idx="18815">
                  <c:v>-0.51903618743602697</c:v>
                </c:pt>
                <c:pt idx="18816">
                  <c:v>-0.72231312714348594</c:v>
                </c:pt>
                <c:pt idx="18817">
                  <c:v>-0.61030338485570201</c:v>
                </c:pt>
                <c:pt idx="18818">
                  <c:v>-0.63934294767105404</c:v>
                </c:pt>
                <c:pt idx="18819">
                  <c:v>-0.41532346309548601</c:v>
                </c:pt>
                <c:pt idx="18820">
                  <c:v>-0.61860040280294604</c:v>
                </c:pt>
                <c:pt idx="18821">
                  <c:v>-0.70157058227537805</c:v>
                </c:pt>
                <c:pt idx="18822">
                  <c:v>-0.95462962966629705</c:v>
                </c:pt>
                <c:pt idx="18823">
                  <c:v>-0.17470994262543199</c:v>
                </c:pt>
                <c:pt idx="18824">
                  <c:v>-0.801134797642297</c:v>
                </c:pt>
                <c:pt idx="18825">
                  <c:v>-0.42362048104272898</c:v>
                </c:pt>
                <c:pt idx="18826">
                  <c:v>-0.489996624620675</c:v>
                </c:pt>
                <c:pt idx="18827">
                  <c:v>-0.58541233101397305</c:v>
                </c:pt>
                <c:pt idx="18828">
                  <c:v>-0.45680855283170202</c:v>
                </c:pt>
                <c:pt idx="18829">
                  <c:v>-0.71816461816986399</c:v>
                </c:pt>
                <c:pt idx="18830">
                  <c:v>-0.76794672585332402</c:v>
                </c:pt>
                <c:pt idx="18831">
                  <c:v>-0.70157058227537805</c:v>
                </c:pt>
                <c:pt idx="18832">
                  <c:v>-0.77624374380056704</c:v>
                </c:pt>
                <c:pt idx="18833">
                  <c:v>-0.86336243224662101</c:v>
                </c:pt>
                <c:pt idx="18834">
                  <c:v>-0.780392252774189</c:v>
                </c:pt>
                <c:pt idx="18835">
                  <c:v>-0.81358032456316198</c:v>
                </c:pt>
                <c:pt idx="18836">
                  <c:v>-0.63104592972381002</c:v>
                </c:pt>
                <c:pt idx="18837">
                  <c:v>-0.72646163611710801</c:v>
                </c:pt>
                <c:pt idx="18838">
                  <c:v>-0.71816461816986399</c:v>
                </c:pt>
                <c:pt idx="18839">
                  <c:v>-0.61445189382932397</c:v>
                </c:pt>
                <c:pt idx="18840">
                  <c:v>1.01176362383035</c:v>
                </c:pt>
                <c:pt idx="18841">
                  <c:v>-0.448511534884459</c:v>
                </c:pt>
                <c:pt idx="18842">
                  <c:v>-0.44436302591083798</c:v>
                </c:pt>
                <c:pt idx="18843">
                  <c:v>-0.100036781100243</c:v>
                </c:pt>
                <c:pt idx="18844">
                  <c:v>-0.149818888783703</c:v>
                </c:pt>
                <c:pt idx="18845">
                  <c:v>-0.411174954121865</c:v>
                </c:pt>
                <c:pt idx="18846">
                  <c:v>-0.15396739775732399</c:v>
                </c:pt>
                <c:pt idx="18847">
                  <c:v>-4.19576554695405E-2</c:v>
                </c:pt>
                <c:pt idx="18848">
                  <c:v>-0.21204652338802699</c:v>
                </c:pt>
                <c:pt idx="18849">
                  <c:v>-0.26597714004510797</c:v>
                </c:pt>
                <c:pt idx="18850">
                  <c:v>-0.19130397851991901</c:v>
                </c:pt>
                <c:pt idx="18851">
                  <c:v>-0.39872942720100002</c:v>
                </c:pt>
                <c:pt idx="18852">
                  <c:v>-0.11248230802110799</c:v>
                </c:pt>
                <c:pt idx="18853">
                  <c:v>-0.245234595177</c:v>
                </c:pt>
                <c:pt idx="18854">
                  <c:v>-0.17056143365181101</c:v>
                </c:pt>
                <c:pt idx="18855">
                  <c:v>-0.207898014414405</c:v>
                </c:pt>
                <c:pt idx="18856">
                  <c:v>-0.178858451599054</c:v>
                </c:pt>
                <c:pt idx="18857">
                  <c:v>-7.0997218284891805E-2</c:v>
                </c:pt>
                <c:pt idx="18858">
                  <c:v>-0.25353161312424299</c:v>
                </c:pt>
                <c:pt idx="18859">
                  <c:v>0.161319284237919</c:v>
                </c:pt>
                <c:pt idx="18860">
                  <c:v>-2.1215110601432399E-2</c:v>
                </c:pt>
                <c:pt idx="18861">
                  <c:v>-0.120779325968351</c:v>
                </c:pt>
                <c:pt idx="18862">
                  <c:v>-0.18300696057267599</c:v>
                </c:pt>
                <c:pt idx="18863">
                  <c:v>0.19865586500051299</c:v>
                </c:pt>
                <c:pt idx="18864">
                  <c:v>-5.44031823904053E-2</c:v>
                </c:pt>
                <c:pt idx="18865">
                  <c:v>-0.23278906825613499</c:v>
                </c:pt>
                <c:pt idx="18866">
                  <c:v>-0.216195032361649</c:v>
                </c:pt>
                <c:pt idx="18867">
                  <c:v>-0.11663081699473</c:v>
                </c:pt>
                <c:pt idx="18868">
                  <c:v>0.14887375731705399</c:v>
                </c:pt>
                <c:pt idx="18869">
                  <c:v>-0.58956083998759401</c:v>
                </c:pt>
                <c:pt idx="18870">
                  <c:v>-0.85921392327299995</c:v>
                </c:pt>
                <c:pt idx="18871">
                  <c:v>-1.0873819168221901</c:v>
                </c:pt>
                <c:pt idx="18872">
                  <c:v>-1.05419384503322</c:v>
                </c:pt>
                <c:pt idx="18873">
                  <c:v>-0.97952068350802701</c:v>
                </c:pt>
                <c:pt idx="18874">
                  <c:v>-0.95877813863991801</c:v>
                </c:pt>
                <c:pt idx="18875">
                  <c:v>-0.65593698356553998</c:v>
                </c:pt>
                <c:pt idx="18876">
                  <c:v>-0.63519443869743197</c:v>
                </c:pt>
                <c:pt idx="18877">
                  <c:v>-0.58956083998759401</c:v>
                </c:pt>
                <c:pt idx="18878">
                  <c:v>-0.69742207330175598</c:v>
                </c:pt>
                <c:pt idx="18879">
                  <c:v>-0.55637276819862103</c:v>
                </c:pt>
                <c:pt idx="18880">
                  <c:v>-0.61445189382932397</c:v>
                </c:pt>
                <c:pt idx="18881">
                  <c:v>-0.73061014509072897</c:v>
                </c:pt>
                <c:pt idx="18882">
                  <c:v>-1.01685726427062</c:v>
                </c:pt>
                <c:pt idx="18883">
                  <c:v>-1.07908489887495</c:v>
                </c:pt>
                <c:pt idx="18884">
                  <c:v>-1.05834235400684</c:v>
                </c:pt>
                <c:pt idx="18885">
                  <c:v>-1.09567893476943</c:v>
                </c:pt>
                <c:pt idx="18886">
                  <c:v>1.77508927497673</c:v>
                </c:pt>
                <c:pt idx="18887">
                  <c:v>1.2731196891685099</c:v>
                </c:pt>
                <c:pt idx="18888">
                  <c:v>0.15717077526429701</c:v>
                </c:pt>
                <c:pt idx="18889">
                  <c:v>9.9091649633594597E-2</c:v>
                </c:pt>
                <c:pt idx="18890">
                  <c:v>-0.19960099646716201</c:v>
                </c:pt>
                <c:pt idx="18891">
                  <c:v>-0.11663081699473</c:v>
                </c:pt>
                <c:pt idx="18892">
                  <c:v>-0.22864055928251301</c:v>
                </c:pt>
                <c:pt idx="18893">
                  <c:v>-0.16641292467818899</c:v>
                </c:pt>
                <c:pt idx="18894">
                  <c:v>-0.43606600796359402</c:v>
                </c:pt>
                <c:pt idx="18895">
                  <c:v>8.6646122712729701E-2</c:v>
                </c:pt>
                <c:pt idx="18896">
                  <c:v>-0.34479881054391898</c:v>
                </c:pt>
                <c:pt idx="18897">
                  <c:v>-0.46095706180532398</c:v>
                </c:pt>
                <c:pt idx="18898">
                  <c:v>-0.469254079752567</c:v>
                </c:pt>
                <c:pt idx="18899">
                  <c:v>-0.61445189382932397</c:v>
                </c:pt>
                <c:pt idx="18900">
                  <c:v>-0.36554135541202698</c:v>
                </c:pt>
                <c:pt idx="18901">
                  <c:v>-0.664234001512783</c:v>
                </c:pt>
                <c:pt idx="18902">
                  <c:v>-0.36139284643840502</c:v>
                </c:pt>
                <c:pt idx="18903">
                  <c:v>-0.58541233101397305</c:v>
                </c:pt>
                <c:pt idx="18904">
                  <c:v>-0.548075750251378</c:v>
                </c:pt>
                <c:pt idx="18905">
                  <c:v>-0.63934294767105404</c:v>
                </c:pt>
                <c:pt idx="18906">
                  <c:v>-0.58956083998759401</c:v>
                </c:pt>
                <c:pt idx="18907">
                  <c:v>-0.55222425922499996</c:v>
                </c:pt>
                <c:pt idx="18908">
                  <c:v>-0.52318469640964804</c:v>
                </c:pt>
                <c:pt idx="18909">
                  <c:v>-0.68912505535451296</c:v>
                </c:pt>
                <c:pt idx="18910">
                  <c:v>-0.67253101946002702</c:v>
                </c:pt>
                <c:pt idx="18911">
                  <c:v>-0.80528330661591896</c:v>
                </c:pt>
                <c:pt idx="18912">
                  <c:v>-0.73890716303797299</c:v>
                </c:pt>
                <c:pt idx="18913">
                  <c:v>-0.70571909124900001</c:v>
                </c:pt>
                <c:pt idx="18914">
                  <c:v>-0.643491456644675</c:v>
                </c:pt>
                <c:pt idx="18915">
                  <c:v>-0.73475865406435104</c:v>
                </c:pt>
                <c:pt idx="18916">
                  <c:v>-1.2782133296087801</c:v>
                </c:pt>
                <c:pt idx="18917">
                  <c:v>-1.2076886770572199</c:v>
                </c:pt>
                <c:pt idx="18918">
                  <c:v>-1.4400051795800299</c:v>
                </c:pt>
                <c:pt idx="18919">
                  <c:v>-1.4441536885536499</c:v>
                </c:pt>
                <c:pt idx="18920">
                  <c:v>2.2272767531014899</c:v>
                </c:pt>
                <c:pt idx="18921">
                  <c:v>1.03665467767208</c:v>
                </c:pt>
                <c:pt idx="18922">
                  <c:v>1.11547634817089</c:v>
                </c:pt>
                <c:pt idx="18923">
                  <c:v>8.2497613739108105E-2</c:v>
                </c:pt>
                <c:pt idx="18924">
                  <c:v>0.103240158607216</c:v>
                </c:pt>
                <c:pt idx="18925">
                  <c:v>-0.16641292467818899</c:v>
                </c:pt>
                <c:pt idx="18926">
                  <c:v>-0.56466978614586505</c:v>
                </c:pt>
                <c:pt idx="18927">
                  <c:v>-0.47340258872618901</c:v>
                </c:pt>
                <c:pt idx="18928">
                  <c:v>-0.62274891177656699</c:v>
                </c:pt>
                <c:pt idx="18929">
                  <c:v>-0.55222425922499996</c:v>
                </c:pt>
                <c:pt idx="18930">
                  <c:v>-0.68082803740727005</c:v>
                </c:pt>
                <c:pt idx="18931">
                  <c:v>-0.34894731951753999</c:v>
                </c:pt>
                <c:pt idx="18932">
                  <c:v>-0.50659066051516199</c:v>
                </c:pt>
                <c:pt idx="18933">
                  <c:v>-0.34065030157029702</c:v>
                </c:pt>
                <c:pt idx="18934">
                  <c:v>-0.42776899001635099</c:v>
                </c:pt>
                <c:pt idx="18935">
                  <c:v>-0.45680855283170202</c:v>
                </c:pt>
                <c:pt idx="18936">
                  <c:v>-0.431917498989973</c:v>
                </c:pt>
                <c:pt idx="18937">
                  <c:v>-5.44031823904053E-2</c:v>
                </c:pt>
                <c:pt idx="18938">
                  <c:v>-0.37798688233289202</c:v>
                </c:pt>
                <c:pt idx="18939">
                  <c:v>-0.50659066051516199</c:v>
                </c:pt>
                <c:pt idx="18940">
                  <c:v>-0.60200636690845899</c:v>
                </c:pt>
                <c:pt idx="18941">
                  <c:v>-0.448511534884459</c:v>
                </c:pt>
                <c:pt idx="18942">
                  <c:v>-0.43606600796359402</c:v>
                </c:pt>
                <c:pt idx="18943">
                  <c:v>-0.25768012209786501</c:v>
                </c:pt>
                <c:pt idx="18944">
                  <c:v>-0.41532346309548601</c:v>
                </c:pt>
                <c:pt idx="18945">
                  <c:v>-0.19960099646716201</c:v>
                </c:pt>
                <c:pt idx="18946">
                  <c:v>-0.50244215154154004</c:v>
                </c:pt>
                <c:pt idx="18947">
                  <c:v>-0.31161073875494599</c:v>
                </c:pt>
                <c:pt idx="18948">
                  <c:v>-0.24108608620337801</c:v>
                </c:pt>
                <c:pt idx="18949">
                  <c:v>-0.44021451693721603</c:v>
                </c:pt>
                <c:pt idx="18950">
                  <c:v>-0.58956083998759401</c:v>
                </c:pt>
                <c:pt idx="18951">
                  <c:v>-0.49414513359429701</c:v>
                </c:pt>
                <c:pt idx="18952">
                  <c:v>-0.50244215154154004</c:v>
                </c:pt>
                <c:pt idx="18953">
                  <c:v>-0.664234001512783</c:v>
                </c:pt>
                <c:pt idx="18954">
                  <c:v>-0.80943181558954003</c:v>
                </c:pt>
                <c:pt idx="18955">
                  <c:v>-0.87165945019386404</c:v>
                </c:pt>
                <c:pt idx="18956">
                  <c:v>-0.82602585148402696</c:v>
                </c:pt>
                <c:pt idx="18957">
                  <c:v>-0.87580795916748599</c:v>
                </c:pt>
                <c:pt idx="18958">
                  <c:v>-1.05419384503322</c:v>
                </c:pt>
                <c:pt idx="18959">
                  <c:v>-1.07908489887495</c:v>
                </c:pt>
                <c:pt idx="18960">
                  <c:v>-1.2616192937143</c:v>
                </c:pt>
                <c:pt idx="18961">
                  <c:v>-1.4648962334217599</c:v>
                </c:pt>
                <c:pt idx="18962">
                  <c:v>-1.37362903600208</c:v>
                </c:pt>
                <c:pt idx="18963">
                  <c:v>-1.33214394626586</c:v>
                </c:pt>
                <c:pt idx="18964">
                  <c:v>1.6506340057680799</c:v>
                </c:pt>
                <c:pt idx="18965">
                  <c:v>1.45565408400786</c:v>
                </c:pt>
                <c:pt idx="18966">
                  <c:v>1.5967033891110001</c:v>
                </c:pt>
                <c:pt idx="18967">
                  <c:v>1.4473570660606201</c:v>
                </c:pt>
                <c:pt idx="18968">
                  <c:v>0.289923062420189</c:v>
                </c:pt>
                <c:pt idx="18969">
                  <c:v>0.202804373974135</c:v>
                </c:pt>
                <c:pt idx="18970">
                  <c:v>0.289923062420189</c:v>
                </c:pt>
                <c:pt idx="18971">
                  <c:v>0.12813121244894601</c:v>
                </c:pt>
                <c:pt idx="18972">
                  <c:v>8.6646122712729701E-2</c:v>
                </c:pt>
                <c:pt idx="18973">
                  <c:v>0.16961630218516199</c:v>
                </c:pt>
                <c:pt idx="18974">
                  <c:v>-1.7066601627810801E-2</c:v>
                </c:pt>
                <c:pt idx="18975">
                  <c:v>-0.100036781100243</c:v>
                </c:pt>
                <c:pt idx="18976">
                  <c:v>4.1012524002891897E-2</c:v>
                </c:pt>
                <c:pt idx="18977">
                  <c:v>-2.5363619575054001E-2</c:v>
                </c:pt>
                <c:pt idx="18978">
                  <c:v>-4.19576554695405E-2</c:v>
                </c:pt>
                <c:pt idx="18979">
                  <c:v>-2.5363619575054001E-2</c:v>
                </c:pt>
                <c:pt idx="18980">
                  <c:v>-9.1739763152999906E-2</c:v>
                </c:pt>
                <c:pt idx="18981">
                  <c:v>-9.1739763152999906E-2</c:v>
                </c:pt>
                <c:pt idx="18982">
                  <c:v>-0.25768012209786501</c:v>
                </c:pt>
                <c:pt idx="18983">
                  <c:v>-4.6106164443162102E-2</c:v>
                </c:pt>
                <c:pt idx="18984">
                  <c:v>-0.104185290073865</c:v>
                </c:pt>
                <c:pt idx="18985">
                  <c:v>-0.22034354133527001</c:v>
                </c:pt>
                <c:pt idx="18986">
                  <c:v>-0.22034354133527001</c:v>
                </c:pt>
                <c:pt idx="18987">
                  <c:v>-0.26597714004510797</c:v>
                </c:pt>
                <c:pt idx="18988">
                  <c:v>-0.42362048104272898</c:v>
                </c:pt>
                <c:pt idx="18989">
                  <c:v>-0.36139284643840502</c:v>
                </c:pt>
                <c:pt idx="18990">
                  <c:v>-0.49829364256791903</c:v>
                </c:pt>
                <c:pt idx="18991">
                  <c:v>-0.50659066051516199</c:v>
                </c:pt>
                <c:pt idx="18992">
                  <c:v>-0.44021451693721603</c:v>
                </c:pt>
                <c:pt idx="18993">
                  <c:v>-0.448511534884459</c:v>
                </c:pt>
                <c:pt idx="18994">
                  <c:v>-0.69742207330175598</c:v>
                </c:pt>
                <c:pt idx="18995">
                  <c:v>-0.57296680409310796</c:v>
                </c:pt>
                <c:pt idx="18996">
                  <c:v>-0.68082803740727005</c:v>
                </c:pt>
                <c:pt idx="18997">
                  <c:v>-0.67253101946002702</c:v>
                </c:pt>
                <c:pt idx="18998">
                  <c:v>-0.75135268995883697</c:v>
                </c:pt>
                <c:pt idx="18999">
                  <c:v>-0.47340258872618901</c:v>
                </c:pt>
                <c:pt idx="19000">
                  <c:v>-0.65178847459191902</c:v>
                </c:pt>
                <c:pt idx="19001">
                  <c:v>-1.1869461321891099</c:v>
                </c:pt>
                <c:pt idx="19002">
                  <c:v>-1.1496095514265099</c:v>
                </c:pt>
                <c:pt idx="19003">
                  <c:v>-1.1288670065584001</c:v>
                </c:pt>
                <c:pt idx="19004">
                  <c:v>-1.24917376679343</c:v>
                </c:pt>
                <c:pt idx="19005">
                  <c:v>1.4266145211925101</c:v>
                </c:pt>
                <c:pt idx="19006">
                  <c:v>1.4680996109287301</c:v>
                </c:pt>
                <c:pt idx="19007">
                  <c:v>0.71307097772959405</c:v>
                </c:pt>
                <c:pt idx="19008">
                  <c:v>0.41437833162883803</c:v>
                </c:pt>
                <c:pt idx="19009">
                  <c:v>0.18621033807964901</c:v>
                </c:pt>
                <c:pt idx="19010">
                  <c:v>0.19450735602689201</c:v>
                </c:pt>
                <c:pt idx="19011">
                  <c:v>-1.7066601627810801E-2</c:v>
                </c:pt>
                <c:pt idx="19012">
                  <c:v>0.119834194501703</c:v>
                </c:pt>
                <c:pt idx="19013">
                  <c:v>7.0052086818243306E-2</c:v>
                </c:pt>
                <c:pt idx="19014">
                  <c:v>0.202804373974135</c:v>
                </c:pt>
                <c:pt idx="19015">
                  <c:v>0.16546779321154101</c:v>
                </c:pt>
                <c:pt idx="19016">
                  <c:v>0.24014095473673</c:v>
                </c:pt>
                <c:pt idx="19017">
                  <c:v>0.25258648165759501</c:v>
                </c:pt>
                <c:pt idx="19018">
                  <c:v>0.248437972683973</c:v>
                </c:pt>
                <c:pt idx="19019">
                  <c:v>0.46001193033867499</c:v>
                </c:pt>
                <c:pt idx="19020">
                  <c:v>0.25258648165759501</c:v>
                </c:pt>
                <c:pt idx="19021">
                  <c:v>0.36874473291900001</c:v>
                </c:pt>
                <c:pt idx="19022">
                  <c:v>0.34385367907726999</c:v>
                </c:pt>
                <c:pt idx="19023">
                  <c:v>0.31481411626191902</c:v>
                </c:pt>
                <c:pt idx="19024">
                  <c:v>0.54713061878472902</c:v>
                </c:pt>
                <c:pt idx="19025">
                  <c:v>0.75040755849218899</c:v>
                </c:pt>
                <c:pt idx="19026">
                  <c:v>0.49320000212764797</c:v>
                </c:pt>
                <c:pt idx="19027">
                  <c:v>0.46001193033867499</c:v>
                </c:pt>
                <c:pt idx="19028">
                  <c:v>0.46830894828591901</c:v>
                </c:pt>
                <c:pt idx="19029">
                  <c:v>0.52638807391662101</c:v>
                </c:pt>
                <c:pt idx="19030">
                  <c:v>0.22769542781586499</c:v>
                </c:pt>
                <c:pt idx="19031">
                  <c:v>0.132279721422568</c:v>
                </c:pt>
                <c:pt idx="19032">
                  <c:v>7.8244522139189494E-3</c:v>
                </c:pt>
                <c:pt idx="19033">
                  <c:v>-5.0254673416783698E-2</c:v>
                </c:pt>
                <c:pt idx="19034">
                  <c:v>-6.6848709311270196E-2</c:v>
                </c:pt>
                <c:pt idx="19035">
                  <c:v>-0.104185290073865</c:v>
                </c:pt>
                <c:pt idx="19036">
                  <c:v>-0.34894731951753999</c:v>
                </c:pt>
                <c:pt idx="19037">
                  <c:v>-0.49829364256791903</c:v>
                </c:pt>
                <c:pt idx="19038">
                  <c:v>-0.22034354133527001</c:v>
                </c:pt>
                <c:pt idx="19039">
                  <c:v>-0.36968986438564799</c:v>
                </c:pt>
                <c:pt idx="19040">
                  <c:v>-0.50244215154154004</c:v>
                </c:pt>
                <c:pt idx="19041">
                  <c:v>-0.52318469640964804</c:v>
                </c:pt>
                <c:pt idx="19042">
                  <c:v>-0.62689742075018895</c:v>
                </c:pt>
                <c:pt idx="19043">
                  <c:v>-0.47755109769981102</c:v>
                </c:pt>
                <c:pt idx="19044">
                  <c:v>-0.759649707906081</c:v>
                </c:pt>
                <c:pt idx="19045">
                  <c:v>-0.61860040280294604</c:v>
                </c:pt>
                <c:pt idx="19046">
                  <c:v>-0.71816461816986399</c:v>
                </c:pt>
                <c:pt idx="19047">
                  <c:v>-0.67253101946002702</c:v>
                </c:pt>
                <c:pt idx="19048">
                  <c:v>-0.77209523482694598</c:v>
                </c:pt>
                <c:pt idx="19049">
                  <c:v>-0.80528330661591896</c:v>
                </c:pt>
                <c:pt idx="19050">
                  <c:v>-1.01685726427062</c:v>
                </c:pt>
                <c:pt idx="19051">
                  <c:v>-1.0458968270859701</c:v>
                </c:pt>
                <c:pt idx="19052">
                  <c:v>-1.0915304257958101</c:v>
                </c:pt>
                <c:pt idx="19053">
                  <c:v>-1.0873819168221901</c:v>
                </c:pt>
                <c:pt idx="19054">
                  <c:v>-1.0832334078485699</c:v>
                </c:pt>
                <c:pt idx="19055">
                  <c:v>-1.2367282398725701</c:v>
                </c:pt>
                <c:pt idx="19056">
                  <c:v>-1.31140140139776</c:v>
                </c:pt>
                <c:pt idx="19057">
                  <c:v>-1.26576780268792</c:v>
                </c:pt>
                <c:pt idx="19058">
                  <c:v>-1.19939165910997</c:v>
                </c:pt>
                <c:pt idx="19059">
                  <c:v>-1.2118371860308399</c:v>
                </c:pt>
                <c:pt idx="19060">
                  <c:v>-1.3031043834505101</c:v>
                </c:pt>
                <c:pt idx="19061">
                  <c:v>-1.02930279119149</c:v>
                </c:pt>
                <c:pt idx="19062">
                  <c:v>1.5510697904011601</c:v>
                </c:pt>
                <c:pt idx="19063">
                  <c:v>1.4473570660606201</c:v>
                </c:pt>
                <c:pt idx="19064">
                  <c:v>1.35194135966732</c:v>
                </c:pt>
                <c:pt idx="19065">
                  <c:v>0.65499185209889199</c:v>
                </c:pt>
                <c:pt idx="19066">
                  <c:v>0.17791332013240499</c:v>
                </c:pt>
                <c:pt idx="19067">
                  <c:v>0.22769542781586499</c:v>
                </c:pt>
                <c:pt idx="19068">
                  <c:v>0.103240158607216</c:v>
                </c:pt>
                <c:pt idx="19069">
                  <c:v>-2.95121285486756E-2</c:v>
                </c:pt>
                <c:pt idx="19070">
                  <c:v>3.2715506055648699E-2</c:v>
                </c:pt>
                <c:pt idx="19071">
                  <c:v>0.161319284237919</c:v>
                </c:pt>
                <c:pt idx="19072">
                  <c:v>0.132279721422568</c:v>
                </c:pt>
                <c:pt idx="19073">
                  <c:v>6.59035778446216E-2</c:v>
                </c:pt>
                <c:pt idx="19074">
                  <c:v>0.14472524834343201</c:v>
                </c:pt>
                <c:pt idx="19075">
                  <c:v>0.37289324189262102</c:v>
                </c:pt>
                <c:pt idx="19076">
                  <c:v>0.35215069702451302</c:v>
                </c:pt>
                <c:pt idx="19077">
                  <c:v>0.33555666113002702</c:v>
                </c:pt>
                <c:pt idx="19078">
                  <c:v>0.34385367907726999</c:v>
                </c:pt>
                <c:pt idx="19079">
                  <c:v>0.24014095473673</c:v>
                </c:pt>
                <c:pt idx="19080">
                  <c:v>0.41437833162883803</c:v>
                </c:pt>
                <c:pt idx="19081">
                  <c:v>0.29822008036743203</c:v>
                </c:pt>
                <c:pt idx="19082">
                  <c:v>0.231843936789486</c:v>
                </c:pt>
                <c:pt idx="19083">
                  <c:v>0.385338768813486</c:v>
                </c:pt>
                <c:pt idx="19084">
                  <c:v>0.132279721422568</c:v>
                </c:pt>
                <c:pt idx="19085">
                  <c:v>0.248437972683973</c:v>
                </c:pt>
                <c:pt idx="19086">
                  <c:v>0.28577455344656699</c:v>
                </c:pt>
                <c:pt idx="19087">
                  <c:v>0.22769542781586499</c:v>
                </c:pt>
                <c:pt idx="19088">
                  <c:v>0.161319284237919</c:v>
                </c:pt>
                <c:pt idx="19089">
                  <c:v>0.248437972683973</c:v>
                </c:pt>
                <c:pt idx="19090">
                  <c:v>0.16961630218516199</c:v>
                </c:pt>
                <c:pt idx="19091">
                  <c:v>0.19865586500051299</c:v>
                </c:pt>
                <c:pt idx="19092">
                  <c:v>0.15717077526429701</c:v>
                </c:pt>
                <c:pt idx="19093">
                  <c:v>4.5161032976513499E-2</c:v>
                </c:pt>
                <c:pt idx="19094">
                  <c:v>0.103240158607216</c:v>
                </c:pt>
                <c:pt idx="19095">
                  <c:v>2.0269979134783799E-2</c:v>
                </c:pt>
                <c:pt idx="19096">
                  <c:v>0.103240158607216</c:v>
                </c:pt>
                <c:pt idx="19097">
                  <c:v>2.4418488108405401E-2</c:v>
                </c:pt>
                <c:pt idx="19098">
                  <c:v>-0.36554135541202698</c:v>
                </c:pt>
                <c:pt idx="19099">
                  <c:v>-0.469254079752567</c:v>
                </c:pt>
                <c:pt idx="19100">
                  <c:v>-0.32820477464943199</c:v>
                </c:pt>
                <c:pt idx="19101">
                  <c:v>-0.40702644514824299</c:v>
                </c:pt>
                <c:pt idx="19102">
                  <c:v>-0.49829364256791903</c:v>
                </c:pt>
                <c:pt idx="19103">
                  <c:v>-0.55222425922499996</c:v>
                </c:pt>
                <c:pt idx="19104">
                  <c:v>-0.53148171435689195</c:v>
                </c:pt>
                <c:pt idx="19105">
                  <c:v>-0.68082803740727005</c:v>
                </c:pt>
                <c:pt idx="19106">
                  <c:v>-0.66838251048640496</c:v>
                </c:pt>
                <c:pt idx="19107">
                  <c:v>-0.63934294767105404</c:v>
                </c:pt>
                <c:pt idx="19108">
                  <c:v>-0.52733320538327</c:v>
                </c:pt>
                <c:pt idx="19109">
                  <c:v>-0.62689742075018895</c:v>
                </c:pt>
                <c:pt idx="19110">
                  <c:v>-0.431917498989973</c:v>
                </c:pt>
                <c:pt idx="19111">
                  <c:v>-0.61860040280294604</c:v>
                </c:pt>
                <c:pt idx="19112">
                  <c:v>-0.68082803740727005</c:v>
                </c:pt>
                <c:pt idx="19113">
                  <c:v>-0.56466978614586505</c:v>
                </c:pt>
                <c:pt idx="19114">
                  <c:v>-0.76794672585332402</c:v>
                </c:pt>
                <c:pt idx="19115">
                  <c:v>-0.548075750251378</c:v>
                </c:pt>
                <c:pt idx="19116">
                  <c:v>-0.76379821687970195</c:v>
                </c:pt>
                <c:pt idx="19117">
                  <c:v>-0.75135268995883697</c:v>
                </c:pt>
                <c:pt idx="19118">
                  <c:v>-0.72231312714348594</c:v>
                </c:pt>
                <c:pt idx="19119">
                  <c:v>-0.684976546380892</c:v>
                </c:pt>
                <c:pt idx="19120">
                  <c:v>-0.80528330661591896</c:v>
                </c:pt>
                <c:pt idx="19121">
                  <c:v>-0.73061014509072897</c:v>
                </c:pt>
                <c:pt idx="19122">
                  <c:v>-0.664234001512783</c:v>
                </c:pt>
                <c:pt idx="19123">
                  <c:v>-0.59785785793483703</c:v>
                </c:pt>
                <c:pt idx="19124">
                  <c:v>-0.61030338485570201</c:v>
                </c:pt>
                <c:pt idx="19125">
                  <c:v>-0.67253101946002702</c:v>
                </c:pt>
                <c:pt idx="19126">
                  <c:v>-0.684976546380892</c:v>
                </c:pt>
                <c:pt idx="19127">
                  <c:v>-0.72231312714348594</c:v>
                </c:pt>
                <c:pt idx="19128">
                  <c:v>-0.69327356432813503</c:v>
                </c:pt>
                <c:pt idx="19129">
                  <c:v>-0.81358032456316198</c:v>
                </c:pt>
                <c:pt idx="19130">
                  <c:v>-0.85506541429937799</c:v>
                </c:pt>
                <c:pt idx="19131">
                  <c:v>-0.77209523482694598</c:v>
                </c:pt>
                <c:pt idx="19132">
                  <c:v>-0.88410497711472902</c:v>
                </c:pt>
                <c:pt idx="19133">
                  <c:v>-0.84261988737851301</c:v>
                </c:pt>
                <c:pt idx="19134">
                  <c:v>-0.86751094122024297</c:v>
                </c:pt>
                <c:pt idx="19135">
                  <c:v>-0.92144155787732396</c:v>
                </c:pt>
                <c:pt idx="19136">
                  <c:v>-0.780392252774189</c:v>
                </c:pt>
                <c:pt idx="19137">
                  <c:v>-0.82602585148402696</c:v>
                </c:pt>
                <c:pt idx="19138">
                  <c:v>-1.0002632283761299</c:v>
                </c:pt>
                <c:pt idx="19139">
                  <c:v>-0.90069901300921595</c:v>
                </c:pt>
                <c:pt idx="19140">
                  <c:v>-0.90899603095645898</c:v>
                </c:pt>
                <c:pt idx="19141">
                  <c:v>-0.73890716303797299</c:v>
                </c:pt>
                <c:pt idx="19142">
                  <c:v>-0.780392252774189</c:v>
                </c:pt>
                <c:pt idx="19143">
                  <c:v>-0.73475865406435104</c:v>
                </c:pt>
                <c:pt idx="19144">
                  <c:v>-0.77209523482694598</c:v>
                </c:pt>
                <c:pt idx="19145">
                  <c:v>-0.81772883353678305</c:v>
                </c:pt>
                <c:pt idx="19146">
                  <c:v>-0.74720418098521602</c:v>
                </c:pt>
                <c:pt idx="19147">
                  <c:v>-0.79698628866867505</c:v>
                </c:pt>
                <c:pt idx="19148">
                  <c:v>-0.70571909124900001</c:v>
                </c:pt>
                <c:pt idx="19149">
                  <c:v>-0.780392252774189</c:v>
                </c:pt>
                <c:pt idx="19150">
                  <c:v>-0.70986760022262096</c:v>
                </c:pt>
                <c:pt idx="19151">
                  <c:v>-0.56466978614586505</c:v>
                </c:pt>
                <c:pt idx="19152">
                  <c:v>0.42682385854970301</c:v>
                </c:pt>
                <c:pt idx="19153">
                  <c:v>-0.27842266696597301</c:v>
                </c:pt>
                <c:pt idx="19154">
                  <c:v>-0.45680855283170202</c:v>
                </c:pt>
                <c:pt idx="19155">
                  <c:v>-0.274274157992351</c:v>
                </c:pt>
                <c:pt idx="19156">
                  <c:v>-7.9294236232135107E-2</c:v>
                </c:pt>
                <c:pt idx="19157">
                  <c:v>-0.17470994262543199</c:v>
                </c:pt>
                <c:pt idx="19158">
                  <c:v>-7.5145727258513401E-2</c:v>
                </c:pt>
                <c:pt idx="19159">
                  <c:v>4.1012524002891897E-2</c:v>
                </c:pt>
                <c:pt idx="19160">
                  <c:v>7.4200595791864901E-2</c:v>
                </c:pt>
                <c:pt idx="19161">
                  <c:v>3.2715506055648699E-2</c:v>
                </c:pt>
                <c:pt idx="19162">
                  <c:v>0.202804373974135</c:v>
                </c:pt>
                <c:pt idx="19163">
                  <c:v>0.27747753549932402</c:v>
                </c:pt>
                <c:pt idx="19164">
                  <c:v>0.306517098314676</c:v>
                </c:pt>
                <c:pt idx="19165">
                  <c:v>0.33970517010364898</c:v>
                </c:pt>
                <c:pt idx="19166">
                  <c:v>0.37704175086624298</c:v>
                </c:pt>
                <c:pt idx="19167">
                  <c:v>0.48075447520678399</c:v>
                </c:pt>
                <c:pt idx="19168">
                  <c:v>0.49320000212764797</c:v>
                </c:pt>
                <c:pt idx="19169">
                  <c:v>0.54713061878472902</c:v>
                </c:pt>
                <c:pt idx="19170">
                  <c:v>0.49320000212764797</c:v>
                </c:pt>
                <c:pt idx="19171">
                  <c:v>0.57202167262645898</c:v>
                </c:pt>
                <c:pt idx="19172">
                  <c:v>0.55127912775835097</c:v>
                </c:pt>
                <c:pt idx="19173">
                  <c:v>0.62180378030991901</c:v>
                </c:pt>
                <c:pt idx="19174">
                  <c:v>0.57617018160008104</c:v>
                </c:pt>
                <c:pt idx="19175">
                  <c:v>0.51394254699575703</c:v>
                </c:pt>
                <c:pt idx="19176">
                  <c:v>0.69232843286148604</c:v>
                </c:pt>
                <c:pt idx="19177">
                  <c:v>0.57202167262645898</c:v>
                </c:pt>
                <c:pt idx="19178">
                  <c:v>0.54713061878472902</c:v>
                </c:pt>
                <c:pt idx="19179">
                  <c:v>0.54713061878472902</c:v>
                </c:pt>
                <c:pt idx="19180">
                  <c:v>0.54298210981110795</c:v>
                </c:pt>
                <c:pt idx="19181">
                  <c:v>0.464160439312297</c:v>
                </c:pt>
                <c:pt idx="19182">
                  <c:v>0.49734851110126999</c:v>
                </c:pt>
                <c:pt idx="19183">
                  <c:v>0.60520974441543196</c:v>
                </c:pt>
                <c:pt idx="19184">
                  <c:v>0.48075447520678399</c:v>
                </c:pt>
                <c:pt idx="19185">
                  <c:v>0.50149702007489205</c:v>
                </c:pt>
                <c:pt idx="19186">
                  <c:v>0.327259643182784</c:v>
                </c:pt>
                <c:pt idx="19187">
                  <c:v>0.132279721422568</c:v>
                </c:pt>
                <c:pt idx="19188">
                  <c:v>-1.7066601627810801E-2</c:v>
                </c:pt>
                <c:pt idx="19189">
                  <c:v>3.2715506055648699E-2</c:v>
                </c:pt>
                <c:pt idx="19190">
                  <c:v>7.4200595791864901E-2</c:v>
                </c:pt>
                <c:pt idx="19191">
                  <c:v>-4.6106164443162102E-2</c:v>
                </c:pt>
                <c:pt idx="19192">
                  <c:v>-5.0254673416783698E-2</c:v>
                </c:pt>
                <c:pt idx="19193">
                  <c:v>-0.20374950544078399</c:v>
                </c:pt>
                <c:pt idx="19194">
                  <c:v>-0.17470994262543199</c:v>
                </c:pt>
                <c:pt idx="19195">
                  <c:v>-0.31575924772856701</c:v>
                </c:pt>
                <c:pt idx="19196">
                  <c:v>-0.31161073875494599</c:v>
                </c:pt>
                <c:pt idx="19197">
                  <c:v>-0.41947197206910802</c:v>
                </c:pt>
                <c:pt idx="19198">
                  <c:v>-0.45680855283170202</c:v>
                </c:pt>
                <c:pt idx="19199">
                  <c:v>-0.55637276819862103</c:v>
                </c:pt>
                <c:pt idx="19200">
                  <c:v>-0.58956083998759401</c:v>
                </c:pt>
                <c:pt idx="19201">
                  <c:v>-0.64763996561829695</c:v>
                </c:pt>
                <c:pt idx="19202">
                  <c:v>-0.70571909124900001</c:v>
                </c:pt>
                <c:pt idx="19203">
                  <c:v>-0.73475865406435104</c:v>
                </c:pt>
                <c:pt idx="19204">
                  <c:v>-0.80943181558954003</c:v>
                </c:pt>
                <c:pt idx="19205">
                  <c:v>-0.78454076174780996</c:v>
                </c:pt>
                <c:pt idx="19206">
                  <c:v>-0.87165945019386404</c:v>
                </c:pt>
                <c:pt idx="19207">
                  <c:v>-0.85921392327299995</c:v>
                </c:pt>
                <c:pt idx="19208">
                  <c:v>-1.0500453360595901</c:v>
                </c:pt>
                <c:pt idx="19209">
                  <c:v>-0.87995646814110795</c:v>
                </c:pt>
                <c:pt idx="19210">
                  <c:v>-1.00856024632338</c:v>
                </c:pt>
                <c:pt idx="19211">
                  <c:v>-1.2782133296087801</c:v>
                </c:pt>
                <c:pt idx="19212">
                  <c:v>-0.99611471940251295</c:v>
                </c:pt>
                <c:pt idx="19213">
                  <c:v>-0.98781770145527004</c:v>
                </c:pt>
                <c:pt idx="19214">
                  <c:v>-1.0707878809277001</c:v>
                </c:pt>
                <c:pt idx="19215">
                  <c:v>-1.24087674884619</c:v>
                </c:pt>
                <c:pt idx="19216">
                  <c:v>-1.3155499103713799</c:v>
                </c:pt>
                <c:pt idx="19217">
                  <c:v>-1.22013420397808</c:v>
                </c:pt>
                <c:pt idx="19218">
                  <c:v>-1.24087674884619</c:v>
                </c:pt>
                <c:pt idx="19219">
                  <c:v>-1.35288649113397</c:v>
                </c:pt>
                <c:pt idx="19220">
                  <c:v>-1.28651034755603</c:v>
                </c:pt>
                <c:pt idx="19221">
                  <c:v>-1.2533222757670499</c:v>
                </c:pt>
                <c:pt idx="19222">
                  <c:v>-1.31140140139776</c:v>
                </c:pt>
                <c:pt idx="19223">
                  <c:v>-1.32799543729224</c:v>
                </c:pt>
                <c:pt idx="19224">
                  <c:v>-1.2242827129517</c:v>
                </c:pt>
                <c:pt idx="19225">
                  <c:v>-1.2574707847406801</c:v>
                </c:pt>
                <c:pt idx="19226">
                  <c:v>-1.2740648206351599</c:v>
                </c:pt>
                <c:pt idx="19227">
                  <c:v>-1.2782133296087801</c:v>
                </c:pt>
                <c:pt idx="19228">
                  <c:v>-1.20354016808359</c:v>
                </c:pt>
                <c:pt idx="19229">
                  <c:v>-1.3404409642131101</c:v>
                </c:pt>
                <c:pt idx="19230">
                  <c:v>-1.2325797308989499</c:v>
                </c:pt>
                <c:pt idx="19231">
                  <c:v>-1.29065885652965</c:v>
                </c:pt>
                <c:pt idx="19232">
                  <c:v>-1.1454610424528899</c:v>
                </c:pt>
                <c:pt idx="19233">
                  <c:v>-1.0915304257958101</c:v>
                </c:pt>
                <c:pt idx="19234">
                  <c:v>-1.1288670065584001</c:v>
                </c:pt>
                <c:pt idx="19235">
                  <c:v>-1.1081244616903001</c:v>
                </c:pt>
                <c:pt idx="19236">
                  <c:v>-1.07908489887495</c:v>
                </c:pt>
                <c:pt idx="19237">
                  <c:v>-1.0666393719540801</c:v>
                </c:pt>
                <c:pt idx="19238">
                  <c:v>-1.1910946411627299</c:v>
                </c:pt>
                <c:pt idx="19239">
                  <c:v>-0.32405626567581097</c:v>
                </c:pt>
                <c:pt idx="19240">
                  <c:v>0.123982703475324</c:v>
                </c:pt>
                <c:pt idx="19241">
                  <c:v>0.96198151614689098</c:v>
                </c:pt>
                <c:pt idx="19242">
                  <c:v>1.4017234673507799</c:v>
                </c:pt>
                <c:pt idx="19243">
                  <c:v>0.80848668412289104</c:v>
                </c:pt>
                <c:pt idx="19244">
                  <c:v>0.54298210981110795</c:v>
                </c:pt>
                <c:pt idx="19245">
                  <c:v>0.33140815215640501</c:v>
                </c:pt>
                <c:pt idx="19246">
                  <c:v>0.48905149315402702</c:v>
                </c:pt>
                <c:pt idx="19247">
                  <c:v>0.37704175086624298</c:v>
                </c:pt>
                <c:pt idx="19248">
                  <c:v>0.42682385854970301</c:v>
                </c:pt>
                <c:pt idx="19249">
                  <c:v>0.45171491239143202</c:v>
                </c:pt>
                <c:pt idx="19250">
                  <c:v>0.26088349960483798</c:v>
                </c:pt>
                <c:pt idx="19251">
                  <c:v>0.41022982265521601</c:v>
                </c:pt>
                <c:pt idx="19252">
                  <c:v>0.47245745725954003</c:v>
                </c:pt>
                <c:pt idx="19253">
                  <c:v>0.49734851110126999</c:v>
                </c:pt>
                <c:pt idx="19254">
                  <c:v>0.59276421749456698</c:v>
                </c:pt>
                <c:pt idx="19255">
                  <c:v>0.47245745725954003</c:v>
                </c:pt>
                <c:pt idx="19256">
                  <c:v>0.53883360083748599</c:v>
                </c:pt>
                <c:pt idx="19257">
                  <c:v>0.71307097772959405</c:v>
                </c:pt>
                <c:pt idx="19258">
                  <c:v>0.77944712130754001</c:v>
                </c:pt>
                <c:pt idx="19259">
                  <c:v>0.73796203157132401</c:v>
                </c:pt>
                <c:pt idx="19260">
                  <c:v>0.72551650465045903</c:v>
                </c:pt>
                <c:pt idx="19261">
                  <c:v>0.94538748025240504</c:v>
                </c:pt>
                <c:pt idx="19262">
                  <c:v>0.91634791743705402</c:v>
                </c:pt>
                <c:pt idx="19263">
                  <c:v>0.87071431872721605</c:v>
                </c:pt>
                <c:pt idx="19264">
                  <c:v>0.93294195333153995</c:v>
                </c:pt>
                <c:pt idx="19265">
                  <c:v>0.86656580975359399</c:v>
                </c:pt>
                <c:pt idx="19266">
                  <c:v>0.87901133667445897</c:v>
                </c:pt>
                <c:pt idx="19267">
                  <c:v>0.79189264822840499</c:v>
                </c:pt>
                <c:pt idx="19268">
                  <c:v>0.82922922899100004</c:v>
                </c:pt>
                <c:pt idx="19269">
                  <c:v>0.78774413925478304</c:v>
                </c:pt>
                <c:pt idx="19270">
                  <c:v>0.85826879180635096</c:v>
                </c:pt>
                <c:pt idx="19271">
                  <c:v>0.31896262523553998</c:v>
                </c:pt>
                <c:pt idx="19272">
                  <c:v>0.123982703475324</c:v>
                </c:pt>
                <c:pt idx="19273">
                  <c:v>-0.353095828491162</c:v>
                </c:pt>
                <c:pt idx="19274">
                  <c:v>-0.66838251048640496</c:v>
                </c:pt>
                <c:pt idx="19275">
                  <c:v>-0.66838251048640496</c:v>
                </c:pt>
                <c:pt idx="19276">
                  <c:v>-0.66838251048640496</c:v>
                </c:pt>
                <c:pt idx="19277">
                  <c:v>-0.66838251048640496</c:v>
                </c:pt>
                <c:pt idx="19278">
                  <c:v>-0.66838251048640496</c:v>
                </c:pt>
                <c:pt idx="19279">
                  <c:v>-0.66838251048640496</c:v>
                </c:pt>
                <c:pt idx="19280">
                  <c:v>-0.66838251048640496</c:v>
                </c:pt>
                <c:pt idx="19281">
                  <c:v>-0.66838251048640496</c:v>
                </c:pt>
                <c:pt idx="19282">
                  <c:v>-0.66838251048640496</c:v>
                </c:pt>
                <c:pt idx="19283">
                  <c:v>-0.66838251048640496</c:v>
                </c:pt>
                <c:pt idx="19284">
                  <c:v>-0.66838251048640496</c:v>
                </c:pt>
                <c:pt idx="19285">
                  <c:v>-0.66838251048640496</c:v>
                </c:pt>
                <c:pt idx="19286">
                  <c:v>-0.66838251048640496</c:v>
                </c:pt>
                <c:pt idx="19287">
                  <c:v>-0.66838251048640496</c:v>
                </c:pt>
                <c:pt idx="19288">
                  <c:v>-0.66838251048640496</c:v>
                </c:pt>
                <c:pt idx="19289">
                  <c:v>-0.66838251048640496</c:v>
                </c:pt>
                <c:pt idx="19290">
                  <c:v>-0.66838251048640496</c:v>
                </c:pt>
                <c:pt idx="19291">
                  <c:v>-0.66838251048640496</c:v>
                </c:pt>
                <c:pt idx="19292">
                  <c:v>-0.66838251048640496</c:v>
                </c:pt>
                <c:pt idx="19293">
                  <c:v>-0.66838251048640496</c:v>
                </c:pt>
                <c:pt idx="19294">
                  <c:v>-0.66838251048640496</c:v>
                </c:pt>
                <c:pt idx="19295">
                  <c:v>-0.66838251048640496</c:v>
                </c:pt>
                <c:pt idx="19296">
                  <c:v>-0.66838251048640496</c:v>
                </c:pt>
                <c:pt idx="19297">
                  <c:v>-0.66838251048640496</c:v>
                </c:pt>
                <c:pt idx="19298">
                  <c:v>-0.66838251048640496</c:v>
                </c:pt>
                <c:pt idx="19299">
                  <c:v>-0.66838251048640496</c:v>
                </c:pt>
                <c:pt idx="19300">
                  <c:v>-0.66838251048640496</c:v>
                </c:pt>
                <c:pt idx="19301">
                  <c:v>-0.66838251048640496</c:v>
                </c:pt>
                <c:pt idx="19302">
                  <c:v>-0.66838251048640496</c:v>
                </c:pt>
                <c:pt idx="19303">
                  <c:v>-0.66838251048640496</c:v>
                </c:pt>
                <c:pt idx="19304">
                  <c:v>-0.66838251048640496</c:v>
                </c:pt>
                <c:pt idx="19305">
                  <c:v>-0.66838251048640496</c:v>
                </c:pt>
                <c:pt idx="19306">
                  <c:v>-0.66838251048640496</c:v>
                </c:pt>
                <c:pt idx="19307">
                  <c:v>-0.66838251048640496</c:v>
                </c:pt>
                <c:pt idx="19308">
                  <c:v>-0.66838251048640496</c:v>
                </c:pt>
                <c:pt idx="19309">
                  <c:v>-0.66838251048640496</c:v>
                </c:pt>
                <c:pt idx="19310">
                  <c:v>-0.66838251048640496</c:v>
                </c:pt>
                <c:pt idx="19311">
                  <c:v>-0.66838251048640496</c:v>
                </c:pt>
                <c:pt idx="19312">
                  <c:v>-0.66838251048640496</c:v>
                </c:pt>
                <c:pt idx="19313">
                  <c:v>-0.66838251048640496</c:v>
                </c:pt>
                <c:pt idx="19314">
                  <c:v>-0.66838251048640496</c:v>
                </c:pt>
                <c:pt idx="19315">
                  <c:v>-0.66838251048640496</c:v>
                </c:pt>
                <c:pt idx="19316">
                  <c:v>-0.66838251048640496</c:v>
                </c:pt>
                <c:pt idx="19317">
                  <c:v>-0.66838251048640496</c:v>
                </c:pt>
                <c:pt idx="19318">
                  <c:v>-0.66838251048640496</c:v>
                </c:pt>
                <c:pt idx="19319">
                  <c:v>-0.66838251048640496</c:v>
                </c:pt>
                <c:pt idx="19320">
                  <c:v>-0.66838251048640496</c:v>
                </c:pt>
                <c:pt idx="19321">
                  <c:v>-0.66838251048640496</c:v>
                </c:pt>
                <c:pt idx="19322">
                  <c:v>-0.66838251048640496</c:v>
                </c:pt>
                <c:pt idx="19323">
                  <c:v>-0.14567037981008099</c:v>
                </c:pt>
                <c:pt idx="19324">
                  <c:v>0.92464493538429704</c:v>
                </c:pt>
                <c:pt idx="19325">
                  <c:v>0.33970517010364898</c:v>
                </c:pt>
                <c:pt idx="19326">
                  <c:v>-0.40702644514824299</c:v>
                </c:pt>
                <c:pt idx="19327">
                  <c:v>-0.45266004385808101</c:v>
                </c:pt>
                <c:pt idx="19328">
                  <c:v>-0.51903618743602697</c:v>
                </c:pt>
                <c:pt idx="19329">
                  <c:v>-0.27012564901872999</c:v>
                </c:pt>
                <c:pt idx="19330">
                  <c:v>-0.46510557077894599</c:v>
                </c:pt>
                <c:pt idx="19331">
                  <c:v>-0.13322485288921601</c:v>
                </c:pt>
                <c:pt idx="19332">
                  <c:v>-0.31161073875494599</c:v>
                </c:pt>
                <c:pt idx="19333">
                  <c:v>-0.100036781100243</c:v>
                </c:pt>
                <c:pt idx="19334">
                  <c:v>-0.16226441570456701</c:v>
                </c:pt>
                <c:pt idx="19335">
                  <c:v>-0.178858451599054</c:v>
                </c:pt>
                <c:pt idx="19336">
                  <c:v>-0.124927834941973</c:v>
                </c:pt>
                <c:pt idx="19337">
                  <c:v>-0.22034354133527001</c:v>
                </c:pt>
                <c:pt idx="19338">
                  <c:v>-0.178858451599054</c:v>
                </c:pt>
                <c:pt idx="19339">
                  <c:v>-2.95121285486756E-2</c:v>
                </c:pt>
                <c:pt idx="19340">
                  <c:v>-0.158115906730946</c:v>
                </c:pt>
                <c:pt idx="19341">
                  <c:v>-0.25768012209786501</c:v>
                </c:pt>
                <c:pt idx="19342">
                  <c:v>-0.34894731951753999</c:v>
                </c:pt>
                <c:pt idx="19343">
                  <c:v>-0.353095828491162</c:v>
                </c:pt>
                <c:pt idx="19344">
                  <c:v>-0.17470994262543199</c:v>
                </c:pt>
                <c:pt idx="19345">
                  <c:v>-0.34479881054391898</c:v>
                </c:pt>
                <c:pt idx="19346">
                  <c:v>-0.37383837335927</c:v>
                </c:pt>
                <c:pt idx="19347">
                  <c:v>-0.49829364256791903</c:v>
                </c:pt>
                <c:pt idx="19348">
                  <c:v>-0.46095706180532398</c:v>
                </c:pt>
                <c:pt idx="19349">
                  <c:v>-0.51488767846240502</c:v>
                </c:pt>
                <c:pt idx="19350">
                  <c:v>-0.44021451693721603</c:v>
                </c:pt>
                <c:pt idx="19351">
                  <c:v>-0.41532346309548601</c:v>
                </c:pt>
                <c:pt idx="19352">
                  <c:v>-0.53977873230413498</c:v>
                </c:pt>
                <c:pt idx="19353">
                  <c:v>-0.43606600796359402</c:v>
                </c:pt>
                <c:pt idx="19354">
                  <c:v>-0.45680855283170202</c:v>
                </c:pt>
                <c:pt idx="19355">
                  <c:v>-0.431917498989973</c:v>
                </c:pt>
                <c:pt idx="19356">
                  <c:v>-0.56881829511948601</c:v>
                </c:pt>
                <c:pt idx="19357">
                  <c:v>-0.56881829511948601</c:v>
                </c:pt>
                <c:pt idx="19358">
                  <c:v>-0.643491456644675</c:v>
                </c:pt>
                <c:pt idx="19359">
                  <c:v>-0.82187734251040501</c:v>
                </c:pt>
                <c:pt idx="19360">
                  <c:v>-0.73475865406435104</c:v>
                </c:pt>
                <c:pt idx="19361">
                  <c:v>-0.70986760022262096</c:v>
                </c:pt>
                <c:pt idx="19362">
                  <c:v>-0.74305567201159395</c:v>
                </c:pt>
                <c:pt idx="19363">
                  <c:v>-0.68082803740727005</c:v>
                </c:pt>
                <c:pt idx="19364">
                  <c:v>-0.60615487588208095</c:v>
                </c:pt>
                <c:pt idx="19365">
                  <c:v>-0.96707515658716203</c:v>
                </c:pt>
                <c:pt idx="19366">
                  <c:v>-0.76379821687970195</c:v>
                </c:pt>
                <c:pt idx="19367">
                  <c:v>-0.85921392327299995</c:v>
                </c:pt>
                <c:pt idx="19368">
                  <c:v>-0.76379821687970195</c:v>
                </c:pt>
                <c:pt idx="19369">
                  <c:v>-1.07908489887495</c:v>
                </c:pt>
                <c:pt idx="19370">
                  <c:v>-0.92973857582456698</c:v>
                </c:pt>
                <c:pt idx="19371">
                  <c:v>-1.05419384503322</c:v>
                </c:pt>
                <c:pt idx="19372">
                  <c:v>-0.88410497711472902</c:v>
                </c:pt>
                <c:pt idx="19373">
                  <c:v>-1.03759980913873</c:v>
                </c:pt>
                <c:pt idx="19374">
                  <c:v>-0.93803559377181001</c:v>
                </c:pt>
                <c:pt idx="19375">
                  <c:v>-1.07493638990132</c:v>
                </c:pt>
                <c:pt idx="19376">
                  <c:v>-1.05834235400684</c:v>
                </c:pt>
                <c:pt idx="19377">
                  <c:v>-0.95462962966629705</c:v>
                </c:pt>
                <c:pt idx="19378">
                  <c:v>-1.16205507834738</c:v>
                </c:pt>
                <c:pt idx="19379">
                  <c:v>-0.98781770145527004</c:v>
                </c:pt>
                <c:pt idx="19380">
                  <c:v>-1.1703520962946199</c:v>
                </c:pt>
                <c:pt idx="19381">
                  <c:v>-1.03345130016511</c:v>
                </c:pt>
                <c:pt idx="19382">
                  <c:v>-1.1122729706639201</c:v>
                </c:pt>
                <c:pt idx="19383">
                  <c:v>-1.1454610424528899</c:v>
                </c:pt>
                <c:pt idx="19384">
                  <c:v>-1.2118371860308399</c:v>
                </c:pt>
                <c:pt idx="19385">
                  <c:v>-1.3819260539493201</c:v>
                </c:pt>
                <c:pt idx="19386">
                  <c:v>-1.2367282398725701</c:v>
                </c:pt>
                <c:pt idx="19387">
                  <c:v>-1.2367282398725701</c:v>
                </c:pt>
                <c:pt idx="19388">
                  <c:v>-1.2533222757670499</c:v>
                </c:pt>
                <c:pt idx="19389">
                  <c:v>-1.2989558744768901</c:v>
                </c:pt>
                <c:pt idx="19390">
                  <c:v>-1.3777775449756999</c:v>
                </c:pt>
                <c:pt idx="19391">
                  <c:v>-1.3196984193450001</c:v>
                </c:pt>
                <c:pt idx="19392">
                  <c:v>-1.32799543729224</c:v>
                </c:pt>
                <c:pt idx="19393">
                  <c:v>-1.2325797308989499</c:v>
                </c:pt>
                <c:pt idx="19394">
                  <c:v>-1.31140140139776</c:v>
                </c:pt>
                <c:pt idx="19395">
                  <c:v>-1.2242827129517</c:v>
                </c:pt>
                <c:pt idx="19396">
                  <c:v>-1.2948073655032699</c:v>
                </c:pt>
                <c:pt idx="19397">
                  <c:v>-1.36948052702846</c:v>
                </c:pt>
                <c:pt idx="19398">
                  <c:v>-1.2948073655032699</c:v>
                </c:pt>
                <c:pt idx="19399">
                  <c:v>-1.4234111436855399</c:v>
                </c:pt>
                <c:pt idx="19400">
                  <c:v>0.82922922899100004</c:v>
                </c:pt>
                <c:pt idx="19401">
                  <c:v>1.1320703840653801</c:v>
                </c:pt>
                <c:pt idx="19402">
                  <c:v>-0.61445189382932397</c:v>
                </c:pt>
                <c:pt idx="19403">
                  <c:v>-0.34065030157029702</c:v>
                </c:pt>
                <c:pt idx="19404">
                  <c:v>-0.30746222978132398</c:v>
                </c:pt>
                <c:pt idx="19405">
                  <c:v>0.27747753549932402</c:v>
                </c:pt>
                <c:pt idx="19406">
                  <c:v>-0.35724433746478401</c:v>
                </c:pt>
                <c:pt idx="19407">
                  <c:v>-0.236937577229757</c:v>
                </c:pt>
                <c:pt idx="19408">
                  <c:v>-0.28671968491321598</c:v>
                </c:pt>
                <c:pt idx="19409">
                  <c:v>-0.32405626567581097</c:v>
                </c:pt>
                <c:pt idx="19410">
                  <c:v>-0.41532346309548601</c:v>
                </c:pt>
                <c:pt idx="19411">
                  <c:v>-0.22449205030889199</c:v>
                </c:pt>
                <c:pt idx="19412">
                  <c:v>-0.448511534884459</c:v>
                </c:pt>
                <c:pt idx="19413">
                  <c:v>-0.37798688233289202</c:v>
                </c:pt>
                <c:pt idx="19414">
                  <c:v>-0.332353283623054</c:v>
                </c:pt>
                <c:pt idx="19415">
                  <c:v>-0.30331372080770302</c:v>
                </c:pt>
                <c:pt idx="19416">
                  <c:v>-0.295016702860459</c:v>
                </c:pt>
                <c:pt idx="19417">
                  <c:v>-0.32405626567581097</c:v>
                </c:pt>
                <c:pt idx="19418">
                  <c:v>-0.431917498989973</c:v>
                </c:pt>
                <c:pt idx="19419">
                  <c:v>-0.13737336186283799</c:v>
                </c:pt>
                <c:pt idx="19420">
                  <c:v>-0.158115906730946</c:v>
                </c:pt>
                <c:pt idx="19421">
                  <c:v>-6.2700200337648601E-2</c:v>
                </c:pt>
                <c:pt idx="19422">
                  <c:v>-0.16226441570456701</c:v>
                </c:pt>
                <c:pt idx="19423">
                  <c:v>-6.6848709311270196E-2</c:v>
                </c:pt>
                <c:pt idx="19424">
                  <c:v>-0.17056143365181101</c:v>
                </c:pt>
                <c:pt idx="19425">
                  <c:v>-0.22034354133527001</c:v>
                </c:pt>
                <c:pt idx="19426">
                  <c:v>-8.3442745205756702E-2</c:v>
                </c:pt>
                <c:pt idx="19427">
                  <c:v>-0.19130397851991901</c:v>
                </c:pt>
                <c:pt idx="19428">
                  <c:v>-8.7695836805675303E-3</c:v>
                </c:pt>
                <c:pt idx="19429">
                  <c:v>-0.236937577229757</c:v>
                </c:pt>
                <c:pt idx="19430">
                  <c:v>-0.24108608620337801</c:v>
                </c:pt>
                <c:pt idx="19431">
                  <c:v>-0.158115906730946</c:v>
                </c:pt>
                <c:pt idx="19432">
                  <c:v>-0.35724433746478401</c:v>
                </c:pt>
                <c:pt idx="19433">
                  <c:v>-0.36968986438564799</c:v>
                </c:pt>
                <c:pt idx="19434">
                  <c:v>-0.22034354133527001</c:v>
                </c:pt>
                <c:pt idx="19435">
                  <c:v>-0.55222425922499996</c:v>
                </c:pt>
                <c:pt idx="19436">
                  <c:v>-0.34894731951753999</c:v>
                </c:pt>
                <c:pt idx="19437">
                  <c:v>-0.411174954121865</c:v>
                </c:pt>
                <c:pt idx="19438">
                  <c:v>-0.36554135541202698</c:v>
                </c:pt>
                <c:pt idx="19439">
                  <c:v>-0.44436302591083798</c:v>
                </c:pt>
                <c:pt idx="19440">
                  <c:v>-0.332353283623054</c:v>
                </c:pt>
                <c:pt idx="19441">
                  <c:v>-0.69742207330175598</c:v>
                </c:pt>
                <c:pt idx="19442">
                  <c:v>-0.448511534884459</c:v>
                </c:pt>
                <c:pt idx="19443">
                  <c:v>-0.41947197206910802</c:v>
                </c:pt>
                <c:pt idx="19444">
                  <c:v>-0.39872942720100002</c:v>
                </c:pt>
                <c:pt idx="19445">
                  <c:v>-0.67253101946002702</c:v>
                </c:pt>
                <c:pt idx="19446">
                  <c:v>-0.57296680409310796</c:v>
                </c:pt>
                <c:pt idx="19447">
                  <c:v>-0.70157058227537805</c:v>
                </c:pt>
                <c:pt idx="19448">
                  <c:v>-0.73890716303797299</c:v>
                </c:pt>
                <c:pt idx="19449">
                  <c:v>-0.99196621042889099</c:v>
                </c:pt>
                <c:pt idx="19450">
                  <c:v>-0.70986760022262096</c:v>
                </c:pt>
                <c:pt idx="19451">
                  <c:v>-0.97122366556078299</c:v>
                </c:pt>
                <c:pt idx="19452">
                  <c:v>-0.68912505535451296</c:v>
                </c:pt>
                <c:pt idx="19453">
                  <c:v>-1.0500453360595901</c:v>
                </c:pt>
                <c:pt idx="19454">
                  <c:v>-0.85921392327299995</c:v>
                </c:pt>
                <c:pt idx="19455">
                  <c:v>-1.1247184975847799</c:v>
                </c:pt>
                <c:pt idx="19456">
                  <c:v>-0.92973857582456698</c:v>
                </c:pt>
                <c:pt idx="19457">
                  <c:v>-0.77624374380056704</c:v>
                </c:pt>
                <c:pt idx="19458">
                  <c:v>-0.83017436045764803</c:v>
                </c:pt>
                <c:pt idx="19459">
                  <c:v>-0.85506541429937799</c:v>
                </c:pt>
                <c:pt idx="19460">
                  <c:v>-1.0210057732442399</c:v>
                </c:pt>
                <c:pt idx="19461">
                  <c:v>-1.0873819168221901</c:v>
                </c:pt>
                <c:pt idx="19462">
                  <c:v>-1.1910946411627299</c:v>
                </c:pt>
                <c:pt idx="19463">
                  <c:v>-1.13716402450565</c:v>
                </c:pt>
                <c:pt idx="19464">
                  <c:v>-1.37362903600208</c:v>
                </c:pt>
                <c:pt idx="19465">
                  <c:v>-1.30725289242413</c:v>
                </c:pt>
                <c:pt idx="19466">
                  <c:v>-1.427559652659159</c:v>
                </c:pt>
                <c:pt idx="19467">
                  <c:v>-1.3238469283186201</c:v>
                </c:pt>
                <c:pt idx="19468">
                  <c:v>-1.4151141257383</c:v>
                </c:pt>
                <c:pt idx="19469">
                  <c:v>-1.3819260539493201</c:v>
                </c:pt>
                <c:pt idx="19470">
                  <c:v>-1.33214394626586</c:v>
                </c:pt>
                <c:pt idx="19471">
                  <c:v>-1.4483021975272701</c:v>
                </c:pt>
                <c:pt idx="19472">
                  <c:v>-1.32799543729224</c:v>
                </c:pt>
                <c:pt idx="19473">
                  <c:v>1.0408031866456999</c:v>
                </c:pt>
                <c:pt idx="19474">
                  <c:v>1.2108920545641899</c:v>
                </c:pt>
                <c:pt idx="19475">
                  <c:v>0.92049642641067497</c:v>
                </c:pt>
                <c:pt idx="19476">
                  <c:v>0.63424930723078399</c:v>
                </c:pt>
                <c:pt idx="19477">
                  <c:v>0.54298210981110795</c:v>
                </c:pt>
                <c:pt idx="19478">
                  <c:v>0.47245745725954003</c:v>
                </c:pt>
                <c:pt idx="19479">
                  <c:v>0.34385367907726999</c:v>
                </c:pt>
                <c:pt idx="19480">
                  <c:v>0.80018966617564802</c:v>
                </c:pt>
                <c:pt idx="19481">
                  <c:v>0.77944712130754001</c:v>
                </c:pt>
                <c:pt idx="19482">
                  <c:v>0.94123897127878298</c:v>
                </c:pt>
                <c:pt idx="19483">
                  <c:v>0.84997177385910805</c:v>
                </c:pt>
                <c:pt idx="19484">
                  <c:v>0.85826879180635096</c:v>
                </c:pt>
                <c:pt idx="19485">
                  <c:v>0.87071431872721605</c:v>
                </c:pt>
                <c:pt idx="19486">
                  <c:v>0.80018966617564802</c:v>
                </c:pt>
                <c:pt idx="19487">
                  <c:v>0.86241730077997303</c:v>
                </c:pt>
                <c:pt idx="19488">
                  <c:v>0.81678370207013495</c:v>
                </c:pt>
                <c:pt idx="19489">
                  <c:v>0.949535989226027</c:v>
                </c:pt>
                <c:pt idx="19490">
                  <c:v>0.94123897127878298</c:v>
                </c:pt>
                <c:pt idx="19491">
                  <c:v>1.05739722254019</c:v>
                </c:pt>
                <c:pt idx="19492">
                  <c:v>1.0242091507512201</c:v>
                </c:pt>
                <c:pt idx="19493">
                  <c:v>0.87486282770083701</c:v>
                </c:pt>
                <c:pt idx="19494">
                  <c:v>0.99516958793586396</c:v>
                </c:pt>
                <c:pt idx="19495">
                  <c:v>0.93294195333153995</c:v>
                </c:pt>
                <c:pt idx="19496">
                  <c:v>1.03665467767208</c:v>
                </c:pt>
                <c:pt idx="19497">
                  <c:v>0.96613002512051305</c:v>
                </c:pt>
                <c:pt idx="19498">
                  <c:v>0.95783300717327002</c:v>
                </c:pt>
                <c:pt idx="19499">
                  <c:v>1.0408031866456999</c:v>
                </c:pt>
                <c:pt idx="19500">
                  <c:v>0.949535989226027</c:v>
                </c:pt>
                <c:pt idx="19501">
                  <c:v>1.0449516956193201</c:v>
                </c:pt>
                <c:pt idx="19502">
                  <c:v>0.89145686359532395</c:v>
                </c:pt>
                <c:pt idx="19503">
                  <c:v>1.0034666058831101</c:v>
                </c:pt>
                <c:pt idx="19504">
                  <c:v>0.94538748025240504</c:v>
                </c:pt>
                <c:pt idx="19505">
                  <c:v>0.949535989226027</c:v>
                </c:pt>
                <c:pt idx="19506">
                  <c:v>0.68817992388786497</c:v>
                </c:pt>
                <c:pt idx="19507">
                  <c:v>0.580318690573702</c:v>
                </c:pt>
                <c:pt idx="19508">
                  <c:v>0.464160439312297</c:v>
                </c:pt>
                <c:pt idx="19509">
                  <c:v>0.27332902652570301</c:v>
                </c:pt>
                <c:pt idx="19510">
                  <c:v>0.348002188050892</c:v>
                </c:pt>
                <c:pt idx="19511">
                  <c:v>0.41022982265521601</c:v>
                </c:pt>
                <c:pt idx="19512">
                  <c:v>0.25258648165759501</c:v>
                </c:pt>
                <c:pt idx="19513">
                  <c:v>0.33970517010364898</c:v>
                </c:pt>
                <c:pt idx="19514">
                  <c:v>-5.8551691364026999E-2</c:v>
                </c:pt>
                <c:pt idx="19515">
                  <c:v>-0.14567037981008099</c:v>
                </c:pt>
                <c:pt idx="19516">
                  <c:v>-0.15396739775732399</c:v>
                </c:pt>
                <c:pt idx="19517">
                  <c:v>-0.207898014414405</c:v>
                </c:pt>
                <c:pt idx="19518">
                  <c:v>-0.22034354133527001</c:v>
                </c:pt>
                <c:pt idx="19519">
                  <c:v>-0.245234595177</c:v>
                </c:pt>
                <c:pt idx="19520">
                  <c:v>-0.36968986438564799</c:v>
                </c:pt>
                <c:pt idx="19521">
                  <c:v>-0.52733320538327</c:v>
                </c:pt>
                <c:pt idx="19522">
                  <c:v>-0.35724433746478401</c:v>
                </c:pt>
                <c:pt idx="19523">
                  <c:v>-0.63934294767105404</c:v>
                </c:pt>
                <c:pt idx="19524">
                  <c:v>-0.52733320538327</c:v>
                </c:pt>
                <c:pt idx="19525">
                  <c:v>-0.61445189382932397</c:v>
                </c:pt>
                <c:pt idx="19526">
                  <c:v>-0.55637276819862103</c:v>
                </c:pt>
                <c:pt idx="19527">
                  <c:v>-0.78454076174780996</c:v>
                </c:pt>
                <c:pt idx="19528">
                  <c:v>-0.896550504035594</c:v>
                </c:pt>
                <c:pt idx="19529">
                  <c:v>-0.97537217453440495</c:v>
                </c:pt>
                <c:pt idx="19530">
                  <c:v>-0.84676839635213497</c:v>
                </c:pt>
                <c:pt idx="19531">
                  <c:v>-0.92144155787732396</c:v>
                </c:pt>
                <c:pt idx="19532">
                  <c:v>-0.97952068350802701</c:v>
                </c:pt>
                <c:pt idx="19533">
                  <c:v>-0.917293048903702</c:v>
                </c:pt>
                <c:pt idx="19534">
                  <c:v>-0.95462962966629705</c:v>
                </c:pt>
                <c:pt idx="19535">
                  <c:v>-0.85506541429937799</c:v>
                </c:pt>
                <c:pt idx="19536">
                  <c:v>-0.78868927072143202</c:v>
                </c:pt>
                <c:pt idx="19537">
                  <c:v>-0.75550119893245904</c:v>
                </c:pt>
                <c:pt idx="19538">
                  <c:v>-0.86336243224662101</c:v>
                </c:pt>
                <c:pt idx="19539">
                  <c:v>-0.896550504035594</c:v>
                </c:pt>
                <c:pt idx="19540">
                  <c:v>-1.0915304257958101</c:v>
                </c:pt>
                <c:pt idx="19541">
                  <c:v>-1.1537580604001301</c:v>
                </c:pt>
                <c:pt idx="19542">
                  <c:v>-1.30725289242413</c:v>
                </c:pt>
                <c:pt idx="19543">
                  <c:v>-1.1537580604001301</c:v>
                </c:pt>
                <c:pt idx="19544">
                  <c:v>-1.3196984193450001</c:v>
                </c:pt>
                <c:pt idx="19545">
                  <c:v>-1.1039759527166799</c:v>
                </c:pt>
                <c:pt idx="19546">
                  <c:v>-1.02930279119149</c:v>
                </c:pt>
                <c:pt idx="19547">
                  <c:v>-0.79283777969505398</c:v>
                </c:pt>
                <c:pt idx="19548">
                  <c:v>-0.99611471940251295</c:v>
                </c:pt>
                <c:pt idx="19549">
                  <c:v>-1.0832334078485699</c:v>
                </c:pt>
                <c:pt idx="19550">
                  <c:v>-1.29065885652965</c:v>
                </c:pt>
                <c:pt idx="19551">
                  <c:v>-1.3196984193450001</c:v>
                </c:pt>
                <c:pt idx="19552">
                  <c:v>-1.28651034755603</c:v>
                </c:pt>
                <c:pt idx="19553">
                  <c:v>-1.1910946411627299</c:v>
                </c:pt>
                <c:pt idx="19554">
                  <c:v>-1.33214394626586</c:v>
                </c:pt>
                <c:pt idx="19555">
                  <c:v>-1.0624908629804599</c:v>
                </c:pt>
                <c:pt idx="19556">
                  <c:v>-1.0707878809277001</c:v>
                </c:pt>
                <c:pt idx="19557">
                  <c:v>-1.012708755297</c:v>
                </c:pt>
                <c:pt idx="19558">
                  <c:v>-1.0832334078485699</c:v>
                </c:pt>
                <c:pt idx="19559">
                  <c:v>-1.1081244616903001</c:v>
                </c:pt>
                <c:pt idx="19560">
                  <c:v>-1.2118371860308399</c:v>
                </c:pt>
                <c:pt idx="19561">
                  <c:v>-1.15790656937376</c:v>
                </c:pt>
                <c:pt idx="19562">
                  <c:v>-1.1496095514265099</c:v>
                </c:pt>
                <c:pt idx="19563">
                  <c:v>-1.11642147963754</c:v>
                </c:pt>
                <c:pt idx="19564">
                  <c:v>-1.09982744374305</c:v>
                </c:pt>
                <c:pt idx="19565">
                  <c:v>-1.1952431501363501</c:v>
                </c:pt>
                <c:pt idx="19566">
                  <c:v>-1.11642147963754</c:v>
                </c:pt>
                <c:pt idx="19567">
                  <c:v>-1.14131253347927</c:v>
                </c:pt>
                <c:pt idx="19568">
                  <c:v>-1.03759980913873</c:v>
                </c:pt>
                <c:pt idx="19569">
                  <c:v>0.90805089948980999</c:v>
                </c:pt>
                <c:pt idx="19570">
                  <c:v>0.812635193096513</c:v>
                </c:pt>
                <c:pt idx="19571">
                  <c:v>-0.216195032361649</c:v>
                </c:pt>
                <c:pt idx="19572">
                  <c:v>-0.187155469546297</c:v>
                </c:pt>
                <c:pt idx="19573">
                  <c:v>-7.0997218284891805E-2</c:v>
                </c:pt>
                <c:pt idx="19574">
                  <c:v>0.173764811158784</c:v>
                </c:pt>
                <c:pt idx="19575">
                  <c:v>0.11153717655445899</c:v>
                </c:pt>
                <c:pt idx="19576">
                  <c:v>0.22354691884224301</c:v>
                </c:pt>
                <c:pt idx="19577">
                  <c:v>0.22769542781586499</c:v>
                </c:pt>
                <c:pt idx="19578">
                  <c:v>0.289923062420189</c:v>
                </c:pt>
                <c:pt idx="19579">
                  <c:v>0.49320000212764797</c:v>
                </c:pt>
                <c:pt idx="19580">
                  <c:v>0.54713061878472902</c:v>
                </c:pt>
                <c:pt idx="19581">
                  <c:v>0.70892246875597298</c:v>
                </c:pt>
                <c:pt idx="19582">
                  <c:v>0.77529861233391895</c:v>
                </c:pt>
                <c:pt idx="19583">
                  <c:v>0.76700159438667503</c:v>
                </c:pt>
                <c:pt idx="19584">
                  <c:v>0.91219940846343195</c:v>
                </c:pt>
                <c:pt idx="19585">
                  <c:v>0.78359563028116197</c:v>
                </c:pt>
                <c:pt idx="19586">
                  <c:v>0.75455606746581105</c:v>
                </c:pt>
                <c:pt idx="19587">
                  <c:v>0.80433817514926997</c:v>
                </c:pt>
                <c:pt idx="19588">
                  <c:v>0.78774413925478304</c:v>
                </c:pt>
                <c:pt idx="19589">
                  <c:v>0.80018966617564802</c:v>
                </c:pt>
                <c:pt idx="19590">
                  <c:v>0.70477395978235102</c:v>
                </c:pt>
                <c:pt idx="19591">
                  <c:v>0.80018966617564802</c:v>
                </c:pt>
                <c:pt idx="19592">
                  <c:v>0.89145686359532395</c:v>
                </c:pt>
                <c:pt idx="19593">
                  <c:v>0.928793444357919</c:v>
                </c:pt>
                <c:pt idx="19594">
                  <c:v>0.77115010336029699</c:v>
                </c:pt>
                <c:pt idx="19595">
                  <c:v>0.70892246875597298</c:v>
                </c:pt>
                <c:pt idx="19596">
                  <c:v>0.86656580975359399</c:v>
                </c:pt>
                <c:pt idx="19597">
                  <c:v>0.717219486703216</c:v>
                </c:pt>
                <c:pt idx="19598">
                  <c:v>0.75455606746581105</c:v>
                </c:pt>
                <c:pt idx="19599">
                  <c:v>0.57202167262645898</c:v>
                </c:pt>
                <c:pt idx="19600">
                  <c:v>0.66743737901975697</c:v>
                </c:pt>
                <c:pt idx="19601">
                  <c:v>0.54713061878472902</c:v>
                </c:pt>
                <c:pt idx="19602">
                  <c:v>0.37704175086624298</c:v>
                </c:pt>
                <c:pt idx="19603">
                  <c:v>0.42267534957608099</c:v>
                </c:pt>
                <c:pt idx="19604">
                  <c:v>2.0269979134783799E-2</c:v>
                </c:pt>
                <c:pt idx="19605">
                  <c:v>0.211101391921378</c:v>
                </c:pt>
                <c:pt idx="19606">
                  <c:v>-9.5888272126621502E-2</c:v>
                </c:pt>
                <c:pt idx="19607">
                  <c:v>5.7606559897378402E-2</c:v>
                </c:pt>
                <c:pt idx="19608">
                  <c:v>2.0269979134783799E-2</c:v>
                </c:pt>
                <c:pt idx="19609">
                  <c:v>-8.3442745205756702E-2</c:v>
                </c:pt>
                <c:pt idx="19610">
                  <c:v>-0.274274157992351</c:v>
                </c:pt>
                <c:pt idx="19611">
                  <c:v>-0.236937577229757</c:v>
                </c:pt>
                <c:pt idx="19612">
                  <c:v>-0.42776899001635099</c:v>
                </c:pt>
                <c:pt idx="19613">
                  <c:v>-0.17470994262543199</c:v>
                </c:pt>
                <c:pt idx="19614">
                  <c:v>-0.52318469640964804</c:v>
                </c:pt>
                <c:pt idx="19615">
                  <c:v>-0.44436302591083798</c:v>
                </c:pt>
                <c:pt idx="19616">
                  <c:v>-0.62689742075018895</c:v>
                </c:pt>
                <c:pt idx="19617">
                  <c:v>-0.69742207330175598</c:v>
                </c:pt>
                <c:pt idx="19618">
                  <c:v>-0.68912505535451296</c:v>
                </c:pt>
                <c:pt idx="19619">
                  <c:v>-0.77209523482694598</c:v>
                </c:pt>
                <c:pt idx="19620">
                  <c:v>-0.57711531306672903</c:v>
                </c:pt>
                <c:pt idx="19621">
                  <c:v>-0.86336243224662101</c:v>
                </c:pt>
                <c:pt idx="19622">
                  <c:v>-0.65593698356553998</c:v>
                </c:pt>
                <c:pt idx="19623">
                  <c:v>-0.79283777969505398</c:v>
                </c:pt>
                <c:pt idx="19624">
                  <c:v>-1.0002632283761299</c:v>
                </c:pt>
                <c:pt idx="19625">
                  <c:v>-0.95462962966629705</c:v>
                </c:pt>
                <c:pt idx="19626">
                  <c:v>-0.97952068350802701</c:v>
                </c:pt>
                <c:pt idx="19627">
                  <c:v>-0.77209523482694598</c:v>
                </c:pt>
                <c:pt idx="19628">
                  <c:v>-1.0458968270859701</c:v>
                </c:pt>
                <c:pt idx="19629">
                  <c:v>-0.78454076174780996</c:v>
                </c:pt>
                <c:pt idx="19630">
                  <c:v>-0.87165945019386404</c:v>
                </c:pt>
                <c:pt idx="19631">
                  <c:v>-0.95462962966629705</c:v>
                </c:pt>
                <c:pt idx="19632">
                  <c:v>-0.74305567201159395</c:v>
                </c:pt>
                <c:pt idx="19633">
                  <c:v>-0.72646163611710801</c:v>
                </c:pt>
                <c:pt idx="19634">
                  <c:v>-0.90484752198283702</c:v>
                </c:pt>
                <c:pt idx="19635">
                  <c:v>-0.62689742075018895</c:v>
                </c:pt>
                <c:pt idx="19636">
                  <c:v>-1.16205507834738</c:v>
                </c:pt>
                <c:pt idx="19637">
                  <c:v>-1.09567893476943</c:v>
                </c:pt>
                <c:pt idx="19638">
                  <c:v>-1.22013420397808</c:v>
                </c:pt>
                <c:pt idx="19639">
                  <c:v>-1.32799543729224</c:v>
                </c:pt>
                <c:pt idx="19640">
                  <c:v>-1.1952431501363501</c:v>
                </c:pt>
                <c:pt idx="19641">
                  <c:v>-1.11642147963754</c:v>
                </c:pt>
                <c:pt idx="19642">
                  <c:v>-1.03759980913873</c:v>
                </c:pt>
                <c:pt idx="19643">
                  <c:v>-0.80943181558954003</c:v>
                </c:pt>
                <c:pt idx="19644">
                  <c:v>-1.0500453360595901</c:v>
                </c:pt>
                <c:pt idx="19645">
                  <c:v>-1.09982744374305</c:v>
                </c:pt>
                <c:pt idx="19646">
                  <c:v>-1.11642147963754</c:v>
                </c:pt>
                <c:pt idx="19647">
                  <c:v>-1.03345130016511</c:v>
                </c:pt>
                <c:pt idx="19648">
                  <c:v>-1.0417483181123499</c:v>
                </c:pt>
                <c:pt idx="19649">
                  <c:v>-1.05419384503322</c:v>
                </c:pt>
                <c:pt idx="19650">
                  <c:v>-1.0417483181123499</c:v>
                </c:pt>
                <c:pt idx="19651">
                  <c:v>-0.896550504035594</c:v>
                </c:pt>
                <c:pt idx="19652">
                  <c:v>-0.86751094122024297</c:v>
                </c:pt>
                <c:pt idx="19653">
                  <c:v>-0.83432286943126999</c:v>
                </c:pt>
                <c:pt idx="19654">
                  <c:v>-0.92559006685094503</c:v>
                </c:pt>
                <c:pt idx="19655">
                  <c:v>-0.80528330661591896</c:v>
                </c:pt>
                <c:pt idx="19656">
                  <c:v>-0.94633261171905403</c:v>
                </c:pt>
                <c:pt idx="19657">
                  <c:v>-0.97122366556078299</c:v>
                </c:pt>
                <c:pt idx="19658">
                  <c:v>-1.15790656937376</c:v>
                </c:pt>
                <c:pt idx="19659">
                  <c:v>-1.13716402450565</c:v>
                </c:pt>
                <c:pt idx="19660">
                  <c:v>-1.09567893476943</c:v>
                </c:pt>
                <c:pt idx="19661">
                  <c:v>-1.0873819168221901</c:v>
                </c:pt>
                <c:pt idx="19662">
                  <c:v>-1.1288670065584001</c:v>
                </c:pt>
                <c:pt idx="19663">
                  <c:v>0.348002188050892</c:v>
                </c:pt>
                <c:pt idx="19664">
                  <c:v>0.107388667580838</c:v>
                </c:pt>
                <c:pt idx="19665">
                  <c:v>2.0269979134783799E-2</c:v>
                </c:pt>
                <c:pt idx="19666">
                  <c:v>-0.36139284643840502</c:v>
                </c:pt>
                <c:pt idx="19667">
                  <c:v>-0.50659066051516199</c:v>
                </c:pt>
                <c:pt idx="19668">
                  <c:v>-0.29916521183408101</c:v>
                </c:pt>
                <c:pt idx="19669">
                  <c:v>-0.100036781100243</c:v>
                </c:pt>
                <c:pt idx="19670">
                  <c:v>0.19450735602689201</c:v>
                </c:pt>
                <c:pt idx="19671">
                  <c:v>0.103240158607216</c:v>
                </c:pt>
                <c:pt idx="19672">
                  <c:v>3.2715506055648699E-2</c:v>
                </c:pt>
                <c:pt idx="19673">
                  <c:v>0.173764811158784</c:v>
                </c:pt>
                <c:pt idx="19674">
                  <c:v>0.33140815215640501</c:v>
                </c:pt>
                <c:pt idx="19675">
                  <c:v>0.289923062420189</c:v>
                </c:pt>
                <c:pt idx="19676">
                  <c:v>0.24014095473673</c:v>
                </c:pt>
                <c:pt idx="19677">
                  <c:v>0.39778429573435098</c:v>
                </c:pt>
                <c:pt idx="19678">
                  <c:v>0.62180378030991901</c:v>
                </c:pt>
                <c:pt idx="19679">
                  <c:v>0.64254632517802701</c:v>
                </c:pt>
                <c:pt idx="19680">
                  <c:v>0.74211054054494596</c:v>
                </c:pt>
                <c:pt idx="19681">
                  <c:v>0.62595228928353996</c:v>
                </c:pt>
                <c:pt idx="19682">
                  <c:v>0.76700159438667503</c:v>
                </c:pt>
                <c:pt idx="19683">
                  <c:v>0.78359563028116197</c:v>
                </c:pt>
                <c:pt idx="19684">
                  <c:v>0.60520974441543196</c:v>
                </c:pt>
                <c:pt idx="19685">
                  <c:v>0.76700159438667503</c:v>
                </c:pt>
                <c:pt idx="19686">
                  <c:v>0.64669483415164797</c:v>
                </c:pt>
                <c:pt idx="19687">
                  <c:v>0.76285308541305397</c:v>
                </c:pt>
                <c:pt idx="19688">
                  <c:v>0.81678370207013495</c:v>
                </c:pt>
                <c:pt idx="19689">
                  <c:v>0.80433817514926997</c:v>
                </c:pt>
                <c:pt idx="19690">
                  <c:v>0.92464493538429704</c:v>
                </c:pt>
                <c:pt idx="19691">
                  <c:v>0.68403141491424302</c:v>
                </c:pt>
                <c:pt idx="19692">
                  <c:v>0.85412028283272901</c:v>
                </c:pt>
                <c:pt idx="19693">
                  <c:v>0.73796203157132401</c:v>
                </c:pt>
                <c:pt idx="19694">
                  <c:v>0.73381352259770205</c:v>
                </c:pt>
                <c:pt idx="19695">
                  <c:v>0.77529861233391895</c:v>
                </c:pt>
                <c:pt idx="19696">
                  <c:v>0.675734396967</c:v>
                </c:pt>
                <c:pt idx="19697">
                  <c:v>0.73381352259770205</c:v>
                </c:pt>
                <c:pt idx="19698">
                  <c:v>0.64669483415164797</c:v>
                </c:pt>
                <c:pt idx="19699">
                  <c:v>0.66328887004613502</c:v>
                </c:pt>
                <c:pt idx="19700">
                  <c:v>0.46830894828591901</c:v>
                </c:pt>
                <c:pt idx="19701">
                  <c:v>0.38119025983986499</c:v>
                </c:pt>
                <c:pt idx="19702">
                  <c:v>0.40193280470797299</c:v>
                </c:pt>
                <c:pt idx="19703">
                  <c:v>0.61765527133629705</c:v>
                </c:pt>
                <c:pt idx="19704">
                  <c:v>0.33970517010364898</c:v>
                </c:pt>
                <c:pt idx="19705">
                  <c:v>0.54298210981110795</c:v>
                </c:pt>
                <c:pt idx="19706">
                  <c:v>4.9309541950135198E-2</c:v>
                </c:pt>
                <c:pt idx="19707">
                  <c:v>-1.29180926541891E-2</c:v>
                </c:pt>
                <c:pt idx="19708">
                  <c:v>-0.35724433746478401</c:v>
                </c:pt>
                <c:pt idx="19709">
                  <c:v>-0.15396739775732399</c:v>
                </c:pt>
                <c:pt idx="19710">
                  <c:v>-0.17056143365181101</c:v>
                </c:pt>
                <c:pt idx="19711">
                  <c:v>-0.22034354133527001</c:v>
                </c:pt>
                <c:pt idx="19712">
                  <c:v>-0.104185290073865</c:v>
                </c:pt>
                <c:pt idx="19713">
                  <c:v>-0.38213539130651297</c:v>
                </c:pt>
                <c:pt idx="19714">
                  <c:v>-0.50659066051516199</c:v>
                </c:pt>
                <c:pt idx="19715">
                  <c:v>-0.33650179259667501</c:v>
                </c:pt>
                <c:pt idx="19716">
                  <c:v>-0.71816461816986399</c:v>
                </c:pt>
                <c:pt idx="19717">
                  <c:v>-0.58541233101397305</c:v>
                </c:pt>
                <c:pt idx="19718">
                  <c:v>-0.74720418098521602</c:v>
                </c:pt>
                <c:pt idx="19719">
                  <c:v>-0.73890716303797299</c:v>
                </c:pt>
                <c:pt idx="19720">
                  <c:v>-0.70157058227537805</c:v>
                </c:pt>
                <c:pt idx="19721">
                  <c:v>-0.65593698356553998</c:v>
                </c:pt>
                <c:pt idx="19722">
                  <c:v>-0.94218410274543196</c:v>
                </c:pt>
                <c:pt idx="19723">
                  <c:v>-0.64763996561829695</c:v>
                </c:pt>
                <c:pt idx="19724">
                  <c:v>-0.85921392327299995</c:v>
                </c:pt>
                <c:pt idx="19725">
                  <c:v>-0.77209523482694598</c:v>
                </c:pt>
                <c:pt idx="19726">
                  <c:v>-1.05834235400684</c:v>
                </c:pt>
                <c:pt idx="19727">
                  <c:v>-0.86336243224662101</c:v>
                </c:pt>
                <c:pt idx="19728">
                  <c:v>-0.81358032456316198</c:v>
                </c:pt>
                <c:pt idx="19729">
                  <c:v>-0.55222425922499996</c:v>
                </c:pt>
                <c:pt idx="19730">
                  <c:v>-0.61445189382932397</c:v>
                </c:pt>
                <c:pt idx="19731">
                  <c:v>-0.72231312714348594</c:v>
                </c:pt>
                <c:pt idx="19732">
                  <c:v>-0.75550119893245904</c:v>
                </c:pt>
                <c:pt idx="19733">
                  <c:v>-0.94633261171905403</c:v>
                </c:pt>
                <c:pt idx="19734">
                  <c:v>-0.87995646814110795</c:v>
                </c:pt>
                <c:pt idx="19735">
                  <c:v>-0.87995646814110795</c:v>
                </c:pt>
                <c:pt idx="19736">
                  <c:v>-0.85091690532575603</c:v>
                </c:pt>
                <c:pt idx="19737">
                  <c:v>-0.86336243224662101</c:v>
                </c:pt>
                <c:pt idx="19738">
                  <c:v>-1.0044117373497601</c:v>
                </c:pt>
                <c:pt idx="19739">
                  <c:v>-1.0002632283761299</c:v>
                </c:pt>
                <c:pt idx="19740">
                  <c:v>-0.92559006685094503</c:v>
                </c:pt>
                <c:pt idx="19741">
                  <c:v>-0.98366919248164797</c:v>
                </c:pt>
                <c:pt idx="19742">
                  <c:v>-1.012708755297</c:v>
                </c:pt>
                <c:pt idx="19743">
                  <c:v>-0.99196621042889099</c:v>
                </c:pt>
                <c:pt idx="19744">
                  <c:v>-0.98366919248164797</c:v>
                </c:pt>
                <c:pt idx="19745">
                  <c:v>-0.97122366556078299</c:v>
                </c:pt>
                <c:pt idx="19746">
                  <c:v>-1.3196984193450001</c:v>
                </c:pt>
                <c:pt idx="19747">
                  <c:v>-1.0915304257958101</c:v>
                </c:pt>
                <c:pt idx="19748">
                  <c:v>-1.1081244616903001</c:v>
                </c:pt>
                <c:pt idx="19749">
                  <c:v>-1.0210057732442399</c:v>
                </c:pt>
                <c:pt idx="19750">
                  <c:v>-1.0002632283761299</c:v>
                </c:pt>
                <c:pt idx="19751">
                  <c:v>-1.1330155155320301</c:v>
                </c:pt>
                <c:pt idx="19752">
                  <c:v>-1.0915304257958101</c:v>
                </c:pt>
                <c:pt idx="19753">
                  <c:v>-1.02930279119149</c:v>
                </c:pt>
                <c:pt idx="19754">
                  <c:v>-0.99196621042889099</c:v>
                </c:pt>
                <c:pt idx="19755">
                  <c:v>-1.01685726427062</c:v>
                </c:pt>
                <c:pt idx="19756">
                  <c:v>-1.0707878809277001</c:v>
                </c:pt>
                <c:pt idx="19757">
                  <c:v>-0.95877813863991801</c:v>
                </c:pt>
                <c:pt idx="19758">
                  <c:v>-0.94633261171905403</c:v>
                </c:pt>
                <c:pt idx="19759">
                  <c:v>-0.95877813863991801</c:v>
                </c:pt>
                <c:pt idx="19760">
                  <c:v>0.211101391921378</c:v>
                </c:pt>
                <c:pt idx="19761">
                  <c:v>0.13642823039618901</c:v>
                </c:pt>
                <c:pt idx="19762">
                  <c:v>0.559576145705594</c:v>
                </c:pt>
                <c:pt idx="19763">
                  <c:v>-0.187155469546297</c:v>
                </c:pt>
                <c:pt idx="19764">
                  <c:v>-0.129076343915595</c:v>
                </c:pt>
                <c:pt idx="19765">
                  <c:v>3.2715506055648699E-2</c:v>
                </c:pt>
                <c:pt idx="19766">
                  <c:v>1.19729611875406E-2</c:v>
                </c:pt>
                <c:pt idx="19767">
                  <c:v>3.2715506055648699E-2</c:v>
                </c:pt>
                <c:pt idx="19768">
                  <c:v>0.26503200857845899</c:v>
                </c:pt>
                <c:pt idx="19769">
                  <c:v>0.28162604447294598</c:v>
                </c:pt>
                <c:pt idx="19770">
                  <c:v>0.406081313681594</c:v>
                </c:pt>
                <c:pt idx="19771">
                  <c:v>0.57617018160008104</c:v>
                </c:pt>
                <c:pt idx="19772">
                  <c:v>0.65084334312527004</c:v>
                </c:pt>
                <c:pt idx="19773">
                  <c:v>0.62180378030991901</c:v>
                </c:pt>
                <c:pt idx="19774">
                  <c:v>0.70062545080872896</c:v>
                </c:pt>
                <c:pt idx="19775">
                  <c:v>0.77944712130754001</c:v>
                </c:pt>
                <c:pt idx="19776">
                  <c:v>0.77944712130754001</c:v>
                </c:pt>
                <c:pt idx="19777">
                  <c:v>0.80018966617564802</c:v>
                </c:pt>
                <c:pt idx="19778">
                  <c:v>0.64669483415164797</c:v>
                </c:pt>
                <c:pt idx="19779">
                  <c:v>0.72966501362408098</c:v>
                </c:pt>
                <c:pt idx="19780">
                  <c:v>0.75040755849218899</c:v>
                </c:pt>
                <c:pt idx="19781">
                  <c:v>0.69232843286148604</c:v>
                </c:pt>
                <c:pt idx="19782">
                  <c:v>0.559576145705594</c:v>
                </c:pt>
                <c:pt idx="19783">
                  <c:v>0.66743737901975697</c:v>
                </c:pt>
                <c:pt idx="19784">
                  <c:v>0.75040755849218899</c:v>
                </c:pt>
                <c:pt idx="19785">
                  <c:v>0.60935825338905403</c:v>
                </c:pt>
                <c:pt idx="19786">
                  <c:v>0.67158588799337804</c:v>
                </c:pt>
                <c:pt idx="19787">
                  <c:v>0.70892246875597298</c:v>
                </c:pt>
                <c:pt idx="19788">
                  <c:v>0.58446719954732396</c:v>
                </c:pt>
                <c:pt idx="19789">
                  <c:v>0.61765527133629705</c:v>
                </c:pt>
                <c:pt idx="19790">
                  <c:v>0.70062545080872896</c:v>
                </c:pt>
                <c:pt idx="19791">
                  <c:v>0.52638807391662101</c:v>
                </c:pt>
                <c:pt idx="19792">
                  <c:v>0.74211054054494596</c:v>
                </c:pt>
                <c:pt idx="19793">
                  <c:v>0.58446719954732396</c:v>
                </c:pt>
                <c:pt idx="19794">
                  <c:v>0.31481411626191902</c:v>
                </c:pt>
                <c:pt idx="19795">
                  <c:v>0.40193280470797299</c:v>
                </c:pt>
                <c:pt idx="19796">
                  <c:v>0.12813121244894601</c:v>
                </c:pt>
                <c:pt idx="19797">
                  <c:v>0.22769542781586499</c:v>
                </c:pt>
                <c:pt idx="19798">
                  <c:v>0.119834194501703</c:v>
                </c:pt>
                <c:pt idx="19799">
                  <c:v>5.34580509237568E-2</c:v>
                </c:pt>
                <c:pt idx="19800">
                  <c:v>4.5161032976513499E-2</c:v>
                </c:pt>
                <c:pt idx="19801">
                  <c:v>-0.21204652338802699</c:v>
                </c:pt>
                <c:pt idx="19802">
                  <c:v>-0.19960099646716201</c:v>
                </c:pt>
                <c:pt idx="19803">
                  <c:v>-0.216195032361649</c:v>
                </c:pt>
                <c:pt idx="19804">
                  <c:v>-0.42776899001635099</c:v>
                </c:pt>
                <c:pt idx="19805">
                  <c:v>-0.37798688233289202</c:v>
                </c:pt>
                <c:pt idx="19806">
                  <c:v>-0.40287793617462098</c:v>
                </c:pt>
                <c:pt idx="19807">
                  <c:v>-0.45266004385808101</c:v>
                </c:pt>
                <c:pt idx="19808">
                  <c:v>-0.44436302591083798</c:v>
                </c:pt>
                <c:pt idx="19809">
                  <c:v>-0.63934294767105404</c:v>
                </c:pt>
                <c:pt idx="19810">
                  <c:v>-0.48169960667343198</c:v>
                </c:pt>
                <c:pt idx="19811">
                  <c:v>-0.67253101946002702</c:v>
                </c:pt>
                <c:pt idx="19812">
                  <c:v>-0.45680855283170202</c:v>
                </c:pt>
                <c:pt idx="19813">
                  <c:v>-0.75135268995883697</c:v>
                </c:pt>
                <c:pt idx="19814">
                  <c:v>-0.70157058227537805</c:v>
                </c:pt>
                <c:pt idx="19815">
                  <c:v>-0.81772883353678305</c:v>
                </c:pt>
                <c:pt idx="19816">
                  <c:v>-0.93388708479818905</c:v>
                </c:pt>
                <c:pt idx="19817">
                  <c:v>-0.73061014509072897</c:v>
                </c:pt>
                <c:pt idx="19818">
                  <c:v>-1.00856024632338</c:v>
                </c:pt>
                <c:pt idx="19819">
                  <c:v>-0.90899603095645898</c:v>
                </c:pt>
                <c:pt idx="19820">
                  <c:v>-0.95462962966629705</c:v>
                </c:pt>
                <c:pt idx="19821">
                  <c:v>-0.95877813863991801</c:v>
                </c:pt>
                <c:pt idx="19822">
                  <c:v>-0.95462962966629705</c:v>
                </c:pt>
                <c:pt idx="19823">
                  <c:v>-1.0832334078485699</c:v>
                </c:pt>
                <c:pt idx="19824">
                  <c:v>-0.87165945019386404</c:v>
                </c:pt>
                <c:pt idx="19825">
                  <c:v>-0.93803559377181001</c:v>
                </c:pt>
                <c:pt idx="19826">
                  <c:v>-0.917293048903702</c:v>
                </c:pt>
                <c:pt idx="19827">
                  <c:v>-0.92973857582456698</c:v>
                </c:pt>
                <c:pt idx="19828">
                  <c:v>-1.0002632283761299</c:v>
                </c:pt>
                <c:pt idx="19829">
                  <c:v>-1.0002632283761299</c:v>
                </c:pt>
                <c:pt idx="19830">
                  <c:v>-0.98781770145527004</c:v>
                </c:pt>
                <c:pt idx="19831">
                  <c:v>-1.00856024632338</c:v>
                </c:pt>
                <c:pt idx="19832">
                  <c:v>-1.0707878809277001</c:v>
                </c:pt>
                <c:pt idx="19833">
                  <c:v>-0.81358032456316198</c:v>
                </c:pt>
                <c:pt idx="19834">
                  <c:v>-0.85091690532575603</c:v>
                </c:pt>
                <c:pt idx="19835">
                  <c:v>-0.64763996561829695</c:v>
                </c:pt>
                <c:pt idx="19836">
                  <c:v>-0.78454076174780996</c:v>
                </c:pt>
                <c:pt idx="19837">
                  <c:v>-0.81772883353678305</c:v>
                </c:pt>
                <c:pt idx="19838">
                  <c:v>-0.23278906825613499</c:v>
                </c:pt>
                <c:pt idx="19839">
                  <c:v>-0.548075750251378</c:v>
                </c:pt>
                <c:pt idx="19840">
                  <c:v>-0.28257117593959402</c:v>
                </c:pt>
                <c:pt idx="19841">
                  <c:v>-0.69742207330175598</c:v>
                </c:pt>
                <c:pt idx="19842">
                  <c:v>-0.80528330661591896</c:v>
                </c:pt>
                <c:pt idx="19843">
                  <c:v>-0.46510557077894599</c:v>
                </c:pt>
                <c:pt idx="19844">
                  <c:v>-0.46095706180532398</c:v>
                </c:pt>
                <c:pt idx="19845">
                  <c:v>-0.22034354133527001</c:v>
                </c:pt>
                <c:pt idx="19846">
                  <c:v>-0.332353283623054</c:v>
                </c:pt>
                <c:pt idx="19847">
                  <c:v>-2.5363619575054001E-2</c:v>
                </c:pt>
                <c:pt idx="19848">
                  <c:v>-0.36139284643840502</c:v>
                </c:pt>
                <c:pt idx="19849">
                  <c:v>-0.36554135541202698</c:v>
                </c:pt>
                <c:pt idx="19850">
                  <c:v>-0.43606600796359402</c:v>
                </c:pt>
                <c:pt idx="19851">
                  <c:v>1.61214701611622E-2</c:v>
                </c:pt>
                <c:pt idx="19852">
                  <c:v>-0.23278906825613499</c:v>
                </c:pt>
                <c:pt idx="19853">
                  <c:v>-0.42362048104272898</c:v>
                </c:pt>
                <c:pt idx="19854">
                  <c:v>-0.30746222978132398</c:v>
                </c:pt>
                <c:pt idx="19855">
                  <c:v>-0.295016702860459</c:v>
                </c:pt>
                <c:pt idx="19856">
                  <c:v>-0.16641292467818899</c:v>
                </c:pt>
                <c:pt idx="19857">
                  <c:v>-3.3660637522297199E-2</c:v>
                </c:pt>
                <c:pt idx="19858">
                  <c:v>-0.20374950544078399</c:v>
                </c:pt>
                <c:pt idx="19859">
                  <c:v>-0.11248230802110799</c:v>
                </c:pt>
                <c:pt idx="19860">
                  <c:v>-5.0254673416783698E-2</c:v>
                </c:pt>
                <c:pt idx="19861">
                  <c:v>-0.31990775670218902</c:v>
                </c:pt>
                <c:pt idx="19862">
                  <c:v>0.107388667580838</c:v>
                </c:pt>
                <c:pt idx="19863">
                  <c:v>3.6759432402973299E-3</c:v>
                </c:pt>
                <c:pt idx="19864">
                  <c:v>-7.5145727258513401E-2</c:v>
                </c:pt>
                <c:pt idx="19865">
                  <c:v>-6.6848709311270196E-2</c:v>
                </c:pt>
                <c:pt idx="19866">
                  <c:v>0.11568568552808101</c:v>
                </c:pt>
                <c:pt idx="19867">
                  <c:v>0.22769542781586499</c:v>
                </c:pt>
                <c:pt idx="19868">
                  <c:v>2.0269979134783799E-2</c:v>
                </c:pt>
                <c:pt idx="19869">
                  <c:v>0.173764811158784</c:v>
                </c:pt>
                <c:pt idx="19870">
                  <c:v>0.26503200857845899</c:v>
                </c:pt>
                <c:pt idx="19871">
                  <c:v>0.219398409868622</c:v>
                </c:pt>
                <c:pt idx="19872">
                  <c:v>0.16546779321154101</c:v>
                </c:pt>
                <c:pt idx="19873">
                  <c:v>0.26503200857845899</c:v>
                </c:pt>
                <c:pt idx="19874">
                  <c:v>0.35629920599813503</c:v>
                </c:pt>
                <c:pt idx="19875">
                  <c:v>0.20695288294775699</c:v>
                </c:pt>
                <c:pt idx="19876">
                  <c:v>0.327259643182784</c:v>
                </c:pt>
                <c:pt idx="19877">
                  <c:v>0.248437972683973</c:v>
                </c:pt>
                <c:pt idx="19878">
                  <c:v>0.348002188050892</c:v>
                </c:pt>
                <c:pt idx="19879">
                  <c:v>0.211101391921378</c:v>
                </c:pt>
                <c:pt idx="19880">
                  <c:v>0.25673499063121602</c:v>
                </c:pt>
                <c:pt idx="19881">
                  <c:v>0.31481411626191902</c:v>
                </c:pt>
                <c:pt idx="19882">
                  <c:v>0.22769542781586499</c:v>
                </c:pt>
                <c:pt idx="19883">
                  <c:v>0.26503200857845899</c:v>
                </c:pt>
                <c:pt idx="19884">
                  <c:v>0.27332902652570301</c:v>
                </c:pt>
                <c:pt idx="19885">
                  <c:v>0.161319284237919</c:v>
                </c:pt>
                <c:pt idx="19886">
                  <c:v>0.107388667580838</c:v>
                </c:pt>
                <c:pt idx="19887">
                  <c:v>0.14887375731705399</c:v>
                </c:pt>
                <c:pt idx="19888">
                  <c:v>0.14057673936981099</c:v>
                </c:pt>
                <c:pt idx="19889">
                  <c:v>0.153022266290676</c:v>
                </c:pt>
                <c:pt idx="19890">
                  <c:v>-0.178858451599054</c:v>
                </c:pt>
                <c:pt idx="19891">
                  <c:v>-0.431917498989973</c:v>
                </c:pt>
                <c:pt idx="19892">
                  <c:v>-0.51903618743602697</c:v>
                </c:pt>
                <c:pt idx="19893">
                  <c:v>-0.85921392327299995</c:v>
                </c:pt>
                <c:pt idx="19894">
                  <c:v>-0.70986760022262096</c:v>
                </c:pt>
                <c:pt idx="19895">
                  <c:v>-0.896550504035594</c:v>
                </c:pt>
                <c:pt idx="19896">
                  <c:v>-0.81358032456316198</c:v>
                </c:pt>
                <c:pt idx="19897">
                  <c:v>-0.93803559377181001</c:v>
                </c:pt>
                <c:pt idx="19898">
                  <c:v>-0.98366919248164797</c:v>
                </c:pt>
                <c:pt idx="19899">
                  <c:v>-0.98781770145527004</c:v>
                </c:pt>
                <c:pt idx="19900">
                  <c:v>-0.97122366556078299</c:v>
                </c:pt>
                <c:pt idx="19901">
                  <c:v>-1.0417483181123499</c:v>
                </c:pt>
                <c:pt idx="19902">
                  <c:v>-0.99611471940251295</c:v>
                </c:pt>
                <c:pt idx="19903">
                  <c:v>-0.94633261171905403</c:v>
                </c:pt>
                <c:pt idx="19904">
                  <c:v>-0.85091690532575603</c:v>
                </c:pt>
                <c:pt idx="19905">
                  <c:v>-1.0417483181123499</c:v>
                </c:pt>
                <c:pt idx="19906">
                  <c:v>-1.0500453360595901</c:v>
                </c:pt>
                <c:pt idx="19907">
                  <c:v>-1.15790656937376</c:v>
                </c:pt>
                <c:pt idx="19908">
                  <c:v>-0.95877813863991801</c:v>
                </c:pt>
                <c:pt idx="19909">
                  <c:v>-1.2740648206351599</c:v>
                </c:pt>
                <c:pt idx="19910">
                  <c:v>-1.45659921547451</c:v>
                </c:pt>
                <c:pt idx="19911">
                  <c:v>-1.3860745629229501</c:v>
                </c:pt>
                <c:pt idx="19912">
                  <c:v>-1.39022307189657</c:v>
                </c:pt>
                <c:pt idx="19913">
                  <c:v>-1.4400051795800299</c:v>
                </c:pt>
                <c:pt idx="19914">
                  <c:v>-1.32799543729224</c:v>
                </c:pt>
                <c:pt idx="19915">
                  <c:v>-1.3570350001075899</c:v>
                </c:pt>
                <c:pt idx="19916">
                  <c:v>-1.4234111436855399</c:v>
                </c:pt>
                <c:pt idx="19917">
                  <c:v>1.19844652764332</c:v>
                </c:pt>
                <c:pt idx="19918">
                  <c:v>1.0615457315138099</c:v>
                </c:pt>
                <c:pt idx="19919">
                  <c:v>0.48075447520678399</c:v>
                </c:pt>
                <c:pt idx="19920">
                  <c:v>-7.9294236232135107E-2</c:v>
                </c:pt>
                <c:pt idx="19921">
                  <c:v>-0.36554135541202698</c:v>
                </c:pt>
                <c:pt idx="19922">
                  <c:v>-0.56466978614586505</c:v>
                </c:pt>
                <c:pt idx="19923">
                  <c:v>-0.59370934896121597</c:v>
                </c:pt>
                <c:pt idx="19924">
                  <c:v>-0.62274891177656699</c:v>
                </c:pt>
                <c:pt idx="19925">
                  <c:v>-0.65593698356553998</c:v>
                </c:pt>
                <c:pt idx="19926">
                  <c:v>-0.59370934896121597</c:v>
                </c:pt>
                <c:pt idx="19927">
                  <c:v>-0.53977873230413498</c:v>
                </c:pt>
                <c:pt idx="19928">
                  <c:v>-0.59370934896121597</c:v>
                </c:pt>
                <c:pt idx="19929">
                  <c:v>-0.59370934896121597</c:v>
                </c:pt>
                <c:pt idx="19930">
                  <c:v>-0.65593698356553998</c:v>
                </c:pt>
                <c:pt idx="19931">
                  <c:v>-0.59785785793483703</c:v>
                </c:pt>
                <c:pt idx="19932">
                  <c:v>-0.62689742075018895</c:v>
                </c:pt>
                <c:pt idx="19933">
                  <c:v>-0.65593698356553998</c:v>
                </c:pt>
                <c:pt idx="19934">
                  <c:v>-0.59370934896121597</c:v>
                </c:pt>
                <c:pt idx="19935">
                  <c:v>-0.65593698356553998</c:v>
                </c:pt>
                <c:pt idx="19936">
                  <c:v>-0.759649707906081</c:v>
                </c:pt>
                <c:pt idx="19937">
                  <c:v>-0.780392252774189</c:v>
                </c:pt>
                <c:pt idx="19938">
                  <c:v>-0.73890716303797299</c:v>
                </c:pt>
                <c:pt idx="19939">
                  <c:v>-0.74305567201159395</c:v>
                </c:pt>
                <c:pt idx="19940">
                  <c:v>-0.71401610919624303</c:v>
                </c:pt>
                <c:pt idx="19941">
                  <c:v>-0.69327356432813503</c:v>
                </c:pt>
                <c:pt idx="19942">
                  <c:v>-0.73475865406435104</c:v>
                </c:pt>
                <c:pt idx="19943">
                  <c:v>-0.78454076174780996</c:v>
                </c:pt>
                <c:pt idx="19944">
                  <c:v>-0.78454076174780996</c:v>
                </c:pt>
                <c:pt idx="19945">
                  <c:v>-0.78868927072143202</c:v>
                </c:pt>
                <c:pt idx="19946">
                  <c:v>-0.70571909124900001</c:v>
                </c:pt>
                <c:pt idx="19947">
                  <c:v>-0.84676839635213497</c:v>
                </c:pt>
                <c:pt idx="19948">
                  <c:v>-0.71401610919624303</c:v>
                </c:pt>
                <c:pt idx="19949">
                  <c:v>-0.73475865406435104</c:v>
                </c:pt>
                <c:pt idx="19950">
                  <c:v>-0.67253101946002702</c:v>
                </c:pt>
                <c:pt idx="19951">
                  <c:v>-0.90069901300921595</c:v>
                </c:pt>
                <c:pt idx="19952">
                  <c:v>-0.83847137840489205</c:v>
                </c:pt>
                <c:pt idx="19953">
                  <c:v>-0.67667952843364798</c:v>
                </c:pt>
                <c:pt idx="19954">
                  <c:v>-0.90899603095645898</c:v>
                </c:pt>
                <c:pt idx="19955">
                  <c:v>-0.82602585148402696</c:v>
                </c:pt>
                <c:pt idx="19956">
                  <c:v>-0.93388708479818905</c:v>
                </c:pt>
                <c:pt idx="19957">
                  <c:v>-0.92144155787732396</c:v>
                </c:pt>
                <c:pt idx="19958">
                  <c:v>-1.0417483181123499</c:v>
                </c:pt>
                <c:pt idx="19959">
                  <c:v>-0.917293048903702</c:v>
                </c:pt>
                <c:pt idx="19960">
                  <c:v>-0.99196621042889099</c:v>
                </c:pt>
                <c:pt idx="19961">
                  <c:v>-1.03759980913873</c:v>
                </c:pt>
                <c:pt idx="19962">
                  <c:v>-1.2533222757670499</c:v>
                </c:pt>
                <c:pt idx="19963">
                  <c:v>-1.3196984193450001</c:v>
                </c:pt>
                <c:pt idx="19964">
                  <c:v>-1.473193251369</c:v>
                </c:pt>
                <c:pt idx="19965">
                  <c:v>-1.4690447423953801</c:v>
                </c:pt>
                <c:pt idx="19966">
                  <c:v>-1.51467834110522</c:v>
                </c:pt>
                <c:pt idx="19967">
                  <c:v>-1.5271238680260799</c:v>
                </c:pt>
                <c:pt idx="19968">
                  <c:v>-1.5561634308414301</c:v>
                </c:pt>
                <c:pt idx="19969">
                  <c:v>-1.53542088597332</c:v>
                </c:pt>
                <c:pt idx="19970">
                  <c:v>-1.52297535905246</c:v>
                </c:pt>
                <c:pt idx="19971">
                  <c:v>-1.6930642269709499</c:v>
                </c:pt>
                <c:pt idx="19972">
                  <c:v>1.2108920545641899</c:v>
                </c:pt>
                <c:pt idx="19973">
                  <c:v>0.70062545080872896</c:v>
                </c:pt>
                <c:pt idx="19974">
                  <c:v>-0.59785785793483703</c:v>
                </c:pt>
                <c:pt idx="19975">
                  <c:v>-0.73475865406435104</c:v>
                </c:pt>
                <c:pt idx="19976">
                  <c:v>-0.13322485288921601</c:v>
                </c:pt>
                <c:pt idx="19977">
                  <c:v>-0.34479881054391898</c:v>
                </c:pt>
                <c:pt idx="19978">
                  <c:v>-0.53148171435689195</c:v>
                </c:pt>
                <c:pt idx="19979">
                  <c:v>-0.67667952843364798</c:v>
                </c:pt>
                <c:pt idx="19980">
                  <c:v>-0.390432409253757</c:v>
                </c:pt>
                <c:pt idx="19981">
                  <c:v>-0.801134797642297</c:v>
                </c:pt>
                <c:pt idx="19982">
                  <c:v>-0.643491456644675</c:v>
                </c:pt>
                <c:pt idx="19983">
                  <c:v>-0.83432286943126999</c:v>
                </c:pt>
                <c:pt idx="19984">
                  <c:v>-0.81358032456316198</c:v>
                </c:pt>
                <c:pt idx="19985">
                  <c:v>-0.73061014509072897</c:v>
                </c:pt>
                <c:pt idx="19986">
                  <c:v>-0.78454076174780996</c:v>
                </c:pt>
                <c:pt idx="19987">
                  <c:v>-0.81358032456316198</c:v>
                </c:pt>
                <c:pt idx="19988">
                  <c:v>-0.92973857582456698</c:v>
                </c:pt>
                <c:pt idx="19989">
                  <c:v>-0.65593698356553998</c:v>
                </c:pt>
                <c:pt idx="19990">
                  <c:v>-0.82602585148402696</c:v>
                </c:pt>
                <c:pt idx="19991">
                  <c:v>-0.63519443869743197</c:v>
                </c:pt>
                <c:pt idx="19992">
                  <c:v>-0.77624374380056704</c:v>
                </c:pt>
                <c:pt idx="19993">
                  <c:v>-0.56881829511948601</c:v>
                </c:pt>
                <c:pt idx="19994">
                  <c:v>-0.780392252774189</c:v>
                </c:pt>
                <c:pt idx="19995">
                  <c:v>-0.60615487588208095</c:v>
                </c:pt>
                <c:pt idx="19996">
                  <c:v>-0.88410497711472902</c:v>
                </c:pt>
                <c:pt idx="19997">
                  <c:v>0.16961630218516199</c:v>
                </c:pt>
                <c:pt idx="19998">
                  <c:v>-0.85091690532575603</c:v>
                </c:pt>
                <c:pt idx="19999">
                  <c:v>-0.53148171435689195</c:v>
                </c:pt>
                <c:pt idx="20000">
                  <c:v>-0.68912505535451296</c:v>
                </c:pt>
                <c:pt idx="20001">
                  <c:v>-0.664234001512783</c:v>
                </c:pt>
                <c:pt idx="20002">
                  <c:v>-0.89240199506197204</c:v>
                </c:pt>
                <c:pt idx="20003">
                  <c:v>-0.81772883353678305</c:v>
                </c:pt>
                <c:pt idx="20004">
                  <c:v>-0.917293048903702</c:v>
                </c:pt>
                <c:pt idx="20005">
                  <c:v>-0.92973857582456698</c:v>
                </c:pt>
                <c:pt idx="20006">
                  <c:v>-0.91314453993008105</c:v>
                </c:pt>
                <c:pt idx="20007">
                  <c:v>-0.917293048903702</c:v>
                </c:pt>
                <c:pt idx="20008">
                  <c:v>-0.96707515658716203</c:v>
                </c:pt>
                <c:pt idx="20009">
                  <c:v>-1.1454610424528899</c:v>
                </c:pt>
                <c:pt idx="20010">
                  <c:v>-1.16205507834738</c:v>
                </c:pt>
                <c:pt idx="20011">
                  <c:v>-1.33214394626586</c:v>
                </c:pt>
                <c:pt idx="20012">
                  <c:v>-1.4151141257383</c:v>
                </c:pt>
                <c:pt idx="20013">
                  <c:v>-1.6515791372347299</c:v>
                </c:pt>
                <c:pt idx="20014">
                  <c:v>-1.6100940474985099</c:v>
                </c:pt>
                <c:pt idx="20015">
                  <c:v>-1.6349851013402401</c:v>
                </c:pt>
                <c:pt idx="20016">
                  <c:v>-1.5976485205776501</c:v>
                </c:pt>
                <c:pt idx="20017">
                  <c:v>-1.6515791372347299</c:v>
                </c:pt>
                <c:pt idx="20018">
                  <c:v>-1.0624908629804599</c:v>
                </c:pt>
                <c:pt idx="20019">
                  <c:v>1.7875348018975901</c:v>
                </c:pt>
                <c:pt idx="20020">
                  <c:v>0.86656580975359399</c:v>
                </c:pt>
                <c:pt idx="20021">
                  <c:v>0.85412028283272901</c:v>
                </c:pt>
                <c:pt idx="20022">
                  <c:v>-8.3442745205756702E-2</c:v>
                </c:pt>
                <c:pt idx="20023">
                  <c:v>4.1012524002891897E-2</c:v>
                </c:pt>
                <c:pt idx="20024">
                  <c:v>-0.411174954121865</c:v>
                </c:pt>
                <c:pt idx="20025">
                  <c:v>-0.72231312714348594</c:v>
                </c:pt>
                <c:pt idx="20026">
                  <c:v>-0.49414513359429701</c:v>
                </c:pt>
                <c:pt idx="20027">
                  <c:v>-0.332353283623054</c:v>
                </c:pt>
                <c:pt idx="20028">
                  <c:v>-0.50244215154154004</c:v>
                </c:pt>
                <c:pt idx="20029">
                  <c:v>-5.8551691364026999E-2</c:v>
                </c:pt>
                <c:pt idx="20030">
                  <c:v>-0.29086819388683799</c:v>
                </c:pt>
                <c:pt idx="20031">
                  <c:v>-0.39872942720100002</c:v>
                </c:pt>
                <c:pt idx="20032">
                  <c:v>-0.30746222978132398</c:v>
                </c:pt>
                <c:pt idx="20033">
                  <c:v>-0.129076343915595</c:v>
                </c:pt>
                <c:pt idx="20034">
                  <c:v>-0.26597714004510797</c:v>
                </c:pt>
                <c:pt idx="20035">
                  <c:v>-0.178858451599054</c:v>
                </c:pt>
                <c:pt idx="20036">
                  <c:v>-0.129076343915595</c:v>
                </c:pt>
                <c:pt idx="20037">
                  <c:v>-0.50659066051516199</c:v>
                </c:pt>
                <c:pt idx="20038">
                  <c:v>-0.11663081699473</c:v>
                </c:pt>
                <c:pt idx="20039">
                  <c:v>-1.29180926541891E-2</c:v>
                </c:pt>
                <c:pt idx="20040">
                  <c:v>-0.216195032361649</c:v>
                </c:pt>
                <c:pt idx="20041">
                  <c:v>-0.187155469546297</c:v>
                </c:pt>
                <c:pt idx="20042">
                  <c:v>-0.13737336186283799</c:v>
                </c:pt>
                <c:pt idx="20043">
                  <c:v>-0.30331372080770302</c:v>
                </c:pt>
                <c:pt idx="20044">
                  <c:v>-0.20374950544078399</c:v>
                </c:pt>
                <c:pt idx="20045">
                  <c:v>-0.18300696057267599</c:v>
                </c:pt>
                <c:pt idx="20046">
                  <c:v>-8.7591254179378297E-2</c:v>
                </c:pt>
                <c:pt idx="20047">
                  <c:v>-0.14152187083645901</c:v>
                </c:pt>
                <c:pt idx="20048">
                  <c:v>-0.25353161312424299</c:v>
                </c:pt>
                <c:pt idx="20049">
                  <c:v>-0.104185290073865</c:v>
                </c:pt>
                <c:pt idx="20050">
                  <c:v>-9.1739763152999906E-2</c:v>
                </c:pt>
                <c:pt idx="20051">
                  <c:v>-0.332353283623054</c:v>
                </c:pt>
                <c:pt idx="20052">
                  <c:v>-0.39872942720100002</c:v>
                </c:pt>
                <c:pt idx="20053">
                  <c:v>-0.22449205030889199</c:v>
                </c:pt>
                <c:pt idx="20054">
                  <c:v>-0.71816461816986399</c:v>
                </c:pt>
                <c:pt idx="20055">
                  <c:v>-0.759649707906081</c:v>
                </c:pt>
                <c:pt idx="20056">
                  <c:v>-0.65593698356553998</c:v>
                </c:pt>
                <c:pt idx="20057">
                  <c:v>-0.68912505535451296</c:v>
                </c:pt>
                <c:pt idx="20058">
                  <c:v>-0.62274891177656699</c:v>
                </c:pt>
                <c:pt idx="20059">
                  <c:v>-0.86751094122024297</c:v>
                </c:pt>
                <c:pt idx="20060">
                  <c:v>-0.81772883353678305</c:v>
                </c:pt>
                <c:pt idx="20061">
                  <c:v>-0.896550504035594</c:v>
                </c:pt>
                <c:pt idx="20062">
                  <c:v>-0.91314453993008105</c:v>
                </c:pt>
                <c:pt idx="20063">
                  <c:v>-1.05419384503322</c:v>
                </c:pt>
                <c:pt idx="20064">
                  <c:v>-1.012708755297</c:v>
                </c:pt>
                <c:pt idx="20065">
                  <c:v>-1.03345130016511</c:v>
                </c:pt>
                <c:pt idx="20066">
                  <c:v>-1.03759980913873</c:v>
                </c:pt>
                <c:pt idx="20067">
                  <c:v>-1.0915304257958101</c:v>
                </c:pt>
                <c:pt idx="20068">
                  <c:v>-0.92144155787732396</c:v>
                </c:pt>
                <c:pt idx="20069">
                  <c:v>-1.0832334078485699</c:v>
                </c:pt>
                <c:pt idx="20070">
                  <c:v>-1.03345130016511</c:v>
                </c:pt>
                <c:pt idx="20071">
                  <c:v>-0.97537217453440495</c:v>
                </c:pt>
                <c:pt idx="20072">
                  <c:v>-0.77624374380056704</c:v>
                </c:pt>
                <c:pt idx="20073">
                  <c:v>-1.13716402450565</c:v>
                </c:pt>
                <c:pt idx="20074">
                  <c:v>-0.86336243224662101</c:v>
                </c:pt>
                <c:pt idx="20075">
                  <c:v>-1.0500453360595901</c:v>
                </c:pt>
                <c:pt idx="20076">
                  <c:v>-1.15790656937376</c:v>
                </c:pt>
                <c:pt idx="20077">
                  <c:v>-1.0666393719540801</c:v>
                </c:pt>
                <c:pt idx="20078">
                  <c:v>-1.1454610424528899</c:v>
                </c:pt>
                <c:pt idx="20079">
                  <c:v>-1.16205507834738</c:v>
                </c:pt>
                <c:pt idx="20080">
                  <c:v>-1.2118371860308399</c:v>
                </c:pt>
                <c:pt idx="20081">
                  <c:v>-1.18279762321549</c:v>
                </c:pt>
                <c:pt idx="20082">
                  <c:v>-1.1910946411627299</c:v>
                </c:pt>
                <c:pt idx="20083">
                  <c:v>-1.1454610424528899</c:v>
                </c:pt>
                <c:pt idx="20084">
                  <c:v>-1.0666393719540801</c:v>
                </c:pt>
                <c:pt idx="20085">
                  <c:v>-1.1122729706639201</c:v>
                </c:pt>
                <c:pt idx="20086">
                  <c:v>-1.0500453360595901</c:v>
                </c:pt>
                <c:pt idx="20087">
                  <c:v>-1.215985695004459</c:v>
                </c:pt>
                <c:pt idx="20088">
                  <c:v>-1.2740648206351599</c:v>
                </c:pt>
                <c:pt idx="20089">
                  <c:v>-1.1952431501363501</c:v>
                </c:pt>
                <c:pt idx="20090">
                  <c:v>-1.2533222757670499</c:v>
                </c:pt>
                <c:pt idx="20091">
                  <c:v>-1.2242827129517</c:v>
                </c:pt>
                <c:pt idx="20092">
                  <c:v>-1.4026685988174299</c:v>
                </c:pt>
                <c:pt idx="20093">
                  <c:v>-1.1662035873209999</c:v>
                </c:pt>
                <c:pt idx="20094">
                  <c:v>-1.2076886770572199</c:v>
                </c:pt>
                <c:pt idx="20095">
                  <c:v>-1.0666393719540801</c:v>
                </c:pt>
                <c:pt idx="20096">
                  <c:v>-1.29065885652965</c:v>
                </c:pt>
                <c:pt idx="20097">
                  <c:v>-1.26576780268792</c:v>
                </c:pt>
                <c:pt idx="20098">
                  <c:v>-1.32799543729224</c:v>
                </c:pt>
                <c:pt idx="20099">
                  <c:v>-1.30725289242413</c:v>
                </c:pt>
                <c:pt idx="20100">
                  <c:v>-1.3653320180548401</c:v>
                </c:pt>
                <c:pt idx="20101">
                  <c:v>-1.24087674884619</c:v>
                </c:pt>
                <c:pt idx="20102">
                  <c:v>-1.31140140139776</c:v>
                </c:pt>
                <c:pt idx="20103">
                  <c:v>-1.3819260539493201</c:v>
                </c:pt>
                <c:pt idx="20104">
                  <c:v>-1.39022307189657</c:v>
                </c:pt>
                <c:pt idx="20105">
                  <c:v>-1.4358566706064</c:v>
                </c:pt>
                <c:pt idx="20106">
                  <c:v>-1.41096561676467</c:v>
                </c:pt>
                <c:pt idx="20107">
                  <c:v>-1.3196984193450001</c:v>
                </c:pt>
                <c:pt idx="20108">
                  <c:v>-1.35288649113397</c:v>
                </c:pt>
                <c:pt idx="20109">
                  <c:v>-1.28651034755603</c:v>
                </c:pt>
                <c:pt idx="20110">
                  <c:v>-1.3155499103713799</c:v>
                </c:pt>
                <c:pt idx="20111">
                  <c:v>-1.3985200898438099</c:v>
                </c:pt>
                <c:pt idx="20112">
                  <c:v>-1.2948073655032699</c:v>
                </c:pt>
                <c:pt idx="20113">
                  <c:v>-1.2823618385824</c:v>
                </c:pt>
                <c:pt idx="20114">
                  <c:v>-1.3985200898438099</c:v>
                </c:pt>
                <c:pt idx="20115">
                  <c:v>-1.3196984193450001</c:v>
                </c:pt>
                <c:pt idx="20116">
                  <c:v>-1.2242827129517</c:v>
                </c:pt>
                <c:pt idx="20117">
                  <c:v>-1.3362924552394899</c:v>
                </c:pt>
                <c:pt idx="20118">
                  <c:v>-1.22013420397808</c:v>
                </c:pt>
                <c:pt idx="20119">
                  <c:v>-1.26576780268792</c:v>
                </c:pt>
                <c:pt idx="20120">
                  <c:v>-0.30746222978132398</c:v>
                </c:pt>
                <c:pt idx="20121">
                  <c:v>-0.77624374380056704</c:v>
                </c:pt>
                <c:pt idx="20122">
                  <c:v>-0.896550504035594</c:v>
                </c:pt>
                <c:pt idx="20123">
                  <c:v>-0.34894731951753999</c:v>
                </c:pt>
                <c:pt idx="20124">
                  <c:v>-0.87165945019386404</c:v>
                </c:pt>
                <c:pt idx="20125">
                  <c:v>-0.63104592972381002</c:v>
                </c:pt>
                <c:pt idx="20126">
                  <c:v>-0.70571909124900001</c:v>
                </c:pt>
                <c:pt idx="20127">
                  <c:v>-0.75550119893245904</c:v>
                </c:pt>
                <c:pt idx="20128">
                  <c:v>-0.71816461816986399</c:v>
                </c:pt>
                <c:pt idx="20129">
                  <c:v>-0.47755109769981102</c:v>
                </c:pt>
                <c:pt idx="20130">
                  <c:v>-0.58956083998759401</c:v>
                </c:pt>
                <c:pt idx="20131">
                  <c:v>-0.50659066051516199</c:v>
                </c:pt>
                <c:pt idx="20132">
                  <c:v>-0.68912505535451296</c:v>
                </c:pt>
                <c:pt idx="20133">
                  <c:v>-0.58956083998759401</c:v>
                </c:pt>
                <c:pt idx="20134">
                  <c:v>-0.411174954121865</c:v>
                </c:pt>
                <c:pt idx="20135">
                  <c:v>-0.37798688233289202</c:v>
                </c:pt>
                <c:pt idx="20136">
                  <c:v>-0.57711531306672903</c:v>
                </c:pt>
                <c:pt idx="20137">
                  <c:v>-0.49414513359429701</c:v>
                </c:pt>
                <c:pt idx="20138">
                  <c:v>-0.448511534884459</c:v>
                </c:pt>
                <c:pt idx="20139">
                  <c:v>-0.31990775670218902</c:v>
                </c:pt>
                <c:pt idx="20140">
                  <c:v>-0.55222425922499996</c:v>
                </c:pt>
                <c:pt idx="20141">
                  <c:v>-0.58541233101397305</c:v>
                </c:pt>
                <c:pt idx="20142">
                  <c:v>-0.58126382204035099</c:v>
                </c:pt>
                <c:pt idx="20143">
                  <c:v>-0.56466978614586505</c:v>
                </c:pt>
                <c:pt idx="20144">
                  <c:v>-0.57711531306672903</c:v>
                </c:pt>
                <c:pt idx="20145">
                  <c:v>-0.63519443869743197</c:v>
                </c:pt>
                <c:pt idx="20146">
                  <c:v>-0.643491456644675</c:v>
                </c:pt>
                <c:pt idx="20147">
                  <c:v>-0.61860040280294604</c:v>
                </c:pt>
                <c:pt idx="20148">
                  <c:v>-0.67253101946002702</c:v>
                </c:pt>
                <c:pt idx="20149">
                  <c:v>-0.85091690532575603</c:v>
                </c:pt>
                <c:pt idx="20150">
                  <c:v>-0.76379821687970195</c:v>
                </c:pt>
                <c:pt idx="20151">
                  <c:v>-0.87165945019386404</c:v>
                </c:pt>
                <c:pt idx="20152">
                  <c:v>-0.91314453993008105</c:v>
                </c:pt>
                <c:pt idx="20153">
                  <c:v>-1.0417483181123499</c:v>
                </c:pt>
                <c:pt idx="20154">
                  <c:v>-0.87995646814110795</c:v>
                </c:pt>
                <c:pt idx="20155">
                  <c:v>-0.91314453993008105</c:v>
                </c:pt>
                <c:pt idx="20156">
                  <c:v>-0.91314453993008105</c:v>
                </c:pt>
                <c:pt idx="20157">
                  <c:v>-1.05834235400684</c:v>
                </c:pt>
                <c:pt idx="20158">
                  <c:v>-1.31140140139776</c:v>
                </c:pt>
                <c:pt idx="20159">
                  <c:v>-1.47734176034262</c:v>
                </c:pt>
                <c:pt idx="20160">
                  <c:v>-1.50223281418435</c:v>
                </c:pt>
                <c:pt idx="20161">
                  <c:v>-0.80528330661591896</c:v>
                </c:pt>
                <c:pt idx="20162">
                  <c:v>0.49320000212764797</c:v>
                </c:pt>
                <c:pt idx="20163">
                  <c:v>0.49320000212764797</c:v>
                </c:pt>
                <c:pt idx="20164">
                  <c:v>3.6759432402973299E-3</c:v>
                </c:pt>
                <c:pt idx="20165">
                  <c:v>2.4418488108405401E-2</c:v>
                </c:pt>
                <c:pt idx="20166">
                  <c:v>-0.39458091822737801</c:v>
                </c:pt>
                <c:pt idx="20167">
                  <c:v>-0.30331372080770302</c:v>
                </c:pt>
                <c:pt idx="20168">
                  <c:v>-0.51903618743602697</c:v>
                </c:pt>
                <c:pt idx="20169">
                  <c:v>-0.353095828491162</c:v>
                </c:pt>
                <c:pt idx="20170">
                  <c:v>-0.62274891177656699</c:v>
                </c:pt>
                <c:pt idx="20171">
                  <c:v>-0.56881829511948601</c:v>
                </c:pt>
                <c:pt idx="20172">
                  <c:v>-0.58126382204035099</c:v>
                </c:pt>
                <c:pt idx="20173">
                  <c:v>-0.63934294767105404</c:v>
                </c:pt>
                <c:pt idx="20174">
                  <c:v>-0.70571909124900001</c:v>
                </c:pt>
                <c:pt idx="20175">
                  <c:v>-0.58126382204035099</c:v>
                </c:pt>
                <c:pt idx="20176">
                  <c:v>-0.54392724127775605</c:v>
                </c:pt>
                <c:pt idx="20177">
                  <c:v>-0.53563022333051302</c:v>
                </c:pt>
                <c:pt idx="20178">
                  <c:v>-0.61030338485570201</c:v>
                </c:pt>
                <c:pt idx="20179">
                  <c:v>-0.61030338485570201</c:v>
                </c:pt>
                <c:pt idx="20180">
                  <c:v>-0.65178847459191902</c:v>
                </c:pt>
                <c:pt idx="20181">
                  <c:v>-0.52733320538327</c:v>
                </c:pt>
                <c:pt idx="20182">
                  <c:v>-0.47340258872618901</c:v>
                </c:pt>
                <c:pt idx="20183">
                  <c:v>-0.94218410274543196</c:v>
                </c:pt>
                <c:pt idx="20184">
                  <c:v>0.52223956494299995</c:v>
                </c:pt>
                <c:pt idx="20185">
                  <c:v>-0.32405626567581097</c:v>
                </c:pt>
                <c:pt idx="20186">
                  <c:v>-0.34479881054391898</c:v>
                </c:pt>
                <c:pt idx="20187">
                  <c:v>-0.45266004385808101</c:v>
                </c:pt>
                <c:pt idx="20188">
                  <c:v>-0.58541233101397305</c:v>
                </c:pt>
                <c:pt idx="20189">
                  <c:v>-0.63519443869743197</c:v>
                </c:pt>
                <c:pt idx="20190">
                  <c:v>-0.58541233101397305</c:v>
                </c:pt>
                <c:pt idx="20191">
                  <c:v>-0.80943181558954003</c:v>
                </c:pt>
                <c:pt idx="20192">
                  <c:v>-0.70571909124900001</c:v>
                </c:pt>
                <c:pt idx="20193">
                  <c:v>-0.85091690532575603</c:v>
                </c:pt>
                <c:pt idx="20194">
                  <c:v>-0.801134797642297</c:v>
                </c:pt>
                <c:pt idx="20195">
                  <c:v>-1.03759980913873</c:v>
                </c:pt>
                <c:pt idx="20196">
                  <c:v>-0.94218410274543196</c:v>
                </c:pt>
                <c:pt idx="20197">
                  <c:v>-1.1496095514265099</c:v>
                </c:pt>
                <c:pt idx="20198">
                  <c:v>-0.96707515658716203</c:v>
                </c:pt>
                <c:pt idx="20199">
                  <c:v>-1.0417483181123499</c:v>
                </c:pt>
                <c:pt idx="20200">
                  <c:v>-0.89240199506197204</c:v>
                </c:pt>
                <c:pt idx="20201">
                  <c:v>-1.0707878809277001</c:v>
                </c:pt>
                <c:pt idx="20202">
                  <c:v>-1.1288670065584001</c:v>
                </c:pt>
                <c:pt idx="20203">
                  <c:v>-1.3611835090812201</c:v>
                </c:pt>
                <c:pt idx="20204">
                  <c:v>-1.2616192937143</c:v>
                </c:pt>
                <c:pt idx="20205">
                  <c:v>-1.15790656937376</c:v>
                </c:pt>
                <c:pt idx="20206">
                  <c:v>1.5261787365594299</c:v>
                </c:pt>
                <c:pt idx="20207">
                  <c:v>1.01176362383035</c:v>
                </c:pt>
                <c:pt idx="20208">
                  <c:v>1.19844652764332</c:v>
                </c:pt>
                <c:pt idx="20209">
                  <c:v>0.37704175086624298</c:v>
                </c:pt>
                <c:pt idx="20210">
                  <c:v>-0.32820477464943199</c:v>
                </c:pt>
                <c:pt idx="20211">
                  <c:v>-0.40287793617462098</c:v>
                </c:pt>
                <c:pt idx="20212">
                  <c:v>-0.431917498989973</c:v>
                </c:pt>
                <c:pt idx="20213">
                  <c:v>-0.411174954121865</c:v>
                </c:pt>
                <c:pt idx="20214">
                  <c:v>-0.390432409253757</c:v>
                </c:pt>
                <c:pt idx="20215">
                  <c:v>-0.49414513359429701</c:v>
                </c:pt>
                <c:pt idx="20216">
                  <c:v>-0.51488767846240502</c:v>
                </c:pt>
                <c:pt idx="20217">
                  <c:v>-0.53563022333051302</c:v>
                </c:pt>
                <c:pt idx="20218">
                  <c:v>-0.41532346309548601</c:v>
                </c:pt>
                <c:pt idx="20219">
                  <c:v>-0.31575924772856701</c:v>
                </c:pt>
                <c:pt idx="20220">
                  <c:v>-0.37383837335927</c:v>
                </c:pt>
                <c:pt idx="20221">
                  <c:v>-0.58956083998759401</c:v>
                </c:pt>
                <c:pt idx="20222">
                  <c:v>-0.448511534884459</c:v>
                </c:pt>
                <c:pt idx="20223">
                  <c:v>-0.643491456644675</c:v>
                </c:pt>
                <c:pt idx="20224">
                  <c:v>-0.42362048104272898</c:v>
                </c:pt>
                <c:pt idx="20225">
                  <c:v>-0.548075750251378</c:v>
                </c:pt>
                <c:pt idx="20226">
                  <c:v>-0.49829364256791903</c:v>
                </c:pt>
                <c:pt idx="20227">
                  <c:v>-0.65593698356553998</c:v>
                </c:pt>
                <c:pt idx="20228">
                  <c:v>-0.73475865406435104</c:v>
                </c:pt>
                <c:pt idx="20229">
                  <c:v>-0.73890716303797299</c:v>
                </c:pt>
                <c:pt idx="20230">
                  <c:v>-0.91314453993008105</c:v>
                </c:pt>
                <c:pt idx="20231">
                  <c:v>-0.95462962966629705</c:v>
                </c:pt>
                <c:pt idx="20232">
                  <c:v>-1.0458968270859701</c:v>
                </c:pt>
                <c:pt idx="20233">
                  <c:v>-1.1454610424528899</c:v>
                </c:pt>
                <c:pt idx="20234">
                  <c:v>-1.2367282398725701</c:v>
                </c:pt>
                <c:pt idx="20235">
                  <c:v>0.78359563028116197</c:v>
                </c:pt>
                <c:pt idx="20236">
                  <c:v>1.5967033891110001</c:v>
                </c:pt>
                <c:pt idx="20237">
                  <c:v>1.41002048529803</c:v>
                </c:pt>
                <c:pt idx="20238">
                  <c:v>0.89560537256894601</c:v>
                </c:pt>
                <c:pt idx="20239">
                  <c:v>-9.5888272126621502E-2</c:v>
                </c:pt>
                <c:pt idx="20240">
                  <c:v>-0.51903618743602697</c:v>
                </c:pt>
                <c:pt idx="20241">
                  <c:v>-0.77624374380056704</c:v>
                </c:pt>
                <c:pt idx="20242">
                  <c:v>-0.66838251048640496</c:v>
                </c:pt>
                <c:pt idx="20243">
                  <c:v>-0.469254079752567</c:v>
                </c:pt>
                <c:pt idx="20244">
                  <c:v>-0.78454076174780996</c:v>
                </c:pt>
                <c:pt idx="20245">
                  <c:v>-0.73890716303797299</c:v>
                </c:pt>
                <c:pt idx="20246">
                  <c:v>-0.82187734251040501</c:v>
                </c:pt>
                <c:pt idx="20247">
                  <c:v>-0.80943181558954003</c:v>
                </c:pt>
                <c:pt idx="20248">
                  <c:v>-0.77624374380056704</c:v>
                </c:pt>
                <c:pt idx="20249">
                  <c:v>-0.68912505535451296</c:v>
                </c:pt>
                <c:pt idx="20250">
                  <c:v>-0.86336243224662101</c:v>
                </c:pt>
                <c:pt idx="20251">
                  <c:v>-0.78868927072143202</c:v>
                </c:pt>
                <c:pt idx="20252">
                  <c:v>-0.86751094122024297</c:v>
                </c:pt>
                <c:pt idx="20253">
                  <c:v>-0.77209523482694598</c:v>
                </c:pt>
                <c:pt idx="20254">
                  <c:v>-0.91314453993008105</c:v>
                </c:pt>
                <c:pt idx="20255">
                  <c:v>-0.664234001512783</c:v>
                </c:pt>
                <c:pt idx="20256">
                  <c:v>-0.896550504035594</c:v>
                </c:pt>
                <c:pt idx="20257">
                  <c:v>-0.78454076174780996</c:v>
                </c:pt>
                <c:pt idx="20258">
                  <c:v>-0.92973857582456698</c:v>
                </c:pt>
                <c:pt idx="20259">
                  <c:v>-0.76379821687970195</c:v>
                </c:pt>
                <c:pt idx="20260">
                  <c:v>-0.96707515658716203</c:v>
                </c:pt>
                <c:pt idx="20261">
                  <c:v>-0.780392252774189</c:v>
                </c:pt>
                <c:pt idx="20262">
                  <c:v>-0.91314453993008105</c:v>
                </c:pt>
                <c:pt idx="20263">
                  <c:v>-0.95877813863991801</c:v>
                </c:pt>
                <c:pt idx="20264">
                  <c:v>-1.17864911424186</c:v>
                </c:pt>
                <c:pt idx="20265">
                  <c:v>-0.90899603095645898</c:v>
                </c:pt>
                <c:pt idx="20266">
                  <c:v>-1.4234111436855399</c:v>
                </c:pt>
                <c:pt idx="20267">
                  <c:v>-1.4648962334217599</c:v>
                </c:pt>
                <c:pt idx="20268">
                  <c:v>0.327259643182784</c:v>
                </c:pt>
                <c:pt idx="20269">
                  <c:v>0.949535989226027</c:v>
                </c:pt>
                <c:pt idx="20270">
                  <c:v>0.559576145705594</c:v>
                </c:pt>
                <c:pt idx="20271">
                  <c:v>0.289923062420189</c:v>
                </c:pt>
                <c:pt idx="20272">
                  <c:v>-0.17056143365181101</c:v>
                </c:pt>
                <c:pt idx="20273">
                  <c:v>-0.58126382204035099</c:v>
                </c:pt>
                <c:pt idx="20274">
                  <c:v>-0.92559006685094503</c:v>
                </c:pt>
                <c:pt idx="20275">
                  <c:v>-0.73890716303797299</c:v>
                </c:pt>
                <c:pt idx="20276">
                  <c:v>-0.87165945019386404</c:v>
                </c:pt>
                <c:pt idx="20277">
                  <c:v>-0.801134797642297</c:v>
                </c:pt>
                <c:pt idx="20278">
                  <c:v>-1.00856024632338</c:v>
                </c:pt>
                <c:pt idx="20279">
                  <c:v>-0.96292664761353997</c:v>
                </c:pt>
                <c:pt idx="20280">
                  <c:v>-0.97122366556078299</c:v>
                </c:pt>
                <c:pt idx="20281">
                  <c:v>-0.95462962966629705</c:v>
                </c:pt>
                <c:pt idx="20282">
                  <c:v>-1.01685726427062</c:v>
                </c:pt>
                <c:pt idx="20283">
                  <c:v>-0.98781770145527004</c:v>
                </c:pt>
                <c:pt idx="20284">
                  <c:v>-1.0500453360595901</c:v>
                </c:pt>
                <c:pt idx="20285">
                  <c:v>-1.0500453360595901</c:v>
                </c:pt>
                <c:pt idx="20286">
                  <c:v>-1.1039759527166799</c:v>
                </c:pt>
                <c:pt idx="20287">
                  <c:v>-1.012708755297</c:v>
                </c:pt>
                <c:pt idx="20288">
                  <c:v>-1.0417483181123499</c:v>
                </c:pt>
                <c:pt idx="20289">
                  <c:v>-1.0458968270859701</c:v>
                </c:pt>
                <c:pt idx="20290">
                  <c:v>-1.1122729706639201</c:v>
                </c:pt>
                <c:pt idx="20291">
                  <c:v>-1.1081244616903001</c:v>
                </c:pt>
                <c:pt idx="20292">
                  <c:v>-1.0666393719540801</c:v>
                </c:pt>
                <c:pt idx="20293">
                  <c:v>-1.1039759527166799</c:v>
                </c:pt>
                <c:pt idx="20294">
                  <c:v>-1.15790656937376</c:v>
                </c:pt>
                <c:pt idx="20295">
                  <c:v>-1.1952431501363501</c:v>
                </c:pt>
                <c:pt idx="20296">
                  <c:v>-1.29065885652965</c:v>
                </c:pt>
                <c:pt idx="20297">
                  <c:v>-1.56446044878867</c:v>
                </c:pt>
                <c:pt idx="20298">
                  <c:v>1.52203022758581</c:v>
                </c:pt>
                <c:pt idx="20299">
                  <c:v>0.53053658289024297</c:v>
                </c:pt>
                <c:pt idx="20300">
                  <c:v>-0.124927834941973</c:v>
                </c:pt>
                <c:pt idx="20301">
                  <c:v>-0.51488767846240502</c:v>
                </c:pt>
                <c:pt idx="20302">
                  <c:v>-0.79283777969505398</c:v>
                </c:pt>
                <c:pt idx="20303">
                  <c:v>-0.664234001512783</c:v>
                </c:pt>
                <c:pt idx="20304">
                  <c:v>-0.88410497711472902</c:v>
                </c:pt>
                <c:pt idx="20305">
                  <c:v>-0.51073916948878395</c:v>
                </c:pt>
                <c:pt idx="20306">
                  <c:v>-0.73475865406435104</c:v>
                </c:pt>
                <c:pt idx="20307">
                  <c:v>-0.86751094122024297</c:v>
                </c:pt>
                <c:pt idx="20308">
                  <c:v>-1.05419384503322</c:v>
                </c:pt>
                <c:pt idx="20309">
                  <c:v>-0.95877813863991801</c:v>
                </c:pt>
                <c:pt idx="20310">
                  <c:v>-1.0915304257958101</c:v>
                </c:pt>
                <c:pt idx="20311">
                  <c:v>-1.012708755297</c:v>
                </c:pt>
                <c:pt idx="20312">
                  <c:v>-1.0500453360595901</c:v>
                </c:pt>
                <c:pt idx="20313">
                  <c:v>-1.05419384503322</c:v>
                </c:pt>
                <c:pt idx="20314">
                  <c:v>-1.1330155155320301</c:v>
                </c:pt>
                <c:pt idx="20315">
                  <c:v>-0.99611471940251295</c:v>
                </c:pt>
                <c:pt idx="20316">
                  <c:v>-1.0915304257958101</c:v>
                </c:pt>
                <c:pt idx="20317">
                  <c:v>-0.72646163611710801</c:v>
                </c:pt>
                <c:pt idx="20318">
                  <c:v>-0.93388708479818905</c:v>
                </c:pt>
                <c:pt idx="20319">
                  <c:v>-0.96707515658716203</c:v>
                </c:pt>
                <c:pt idx="20320">
                  <c:v>-0.95462962966629705</c:v>
                </c:pt>
                <c:pt idx="20321">
                  <c:v>-0.92973857582456698</c:v>
                </c:pt>
                <c:pt idx="20322">
                  <c:v>-1.0251542822178601</c:v>
                </c:pt>
                <c:pt idx="20323">
                  <c:v>-1.07908489887495</c:v>
                </c:pt>
                <c:pt idx="20324">
                  <c:v>-1.0458968270859701</c:v>
                </c:pt>
                <c:pt idx="20325">
                  <c:v>2.2355737710487298</c:v>
                </c:pt>
                <c:pt idx="20326">
                  <c:v>1.75434673010862</c:v>
                </c:pt>
                <c:pt idx="20327">
                  <c:v>1.41831750324527</c:v>
                </c:pt>
                <c:pt idx="20328">
                  <c:v>1.19844652764332</c:v>
                </c:pt>
                <c:pt idx="20329">
                  <c:v>0.17791332013240499</c:v>
                </c:pt>
                <c:pt idx="20330">
                  <c:v>4.1012524002891897E-2</c:v>
                </c:pt>
                <c:pt idx="20331">
                  <c:v>-0.50244215154154004</c:v>
                </c:pt>
                <c:pt idx="20332">
                  <c:v>-0.61445189382932397</c:v>
                </c:pt>
                <c:pt idx="20333">
                  <c:v>-0.411174954121865</c:v>
                </c:pt>
                <c:pt idx="20334">
                  <c:v>-0.40702644514824299</c:v>
                </c:pt>
                <c:pt idx="20335">
                  <c:v>-0.45266004385808101</c:v>
                </c:pt>
                <c:pt idx="20336">
                  <c:v>-0.62689742075018895</c:v>
                </c:pt>
                <c:pt idx="20337">
                  <c:v>-0.61030338485570201</c:v>
                </c:pt>
                <c:pt idx="20338">
                  <c:v>-0.664234001512783</c:v>
                </c:pt>
                <c:pt idx="20339">
                  <c:v>-0.71816461816986399</c:v>
                </c:pt>
                <c:pt idx="20340">
                  <c:v>-0.69742207330175598</c:v>
                </c:pt>
                <c:pt idx="20341">
                  <c:v>-0.68082803740727005</c:v>
                </c:pt>
                <c:pt idx="20342">
                  <c:v>-0.72231312714348594</c:v>
                </c:pt>
                <c:pt idx="20343">
                  <c:v>-0.801134797642297</c:v>
                </c:pt>
                <c:pt idx="20344">
                  <c:v>-0.57296680409310796</c:v>
                </c:pt>
                <c:pt idx="20345">
                  <c:v>-0.80943181558954003</c:v>
                </c:pt>
                <c:pt idx="20346">
                  <c:v>-0.55637276819862103</c:v>
                </c:pt>
                <c:pt idx="20347">
                  <c:v>-0.93803559377181001</c:v>
                </c:pt>
                <c:pt idx="20348">
                  <c:v>-0.72646163611710801</c:v>
                </c:pt>
                <c:pt idx="20349">
                  <c:v>2.0157027954467801</c:v>
                </c:pt>
                <c:pt idx="20350">
                  <c:v>1.4929906647704601</c:v>
                </c:pt>
                <c:pt idx="20351">
                  <c:v>1.2980107430102401</c:v>
                </c:pt>
                <c:pt idx="20352">
                  <c:v>1.61214701611622E-2</c:v>
                </c:pt>
                <c:pt idx="20353">
                  <c:v>-3.3660637522297199E-2</c:v>
                </c:pt>
                <c:pt idx="20354">
                  <c:v>-0.65178847459191902</c:v>
                </c:pt>
                <c:pt idx="20355">
                  <c:v>-0.28671968491321598</c:v>
                </c:pt>
                <c:pt idx="20356">
                  <c:v>-0.74305567201159395</c:v>
                </c:pt>
                <c:pt idx="20357">
                  <c:v>-0.62689742075018895</c:v>
                </c:pt>
                <c:pt idx="20358">
                  <c:v>-0.73890716303797299</c:v>
                </c:pt>
                <c:pt idx="20359">
                  <c:v>-0.57296680409310796</c:v>
                </c:pt>
                <c:pt idx="20360">
                  <c:v>-0.49414513359429701</c:v>
                </c:pt>
                <c:pt idx="20361">
                  <c:v>-0.448511534884459</c:v>
                </c:pt>
                <c:pt idx="20362">
                  <c:v>-0.51903618743602697</c:v>
                </c:pt>
                <c:pt idx="20363">
                  <c:v>-0.46510557077894599</c:v>
                </c:pt>
                <c:pt idx="20364">
                  <c:v>-0.59370934896121597</c:v>
                </c:pt>
                <c:pt idx="20365">
                  <c:v>-0.54392724127775605</c:v>
                </c:pt>
                <c:pt idx="20366">
                  <c:v>-0.68912505535451296</c:v>
                </c:pt>
                <c:pt idx="20367">
                  <c:v>-0.60200636690845899</c:v>
                </c:pt>
                <c:pt idx="20368">
                  <c:v>-0.77624374380056704</c:v>
                </c:pt>
                <c:pt idx="20369">
                  <c:v>-0.83432286943126999</c:v>
                </c:pt>
                <c:pt idx="20370">
                  <c:v>-0.97537217453440495</c:v>
                </c:pt>
                <c:pt idx="20371">
                  <c:v>-0.90484752198283702</c:v>
                </c:pt>
                <c:pt idx="20372">
                  <c:v>-0.99611471940251295</c:v>
                </c:pt>
                <c:pt idx="20373">
                  <c:v>-0.94633261171905403</c:v>
                </c:pt>
                <c:pt idx="20374">
                  <c:v>1.8705049813700301</c:v>
                </c:pt>
                <c:pt idx="20375">
                  <c:v>1.8663564723963999</c:v>
                </c:pt>
                <c:pt idx="20376">
                  <c:v>-0.17056143365181101</c:v>
                </c:pt>
                <c:pt idx="20377">
                  <c:v>-0.21204652338802699</c:v>
                </c:pt>
                <c:pt idx="20378">
                  <c:v>-0.353095828491162</c:v>
                </c:pt>
                <c:pt idx="20379">
                  <c:v>-0.41532346309548601</c:v>
                </c:pt>
                <c:pt idx="20380">
                  <c:v>-0.38628390028013498</c:v>
                </c:pt>
                <c:pt idx="20381">
                  <c:v>-0.448511534884459</c:v>
                </c:pt>
                <c:pt idx="20382">
                  <c:v>-0.38213539130651297</c:v>
                </c:pt>
                <c:pt idx="20383">
                  <c:v>-0.29916521183408101</c:v>
                </c:pt>
                <c:pt idx="20384">
                  <c:v>-0.36139284643840502</c:v>
                </c:pt>
                <c:pt idx="20385">
                  <c:v>-0.431917498989973</c:v>
                </c:pt>
                <c:pt idx="20386">
                  <c:v>-0.36968986438564799</c:v>
                </c:pt>
                <c:pt idx="20387">
                  <c:v>-0.45266004385808101</c:v>
                </c:pt>
                <c:pt idx="20388">
                  <c:v>-0.40702644514824299</c:v>
                </c:pt>
                <c:pt idx="20389">
                  <c:v>-0.52733320538327</c:v>
                </c:pt>
                <c:pt idx="20390">
                  <c:v>-0.48169960667343198</c:v>
                </c:pt>
                <c:pt idx="20391">
                  <c:v>-0.61445189382932397</c:v>
                </c:pt>
                <c:pt idx="20392">
                  <c:v>-0.57296680409310796</c:v>
                </c:pt>
                <c:pt idx="20393">
                  <c:v>-0.95877813863991801</c:v>
                </c:pt>
                <c:pt idx="20394">
                  <c:v>-0.95048112069267499</c:v>
                </c:pt>
                <c:pt idx="20395">
                  <c:v>-1.11642147963754</c:v>
                </c:pt>
                <c:pt idx="20396">
                  <c:v>-1.0251542822178601</c:v>
                </c:pt>
                <c:pt idx="20397">
                  <c:v>2.0032572685259198</c:v>
                </c:pt>
                <c:pt idx="20398">
                  <c:v>1.2565256532740301</c:v>
                </c:pt>
                <c:pt idx="20399">
                  <c:v>1.48054513784959</c:v>
                </c:pt>
                <c:pt idx="20400">
                  <c:v>1.4058719763244001</c:v>
                </c:pt>
                <c:pt idx="20401">
                  <c:v>0.70062545080872896</c:v>
                </c:pt>
                <c:pt idx="20402">
                  <c:v>-3.7809146495918898E-2</c:v>
                </c:pt>
                <c:pt idx="20403">
                  <c:v>7.4200595791864901E-2</c:v>
                </c:pt>
                <c:pt idx="20404">
                  <c:v>-5.44031823904053E-2</c:v>
                </c:pt>
                <c:pt idx="20405">
                  <c:v>-0.11663081699473</c:v>
                </c:pt>
                <c:pt idx="20406">
                  <c:v>-3.3660637522297199E-2</c:v>
                </c:pt>
                <c:pt idx="20407">
                  <c:v>9.9091649633594597E-2</c:v>
                </c:pt>
                <c:pt idx="20408">
                  <c:v>-7.0997218284891805E-2</c:v>
                </c:pt>
                <c:pt idx="20409">
                  <c:v>-0.129076343915595</c:v>
                </c:pt>
                <c:pt idx="20410">
                  <c:v>-0.17470994262543199</c:v>
                </c:pt>
                <c:pt idx="20411">
                  <c:v>-0.26182863107148602</c:v>
                </c:pt>
                <c:pt idx="20412">
                  <c:v>-0.187155469546297</c:v>
                </c:pt>
                <c:pt idx="20413">
                  <c:v>-0.24938310415062101</c:v>
                </c:pt>
                <c:pt idx="20414">
                  <c:v>-0.43606600796359402</c:v>
                </c:pt>
                <c:pt idx="20415">
                  <c:v>-0.124927834941973</c:v>
                </c:pt>
                <c:pt idx="20416">
                  <c:v>-0.27012564901872999</c:v>
                </c:pt>
                <c:pt idx="20417">
                  <c:v>-0.15396739775732399</c:v>
                </c:pt>
                <c:pt idx="20418">
                  <c:v>-0.37383837335927</c:v>
                </c:pt>
                <c:pt idx="20419">
                  <c:v>-1.7066601627810801E-2</c:v>
                </c:pt>
                <c:pt idx="20420">
                  <c:v>-0.52318469640964804</c:v>
                </c:pt>
                <c:pt idx="20421">
                  <c:v>-0.26182863107148602</c:v>
                </c:pt>
                <c:pt idx="20422">
                  <c:v>-0.44021451693721603</c:v>
                </c:pt>
                <c:pt idx="20423">
                  <c:v>-0.274274157992351</c:v>
                </c:pt>
                <c:pt idx="20424">
                  <c:v>-0.40702644514824299</c:v>
                </c:pt>
                <c:pt idx="20425">
                  <c:v>-0.87580795916748599</c:v>
                </c:pt>
                <c:pt idx="20426">
                  <c:v>-0.73475865406435104</c:v>
                </c:pt>
                <c:pt idx="20427">
                  <c:v>-0.88410497711472902</c:v>
                </c:pt>
                <c:pt idx="20428">
                  <c:v>-0.83847137840489205</c:v>
                </c:pt>
                <c:pt idx="20429">
                  <c:v>-0.917293048903702</c:v>
                </c:pt>
                <c:pt idx="20430">
                  <c:v>-0.95048112069267499</c:v>
                </c:pt>
                <c:pt idx="20431">
                  <c:v>-0.86336243224662101</c:v>
                </c:pt>
                <c:pt idx="20432">
                  <c:v>2.1194155197873199</c:v>
                </c:pt>
                <c:pt idx="20433">
                  <c:v>1.43491153913976</c:v>
                </c:pt>
                <c:pt idx="20434">
                  <c:v>1.8041288377920801</c:v>
                </c:pt>
                <c:pt idx="20435">
                  <c:v>1.6132974250054899</c:v>
                </c:pt>
                <c:pt idx="20436">
                  <c:v>1.0283576597248401</c:v>
                </c:pt>
                <c:pt idx="20437">
                  <c:v>0.33140815215640501</c:v>
                </c:pt>
                <c:pt idx="20438">
                  <c:v>0.103240158607216</c:v>
                </c:pt>
                <c:pt idx="20439">
                  <c:v>-1.7066601627810801E-2</c:v>
                </c:pt>
                <c:pt idx="20440">
                  <c:v>0.289923062420189</c:v>
                </c:pt>
                <c:pt idx="20441">
                  <c:v>9.4943140659973002E-2</c:v>
                </c:pt>
                <c:pt idx="20442">
                  <c:v>5.34580509237568E-2</c:v>
                </c:pt>
                <c:pt idx="20443">
                  <c:v>-1.29180926541891E-2</c:v>
                </c:pt>
                <c:pt idx="20444">
                  <c:v>5.7606559897378402E-2</c:v>
                </c:pt>
                <c:pt idx="20445">
                  <c:v>7.8349104765486496E-2</c:v>
                </c:pt>
                <c:pt idx="20446">
                  <c:v>-0.27012564901872999</c:v>
                </c:pt>
                <c:pt idx="20447">
                  <c:v>8.6646122712729701E-2</c:v>
                </c:pt>
                <c:pt idx="20448">
                  <c:v>-0.31575924772856701</c:v>
                </c:pt>
                <c:pt idx="20449">
                  <c:v>-5.8551691364026999E-2</c:v>
                </c:pt>
                <c:pt idx="20450">
                  <c:v>-0.25353161312424299</c:v>
                </c:pt>
                <c:pt idx="20451">
                  <c:v>-0.25353161312424299</c:v>
                </c:pt>
                <c:pt idx="20452">
                  <c:v>-3.7809146495918898E-2</c:v>
                </c:pt>
                <c:pt idx="20453">
                  <c:v>-0.129076343915595</c:v>
                </c:pt>
                <c:pt idx="20454">
                  <c:v>-0.353095828491162</c:v>
                </c:pt>
                <c:pt idx="20455">
                  <c:v>-5.8551691364026999E-2</c:v>
                </c:pt>
                <c:pt idx="20456">
                  <c:v>-0.47755109769981102</c:v>
                </c:pt>
                <c:pt idx="20457">
                  <c:v>-0.236937577229757</c:v>
                </c:pt>
                <c:pt idx="20458">
                  <c:v>-0.30331372080770302</c:v>
                </c:pt>
                <c:pt idx="20459">
                  <c:v>-0.35724433746478401</c:v>
                </c:pt>
                <c:pt idx="20460">
                  <c:v>-0.86336243224662101</c:v>
                </c:pt>
                <c:pt idx="20461">
                  <c:v>-0.83017436045764803</c:v>
                </c:pt>
                <c:pt idx="20462">
                  <c:v>-1.0873819168221901</c:v>
                </c:pt>
                <c:pt idx="20463">
                  <c:v>-0.98366919248164797</c:v>
                </c:pt>
                <c:pt idx="20464">
                  <c:v>-0.93803559377181001</c:v>
                </c:pt>
                <c:pt idx="20465">
                  <c:v>-0.97952068350802701</c:v>
                </c:pt>
                <c:pt idx="20466">
                  <c:v>-1.1496095514265099</c:v>
                </c:pt>
                <c:pt idx="20467">
                  <c:v>-1.03759980913873</c:v>
                </c:pt>
                <c:pt idx="20468">
                  <c:v>-0.99611471940251295</c:v>
                </c:pt>
                <c:pt idx="20469">
                  <c:v>-1.09567893476943</c:v>
                </c:pt>
                <c:pt idx="20470">
                  <c:v>-0.90899603095645898</c:v>
                </c:pt>
                <c:pt idx="20471">
                  <c:v>0.46830894828591901</c:v>
                </c:pt>
                <c:pt idx="20472">
                  <c:v>-0.58541233101397305</c:v>
                </c:pt>
                <c:pt idx="20473">
                  <c:v>-1.01685726427062</c:v>
                </c:pt>
                <c:pt idx="20474">
                  <c:v>-0.96707515658716203</c:v>
                </c:pt>
                <c:pt idx="20475">
                  <c:v>-1.1247184975847799</c:v>
                </c:pt>
                <c:pt idx="20476">
                  <c:v>-1.0417483181123499</c:v>
                </c:pt>
                <c:pt idx="20477">
                  <c:v>-1.3155499103713799</c:v>
                </c:pt>
                <c:pt idx="20478">
                  <c:v>-1.2076886770572199</c:v>
                </c:pt>
                <c:pt idx="20479">
                  <c:v>-1.3196984193450001</c:v>
                </c:pt>
                <c:pt idx="20480">
                  <c:v>-0.548075750251378</c:v>
                </c:pt>
                <c:pt idx="20481">
                  <c:v>-2.1215110601432399E-2</c:v>
                </c:pt>
                <c:pt idx="20482">
                  <c:v>-0.98366919248164797</c:v>
                </c:pt>
                <c:pt idx="20483">
                  <c:v>-1.2076886770572199</c:v>
                </c:pt>
                <c:pt idx="20484">
                  <c:v>-1.0915304257958101</c:v>
                </c:pt>
                <c:pt idx="20485">
                  <c:v>-1.3155499103713799</c:v>
                </c:pt>
                <c:pt idx="20486">
                  <c:v>-1.26576780268792</c:v>
                </c:pt>
                <c:pt idx="20487">
                  <c:v>1.21918907251143</c:v>
                </c:pt>
                <c:pt idx="20488">
                  <c:v>-0.37383837335927</c:v>
                </c:pt>
                <c:pt idx="20489">
                  <c:v>-0.96707515658716203</c:v>
                </c:pt>
                <c:pt idx="20490">
                  <c:v>-0.69742207330175598</c:v>
                </c:pt>
                <c:pt idx="20491">
                  <c:v>-1.11642147963754</c:v>
                </c:pt>
                <c:pt idx="20492">
                  <c:v>0.52223956494299995</c:v>
                </c:pt>
                <c:pt idx="20493">
                  <c:v>0.107388667580838</c:v>
                </c:pt>
                <c:pt idx="20494">
                  <c:v>-0.187155469546297</c:v>
                </c:pt>
                <c:pt idx="20495">
                  <c:v>0.16546779321154101</c:v>
                </c:pt>
                <c:pt idx="20496">
                  <c:v>-0.38213539130651297</c:v>
                </c:pt>
                <c:pt idx="20497">
                  <c:v>-0.57296680409310796</c:v>
                </c:pt>
                <c:pt idx="20498">
                  <c:v>-0.43606600796359402</c:v>
                </c:pt>
                <c:pt idx="20499">
                  <c:v>-0.75550119893245904</c:v>
                </c:pt>
                <c:pt idx="20500">
                  <c:v>-0.81772883353678305</c:v>
                </c:pt>
                <c:pt idx="20501">
                  <c:v>-0.70986760022262096</c:v>
                </c:pt>
                <c:pt idx="20502">
                  <c:v>-0.83432286943126999</c:v>
                </c:pt>
                <c:pt idx="20503">
                  <c:v>-0.81772883353678305</c:v>
                </c:pt>
                <c:pt idx="20504">
                  <c:v>-0.55222425922499996</c:v>
                </c:pt>
                <c:pt idx="20505">
                  <c:v>-0.84261988737851301</c:v>
                </c:pt>
                <c:pt idx="20506">
                  <c:v>-1.3155499103713799</c:v>
                </c:pt>
                <c:pt idx="20507">
                  <c:v>-1.3985200898438099</c:v>
                </c:pt>
                <c:pt idx="20508">
                  <c:v>-0.207898014414405</c:v>
                </c:pt>
                <c:pt idx="20509">
                  <c:v>-0.17470994262543199</c:v>
                </c:pt>
                <c:pt idx="20510">
                  <c:v>-0.62689742075018895</c:v>
                </c:pt>
                <c:pt idx="20511">
                  <c:v>-1.1745006052682401</c:v>
                </c:pt>
                <c:pt idx="20512">
                  <c:v>0.98272406101499998</c:v>
                </c:pt>
                <c:pt idx="20513">
                  <c:v>0.27747753549932402</c:v>
                </c:pt>
                <c:pt idx="20514">
                  <c:v>0.54713061878472902</c:v>
                </c:pt>
                <c:pt idx="20515">
                  <c:v>-4.62107470694591E-3</c:v>
                </c:pt>
                <c:pt idx="20516">
                  <c:v>-0.48169960667343198</c:v>
                </c:pt>
                <c:pt idx="20517">
                  <c:v>-0.63104592972381002</c:v>
                </c:pt>
                <c:pt idx="20518">
                  <c:v>-1.1081244616903001</c:v>
                </c:pt>
                <c:pt idx="20519">
                  <c:v>-0.63519443869743197</c:v>
                </c:pt>
                <c:pt idx="20520">
                  <c:v>-0.70571909124900001</c:v>
                </c:pt>
                <c:pt idx="20521">
                  <c:v>-0.58126382204035099</c:v>
                </c:pt>
                <c:pt idx="20522">
                  <c:v>-0.780392252774189</c:v>
                </c:pt>
                <c:pt idx="20523">
                  <c:v>-0.66008549253916204</c:v>
                </c:pt>
                <c:pt idx="20524">
                  <c:v>-0.58541233101397305</c:v>
                </c:pt>
                <c:pt idx="20525">
                  <c:v>-0.69742207330175598</c:v>
                </c:pt>
                <c:pt idx="20526">
                  <c:v>-0.77624374380056704</c:v>
                </c:pt>
                <c:pt idx="20527">
                  <c:v>-0.76379821687970195</c:v>
                </c:pt>
                <c:pt idx="20528">
                  <c:v>-0.780392252774189</c:v>
                </c:pt>
                <c:pt idx="20529">
                  <c:v>-0.76379821687970195</c:v>
                </c:pt>
                <c:pt idx="20530">
                  <c:v>-0.85921392327299995</c:v>
                </c:pt>
                <c:pt idx="20531">
                  <c:v>-0.896550504035594</c:v>
                </c:pt>
                <c:pt idx="20532">
                  <c:v>-1.02930279119149</c:v>
                </c:pt>
                <c:pt idx="20533">
                  <c:v>-1.0210057732442399</c:v>
                </c:pt>
                <c:pt idx="20534">
                  <c:v>-1.0915304257958101</c:v>
                </c:pt>
                <c:pt idx="20535">
                  <c:v>-1.39437158087019</c:v>
                </c:pt>
                <c:pt idx="20536">
                  <c:v>-1.427559652659159</c:v>
                </c:pt>
                <c:pt idx="20537">
                  <c:v>-1.3404409642131101</c:v>
                </c:pt>
                <c:pt idx="20538">
                  <c:v>-1.50223281418435</c:v>
                </c:pt>
                <c:pt idx="20539">
                  <c:v>-0.27842266696597301</c:v>
                </c:pt>
                <c:pt idx="20540">
                  <c:v>1.0988823122764</c:v>
                </c:pt>
                <c:pt idx="20541">
                  <c:v>0.21524990089500001</c:v>
                </c:pt>
                <c:pt idx="20542">
                  <c:v>0.85412028283272901</c:v>
                </c:pt>
                <c:pt idx="20543">
                  <c:v>4.5161032976513499E-2</c:v>
                </c:pt>
                <c:pt idx="20544">
                  <c:v>-0.53563022333051302</c:v>
                </c:pt>
                <c:pt idx="20545">
                  <c:v>-0.83017436045764803</c:v>
                </c:pt>
                <c:pt idx="20546">
                  <c:v>-0.77209523482694598</c:v>
                </c:pt>
                <c:pt idx="20547">
                  <c:v>-1.0251542822178601</c:v>
                </c:pt>
                <c:pt idx="20548">
                  <c:v>-1.0044117373497601</c:v>
                </c:pt>
                <c:pt idx="20549">
                  <c:v>-0.98366919248164797</c:v>
                </c:pt>
                <c:pt idx="20550">
                  <c:v>-1.0500453360595901</c:v>
                </c:pt>
                <c:pt idx="20551">
                  <c:v>-0.96707515658716203</c:v>
                </c:pt>
                <c:pt idx="20552">
                  <c:v>-0.96292664761353997</c:v>
                </c:pt>
                <c:pt idx="20553">
                  <c:v>-0.95877813863991801</c:v>
                </c:pt>
                <c:pt idx="20554">
                  <c:v>-1.01685726427062</c:v>
                </c:pt>
                <c:pt idx="20555">
                  <c:v>-0.95048112069267499</c:v>
                </c:pt>
                <c:pt idx="20556">
                  <c:v>-0.96707515658716203</c:v>
                </c:pt>
                <c:pt idx="20557">
                  <c:v>-0.97537217453440495</c:v>
                </c:pt>
                <c:pt idx="20558">
                  <c:v>-1.0002632283761299</c:v>
                </c:pt>
                <c:pt idx="20559">
                  <c:v>-0.97537217453440495</c:v>
                </c:pt>
                <c:pt idx="20560">
                  <c:v>-1.0210057732442399</c:v>
                </c:pt>
                <c:pt idx="20561">
                  <c:v>-1.0251542822178601</c:v>
                </c:pt>
                <c:pt idx="20562">
                  <c:v>-1.0251542822178601</c:v>
                </c:pt>
                <c:pt idx="20563">
                  <c:v>-0.96292664761353997</c:v>
                </c:pt>
                <c:pt idx="20564">
                  <c:v>-0.99611471940251295</c:v>
                </c:pt>
                <c:pt idx="20565">
                  <c:v>-0.93803559377181001</c:v>
                </c:pt>
                <c:pt idx="20566">
                  <c:v>-1.05834235400684</c:v>
                </c:pt>
                <c:pt idx="20567">
                  <c:v>-1.0500453360595901</c:v>
                </c:pt>
                <c:pt idx="20568">
                  <c:v>-1.0500453360595901</c:v>
                </c:pt>
                <c:pt idx="20569">
                  <c:v>-1.09567893476943</c:v>
                </c:pt>
                <c:pt idx="20570">
                  <c:v>-1.0832334078485699</c:v>
                </c:pt>
                <c:pt idx="20571">
                  <c:v>-1.1454610424528899</c:v>
                </c:pt>
                <c:pt idx="20572">
                  <c:v>-1.215985695004459</c:v>
                </c:pt>
                <c:pt idx="20573">
                  <c:v>-1.24502525781981</c:v>
                </c:pt>
                <c:pt idx="20574">
                  <c:v>-1.1454610424528899</c:v>
                </c:pt>
                <c:pt idx="20575">
                  <c:v>-1.2367282398725701</c:v>
                </c:pt>
                <c:pt idx="20576">
                  <c:v>-1.1703520962946199</c:v>
                </c:pt>
                <c:pt idx="20577">
                  <c:v>-1.32799543729224</c:v>
                </c:pt>
                <c:pt idx="20578">
                  <c:v>-1.31140140139776</c:v>
                </c:pt>
                <c:pt idx="20579">
                  <c:v>-1.3238469283186201</c:v>
                </c:pt>
                <c:pt idx="20580">
                  <c:v>-1.2574707847406801</c:v>
                </c:pt>
                <c:pt idx="20581">
                  <c:v>-1.3570350001075899</c:v>
                </c:pt>
                <c:pt idx="20582">
                  <c:v>-1.39022307189657</c:v>
                </c:pt>
                <c:pt idx="20583">
                  <c:v>-1.3819260539493201</c:v>
                </c:pt>
                <c:pt idx="20584">
                  <c:v>-1.2367282398725701</c:v>
                </c:pt>
                <c:pt idx="20585">
                  <c:v>-1.3611835090812201</c:v>
                </c:pt>
                <c:pt idx="20586">
                  <c:v>-1.2782133296087801</c:v>
                </c:pt>
                <c:pt idx="20587">
                  <c:v>-1.427559652659159</c:v>
                </c:pt>
                <c:pt idx="20588">
                  <c:v>-1.3362924552394899</c:v>
                </c:pt>
                <c:pt idx="20589">
                  <c:v>-1.2989558744768901</c:v>
                </c:pt>
                <c:pt idx="20590">
                  <c:v>-1.3777775449756999</c:v>
                </c:pt>
                <c:pt idx="20591">
                  <c:v>-1.3362924552394899</c:v>
                </c:pt>
                <c:pt idx="20592">
                  <c:v>-1.3860745629229501</c:v>
                </c:pt>
                <c:pt idx="20593">
                  <c:v>-1.32799543729224</c:v>
                </c:pt>
                <c:pt idx="20594">
                  <c:v>-1.3196984193450001</c:v>
                </c:pt>
                <c:pt idx="20595">
                  <c:v>-1.41096561676467</c:v>
                </c:pt>
                <c:pt idx="20596">
                  <c:v>-1.3155499103713799</c:v>
                </c:pt>
                <c:pt idx="20597">
                  <c:v>-1.3819260539493201</c:v>
                </c:pt>
                <c:pt idx="20598">
                  <c:v>-1.2948073655032699</c:v>
                </c:pt>
                <c:pt idx="20599">
                  <c:v>-1.3860745629229501</c:v>
                </c:pt>
                <c:pt idx="20600">
                  <c:v>-1.2616192937143</c:v>
                </c:pt>
                <c:pt idx="20601">
                  <c:v>-1.427559652659159</c:v>
                </c:pt>
                <c:pt idx="20602">
                  <c:v>-1.39437158087019</c:v>
                </c:pt>
                <c:pt idx="20603">
                  <c:v>-1.3445894731867301</c:v>
                </c:pt>
                <c:pt idx="20604">
                  <c:v>-1.45245070650089</c:v>
                </c:pt>
                <c:pt idx="20605">
                  <c:v>-1.45659921547451</c:v>
                </c:pt>
                <c:pt idx="20606">
                  <c:v>-1.3653320180548401</c:v>
                </c:pt>
                <c:pt idx="20607">
                  <c:v>-1.39022307189657</c:v>
                </c:pt>
                <c:pt idx="20608">
                  <c:v>-1.39437158087019</c:v>
                </c:pt>
                <c:pt idx="20609">
                  <c:v>-1.50223281418435</c:v>
                </c:pt>
                <c:pt idx="20610">
                  <c:v>-1.56031193981505</c:v>
                </c:pt>
                <c:pt idx="20611">
                  <c:v>-1.54371790392057</c:v>
                </c:pt>
                <c:pt idx="20612">
                  <c:v>-1.5976485205776501</c:v>
                </c:pt>
                <c:pt idx="20613">
                  <c:v>-1.5063813231579699</c:v>
                </c:pt>
                <c:pt idx="20614">
                  <c:v>-1.5312723769997001</c:v>
                </c:pt>
                <c:pt idx="20615">
                  <c:v>-1.51467834110522</c:v>
                </c:pt>
                <c:pt idx="20616">
                  <c:v>-1.51882685007884</c:v>
                </c:pt>
                <c:pt idx="20617">
                  <c:v>-1.3985200898438099</c:v>
                </c:pt>
                <c:pt idx="20618">
                  <c:v>-1.53542088597332</c:v>
                </c:pt>
                <c:pt idx="20619">
                  <c:v>-1.2242827129517</c:v>
                </c:pt>
                <c:pt idx="20620">
                  <c:v>-1.45245070650089</c:v>
                </c:pt>
                <c:pt idx="20621">
                  <c:v>-1.36948052702846</c:v>
                </c:pt>
                <c:pt idx="20622">
                  <c:v>-1.4151141257383</c:v>
                </c:pt>
                <c:pt idx="20623">
                  <c:v>-1.4897872872634901</c:v>
                </c:pt>
                <c:pt idx="20624">
                  <c:v>-1.473193251369</c:v>
                </c:pt>
                <c:pt idx="20625">
                  <c:v>-1.51467834110522</c:v>
                </c:pt>
                <c:pt idx="20626">
                  <c:v>-1.49393579623711</c:v>
                </c:pt>
                <c:pt idx="20627">
                  <c:v>-1.5727574667359201</c:v>
                </c:pt>
                <c:pt idx="20628">
                  <c:v>-1.5312723769997001</c:v>
                </c:pt>
                <c:pt idx="20629">
                  <c:v>-1.51467834110522</c:v>
                </c:pt>
                <c:pt idx="20630">
                  <c:v>-1.4690447423953801</c:v>
                </c:pt>
                <c:pt idx="20631">
                  <c:v>-1.427559652659159</c:v>
                </c:pt>
                <c:pt idx="20632">
                  <c:v>-1.4400051795800299</c:v>
                </c:pt>
                <c:pt idx="20633">
                  <c:v>-0.96292664761353997</c:v>
                </c:pt>
                <c:pt idx="20634">
                  <c:v>-1.0873819168221901</c:v>
                </c:pt>
                <c:pt idx="20635">
                  <c:v>-1.012708755297</c:v>
                </c:pt>
                <c:pt idx="20636">
                  <c:v>-1.1247184975847799</c:v>
                </c:pt>
                <c:pt idx="20637">
                  <c:v>-1.1454610424528899</c:v>
                </c:pt>
                <c:pt idx="20638">
                  <c:v>-1.16205507834738</c:v>
                </c:pt>
                <c:pt idx="20639">
                  <c:v>-1.17864911424186</c:v>
                </c:pt>
                <c:pt idx="20640">
                  <c:v>-1.1081244616903001</c:v>
                </c:pt>
                <c:pt idx="20641">
                  <c:v>-1.11642147963754</c:v>
                </c:pt>
                <c:pt idx="20642">
                  <c:v>-1.09567893476943</c:v>
                </c:pt>
                <c:pt idx="20643">
                  <c:v>-1.03345130016511</c:v>
                </c:pt>
                <c:pt idx="20644">
                  <c:v>-1.07493638990132</c:v>
                </c:pt>
                <c:pt idx="20645">
                  <c:v>-1.09567893476943</c:v>
                </c:pt>
                <c:pt idx="20646">
                  <c:v>-1.1081244616903001</c:v>
                </c:pt>
                <c:pt idx="20647">
                  <c:v>-1.0666393719540801</c:v>
                </c:pt>
                <c:pt idx="20648">
                  <c:v>-1.0500453360595901</c:v>
                </c:pt>
                <c:pt idx="20649">
                  <c:v>-1.09982744374305</c:v>
                </c:pt>
                <c:pt idx="20650">
                  <c:v>-1.09982744374305</c:v>
                </c:pt>
                <c:pt idx="20651">
                  <c:v>-1.1247184975847799</c:v>
                </c:pt>
                <c:pt idx="20652">
                  <c:v>-1.0624908629804599</c:v>
                </c:pt>
                <c:pt idx="20653">
                  <c:v>-1.0832334078485699</c:v>
                </c:pt>
                <c:pt idx="20654">
                  <c:v>-1.0210057732442399</c:v>
                </c:pt>
                <c:pt idx="20655">
                  <c:v>-0.88825348608835097</c:v>
                </c:pt>
                <c:pt idx="20656">
                  <c:v>-1.1122729706639201</c:v>
                </c:pt>
                <c:pt idx="20657">
                  <c:v>-1.012708755297</c:v>
                </c:pt>
                <c:pt idx="20658">
                  <c:v>-1.07493638990132</c:v>
                </c:pt>
                <c:pt idx="20659">
                  <c:v>-1.05834235400684</c:v>
                </c:pt>
                <c:pt idx="20660">
                  <c:v>-1.0500453360595901</c:v>
                </c:pt>
                <c:pt idx="20661">
                  <c:v>-1.03345130016511</c:v>
                </c:pt>
                <c:pt idx="20662">
                  <c:v>-1.0210057732442399</c:v>
                </c:pt>
                <c:pt idx="20663">
                  <c:v>-1.09982744374305</c:v>
                </c:pt>
                <c:pt idx="20664">
                  <c:v>-1.0707878809277001</c:v>
                </c:pt>
                <c:pt idx="20665">
                  <c:v>-1.1330155155320301</c:v>
                </c:pt>
                <c:pt idx="20666">
                  <c:v>-1.12056998861116</c:v>
                </c:pt>
                <c:pt idx="20667">
                  <c:v>-1.1662035873209999</c:v>
                </c:pt>
                <c:pt idx="20668">
                  <c:v>-1.20354016808359</c:v>
                </c:pt>
                <c:pt idx="20669">
                  <c:v>-1.2076886770572199</c:v>
                </c:pt>
                <c:pt idx="20670">
                  <c:v>-1.1910946411627299</c:v>
                </c:pt>
                <c:pt idx="20671">
                  <c:v>-1.24917376679343</c:v>
                </c:pt>
                <c:pt idx="20672">
                  <c:v>-1.30725289242413</c:v>
                </c:pt>
                <c:pt idx="20673">
                  <c:v>-1.32799543729224</c:v>
                </c:pt>
                <c:pt idx="20674">
                  <c:v>-1.35288649113397</c:v>
                </c:pt>
                <c:pt idx="20675">
                  <c:v>-1.51467834110522</c:v>
                </c:pt>
                <c:pt idx="20676">
                  <c:v>-1.5520149218678101</c:v>
                </c:pt>
                <c:pt idx="20677">
                  <c:v>-1.39022307189657</c:v>
                </c:pt>
                <c:pt idx="20678">
                  <c:v>-1.4690447423953801</c:v>
                </c:pt>
                <c:pt idx="20679">
                  <c:v>-1.50223281418435</c:v>
                </c:pt>
                <c:pt idx="20680">
                  <c:v>-1.4400051795800299</c:v>
                </c:pt>
                <c:pt idx="20681">
                  <c:v>-1.5105298321315901</c:v>
                </c:pt>
                <c:pt idx="20682">
                  <c:v>3.6759432402973299E-3</c:v>
                </c:pt>
                <c:pt idx="20683">
                  <c:v>-0.38628390028013498</c:v>
                </c:pt>
                <c:pt idx="20684">
                  <c:v>-1.0210057732442399</c:v>
                </c:pt>
                <c:pt idx="20685">
                  <c:v>-1.2533222757670499</c:v>
                </c:pt>
                <c:pt idx="20686">
                  <c:v>-1.22013420397808</c:v>
                </c:pt>
                <c:pt idx="20687">
                  <c:v>-1.24502525781981</c:v>
                </c:pt>
                <c:pt idx="20688">
                  <c:v>-1.00856024632338</c:v>
                </c:pt>
                <c:pt idx="20689">
                  <c:v>-1.1330155155320301</c:v>
                </c:pt>
                <c:pt idx="20690">
                  <c:v>-1.2740648206351599</c:v>
                </c:pt>
                <c:pt idx="20691">
                  <c:v>-1.29065885652965</c:v>
                </c:pt>
                <c:pt idx="20692">
                  <c:v>-1.4068171077910501</c:v>
                </c:pt>
                <c:pt idx="20693">
                  <c:v>-1.2367282398725701</c:v>
                </c:pt>
                <c:pt idx="20694">
                  <c:v>-1.3611835090812201</c:v>
                </c:pt>
                <c:pt idx="20695">
                  <c:v>-1.39437158087019</c:v>
                </c:pt>
                <c:pt idx="20696">
                  <c:v>-1.2989558744768901</c:v>
                </c:pt>
                <c:pt idx="20697">
                  <c:v>-1.34873798216035</c:v>
                </c:pt>
                <c:pt idx="20698">
                  <c:v>-1.3196984193450001</c:v>
                </c:pt>
                <c:pt idx="20699">
                  <c:v>-1.2823618385824</c:v>
                </c:pt>
                <c:pt idx="20700">
                  <c:v>-1.4192626347119199</c:v>
                </c:pt>
                <c:pt idx="20701">
                  <c:v>-1.2616192937143</c:v>
                </c:pt>
                <c:pt idx="20702">
                  <c:v>-1.3362924552394899</c:v>
                </c:pt>
                <c:pt idx="20703">
                  <c:v>-1.4068171077910501</c:v>
                </c:pt>
                <c:pt idx="20704">
                  <c:v>-1.45245070650089</c:v>
                </c:pt>
                <c:pt idx="20705">
                  <c:v>-1.3155499103713799</c:v>
                </c:pt>
                <c:pt idx="20706">
                  <c:v>-1.4151141257383</c:v>
                </c:pt>
                <c:pt idx="20707">
                  <c:v>-1.54371790392057</c:v>
                </c:pt>
                <c:pt idx="20708">
                  <c:v>-1.43170816163278</c:v>
                </c:pt>
                <c:pt idx="20709">
                  <c:v>-1.47734176034262</c:v>
                </c:pt>
                <c:pt idx="20710">
                  <c:v>-1.51467834110522</c:v>
                </c:pt>
                <c:pt idx="20711">
                  <c:v>-1.427559652659159</c:v>
                </c:pt>
                <c:pt idx="20712">
                  <c:v>-1.51467834110522</c:v>
                </c:pt>
                <c:pt idx="20713">
                  <c:v>-0.684976546380892</c:v>
                </c:pt>
                <c:pt idx="20714">
                  <c:v>0.47660596623316198</c:v>
                </c:pt>
                <c:pt idx="20715">
                  <c:v>-1.0915304257958101</c:v>
                </c:pt>
                <c:pt idx="20716">
                  <c:v>-1.1496095514265099</c:v>
                </c:pt>
                <c:pt idx="20717">
                  <c:v>-1.1952431501363501</c:v>
                </c:pt>
                <c:pt idx="20718">
                  <c:v>-1.24917376679343</c:v>
                </c:pt>
                <c:pt idx="20719">
                  <c:v>-1.3196984193450001</c:v>
                </c:pt>
                <c:pt idx="20720">
                  <c:v>-0.79283777969505398</c:v>
                </c:pt>
                <c:pt idx="20721">
                  <c:v>-0.86336243224662101</c:v>
                </c:pt>
                <c:pt idx="20722">
                  <c:v>-0.66008549253916204</c:v>
                </c:pt>
                <c:pt idx="20723">
                  <c:v>0.107388667580838</c:v>
                </c:pt>
                <c:pt idx="20724">
                  <c:v>-0.42776899001635099</c:v>
                </c:pt>
                <c:pt idx="20725">
                  <c:v>-0.448511534884459</c:v>
                </c:pt>
                <c:pt idx="20726">
                  <c:v>-0.82187734251040501</c:v>
                </c:pt>
                <c:pt idx="20727">
                  <c:v>-0.97952068350802701</c:v>
                </c:pt>
                <c:pt idx="20728">
                  <c:v>-0.87995646814110795</c:v>
                </c:pt>
                <c:pt idx="20729">
                  <c:v>-1.1496095514265099</c:v>
                </c:pt>
                <c:pt idx="20730">
                  <c:v>-1.45245070650089</c:v>
                </c:pt>
                <c:pt idx="20731">
                  <c:v>-1.4483021975272701</c:v>
                </c:pt>
                <c:pt idx="20732">
                  <c:v>-1.4441536885536499</c:v>
                </c:pt>
                <c:pt idx="20733">
                  <c:v>-0.91314453993008105</c:v>
                </c:pt>
                <c:pt idx="20734">
                  <c:v>4.9309541950135198E-2</c:v>
                </c:pt>
                <c:pt idx="20735">
                  <c:v>-0.73475865406435104</c:v>
                </c:pt>
                <c:pt idx="20736">
                  <c:v>-1.3362924552394899</c:v>
                </c:pt>
                <c:pt idx="20737">
                  <c:v>-2.1215110601432399E-2</c:v>
                </c:pt>
                <c:pt idx="20738">
                  <c:v>-0.50244215154154004</c:v>
                </c:pt>
                <c:pt idx="20739">
                  <c:v>-5.44031823904053E-2</c:v>
                </c:pt>
                <c:pt idx="20740">
                  <c:v>-0.34479881054391898</c:v>
                </c:pt>
                <c:pt idx="20741">
                  <c:v>-0.22034354133527001</c:v>
                </c:pt>
                <c:pt idx="20742">
                  <c:v>-0.65593698356553998</c:v>
                </c:pt>
                <c:pt idx="20743">
                  <c:v>-0.67253101946002702</c:v>
                </c:pt>
                <c:pt idx="20744">
                  <c:v>-0.86336243224662101</c:v>
                </c:pt>
                <c:pt idx="20745">
                  <c:v>-0.79283777969505398</c:v>
                </c:pt>
                <c:pt idx="20746">
                  <c:v>-0.66008549253916204</c:v>
                </c:pt>
                <c:pt idx="20747">
                  <c:v>-0.90899603095645898</c:v>
                </c:pt>
                <c:pt idx="20748">
                  <c:v>-0.96292664761353997</c:v>
                </c:pt>
                <c:pt idx="20749">
                  <c:v>-1.02930279119149</c:v>
                </c:pt>
                <c:pt idx="20750">
                  <c:v>-1.0210057732442399</c:v>
                </c:pt>
                <c:pt idx="20751">
                  <c:v>-1.05419384503322</c:v>
                </c:pt>
                <c:pt idx="20752">
                  <c:v>-1.1081244616903001</c:v>
                </c:pt>
                <c:pt idx="20753">
                  <c:v>-1.1910946411627299</c:v>
                </c:pt>
                <c:pt idx="20754">
                  <c:v>-1.1869461321891099</c:v>
                </c:pt>
                <c:pt idx="20755">
                  <c:v>-1.2242827129517</c:v>
                </c:pt>
                <c:pt idx="20756">
                  <c:v>-1.3238469283186201</c:v>
                </c:pt>
                <c:pt idx="20757">
                  <c:v>-1.3819260539493201</c:v>
                </c:pt>
                <c:pt idx="20758">
                  <c:v>-1.4690447423953801</c:v>
                </c:pt>
                <c:pt idx="20759">
                  <c:v>-1.4814902693162399</c:v>
                </c:pt>
                <c:pt idx="20760">
                  <c:v>-1.49808430521073</c:v>
                </c:pt>
                <c:pt idx="20761">
                  <c:v>-1.1330155155320301</c:v>
                </c:pt>
                <c:pt idx="20762">
                  <c:v>0.24428946371035101</c:v>
                </c:pt>
                <c:pt idx="20763">
                  <c:v>-1.07908489887495</c:v>
                </c:pt>
                <c:pt idx="20764">
                  <c:v>-1.05419384503322</c:v>
                </c:pt>
                <c:pt idx="20765">
                  <c:v>-1.18279762321549</c:v>
                </c:pt>
                <c:pt idx="20766">
                  <c:v>0.24428946371035101</c:v>
                </c:pt>
                <c:pt idx="20767">
                  <c:v>-0.11663081699473</c:v>
                </c:pt>
                <c:pt idx="20768">
                  <c:v>-0.332353283623054</c:v>
                </c:pt>
                <c:pt idx="20769">
                  <c:v>-0.411174954121865</c:v>
                </c:pt>
                <c:pt idx="20770">
                  <c:v>-0.30746222978132398</c:v>
                </c:pt>
                <c:pt idx="20771">
                  <c:v>-0.76794672585332402</c:v>
                </c:pt>
                <c:pt idx="20772">
                  <c:v>-0.158115906730946</c:v>
                </c:pt>
                <c:pt idx="20773">
                  <c:v>-0.58956083998759401</c:v>
                </c:pt>
                <c:pt idx="20774">
                  <c:v>-0.55222425922499996</c:v>
                </c:pt>
                <c:pt idx="20775">
                  <c:v>-0.53563022333051302</c:v>
                </c:pt>
                <c:pt idx="20776">
                  <c:v>-0.62689742075018895</c:v>
                </c:pt>
                <c:pt idx="20777">
                  <c:v>-0.57711531306672903</c:v>
                </c:pt>
                <c:pt idx="20778">
                  <c:v>-0.32820477464943199</c:v>
                </c:pt>
                <c:pt idx="20779">
                  <c:v>-0.63519443869743197</c:v>
                </c:pt>
                <c:pt idx="20780">
                  <c:v>-0.51903618743602697</c:v>
                </c:pt>
                <c:pt idx="20781">
                  <c:v>-0.56052127717224298</c:v>
                </c:pt>
                <c:pt idx="20782">
                  <c:v>-0.58126382204035099</c:v>
                </c:pt>
                <c:pt idx="20783">
                  <c:v>-0.64763996561829695</c:v>
                </c:pt>
                <c:pt idx="20784">
                  <c:v>-0.548075750251378</c:v>
                </c:pt>
                <c:pt idx="20785">
                  <c:v>-0.51488767846240502</c:v>
                </c:pt>
                <c:pt idx="20786">
                  <c:v>-0.684976546380892</c:v>
                </c:pt>
                <c:pt idx="20787">
                  <c:v>-0.60615487588208095</c:v>
                </c:pt>
                <c:pt idx="20788">
                  <c:v>-0.51488767846240502</c:v>
                </c:pt>
                <c:pt idx="20789">
                  <c:v>-0.469254079752567</c:v>
                </c:pt>
                <c:pt idx="20790">
                  <c:v>-0.643491456644675</c:v>
                </c:pt>
                <c:pt idx="20791">
                  <c:v>-0.51488767846240502</c:v>
                </c:pt>
                <c:pt idx="20792">
                  <c:v>-0.53148171435689195</c:v>
                </c:pt>
                <c:pt idx="20793">
                  <c:v>-0.68912505535451296</c:v>
                </c:pt>
                <c:pt idx="20794">
                  <c:v>-0.36139284643840502</c:v>
                </c:pt>
                <c:pt idx="20795">
                  <c:v>-0.68082803740727005</c:v>
                </c:pt>
                <c:pt idx="20796">
                  <c:v>-0.42362048104272898</c:v>
                </c:pt>
                <c:pt idx="20797">
                  <c:v>-0.77624374380056704</c:v>
                </c:pt>
                <c:pt idx="20798">
                  <c:v>-0.61860040280294604</c:v>
                </c:pt>
                <c:pt idx="20799">
                  <c:v>-0.664234001512783</c:v>
                </c:pt>
                <c:pt idx="20800">
                  <c:v>-0.85506541429937799</c:v>
                </c:pt>
                <c:pt idx="20801">
                  <c:v>-0.60200636690845899</c:v>
                </c:pt>
                <c:pt idx="20802">
                  <c:v>-0.61860040280294604</c:v>
                </c:pt>
                <c:pt idx="20803">
                  <c:v>-0.82602585148402696</c:v>
                </c:pt>
                <c:pt idx="20804">
                  <c:v>-0.76379821687970195</c:v>
                </c:pt>
                <c:pt idx="20805">
                  <c:v>-0.61860040280294604</c:v>
                </c:pt>
                <c:pt idx="20806">
                  <c:v>-0.90069901300921595</c:v>
                </c:pt>
                <c:pt idx="20807">
                  <c:v>-0.79698628866867505</c:v>
                </c:pt>
                <c:pt idx="20808">
                  <c:v>-1.36948052702846</c:v>
                </c:pt>
                <c:pt idx="20809">
                  <c:v>1.61214701611622E-2</c:v>
                </c:pt>
                <c:pt idx="20810">
                  <c:v>-0.28671968491321598</c:v>
                </c:pt>
                <c:pt idx="20811">
                  <c:v>-0.64763996561829695</c:v>
                </c:pt>
                <c:pt idx="20812">
                  <c:v>-1.8838956397575399</c:v>
                </c:pt>
                <c:pt idx="20813">
                  <c:v>5.34580509237568E-2</c:v>
                </c:pt>
                <c:pt idx="20814">
                  <c:v>-0.41947197206910802</c:v>
                </c:pt>
                <c:pt idx="20815">
                  <c:v>-0.66008549253916204</c:v>
                </c:pt>
                <c:pt idx="20816">
                  <c:v>-1.78847993336424</c:v>
                </c:pt>
                <c:pt idx="20817">
                  <c:v>-0.78868927072143202</c:v>
                </c:pt>
                <c:pt idx="20818">
                  <c:v>-0.90069901300921595</c:v>
                </c:pt>
                <c:pt idx="20819">
                  <c:v>-1.9710143282035899</c:v>
                </c:pt>
                <c:pt idx="20820">
                  <c:v>-1.9710143282035899</c:v>
                </c:pt>
                <c:pt idx="20821">
                  <c:v>-1.9710143282035899</c:v>
                </c:pt>
                <c:pt idx="20822">
                  <c:v>-1.9710143282035899</c:v>
                </c:pt>
                <c:pt idx="20823">
                  <c:v>-1.9710143282035899</c:v>
                </c:pt>
                <c:pt idx="20824">
                  <c:v>-1.9751628371772201</c:v>
                </c:pt>
                <c:pt idx="20825">
                  <c:v>-1.97931134615084</c:v>
                </c:pt>
                <c:pt idx="20826">
                  <c:v>-1.97931134615084</c:v>
                </c:pt>
                <c:pt idx="20827">
                  <c:v>-1.97931134615084</c:v>
                </c:pt>
                <c:pt idx="20828">
                  <c:v>-1.97931134615084</c:v>
                </c:pt>
                <c:pt idx="20829">
                  <c:v>2.0198513044204001</c:v>
                </c:pt>
                <c:pt idx="20830">
                  <c:v>1.5012876827177</c:v>
                </c:pt>
                <c:pt idx="20831">
                  <c:v>1.3021592519838601</c:v>
                </c:pt>
                <c:pt idx="20832">
                  <c:v>0.34385367907726999</c:v>
                </c:pt>
                <c:pt idx="20833">
                  <c:v>-0.14567037981008099</c:v>
                </c:pt>
                <c:pt idx="20834">
                  <c:v>0.20695288294775699</c:v>
                </c:pt>
                <c:pt idx="20835">
                  <c:v>-0.149818888783703</c:v>
                </c:pt>
                <c:pt idx="20836">
                  <c:v>-0.47340258872618901</c:v>
                </c:pt>
                <c:pt idx="20837">
                  <c:v>-0.129076343915595</c:v>
                </c:pt>
                <c:pt idx="20838">
                  <c:v>-0.24108608620337801</c:v>
                </c:pt>
                <c:pt idx="20839">
                  <c:v>-3.3660637522297199E-2</c:v>
                </c:pt>
                <c:pt idx="20840">
                  <c:v>-0.27012564901872999</c:v>
                </c:pt>
                <c:pt idx="20841">
                  <c:v>1.19729611875406E-2</c:v>
                </c:pt>
                <c:pt idx="20842">
                  <c:v>-0.149818888783703</c:v>
                </c:pt>
                <c:pt idx="20843">
                  <c:v>-0.100036781100243</c:v>
                </c:pt>
                <c:pt idx="20844">
                  <c:v>-8.7695836805675303E-3</c:v>
                </c:pt>
                <c:pt idx="20845">
                  <c:v>-0.187155469546297</c:v>
                </c:pt>
                <c:pt idx="20846">
                  <c:v>-0.25768012209786501</c:v>
                </c:pt>
                <c:pt idx="20847">
                  <c:v>-7.9294236232135107E-2</c:v>
                </c:pt>
                <c:pt idx="20848">
                  <c:v>-0.27012564901872999</c:v>
                </c:pt>
                <c:pt idx="20849">
                  <c:v>-4.6106164443162102E-2</c:v>
                </c:pt>
                <c:pt idx="20850">
                  <c:v>-0.16226441570456701</c:v>
                </c:pt>
                <c:pt idx="20851">
                  <c:v>-8.3442745205756702E-2</c:v>
                </c:pt>
                <c:pt idx="20852">
                  <c:v>-0.108333799047486</c:v>
                </c:pt>
                <c:pt idx="20853">
                  <c:v>-0.245234595177</c:v>
                </c:pt>
                <c:pt idx="20854">
                  <c:v>-0.13322485288921601</c:v>
                </c:pt>
                <c:pt idx="20855">
                  <c:v>-0.22449205030889199</c:v>
                </c:pt>
                <c:pt idx="20856">
                  <c:v>-0.35724433746478401</c:v>
                </c:pt>
                <c:pt idx="20857">
                  <c:v>-0.178858451599054</c:v>
                </c:pt>
                <c:pt idx="20858">
                  <c:v>-0.40287793617462098</c:v>
                </c:pt>
                <c:pt idx="20859">
                  <c:v>-0.58126382204035099</c:v>
                </c:pt>
                <c:pt idx="20860">
                  <c:v>-0.63104592972381002</c:v>
                </c:pt>
                <c:pt idx="20861">
                  <c:v>-0.52318469640964804</c:v>
                </c:pt>
                <c:pt idx="20862">
                  <c:v>-0.431917498989973</c:v>
                </c:pt>
                <c:pt idx="20863">
                  <c:v>-0.39458091822737801</c:v>
                </c:pt>
                <c:pt idx="20864">
                  <c:v>-0.27012564901872999</c:v>
                </c:pt>
                <c:pt idx="20865">
                  <c:v>-0.57711531306672903</c:v>
                </c:pt>
                <c:pt idx="20866">
                  <c:v>-0.41532346309548601</c:v>
                </c:pt>
                <c:pt idx="20867">
                  <c:v>-0.48169960667343198</c:v>
                </c:pt>
                <c:pt idx="20868">
                  <c:v>-0.45266004385808101</c:v>
                </c:pt>
                <c:pt idx="20869">
                  <c:v>-0.56052127717224298</c:v>
                </c:pt>
                <c:pt idx="20870">
                  <c:v>-0.50244215154154004</c:v>
                </c:pt>
                <c:pt idx="20871">
                  <c:v>-0.40702644514824299</c:v>
                </c:pt>
                <c:pt idx="20872">
                  <c:v>-0.431917498989973</c:v>
                </c:pt>
                <c:pt idx="20873">
                  <c:v>-0.53148171435689195</c:v>
                </c:pt>
                <c:pt idx="20874">
                  <c:v>-0.50659066051516199</c:v>
                </c:pt>
                <c:pt idx="20875">
                  <c:v>-0.52318469640964804</c:v>
                </c:pt>
                <c:pt idx="20876">
                  <c:v>-0.69327356432813503</c:v>
                </c:pt>
                <c:pt idx="20877">
                  <c:v>-0.60615487588208095</c:v>
                </c:pt>
                <c:pt idx="20878">
                  <c:v>-0.57711531306672903</c:v>
                </c:pt>
                <c:pt idx="20879">
                  <c:v>-0.84261988737851301</c:v>
                </c:pt>
                <c:pt idx="20880">
                  <c:v>-0.61030338485570201</c:v>
                </c:pt>
                <c:pt idx="20881">
                  <c:v>-0.60615487588208095</c:v>
                </c:pt>
                <c:pt idx="20882">
                  <c:v>-0.61030338485570201</c:v>
                </c:pt>
                <c:pt idx="20883">
                  <c:v>-0.75135268995883697</c:v>
                </c:pt>
                <c:pt idx="20884">
                  <c:v>-0.72646163611710801</c:v>
                </c:pt>
                <c:pt idx="20885">
                  <c:v>-0.780392252774189</c:v>
                </c:pt>
                <c:pt idx="20886">
                  <c:v>-0.90899603095645898</c:v>
                </c:pt>
                <c:pt idx="20887">
                  <c:v>-0.69327356432813503</c:v>
                </c:pt>
                <c:pt idx="20888">
                  <c:v>-0.70157058227537805</c:v>
                </c:pt>
                <c:pt idx="20889">
                  <c:v>-0.72646163611710801</c:v>
                </c:pt>
                <c:pt idx="20890">
                  <c:v>-0.66838251048640496</c:v>
                </c:pt>
                <c:pt idx="20891">
                  <c:v>-0.73061014509072897</c:v>
                </c:pt>
                <c:pt idx="20892">
                  <c:v>-0.92973857582456698</c:v>
                </c:pt>
                <c:pt idx="20893">
                  <c:v>-0.60615487588208095</c:v>
                </c:pt>
                <c:pt idx="20894">
                  <c:v>-1.02930279119149</c:v>
                </c:pt>
                <c:pt idx="20895">
                  <c:v>-0.65593698356553998</c:v>
                </c:pt>
                <c:pt idx="20896">
                  <c:v>-0.92559006685094503</c:v>
                </c:pt>
                <c:pt idx="20897">
                  <c:v>-0.684976546380892</c:v>
                </c:pt>
                <c:pt idx="20898">
                  <c:v>-0.63934294767105404</c:v>
                </c:pt>
                <c:pt idx="20899">
                  <c:v>-0.75135268995883697</c:v>
                </c:pt>
                <c:pt idx="20900">
                  <c:v>-0.548075750251378</c:v>
                </c:pt>
                <c:pt idx="20901">
                  <c:v>-0.74305567201159395</c:v>
                </c:pt>
                <c:pt idx="20902">
                  <c:v>-0.68912505535451296</c:v>
                </c:pt>
                <c:pt idx="20903">
                  <c:v>-0.70571909124900001</c:v>
                </c:pt>
                <c:pt idx="20904">
                  <c:v>-0.52733320538327</c:v>
                </c:pt>
                <c:pt idx="20905">
                  <c:v>-0.49414513359429701</c:v>
                </c:pt>
                <c:pt idx="20906">
                  <c:v>-0.65593698356553998</c:v>
                </c:pt>
                <c:pt idx="20907">
                  <c:v>-5.44031823904053E-2</c:v>
                </c:pt>
                <c:pt idx="20908">
                  <c:v>-8.7695836805675303E-3</c:v>
                </c:pt>
                <c:pt idx="20909">
                  <c:v>-0.22449205030889199</c:v>
                </c:pt>
                <c:pt idx="20910">
                  <c:v>-0.26597714004510797</c:v>
                </c:pt>
                <c:pt idx="20911">
                  <c:v>-7.0997218284891805E-2</c:v>
                </c:pt>
                <c:pt idx="20912">
                  <c:v>-0.27012564901872999</c:v>
                </c:pt>
                <c:pt idx="20913">
                  <c:v>-0.16641292467818899</c:v>
                </c:pt>
                <c:pt idx="20914">
                  <c:v>1.61214701611622E-2</c:v>
                </c:pt>
                <c:pt idx="20915">
                  <c:v>0.33970517010364898</c:v>
                </c:pt>
                <c:pt idx="20916">
                  <c:v>0.132279721422568</c:v>
                </c:pt>
                <c:pt idx="20917">
                  <c:v>-0.19130397851991901</c:v>
                </c:pt>
                <c:pt idx="20918">
                  <c:v>7.8349104765486496E-2</c:v>
                </c:pt>
                <c:pt idx="20919">
                  <c:v>5.7606559897378402E-2</c:v>
                </c:pt>
                <c:pt idx="20920">
                  <c:v>9.4943140659973002E-2</c:v>
                </c:pt>
                <c:pt idx="20921">
                  <c:v>0.14887375731705399</c:v>
                </c:pt>
                <c:pt idx="20922">
                  <c:v>0.14057673936981099</c:v>
                </c:pt>
                <c:pt idx="20923">
                  <c:v>-1.29180926541891E-2</c:v>
                </c:pt>
                <c:pt idx="20924">
                  <c:v>0.13642823039618901</c:v>
                </c:pt>
                <c:pt idx="20925">
                  <c:v>-7.0997218284891805E-2</c:v>
                </c:pt>
                <c:pt idx="20926">
                  <c:v>-0.34479881054391898</c:v>
                </c:pt>
                <c:pt idx="20927">
                  <c:v>-0.37383837335927</c:v>
                </c:pt>
                <c:pt idx="20928">
                  <c:v>-0.49829364256791903</c:v>
                </c:pt>
                <c:pt idx="20929">
                  <c:v>-0.51903618743602697</c:v>
                </c:pt>
                <c:pt idx="20930">
                  <c:v>-0.38628390028013498</c:v>
                </c:pt>
                <c:pt idx="20931">
                  <c:v>-0.34065030157029702</c:v>
                </c:pt>
                <c:pt idx="20932">
                  <c:v>-0.149818888783703</c:v>
                </c:pt>
                <c:pt idx="20933">
                  <c:v>-8.3442745205756702E-2</c:v>
                </c:pt>
                <c:pt idx="20934">
                  <c:v>-0.17470994262543199</c:v>
                </c:pt>
                <c:pt idx="20935">
                  <c:v>-0.36139284643840502</c:v>
                </c:pt>
                <c:pt idx="20936">
                  <c:v>-0.332353283623054</c:v>
                </c:pt>
                <c:pt idx="20937">
                  <c:v>-0.274274157992351</c:v>
                </c:pt>
                <c:pt idx="20938">
                  <c:v>-0.50659066051516199</c:v>
                </c:pt>
                <c:pt idx="20939">
                  <c:v>-0.34894731951753999</c:v>
                </c:pt>
                <c:pt idx="20940">
                  <c:v>-0.51488767846240502</c:v>
                </c:pt>
                <c:pt idx="20941">
                  <c:v>-0.42776899001635099</c:v>
                </c:pt>
                <c:pt idx="20942">
                  <c:v>-0.448511534884459</c:v>
                </c:pt>
                <c:pt idx="20943">
                  <c:v>-0.56052127717224298</c:v>
                </c:pt>
                <c:pt idx="20944">
                  <c:v>-0.35724433746478401</c:v>
                </c:pt>
                <c:pt idx="20945">
                  <c:v>-0.56052127717224298</c:v>
                </c:pt>
                <c:pt idx="20946">
                  <c:v>-0.56052127717224298</c:v>
                </c:pt>
                <c:pt idx="20947">
                  <c:v>-0.56881829511948601</c:v>
                </c:pt>
                <c:pt idx="20948">
                  <c:v>-0.40287793617462098</c:v>
                </c:pt>
                <c:pt idx="20949">
                  <c:v>-0.75550119893245904</c:v>
                </c:pt>
                <c:pt idx="20950">
                  <c:v>-0.664234001512783</c:v>
                </c:pt>
                <c:pt idx="20951">
                  <c:v>-0.70986760022262096</c:v>
                </c:pt>
                <c:pt idx="20952">
                  <c:v>-0.53563022333051302</c:v>
                </c:pt>
                <c:pt idx="20953">
                  <c:v>-0.87995646814110795</c:v>
                </c:pt>
                <c:pt idx="20954">
                  <c:v>-0.66008549253916204</c:v>
                </c:pt>
                <c:pt idx="20955">
                  <c:v>-1.03759980913873</c:v>
                </c:pt>
                <c:pt idx="20956">
                  <c:v>-0.99196621042889099</c:v>
                </c:pt>
                <c:pt idx="20957">
                  <c:v>-1.0500453360595901</c:v>
                </c:pt>
                <c:pt idx="20958">
                  <c:v>-1.22013420397808</c:v>
                </c:pt>
                <c:pt idx="20959">
                  <c:v>2.4098111479408399</c:v>
                </c:pt>
                <c:pt idx="20960">
                  <c:v>1.64648549679446</c:v>
                </c:pt>
                <c:pt idx="20961">
                  <c:v>1.6091489160318599</c:v>
                </c:pt>
                <c:pt idx="20962">
                  <c:v>1.43491153913976</c:v>
                </c:pt>
                <c:pt idx="20963">
                  <c:v>1.3146047789047299</c:v>
                </c:pt>
                <c:pt idx="20964">
                  <c:v>0.61350676236267498</c:v>
                </c:pt>
                <c:pt idx="20965">
                  <c:v>0.21524990089500001</c:v>
                </c:pt>
                <c:pt idx="20966">
                  <c:v>-0.19130397851991901</c:v>
                </c:pt>
                <c:pt idx="20967">
                  <c:v>-0.32405626567581097</c:v>
                </c:pt>
                <c:pt idx="20968">
                  <c:v>-0.34479881054391898</c:v>
                </c:pt>
                <c:pt idx="20969">
                  <c:v>-0.42776899001635099</c:v>
                </c:pt>
                <c:pt idx="20970">
                  <c:v>-0.37798688233289202</c:v>
                </c:pt>
                <c:pt idx="20971">
                  <c:v>-0.52733320538327</c:v>
                </c:pt>
                <c:pt idx="20972">
                  <c:v>-0.81772883353678305</c:v>
                </c:pt>
                <c:pt idx="20973">
                  <c:v>-0.66008549253916204</c:v>
                </c:pt>
                <c:pt idx="20974">
                  <c:v>-0.92559006685094503</c:v>
                </c:pt>
                <c:pt idx="20975">
                  <c:v>-0.87580795916748599</c:v>
                </c:pt>
                <c:pt idx="20976">
                  <c:v>1.0200606417775899</c:v>
                </c:pt>
                <c:pt idx="20977">
                  <c:v>1.2108920545641899</c:v>
                </c:pt>
                <c:pt idx="20978">
                  <c:v>0.132279721422568</c:v>
                </c:pt>
                <c:pt idx="20979">
                  <c:v>-0.14567037981008099</c:v>
                </c:pt>
                <c:pt idx="20980">
                  <c:v>-0.216195032361649</c:v>
                </c:pt>
                <c:pt idx="20981">
                  <c:v>-0.41947197206910802</c:v>
                </c:pt>
                <c:pt idx="20982">
                  <c:v>-0.18300696057267599</c:v>
                </c:pt>
                <c:pt idx="20983">
                  <c:v>-0.64763996561829695</c:v>
                </c:pt>
                <c:pt idx="20984">
                  <c:v>-0.97537217453440495</c:v>
                </c:pt>
                <c:pt idx="20985">
                  <c:v>-1.26991631166154</c:v>
                </c:pt>
                <c:pt idx="20986">
                  <c:v>1.83316840060743</c:v>
                </c:pt>
                <c:pt idx="20987">
                  <c:v>1.21918907251143</c:v>
                </c:pt>
                <c:pt idx="20988">
                  <c:v>0.55127912775835097</c:v>
                </c:pt>
                <c:pt idx="20989">
                  <c:v>-9.5888272126621502E-2</c:v>
                </c:pt>
                <c:pt idx="20990">
                  <c:v>-0.65178847459191902</c:v>
                </c:pt>
                <c:pt idx="20991">
                  <c:v>-0.68912505535451296</c:v>
                </c:pt>
                <c:pt idx="20992">
                  <c:v>-1.75529186157527</c:v>
                </c:pt>
                <c:pt idx="20993">
                  <c:v>-1.60179702955127</c:v>
                </c:pt>
                <c:pt idx="20994">
                  <c:v>-1.9710143282035899</c:v>
                </c:pt>
                <c:pt idx="20995">
                  <c:v>-1.929529238467379</c:v>
                </c:pt>
                <c:pt idx="20996">
                  <c:v>-1.929529238467379</c:v>
                </c:pt>
                <c:pt idx="20997">
                  <c:v>2.34343500436289</c:v>
                </c:pt>
                <c:pt idx="20998">
                  <c:v>1.8414654185546699</c:v>
                </c:pt>
                <c:pt idx="20999">
                  <c:v>1.4846936468232199</c:v>
                </c:pt>
                <c:pt idx="21000">
                  <c:v>1.30630776095749</c:v>
                </c:pt>
                <c:pt idx="21001">
                  <c:v>0.19035884705327</c:v>
                </c:pt>
                <c:pt idx="21002">
                  <c:v>-0.23278906825613499</c:v>
                </c:pt>
                <c:pt idx="21003">
                  <c:v>-0.51073916948878395</c:v>
                </c:pt>
                <c:pt idx="21004">
                  <c:v>-0.69742207330175598</c:v>
                </c:pt>
                <c:pt idx="21005">
                  <c:v>-1.0002632283761299</c:v>
                </c:pt>
                <c:pt idx="21006">
                  <c:v>-1.0417483181123499</c:v>
                </c:pt>
                <c:pt idx="21007">
                  <c:v>-1.17864911424186</c:v>
                </c:pt>
                <c:pt idx="21008">
                  <c:v>-1.1330155155320301</c:v>
                </c:pt>
                <c:pt idx="21009">
                  <c:v>-1.33214394626586</c:v>
                </c:pt>
                <c:pt idx="21010">
                  <c:v>-1.3653320180548401</c:v>
                </c:pt>
                <c:pt idx="21011">
                  <c:v>-1.2948073655032699</c:v>
                </c:pt>
                <c:pt idx="21012">
                  <c:v>-1.3238469283186201</c:v>
                </c:pt>
                <c:pt idx="21013">
                  <c:v>-1.3611835090812201</c:v>
                </c:pt>
                <c:pt idx="21014">
                  <c:v>-1.3985200898438099</c:v>
                </c:pt>
                <c:pt idx="21015">
                  <c:v>2.3309894774420301</c:v>
                </c:pt>
                <c:pt idx="21016">
                  <c:v>2.2314252620751098</c:v>
                </c:pt>
                <c:pt idx="21017">
                  <c:v>1.73360418524051</c:v>
                </c:pt>
                <c:pt idx="21018">
                  <c:v>1.26897118019489</c:v>
                </c:pt>
                <c:pt idx="21019">
                  <c:v>0.675734396967</c:v>
                </c:pt>
                <c:pt idx="21020">
                  <c:v>-8.3442745205756702E-2</c:v>
                </c:pt>
                <c:pt idx="21021">
                  <c:v>-0.58126382204035099</c:v>
                </c:pt>
                <c:pt idx="21022">
                  <c:v>-0.67667952843364798</c:v>
                </c:pt>
                <c:pt idx="21023">
                  <c:v>-0.780392252774189</c:v>
                </c:pt>
                <c:pt idx="21024">
                  <c:v>-0.664234001512783</c:v>
                </c:pt>
                <c:pt idx="21025">
                  <c:v>-0.71816461816986399</c:v>
                </c:pt>
                <c:pt idx="21026">
                  <c:v>-0.78454076174780996</c:v>
                </c:pt>
                <c:pt idx="21027">
                  <c:v>-0.80943181558954003</c:v>
                </c:pt>
                <c:pt idx="21028">
                  <c:v>-0.896550504035594</c:v>
                </c:pt>
                <c:pt idx="21029">
                  <c:v>-0.86751094122024297</c:v>
                </c:pt>
                <c:pt idx="21030">
                  <c:v>-1.11642147963754</c:v>
                </c:pt>
                <c:pt idx="21031">
                  <c:v>-1.2367282398725701</c:v>
                </c:pt>
                <c:pt idx="21032">
                  <c:v>-1.2533222757670499</c:v>
                </c:pt>
                <c:pt idx="21033">
                  <c:v>-1.0417483181123499</c:v>
                </c:pt>
                <c:pt idx="21034">
                  <c:v>-1.1910946411627299</c:v>
                </c:pt>
                <c:pt idx="21035">
                  <c:v>-1.24502525781981</c:v>
                </c:pt>
                <c:pt idx="21036">
                  <c:v>-1.1537580604001301</c:v>
                </c:pt>
                <c:pt idx="21037">
                  <c:v>-1.2367282398725701</c:v>
                </c:pt>
                <c:pt idx="21038">
                  <c:v>-1.0666393719540801</c:v>
                </c:pt>
                <c:pt idx="21039">
                  <c:v>-1.2533222757670499</c:v>
                </c:pt>
                <c:pt idx="21040">
                  <c:v>-1.14131253347927</c:v>
                </c:pt>
                <c:pt idx="21041">
                  <c:v>-1.15790656937376</c:v>
                </c:pt>
                <c:pt idx="21042">
                  <c:v>-1.2325797308989499</c:v>
                </c:pt>
                <c:pt idx="21043">
                  <c:v>-1.1703520962946199</c:v>
                </c:pt>
                <c:pt idx="21044">
                  <c:v>-1.20354016808359</c:v>
                </c:pt>
                <c:pt idx="21045">
                  <c:v>-1.012708755297</c:v>
                </c:pt>
                <c:pt idx="21046">
                  <c:v>-1.22013420397808</c:v>
                </c:pt>
                <c:pt idx="21047">
                  <c:v>-1.24917376679343</c:v>
                </c:pt>
                <c:pt idx="21048">
                  <c:v>-1.1496095514265099</c:v>
                </c:pt>
                <c:pt idx="21049">
                  <c:v>-1.26991631166154</c:v>
                </c:pt>
                <c:pt idx="21050">
                  <c:v>-1.1745006052682401</c:v>
                </c:pt>
                <c:pt idx="21051">
                  <c:v>-1.2367282398725701</c:v>
                </c:pt>
                <c:pt idx="21052">
                  <c:v>-1.0458968270859701</c:v>
                </c:pt>
                <c:pt idx="21053">
                  <c:v>-1.2242827129517</c:v>
                </c:pt>
                <c:pt idx="21054">
                  <c:v>-1.0417483181123499</c:v>
                </c:pt>
                <c:pt idx="21055">
                  <c:v>-1.22013420397808</c:v>
                </c:pt>
                <c:pt idx="21056">
                  <c:v>-1.2367282398725701</c:v>
                </c:pt>
                <c:pt idx="21057">
                  <c:v>-1.1454610424528899</c:v>
                </c:pt>
                <c:pt idx="21058">
                  <c:v>-1.29065885652965</c:v>
                </c:pt>
                <c:pt idx="21059">
                  <c:v>-1.1745006052682401</c:v>
                </c:pt>
                <c:pt idx="21060">
                  <c:v>-1.2284312219253199</c:v>
                </c:pt>
                <c:pt idx="21061">
                  <c:v>-1.0458968270859701</c:v>
                </c:pt>
                <c:pt idx="21062">
                  <c:v>-1.2367282398725701</c:v>
                </c:pt>
                <c:pt idx="21063">
                  <c:v>-1.2616192937143</c:v>
                </c:pt>
                <c:pt idx="21064">
                  <c:v>-1.16205507834738</c:v>
                </c:pt>
                <c:pt idx="21065">
                  <c:v>-1.2574707847406801</c:v>
                </c:pt>
                <c:pt idx="21066">
                  <c:v>-1.17864911424186</c:v>
                </c:pt>
                <c:pt idx="21067">
                  <c:v>-1.24917376679343</c:v>
                </c:pt>
                <c:pt idx="21068">
                  <c:v>-1.24087674884619</c:v>
                </c:pt>
                <c:pt idx="21069">
                  <c:v>-1.2367282398725701</c:v>
                </c:pt>
                <c:pt idx="21070">
                  <c:v>-1.0707878809277001</c:v>
                </c:pt>
                <c:pt idx="21071">
                  <c:v>-1.26991631166154</c:v>
                </c:pt>
                <c:pt idx="21072">
                  <c:v>-1.24917376679343</c:v>
                </c:pt>
                <c:pt idx="21073">
                  <c:v>-1.24087674884619</c:v>
                </c:pt>
                <c:pt idx="21074">
                  <c:v>-1.26991631166154</c:v>
                </c:pt>
                <c:pt idx="21075">
                  <c:v>-1.2242827129517</c:v>
                </c:pt>
                <c:pt idx="21076">
                  <c:v>-1.26991631166154</c:v>
                </c:pt>
                <c:pt idx="21077">
                  <c:v>-1.2533222757670499</c:v>
                </c:pt>
                <c:pt idx="21078">
                  <c:v>-1.3196984193450001</c:v>
                </c:pt>
                <c:pt idx="21079">
                  <c:v>-1.1662035873209999</c:v>
                </c:pt>
                <c:pt idx="21080">
                  <c:v>-1.22013420397808</c:v>
                </c:pt>
                <c:pt idx="21081">
                  <c:v>-1.03345130016511</c:v>
                </c:pt>
                <c:pt idx="21082">
                  <c:v>1.9327326159743501</c:v>
                </c:pt>
                <c:pt idx="21083">
                  <c:v>1.5137332096385701</c:v>
                </c:pt>
                <c:pt idx="21084">
                  <c:v>1.15696143790711</c:v>
                </c:pt>
                <c:pt idx="21085">
                  <c:v>2.4418488108405401E-2</c:v>
                </c:pt>
                <c:pt idx="21086">
                  <c:v>-0.15396739775732399</c:v>
                </c:pt>
                <c:pt idx="21087">
                  <c:v>-0.63519443869743197</c:v>
                </c:pt>
                <c:pt idx="21088">
                  <c:v>-0.68912505535451296</c:v>
                </c:pt>
                <c:pt idx="21089">
                  <c:v>-0.87580795916748599</c:v>
                </c:pt>
                <c:pt idx="21090">
                  <c:v>-0.92559006685094503</c:v>
                </c:pt>
                <c:pt idx="21091">
                  <c:v>-1.0251542822178601</c:v>
                </c:pt>
                <c:pt idx="21092">
                  <c:v>-1.22013420397808</c:v>
                </c:pt>
                <c:pt idx="21093">
                  <c:v>-1.26576780268792</c:v>
                </c:pt>
                <c:pt idx="21094">
                  <c:v>-1.3445894731867301</c:v>
                </c:pt>
                <c:pt idx="21095">
                  <c:v>-1.2616192937143</c:v>
                </c:pt>
                <c:pt idx="21096">
                  <c:v>1.7875348018975901</c:v>
                </c:pt>
                <c:pt idx="21097">
                  <c:v>1.09473380330278</c:v>
                </c:pt>
                <c:pt idx="21098">
                  <c:v>-0.17056143365181101</c:v>
                </c:pt>
                <c:pt idx="21099">
                  <c:v>-0.56881829511948601</c:v>
                </c:pt>
                <c:pt idx="21100">
                  <c:v>-0.69742207330175598</c:v>
                </c:pt>
                <c:pt idx="21101">
                  <c:v>-0.56466978614586505</c:v>
                </c:pt>
                <c:pt idx="21102">
                  <c:v>-0.87165945019386404</c:v>
                </c:pt>
                <c:pt idx="21103">
                  <c:v>-0.85091690532575603</c:v>
                </c:pt>
                <c:pt idx="21104">
                  <c:v>-0.92559006685094503</c:v>
                </c:pt>
                <c:pt idx="21105">
                  <c:v>-0.92973857582456698</c:v>
                </c:pt>
                <c:pt idx="21106">
                  <c:v>-0.896550504035594</c:v>
                </c:pt>
                <c:pt idx="21107">
                  <c:v>-0.95462962966629705</c:v>
                </c:pt>
                <c:pt idx="21108">
                  <c:v>-0.95048112069267499</c:v>
                </c:pt>
                <c:pt idx="21109">
                  <c:v>-0.97122366556078299</c:v>
                </c:pt>
                <c:pt idx="21110">
                  <c:v>-1.00856024632338</c:v>
                </c:pt>
                <c:pt idx="21111">
                  <c:v>-0.97122366556078299</c:v>
                </c:pt>
                <c:pt idx="21112">
                  <c:v>-1.0500453360595901</c:v>
                </c:pt>
                <c:pt idx="21113">
                  <c:v>-1.03345130016511</c:v>
                </c:pt>
                <c:pt idx="21114">
                  <c:v>-0.95462962966629705</c:v>
                </c:pt>
                <c:pt idx="21115">
                  <c:v>-1.02930279119149</c:v>
                </c:pt>
                <c:pt idx="21116">
                  <c:v>-1.0707878809277001</c:v>
                </c:pt>
                <c:pt idx="21117">
                  <c:v>-1.19939165910997</c:v>
                </c:pt>
                <c:pt idx="21118">
                  <c:v>-1.3031043834505101</c:v>
                </c:pt>
                <c:pt idx="21119">
                  <c:v>-1.3031043834505101</c:v>
                </c:pt>
                <c:pt idx="21120">
                  <c:v>-1.1952431501363501</c:v>
                </c:pt>
                <c:pt idx="21121">
                  <c:v>-1.3196984193450001</c:v>
                </c:pt>
                <c:pt idx="21122">
                  <c:v>-1.3362924552394899</c:v>
                </c:pt>
                <c:pt idx="21123">
                  <c:v>-1.30725289242413</c:v>
                </c:pt>
                <c:pt idx="21124">
                  <c:v>-1.427559652659159</c:v>
                </c:pt>
                <c:pt idx="21125">
                  <c:v>-1.5105298321315901</c:v>
                </c:pt>
                <c:pt idx="21126">
                  <c:v>1.8705049813700301</c:v>
                </c:pt>
                <c:pt idx="21127">
                  <c:v>1.24822863532678</c:v>
                </c:pt>
                <c:pt idx="21128">
                  <c:v>0.16961630218516199</c:v>
                </c:pt>
                <c:pt idx="21129">
                  <c:v>-0.53977873230413498</c:v>
                </c:pt>
                <c:pt idx="21130">
                  <c:v>-0.65593698356553998</c:v>
                </c:pt>
                <c:pt idx="21131">
                  <c:v>-0.60615487588208095</c:v>
                </c:pt>
                <c:pt idx="21132">
                  <c:v>-0.643491456644675</c:v>
                </c:pt>
                <c:pt idx="21133">
                  <c:v>-0.80943181558954003</c:v>
                </c:pt>
                <c:pt idx="21134">
                  <c:v>-0.684976546380892</c:v>
                </c:pt>
                <c:pt idx="21135">
                  <c:v>-0.85091690532575603</c:v>
                </c:pt>
                <c:pt idx="21136">
                  <c:v>-0.75550119893245904</c:v>
                </c:pt>
                <c:pt idx="21137">
                  <c:v>-0.93388708479818905</c:v>
                </c:pt>
                <c:pt idx="21138">
                  <c:v>-0.780392252774189</c:v>
                </c:pt>
                <c:pt idx="21139">
                  <c:v>-0.87580795916748599</c:v>
                </c:pt>
                <c:pt idx="21140">
                  <c:v>-0.93388708479818905</c:v>
                </c:pt>
                <c:pt idx="21141">
                  <c:v>-0.79698628866867505</c:v>
                </c:pt>
                <c:pt idx="21142">
                  <c:v>-0.95462962966629705</c:v>
                </c:pt>
                <c:pt idx="21143">
                  <c:v>-1.00856024632338</c:v>
                </c:pt>
                <c:pt idx="21144">
                  <c:v>-0.95048112069267499</c:v>
                </c:pt>
                <c:pt idx="21145">
                  <c:v>-0.88825348608835097</c:v>
                </c:pt>
                <c:pt idx="21146">
                  <c:v>-1.012708755297</c:v>
                </c:pt>
                <c:pt idx="21147">
                  <c:v>-0.85921392327299995</c:v>
                </c:pt>
                <c:pt idx="21148">
                  <c:v>-1.0044117373497601</c:v>
                </c:pt>
                <c:pt idx="21149">
                  <c:v>-1.1496095514265099</c:v>
                </c:pt>
                <c:pt idx="21150">
                  <c:v>-1.2616192937143</c:v>
                </c:pt>
                <c:pt idx="21151">
                  <c:v>-1.3238469283186201</c:v>
                </c:pt>
                <c:pt idx="21152">
                  <c:v>-1.2948073655032699</c:v>
                </c:pt>
                <c:pt idx="21153">
                  <c:v>-1.1330155155320301</c:v>
                </c:pt>
                <c:pt idx="21154">
                  <c:v>-1.3611835090812201</c:v>
                </c:pt>
                <c:pt idx="21155">
                  <c:v>-1.3155499103713799</c:v>
                </c:pt>
                <c:pt idx="21156">
                  <c:v>-1.2823618385824</c:v>
                </c:pt>
                <c:pt idx="21157">
                  <c:v>-1.3985200898438099</c:v>
                </c:pt>
                <c:pt idx="21158">
                  <c:v>-1.4068171077910501</c:v>
                </c:pt>
                <c:pt idx="21159">
                  <c:v>-1.3196984193450001</c:v>
                </c:pt>
                <c:pt idx="21160">
                  <c:v>-1.3362924552394899</c:v>
                </c:pt>
                <c:pt idx="21161">
                  <c:v>-1.3445894731867301</c:v>
                </c:pt>
                <c:pt idx="21162">
                  <c:v>-1.28651034755603</c:v>
                </c:pt>
                <c:pt idx="21163">
                  <c:v>-0.90484752198283702</c:v>
                </c:pt>
                <c:pt idx="21164">
                  <c:v>-0.81772883353678305</c:v>
                </c:pt>
                <c:pt idx="21165">
                  <c:v>-1.2118371860308399</c:v>
                </c:pt>
                <c:pt idx="21166">
                  <c:v>-1.2616192937143</c:v>
                </c:pt>
                <c:pt idx="21167">
                  <c:v>-1.3860745629229501</c:v>
                </c:pt>
                <c:pt idx="21168">
                  <c:v>-1.32799543729224</c:v>
                </c:pt>
                <c:pt idx="21169">
                  <c:v>-1.22013420397808</c:v>
                </c:pt>
                <c:pt idx="21170">
                  <c:v>-1.3611835090812201</c:v>
                </c:pt>
                <c:pt idx="21171">
                  <c:v>-1.3570350001075899</c:v>
                </c:pt>
                <c:pt idx="21172">
                  <c:v>-1.3653320180548401</c:v>
                </c:pt>
                <c:pt idx="21173">
                  <c:v>-1.3031043834505101</c:v>
                </c:pt>
                <c:pt idx="21174">
                  <c:v>-1.3196984193450001</c:v>
                </c:pt>
                <c:pt idx="21175">
                  <c:v>-1.473193251369</c:v>
                </c:pt>
                <c:pt idx="21176">
                  <c:v>-1.4400051795800299</c:v>
                </c:pt>
                <c:pt idx="21177">
                  <c:v>-1.4483021975272701</c:v>
                </c:pt>
                <c:pt idx="21178">
                  <c:v>-1.3362924552394899</c:v>
                </c:pt>
                <c:pt idx="21179">
                  <c:v>-1.3860745629229501</c:v>
                </c:pt>
                <c:pt idx="21180">
                  <c:v>-1.45659921547451</c:v>
                </c:pt>
                <c:pt idx="21181">
                  <c:v>-1.4068171077910501</c:v>
                </c:pt>
                <c:pt idx="21182">
                  <c:v>-1.4814902693162399</c:v>
                </c:pt>
                <c:pt idx="21183">
                  <c:v>-1.3653320180548401</c:v>
                </c:pt>
                <c:pt idx="21184">
                  <c:v>-1.4856387782898599</c:v>
                </c:pt>
                <c:pt idx="21185">
                  <c:v>-0.25353161312424299</c:v>
                </c:pt>
                <c:pt idx="21186">
                  <c:v>7.8244522139189494E-3</c:v>
                </c:pt>
                <c:pt idx="21187">
                  <c:v>-0.95462962966629705</c:v>
                </c:pt>
                <c:pt idx="21188">
                  <c:v>-0.96292664761353997</c:v>
                </c:pt>
                <c:pt idx="21189">
                  <c:v>-1.1454610424528899</c:v>
                </c:pt>
                <c:pt idx="21190">
                  <c:v>-0.81358032456316198</c:v>
                </c:pt>
                <c:pt idx="21191">
                  <c:v>-1.1288670065584001</c:v>
                </c:pt>
                <c:pt idx="21192">
                  <c:v>-0.98366919248164797</c:v>
                </c:pt>
                <c:pt idx="21193">
                  <c:v>-1.2989558744768901</c:v>
                </c:pt>
                <c:pt idx="21194">
                  <c:v>-1.0915304257958101</c:v>
                </c:pt>
                <c:pt idx="21195">
                  <c:v>-1.26991631166154</c:v>
                </c:pt>
                <c:pt idx="21196">
                  <c:v>-1.05834235400684</c:v>
                </c:pt>
                <c:pt idx="21197">
                  <c:v>-1.2533222757670499</c:v>
                </c:pt>
                <c:pt idx="21198">
                  <c:v>-1.1537580604001301</c:v>
                </c:pt>
                <c:pt idx="21199">
                  <c:v>-1.1039759527166799</c:v>
                </c:pt>
                <c:pt idx="21200">
                  <c:v>-0.98366919248164797</c:v>
                </c:pt>
                <c:pt idx="21201">
                  <c:v>-1.05419384503322</c:v>
                </c:pt>
                <c:pt idx="21202">
                  <c:v>-0.93803559377181001</c:v>
                </c:pt>
                <c:pt idx="21203">
                  <c:v>-0.780392252774189</c:v>
                </c:pt>
                <c:pt idx="21204">
                  <c:v>-0.97952068350802701</c:v>
                </c:pt>
                <c:pt idx="21205">
                  <c:v>-0.85506541429937799</c:v>
                </c:pt>
                <c:pt idx="21206">
                  <c:v>-0.84676839635213497</c:v>
                </c:pt>
                <c:pt idx="21207">
                  <c:v>-0.88410497711472902</c:v>
                </c:pt>
                <c:pt idx="21208">
                  <c:v>-1.0044117373497601</c:v>
                </c:pt>
                <c:pt idx="21209">
                  <c:v>-0.93388708479818905</c:v>
                </c:pt>
                <c:pt idx="21210">
                  <c:v>-0.85506541429937799</c:v>
                </c:pt>
                <c:pt idx="21211">
                  <c:v>-0.84676839635213497</c:v>
                </c:pt>
                <c:pt idx="21212">
                  <c:v>-0.89240199506197204</c:v>
                </c:pt>
                <c:pt idx="21213">
                  <c:v>-0.87580795916748599</c:v>
                </c:pt>
                <c:pt idx="21214">
                  <c:v>-0.87580795916748599</c:v>
                </c:pt>
                <c:pt idx="21215">
                  <c:v>-0.87165945019386404</c:v>
                </c:pt>
                <c:pt idx="21216">
                  <c:v>-0.86751094122024297</c:v>
                </c:pt>
                <c:pt idx="21217">
                  <c:v>-0.87995646814110795</c:v>
                </c:pt>
                <c:pt idx="21218">
                  <c:v>-0.917293048903702</c:v>
                </c:pt>
                <c:pt idx="21219">
                  <c:v>-0.95462962966629705</c:v>
                </c:pt>
                <c:pt idx="21220">
                  <c:v>-0.95462962966629705</c:v>
                </c:pt>
                <c:pt idx="21221">
                  <c:v>-0.91314453993008105</c:v>
                </c:pt>
                <c:pt idx="21222">
                  <c:v>-0.95048112069267499</c:v>
                </c:pt>
                <c:pt idx="21223">
                  <c:v>-0.90484752198283702</c:v>
                </c:pt>
                <c:pt idx="21224">
                  <c:v>-1.05834235400684</c:v>
                </c:pt>
                <c:pt idx="21225">
                  <c:v>-1.215985695004459</c:v>
                </c:pt>
                <c:pt idx="21226">
                  <c:v>-1.2989558744768901</c:v>
                </c:pt>
                <c:pt idx="21227">
                  <c:v>-1.32799543729224</c:v>
                </c:pt>
                <c:pt idx="21228">
                  <c:v>-1.2242827129517</c:v>
                </c:pt>
                <c:pt idx="21229">
                  <c:v>-1.24917376679343</c:v>
                </c:pt>
                <c:pt idx="21230">
                  <c:v>-1.1454610424528899</c:v>
                </c:pt>
                <c:pt idx="21231">
                  <c:v>-1.32799543729224</c:v>
                </c:pt>
                <c:pt idx="21232">
                  <c:v>-1.24087674884619</c:v>
                </c:pt>
                <c:pt idx="21233">
                  <c:v>-1.3031043834505101</c:v>
                </c:pt>
                <c:pt idx="21234">
                  <c:v>-1.2948073655032699</c:v>
                </c:pt>
                <c:pt idx="21235">
                  <c:v>-1.2948073655032699</c:v>
                </c:pt>
                <c:pt idx="21236">
                  <c:v>-1.3196984193450001</c:v>
                </c:pt>
                <c:pt idx="21237">
                  <c:v>-1.3031043834505101</c:v>
                </c:pt>
                <c:pt idx="21238">
                  <c:v>-1.3196984193450001</c:v>
                </c:pt>
                <c:pt idx="21239">
                  <c:v>-1.2533222757670499</c:v>
                </c:pt>
                <c:pt idx="21240">
                  <c:v>-1.36948052702846</c:v>
                </c:pt>
                <c:pt idx="21241">
                  <c:v>-1.5271238680260799</c:v>
                </c:pt>
                <c:pt idx="21242">
                  <c:v>1.5095847006649501</c:v>
                </c:pt>
                <c:pt idx="21243">
                  <c:v>1.2357831084059201</c:v>
                </c:pt>
                <c:pt idx="21244">
                  <c:v>0.43512087649694597</c:v>
                </c:pt>
                <c:pt idx="21245">
                  <c:v>-0.48169960667343198</c:v>
                </c:pt>
                <c:pt idx="21246">
                  <c:v>-0.88410497711472902</c:v>
                </c:pt>
                <c:pt idx="21247">
                  <c:v>-0.56466978614586505</c:v>
                </c:pt>
                <c:pt idx="21248">
                  <c:v>-0.37798688233289202</c:v>
                </c:pt>
                <c:pt idx="21249">
                  <c:v>-0.62274891177656699</c:v>
                </c:pt>
                <c:pt idx="21250">
                  <c:v>-0.73890716303797299</c:v>
                </c:pt>
                <c:pt idx="21251">
                  <c:v>-0.73475865406435104</c:v>
                </c:pt>
                <c:pt idx="21252">
                  <c:v>-0.74720418098521602</c:v>
                </c:pt>
                <c:pt idx="21253">
                  <c:v>-0.78454076174780996</c:v>
                </c:pt>
                <c:pt idx="21254">
                  <c:v>-0.77209523482694598</c:v>
                </c:pt>
                <c:pt idx="21255">
                  <c:v>-0.75135268995883697</c:v>
                </c:pt>
                <c:pt idx="21256">
                  <c:v>-0.82602585148402696</c:v>
                </c:pt>
                <c:pt idx="21257">
                  <c:v>-0.75135268995883697</c:v>
                </c:pt>
                <c:pt idx="21258">
                  <c:v>-0.78454076174780996</c:v>
                </c:pt>
                <c:pt idx="21259">
                  <c:v>-0.81772883353678305</c:v>
                </c:pt>
                <c:pt idx="21260">
                  <c:v>-0.84261988737851301</c:v>
                </c:pt>
                <c:pt idx="21261">
                  <c:v>-0.83017436045764803</c:v>
                </c:pt>
                <c:pt idx="21262">
                  <c:v>-0.83432286943126999</c:v>
                </c:pt>
                <c:pt idx="21263">
                  <c:v>-0.84676839635213497</c:v>
                </c:pt>
                <c:pt idx="21264">
                  <c:v>-0.896550504035594</c:v>
                </c:pt>
                <c:pt idx="21265">
                  <c:v>-0.86336243224662101</c:v>
                </c:pt>
                <c:pt idx="21266">
                  <c:v>-0.91314453993008105</c:v>
                </c:pt>
                <c:pt idx="21267">
                  <c:v>-0.95877813863991801</c:v>
                </c:pt>
                <c:pt idx="21268">
                  <c:v>-0.90484752198283702</c:v>
                </c:pt>
                <c:pt idx="21269">
                  <c:v>-0.93803559377181001</c:v>
                </c:pt>
                <c:pt idx="21270">
                  <c:v>-1.1288670065584001</c:v>
                </c:pt>
                <c:pt idx="21271">
                  <c:v>-1.24087674884619</c:v>
                </c:pt>
                <c:pt idx="21272">
                  <c:v>-1.2574707847406801</c:v>
                </c:pt>
                <c:pt idx="21273">
                  <c:v>-1.215985695004459</c:v>
                </c:pt>
                <c:pt idx="21274">
                  <c:v>-1.215985695004459</c:v>
                </c:pt>
                <c:pt idx="21275">
                  <c:v>-1.0873819168221901</c:v>
                </c:pt>
                <c:pt idx="21276">
                  <c:v>-1.3031043834505101</c:v>
                </c:pt>
                <c:pt idx="21277">
                  <c:v>-1.2574707847406801</c:v>
                </c:pt>
                <c:pt idx="21278">
                  <c:v>1.89954454418538</c:v>
                </c:pt>
                <c:pt idx="21279">
                  <c:v>1.2565256532740301</c:v>
                </c:pt>
                <c:pt idx="21280">
                  <c:v>-4.62107470694591E-3</c:v>
                </c:pt>
                <c:pt idx="21281">
                  <c:v>-0.25768012209786501</c:v>
                </c:pt>
                <c:pt idx="21282">
                  <c:v>-0.72646163611710801</c:v>
                </c:pt>
                <c:pt idx="21283">
                  <c:v>-0.67253101946002702</c:v>
                </c:pt>
                <c:pt idx="21284">
                  <c:v>-0.56466978614586505</c:v>
                </c:pt>
                <c:pt idx="21285">
                  <c:v>-0.96707515658716203</c:v>
                </c:pt>
                <c:pt idx="21286">
                  <c:v>-1.05834235400684</c:v>
                </c:pt>
                <c:pt idx="21287">
                  <c:v>-1.1537580604001301</c:v>
                </c:pt>
                <c:pt idx="21288">
                  <c:v>-1.1869461321891099</c:v>
                </c:pt>
                <c:pt idx="21289">
                  <c:v>-1.1454610424528899</c:v>
                </c:pt>
                <c:pt idx="21290">
                  <c:v>-1.1910946411627299</c:v>
                </c:pt>
                <c:pt idx="21291">
                  <c:v>-1.1247184975847799</c:v>
                </c:pt>
                <c:pt idx="21292">
                  <c:v>-1.22013420397808</c:v>
                </c:pt>
                <c:pt idx="21293">
                  <c:v>-1.07908489887495</c:v>
                </c:pt>
                <c:pt idx="21294">
                  <c:v>-1.2325797308989499</c:v>
                </c:pt>
                <c:pt idx="21295">
                  <c:v>-1.00856024632338</c:v>
                </c:pt>
                <c:pt idx="21296">
                  <c:v>-1.2367282398725701</c:v>
                </c:pt>
                <c:pt idx="21297">
                  <c:v>-1.0915304257958101</c:v>
                </c:pt>
                <c:pt idx="21298">
                  <c:v>-1.2325797308989499</c:v>
                </c:pt>
                <c:pt idx="21299">
                  <c:v>-1.24917376679343</c:v>
                </c:pt>
                <c:pt idx="21300">
                  <c:v>-1.2242827129517</c:v>
                </c:pt>
                <c:pt idx="21301">
                  <c:v>-1.2118371860308399</c:v>
                </c:pt>
                <c:pt idx="21302">
                  <c:v>-1.2242827129517</c:v>
                </c:pt>
                <c:pt idx="21303">
                  <c:v>-1.2782133296087801</c:v>
                </c:pt>
                <c:pt idx="21304">
                  <c:v>-1.2284312219253199</c:v>
                </c:pt>
                <c:pt idx="21305">
                  <c:v>-1.2989558744768901</c:v>
                </c:pt>
                <c:pt idx="21306">
                  <c:v>-1.24917376679343</c:v>
                </c:pt>
                <c:pt idx="21307">
                  <c:v>-1.2076886770572199</c:v>
                </c:pt>
                <c:pt idx="21308">
                  <c:v>-1.215985695004459</c:v>
                </c:pt>
                <c:pt idx="21309">
                  <c:v>-1.33214394626586</c:v>
                </c:pt>
                <c:pt idx="21310">
                  <c:v>-1.2325797308989499</c:v>
                </c:pt>
                <c:pt idx="21311">
                  <c:v>-1.29065885652965</c:v>
                </c:pt>
                <c:pt idx="21312">
                  <c:v>-1.2533222757670499</c:v>
                </c:pt>
                <c:pt idx="21313">
                  <c:v>-1.20354016808359</c:v>
                </c:pt>
                <c:pt idx="21314">
                  <c:v>-1.1454610424528899</c:v>
                </c:pt>
                <c:pt idx="21315">
                  <c:v>-1.1703520962946199</c:v>
                </c:pt>
                <c:pt idx="21316">
                  <c:v>-1.1496095514265099</c:v>
                </c:pt>
                <c:pt idx="21317">
                  <c:v>-1.2325797308989499</c:v>
                </c:pt>
                <c:pt idx="21318">
                  <c:v>-1.15790656937376</c:v>
                </c:pt>
                <c:pt idx="21319">
                  <c:v>-1.1330155155320301</c:v>
                </c:pt>
                <c:pt idx="21320">
                  <c:v>-1.1537580604001301</c:v>
                </c:pt>
                <c:pt idx="21321">
                  <c:v>-1.1537580604001301</c:v>
                </c:pt>
                <c:pt idx="21322">
                  <c:v>-1.1496095514265099</c:v>
                </c:pt>
                <c:pt idx="21323">
                  <c:v>-1.13716402450565</c:v>
                </c:pt>
                <c:pt idx="21324">
                  <c:v>-1.215985695004459</c:v>
                </c:pt>
                <c:pt idx="21325">
                  <c:v>-1.1537580604001301</c:v>
                </c:pt>
                <c:pt idx="21326">
                  <c:v>-1.26576780268792</c:v>
                </c:pt>
                <c:pt idx="21327">
                  <c:v>-1.19939165910997</c:v>
                </c:pt>
                <c:pt idx="21328">
                  <c:v>-1.2325797308989499</c:v>
                </c:pt>
                <c:pt idx="21329">
                  <c:v>-1.2118371860308399</c:v>
                </c:pt>
                <c:pt idx="21330">
                  <c:v>-1.2367282398725701</c:v>
                </c:pt>
                <c:pt idx="21331">
                  <c:v>-1.1910946411627299</c:v>
                </c:pt>
                <c:pt idx="21332">
                  <c:v>-1.29065885652965</c:v>
                </c:pt>
                <c:pt idx="21333">
                  <c:v>-1.1703520962946199</c:v>
                </c:pt>
                <c:pt idx="21334">
                  <c:v>-1.2989558744768901</c:v>
                </c:pt>
                <c:pt idx="21335">
                  <c:v>-1.0666393719540801</c:v>
                </c:pt>
                <c:pt idx="21336">
                  <c:v>-1.2367282398725701</c:v>
                </c:pt>
                <c:pt idx="21337">
                  <c:v>-1.2242827129517</c:v>
                </c:pt>
                <c:pt idx="21338">
                  <c:v>-1.24087674884619</c:v>
                </c:pt>
                <c:pt idx="21339">
                  <c:v>-1.1869461321891099</c:v>
                </c:pt>
                <c:pt idx="21340">
                  <c:v>-1.24917376679343</c:v>
                </c:pt>
              </c:numCache>
            </c:numRef>
          </c:xVal>
          <c:yVal>
            <c:numRef>
              <c:f>working!$X$4:$X$21343</c:f>
              <c:numCache>
                <c:formatCode>General</c:formatCode>
                <c:ptCount val="21340"/>
                <c:pt idx="0">
                  <c:v>-0.89493111012713</c:v>
                </c:pt>
                <c:pt idx="1">
                  <c:v>-0.93563649963751305</c:v>
                </c:pt>
                <c:pt idx="2">
                  <c:v>-0.90619683067868195</c:v>
                </c:pt>
                <c:pt idx="3">
                  <c:v>-0.84583854883960097</c:v>
                </c:pt>
                <c:pt idx="4">
                  <c:v>-0.88169173694015401</c:v>
                </c:pt>
                <c:pt idx="5">
                  <c:v>-0.98768476269420902</c:v>
                </c:pt>
                <c:pt idx="6">
                  <c:v>-1.12663893370667</c:v>
                </c:pt>
                <c:pt idx="7">
                  <c:v>-1.13776995765949</c:v>
                </c:pt>
                <c:pt idx="8">
                  <c:v>-1.1408456465072501</c:v>
                </c:pt>
                <c:pt idx="9">
                  <c:v>-1.2161089262023901</c:v>
                </c:pt>
                <c:pt idx="10">
                  <c:v>-1.28101661999494</c:v>
                </c:pt>
                <c:pt idx="11">
                  <c:v>-1.28204977646455</c:v>
                </c:pt>
                <c:pt idx="12">
                  <c:v>-1.3734039976075401</c:v>
                </c:pt>
                <c:pt idx="13">
                  <c:v>-1.54103087435422</c:v>
                </c:pt>
                <c:pt idx="14">
                  <c:v>-1.29662299592108</c:v>
                </c:pt>
                <c:pt idx="15">
                  <c:v>-1.23426968629638</c:v>
                </c:pt>
                <c:pt idx="16">
                  <c:v>-1.1512740564645501</c:v>
                </c:pt>
                <c:pt idx="17">
                  <c:v>-1.15013868819363</c:v>
                </c:pt>
                <c:pt idx="18">
                  <c:v>-1.1696351984984199</c:v>
                </c:pt>
                <c:pt idx="19">
                  <c:v>-1.1540644003843099</c:v>
                </c:pt>
                <c:pt idx="20">
                  <c:v>-1.0295091037216999</c:v>
                </c:pt>
                <c:pt idx="21">
                  <c:v>-1.1093563350229001</c:v>
                </c:pt>
                <c:pt idx="22">
                  <c:v>-1.0221487528597899</c:v>
                </c:pt>
                <c:pt idx="23">
                  <c:v>-1.0978368469909201</c:v>
                </c:pt>
                <c:pt idx="24">
                  <c:v>-1.0993688903102801</c:v>
                </c:pt>
                <c:pt idx="25">
                  <c:v>-1.16553912843423</c:v>
                </c:pt>
                <c:pt idx="26">
                  <c:v>-1.1512775737844101</c:v>
                </c:pt>
                <c:pt idx="27">
                  <c:v>-1.01947438556378</c:v>
                </c:pt>
                <c:pt idx="28">
                  <c:v>-0.93922690961482103</c:v>
                </c:pt>
                <c:pt idx="29">
                  <c:v>-1.0029108054351801</c:v>
                </c:pt>
                <c:pt idx="30">
                  <c:v>-0.90785294131563898</c:v>
                </c:pt>
                <c:pt idx="31">
                  <c:v>-0.95710140729280602</c:v>
                </c:pt>
                <c:pt idx="32">
                  <c:v>-1.00430734089181</c:v>
                </c:pt>
                <c:pt idx="33">
                  <c:v>-1.00805001296645</c:v>
                </c:pt>
                <c:pt idx="34">
                  <c:v>-0.95608305641505997</c:v>
                </c:pt>
                <c:pt idx="35">
                  <c:v>-0.92679573163324702</c:v>
                </c:pt>
                <c:pt idx="36">
                  <c:v>-0.93462346846419897</c:v>
                </c:pt>
                <c:pt idx="37">
                  <c:v>-1.01481111900583</c:v>
                </c:pt>
                <c:pt idx="38">
                  <c:v>-1.1754253415055</c:v>
                </c:pt>
                <c:pt idx="39">
                  <c:v>-1.2762500914385499</c:v>
                </c:pt>
                <c:pt idx="40">
                  <c:v>-1.5296890041770199</c:v>
                </c:pt>
                <c:pt idx="41">
                  <c:v>-1.7672072070629501</c:v>
                </c:pt>
                <c:pt idx="42">
                  <c:v>-1.1078439440792001</c:v>
                </c:pt>
                <c:pt idx="43">
                  <c:v>-1.05662064313007</c:v>
                </c:pt>
                <c:pt idx="44">
                  <c:v>-0.99110483634954505</c:v>
                </c:pt>
                <c:pt idx="45">
                  <c:v>-0.94206699179036502</c:v>
                </c:pt>
                <c:pt idx="46">
                  <c:v>-0.98344956890991198</c:v>
                </c:pt>
                <c:pt idx="47">
                  <c:v>-0.97130797379338596</c:v>
                </c:pt>
                <c:pt idx="48">
                  <c:v>-0.86437322847366405</c:v>
                </c:pt>
                <c:pt idx="49">
                  <c:v>-0.91610617068008304</c:v>
                </c:pt>
                <c:pt idx="50">
                  <c:v>-0.94077245195676096</c:v>
                </c:pt>
                <c:pt idx="51">
                  <c:v>-0.948881477782623</c:v>
                </c:pt>
                <c:pt idx="52">
                  <c:v>-0.99002572128064703</c:v>
                </c:pt>
                <c:pt idx="53">
                  <c:v>-1.02496829523044</c:v>
                </c:pt>
                <c:pt idx="54">
                  <c:v>-1.10060685114645</c:v>
                </c:pt>
                <c:pt idx="55">
                  <c:v>-1.1535657752928901</c:v>
                </c:pt>
                <c:pt idx="56">
                  <c:v>-1.1941265811585799</c:v>
                </c:pt>
                <c:pt idx="57">
                  <c:v>-1.2182834972166701</c:v>
                </c:pt>
                <c:pt idx="58">
                  <c:v>-1.2022755109716501</c:v>
                </c:pt>
                <c:pt idx="59">
                  <c:v>-1.1615453605788999</c:v>
                </c:pt>
                <c:pt idx="60">
                  <c:v>-1.1496912906882299</c:v>
                </c:pt>
                <c:pt idx="61">
                  <c:v>-1.14192228555388</c:v>
                </c:pt>
                <c:pt idx="62">
                  <c:v>-1.2039766223000701</c:v>
                </c:pt>
                <c:pt idx="63">
                  <c:v>-1.2392714833360701</c:v>
                </c:pt>
                <c:pt idx="64">
                  <c:v>-1.3405574864869301</c:v>
                </c:pt>
                <c:pt idx="65">
                  <c:v>-1.44380672878649</c:v>
                </c:pt>
                <c:pt idx="66">
                  <c:v>-1.4952252340868699</c:v>
                </c:pt>
                <c:pt idx="67">
                  <c:v>-1.5590366368522901</c:v>
                </c:pt>
                <c:pt idx="68">
                  <c:v>-1.5856589055911801</c:v>
                </c:pt>
                <c:pt idx="69">
                  <c:v>-1.6267958974027299</c:v>
                </c:pt>
                <c:pt idx="70">
                  <c:v>-1.66766876719456</c:v>
                </c:pt>
                <c:pt idx="71">
                  <c:v>-1.64051318330908</c:v>
                </c:pt>
                <c:pt idx="72">
                  <c:v>-1.1276098214125401</c:v>
                </c:pt>
                <c:pt idx="73">
                  <c:v>-1.1265867564441101</c:v>
                </c:pt>
                <c:pt idx="74">
                  <c:v>-1.0307069104901501</c:v>
                </c:pt>
                <c:pt idx="75">
                  <c:v>-1.08873488225176</c:v>
                </c:pt>
                <c:pt idx="76">
                  <c:v>-1.1138069295706601</c:v>
                </c:pt>
                <c:pt idx="77">
                  <c:v>-0.94084714057838403</c:v>
                </c:pt>
                <c:pt idx="78">
                  <c:v>-0.90809817529506598</c:v>
                </c:pt>
                <c:pt idx="79">
                  <c:v>-0.92673004853117302</c:v>
                </c:pt>
                <c:pt idx="80">
                  <c:v>-1.00719392671207</c:v>
                </c:pt>
                <c:pt idx="81">
                  <c:v>-0.93096379814694097</c:v>
                </c:pt>
                <c:pt idx="82">
                  <c:v>-0.97431261471507002</c:v>
                </c:pt>
                <c:pt idx="83">
                  <c:v>-1.003839492527409</c:v>
                </c:pt>
                <c:pt idx="84">
                  <c:v>-1.0355570475454099</c:v>
                </c:pt>
                <c:pt idx="85">
                  <c:v>-0.95162735654325503</c:v>
                </c:pt>
                <c:pt idx="86">
                  <c:v>-0.88629223255435796</c:v>
                </c:pt>
                <c:pt idx="87">
                  <c:v>-0.97023527536059295</c:v>
                </c:pt>
                <c:pt idx="88">
                  <c:v>-1.0067817430652299</c:v>
                </c:pt>
                <c:pt idx="89">
                  <c:v>-0.92775503716345997</c:v>
                </c:pt>
                <c:pt idx="90">
                  <c:v>-0.99317758537018996</c:v>
                </c:pt>
                <c:pt idx="91">
                  <c:v>-1.04067415713559</c:v>
                </c:pt>
                <c:pt idx="92">
                  <c:v>-1.06957616188773</c:v>
                </c:pt>
                <c:pt idx="93">
                  <c:v>-0.85092792961945696</c:v>
                </c:pt>
                <c:pt idx="94">
                  <c:v>-0.85715552341773404</c:v>
                </c:pt>
                <c:pt idx="95">
                  <c:v>-0.91656298931218805</c:v>
                </c:pt>
                <c:pt idx="96">
                  <c:v>-0.94512591474014696</c:v>
                </c:pt>
                <c:pt idx="97">
                  <c:v>-0.95101442921424195</c:v>
                </c:pt>
                <c:pt idx="98">
                  <c:v>-0.831048256593098</c:v>
                </c:pt>
                <c:pt idx="99">
                  <c:v>-0.93962029989275997</c:v>
                </c:pt>
                <c:pt idx="100">
                  <c:v>-1.0090347492014999</c:v>
                </c:pt>
                <c:pt idx="101">
                  <c:v>-1.0062616076628601</c:v>
                </c:pt>
                <c:pt idx="102">
                  <c:v>-1.05919809475025</c:v>
                </c:pt>
                <c:pt idx="103">
                  <c:v>-1.08069931333561</c:v>
                </c:pt>
                <c:pt idx="104">
                  <c:v>-1.09804139475089</c:v>
                </c:pt>
                <c:pt idx="105">
                  <c:v>-1.12157992489869</c:v>
                </c:pt>
                <c:pt idx="106">
                  <c:v>-1.1244865764707801</c:v>
                </c:pt>
                <c:pt idx="107">
                  <c:v>-1.12612242524967</c:v>
                </c:pt>
                <c:pt idx="108">
                  <c:v>-1.0740911777806901</c:v>
                </c:pt>
                <c:pt idx="109">
                  <c:v>-1.0530526156057201</c:v>
                </c:pt>
                <c:pt idx="110">
                  <c:v>-1.0134194864174899</c:v>
                </c:pt>
                <c:pt idx="111">
                  <c:v>-1.0353327127035299</c:v>
                </c:pt>
                <c:pt idx="112">
                  <c:v>-1.0283698584874801</c:v>
                </c:pt>
                <c:pt idx="113">
                  <c:v>-1.0131680231607501</c:v>
                </c:pt>
                <c:pt idx="114">
                  <c:v>-1.0247256635441999</c:v>
                </c:pt>
                <c:pt idx="115">
                  <c:v>-0.99384994420621997</c:v>
                </c:pt>
                <c:pt idx="116">
                  <c:v>-1.0000099932515301</c:v>
                </c:pt>
                <c:pt idx="117">
                  <c:v>-0.98145309896482502</c:v>
                </c:pt>
                <c:pt idx="118">
                  <c:v>-0.97113518578879099</c:v>
                </c:pt>
                <c:pt idx="119">
                  <c:v>-1.0074236818184401</c:v>
                </c:pt>
                <c:pt idx="120">
                  <c:v>-1.0168786297241501</c:v>
                </c:pt>
                <c:pt idx="121">
                  <c:v>-1.01189814778668</c:v>
                </c:pt>
                <c:pt idx="122">
                  <c:v>-1.0213530956924</c:v>
                </c:pt>
                <c:pt idx="123">
                  <c:v>-1.0009663618734499</c:v>
                </c:pt>
                <c:pt idx="124">
                  <c:v>-1.01149302011904</c:v>
                </c:pt>
                <c:pt idx="125">
                  <c:v>-1.0240622107427899</c:v>
                </c:pt>
                <c:pt idx="126">
                  <c:v>-1.0201534391451901</c:v>
                </c:pt>
                <c:pt idx="127">
                  <c:v>-1.0159943314914499</c:v>
                </c:pt>
                <c:pt idx="128">
                  <c:v>-1.0138777562158701</c:v>
                </c:pt>
                <c:pt idx="129">
                  <c:v>-1.0261966107834699</c:v>
                </c:pt>
                <c:pt idx="130">
                  <c:v>-1.0240800355078901</c:v>
                </c:pt>
                <c:pt idx="131">
                  <c:v>-0.977692270227139</c:v>
                </c:pt>
                <c:pt idx="132">
                  <c:v>-0.94778246716773396</c:v>
                </c:pt>
                <c:pt idx="133">
                  <c:v>-0.91787266410832902</c:v>
                </c:pt>
                <c:pt idx="134">
                  <c:v>-0.87148489882757496</c:v>
                </c:pt>
                <c:pt idx="135">
                  <c:v>-0.892257094273746</c:v>
                </c:pt>
                <c:pt idx="136">
                  <c:v>-0.88007336527722202</c:v>
                </c:pt>
                <c:pt idx="137">
                  <c:v>-0.90084556072339195</c:v>
                </c:pt>
                <c:pt idx="138">
                  <c:v>-0.92577167252392001</c:v>
                </c:pt>
                <c:pt idx="139">
                  <c:v>-0.964013556200364</c:v>
                </c:pt>
                <c:pt idx="140">
                  <c:v>-0.94450849968833805</c:v>
                </c:pt>
                <c:pt idx="141">
                  <c:v>-0.94767785413017502</c:v>
                </c:pt>
                <c:pt idx="142">
                  <c:v>-0.92613026523999098</c:v>
                </c:pt>
                <c:pt idx="143">
                  <c:v>-0.86034862078808705</c:v>
                </c:pt>
                <c:pt idx="144">
                  <c:v>-0.81104493855753101</c:v>
                </c:pt>
                <c:pt idx="145">
                  <c:v>-0.776176686170164</c:v>
                </c:pt>
                <c:pt idx="146">
                  <c:v>-0.71863402282893396</c:v>
                </c:pt>
                <c:pt idx="147">
                  <c:v>-0.68176165042130399</c:v>
                </c:pt>
                <c:pt idx="148">
                  <c:v>-0.65517079150250801</c:v>
                </c:pt>
                <c:pt idx="149">
                  <c:v>-0.61210197036236302</c:v>
                </c:pt>
                <c:pt idx="150">
                  <c:v>-0.58551111144356605</c:v>
                </c:pt>
                <c:pt idx="151">
                  <c:v>-0.45369397280474499</c:v>
                </c:pt>
                <c:pt idx="152">
                  <c:v>-0.33835479638727101</c:v>
                </c:pt>
                <c:pt idx="153">
                  <c:v>-0.20653765774844901</c:v>
                </c:pt>
                <c:pt idx="154">
                  <c:v>-7.4720519109627695E-2</c:v>
                </c:pt>
                <c:pt idx="155">
                  <c:v>-8.7154399044507405E-2</c:v>
                </c:pt>
                <c:pt idx="156">
                  <c:v>-0.10782726009006099</c:v>
                </c:pt>
                <c:pt idx="157">
                  <c:v>-0.11202215891426701</c:v>
                </c:pt>
                <c:pt idx="158">
                  <c:v>-0.12445603884914599</c:v>
                </c:pt>
                <c:pt idx="159">
                  <c:v>-0.20460806849882299</c:v>
                </c:pt>
                <c:pt idx="160">
                  <c:v>-0.276521117037826</c:v>
                </c:pt>
                <c:pt idx="161">
                  <c:v>-0.34019518446615599</c:v>
                </c:pt>
                <c:pt idx="162">
                  <c:v>-0.39563027078381102</c:v>
                </c:pt>
                <c:pt idx="163">
                  <c:v>-0.29928447993558799</c:v>
                </c:pt>
                <c:pt idx="164">
                  <c:v>-0.22145918368687201</c:v>
                </c:pt>
                <c:pt idx="165">
                  <c:v>-0.10863543061730099</c:v>
                </c:pt>
                <c:pt idx="166">
                  <c:v>-8.1357234147217995E-3</c:v>
                </c:pt>
                <c:pt idx="167">
                  <c:v>-5.7017624561553203E-2</c:v>
                </c:pt>
                <c:pt idx="168">
                  <c:v>-0.10174038853831401</c:v>
                </c:pt>
                <c:pt idx="169">
                  <c:v>-0.125905346353123</c:v>
                </c:pt>
                <c:pt idx="170">
                  <c:v>-9.4365896357621201E-2</c:v>
                </c:pt>
                <c:pt idx="171">
                  <c:v>-2.6066779759094199E-2</c:v>
                </c:pt>
                <c:pt idx="172">
                  <c:v>9.1592151089722004E-2</c:v>
                </c:pt>
                <c:pt idx="173">
                  <c:v>0.197006329301015</c:v>
                </c:pt>
                <c:pt idx="174">
                  <c:v>4.2551445440621498E-2</c:v>
                </c:pt>
                <c:pt idx="175">
                  <c:v>3.94558888291461E-2</c:v>
                </c:pt>
                <c:pt idx="176">
                  <c:v>-2.95515166677193E-2</c:v>
                </c:pt>
                <c:pt idx="177">
                  <c:v>-8.6166024699553798E-2</c:v>
                </c:pt>
                <c:pt idx="178">
                  <c:v>-0.111935992264892</c:v>
                </c:pt>
                <c:pt idx="179">
                  <c:v>-0.14370697701537499</c:v>
                </c:pt>
                <c:pt idx="180">
                  <c:v>3.6925673606189702E-2</c:v>
                </c:pt>
                <c:pt idx="181">
                  <c:v>9.2147927188301903E-4</c:v>
                </c:pt>
                <c:pt idx="182">
                  <c:v>4.9502994065692897E-2</c:v>
                </c:pt>
                <c:pt idx="183">
                  <c:v>7.1691713521536804E-2</c:v>
                </c:pt>
                <c:pt idx="184">
                  <c:v>5.2532161780791099E-2</c:v>
                </c:pt>
                <c:pt idx="185">
                  <c:v>3.9574279588274301E-2</c:v>
                </c:pt>
                <c:pt idx="186">
                  <c:v>-9.7126905723284002E-2</c:v>
                </c:pt>
                <c:pt idx="187">
                  <c:v>3.7635007049777097E-2</c:v>
                </c:pt>
                <c:pt idx="188">
                  <c:v>0.12295781234308201</c:v>
                </c:pt>
                <c:pt idx="189">
                  <c:v>0.154089793676529</c:v>
                </c:pt>
                <c:pt idx="190">
                  <c:v>5.5731678456657198E-2</c:v>
                </c:pt>
                <c:pt idx="191">
                  <c:v>0.119335541167197</c:v>
                </c:pt>
                <c:pt idx="192">
                  <c:v>-4.3904882153214198E-2</c:v>
                </c:pt>
                <c:pt idx="193">
                  <c:v>-0.13284110983434</c:v>
                </c:pt>
                <c:pt idx="194">
                  <c:v>-0.14558397514124299</c:v>
                </c:pt>
                <c:pt idx="195">
                  <c:v>-0.124904132653417</c:v>
                </c:pt>
                <c:pt idx="196">
                  <c:v>-0.219728612173959</c:v>
                </c:pt>
                <c:pt idx="197">
                  <c:v>-0.37230003188297101</c:v>
                </c:pt>
                <c:pt idx="198">
                  <c:v>-0.49803790346804899</c:v>
                </c:pt>
                <c:pt idx="199">
                  <c:v>-0.61919662776920603</c:v>
                </c:pt>
                <c:pt idx="200">
                  <c:v>-0.74647772838912496</c:v>
                </c:pt>
                <c:pt idx="201">
                  <c:v>-0.88207188253347202</c:v>
                </c:pt>
                <c:pt idx="202">
                  <c:v>-0.93928199709793003</c:v>
                </c:pt>
                <c:pt idx="203">
                  <c:v>-0.92843654957367405</c:v>
                </c:pt>
                <c:pt idx="204">
                  <c:v>-0.91139465331690295</c:v>
                </c:pt>
                <c:pt idx="205">
                  <c:v>-0.89843260100073397</c:v>
                </c:pt>
                <c:pt idx="206">
                  <c:v>-0.87110919125512998</c:v>
                </c:pt>
                <c:pt idx="207">
                  <c:v>-0.95809897231018604</c:v>
                </c:pt>
                <c:pt idx="208">
                  <c:v>-1.0719223014891699</c:v>
                </c:pt>
                <c:pt idx="209">
                  <c:v>-1.1713049800092601</c:v>
                </c:pt>
                <c:pt idx="210">
                  <c:v>-1.2356944225242099</c:v>
                </c:pt>
                <c:pt idx="211">
                  <c:v>-1.14829437863106</c:v>
                </c:pt>
                <c:pt idx="212">
                  <c:v>-1.1803992074574201</c:v>
                </c:pt>
                <c:pt idx="213">
                  <c:v>-1.0951157683561801</c:v>
                </c:pt>
                <c:pt idx="214">
                  <c:v>-1.0695477294078299</c:v>
                </c:pt>
                <c:pt idx="215">
                  <c:v>-1.09588750572742</c:v>
                </c:pt>
                <c:pt idx="216">
                  <c:v>-1.10786070380187</c:v>
                </c:pt>
                <c:pt idx="217">
                  <c:v>-1.09300557456809</c:v>
                </c:pt>
                <c:pt idx="218">
                  <c:v>-1.08638942644499</c:v>
                </c:pt>
                <c:pt idx="219">
                  <c:v>-1.13799334914002</c:v>
                </c:pt>
                <c:pt idx="220">
                  <c:v>-1.1150911175652101</c:v>
                </c:pt>
                <c:pt idx="221">
                  <c:v>-1.0391812225169099</c:v>
                </c:pt>
                <c:pt idx="222">
                  <c:v>-1.01270521413265</c:v>
                </c:pt>
                <c:pt idx="223">
                  <c:v>-0.91207837575231898</c:v>
                </c:pt>
                <c:pt idx="224">
                  <c:v>-0.89527465256212602</c:v>
                </c:pt>
                <c:pt idx="225">
                  <c:v>-0.90523040508211206</c:v>
                </c:pt>
                <c:pt idx="226">
                  <c:v>-0.89666566300259198</c:v>
                </c:pt>
                <c:pt idx="227">
                  <c:v>-0.90457888314442003</c:v>
                </c:pt>
                <c:pt idx="228">
                  <c:v>-0.88175359473775305</c:v>
                </c:pt>
                <c:pt idx="229">
                  <c:v>-0.85892830633108597</c:v>
                </c:pt>
                <c:pt idx="230">
                  <c:v>-0.83814555030257798</c:v>
                </c:pt>
                <c:pt idx="231">
                  <c:v>-0.83179822411725901</c:v>
                </c:pt>
                <c:pt idx="232">
                  <c:v>-0.81854833609057898</c:v>
                </c:pt>
                <c:pt idx="233">
                  <c:v>-0.80325591568573995</c:v>
                </c:pt>
                <c:pt idx="234">
                  <c:v>-0.78796349528090204</c:v>
                </c:pt>
                <c:pt idx="235">
                  <c:v>-0.774713607254222</c:v>
                </c:pt>
                <c:pt idx="236">
                  <c:v>-0.742681097065651</c:v>
                </c:pt>
                <c:pt idx="237">
                  <c:v>-0.70240960576640599</c:v>
                </c:pt>
                <c:pt idx="238">
                  <c:v>-0.64566015224581297</c:v>
                </c:pt>
                <c:pt idx="239">
                  <c:v>-0.58891069872522095</c:v>
                </c:pt>
                <c:pt idx="240">
                  <c:v>-0.50641265821798698</c:v>
                </c:pt>
                <c:pt idx="241">
                  <c:v>-0.39095869326805899</c:v>
                </c:pt>
                <c:pt idx="242">
                  <c:v>-0.29198269053947801</c:v>
                </c:pt>
                <c:pt idx="243">
                  <c:v>-0.19920313654341201</c:v>
                </c:pt>
                <c:pt idx="244">
                  <c:v>-0.20970442989854499</c:v>
                </c:pt>
                <c:pt idx="245">
                  <c:v>-0.236683685475026</c:v>
                </c:pt>
                <c:pt idx="246">
                  <c:v>-0.28014090327285401</c:v>
                </c:pt>
                <c:pt idx="247">
                  <c:v>-0.29064219662798801</c:v>
                </c:pt>
                <c:pt idx="248">
                  <c:v>-0.31123757696923698</c:v>
                </c:pt>
                <c:pt idx="249">
                  <c:v>-0.26796364080325502</c:v>
                </c:pt>
                <c:pt idx="250">
                  <c:v>-0.21025427479408401</c:v>
                </c:pt>
                <c:pt idx="251">
                  <c:v>-8.6484915072014806E-2</c:v>
                </c:pt>
                <c:pt idx="252">
                  <c:v>-5.7461141944310602E-2</c:v>
                </c:pt>
                <c:pt idx="253">
                  <c:v>-6.1541438086809702E-2</c:v>
                </c:pt>
                <c:pt idx="254">
                  <c:v>3.5510788718195997E-2</c:v>
                </c:pt>
                <c:pt idx="255">
                  <c:v>4.7982527210798799E-2</c:v>
                </c:pt>
                <c:pt idx="256">
                  <c:v>1.08331764378136E-2</c:v>
                </c:pt>
                <c:pt idx="257">
                  <c:v>0.22115476945577001</c:v>
                </c:pt>
                <c:pt idx="258">
                  <c:v>0.33668843308624502</c:v>
                </c:pt>
                <c:pt idx="259">
                  <c:v>0.45433870150863198</c:v>
                </c:pt>
                <c:pt idx="260">
                  <c:v>0.47658721939933002</c:v>
                </c:pt>
                <c:pt idx="261">
                  <c:v>0.49876166487627399</c:v>
                </c:pt>
                <c:pt idx="262">
                  <c:v>0.51065459686438597</c:v>
                </c:pt>
                <c:pt idx="263">
                  <c:v>0.45852484670204602</c:v>
                </c:pt>
                <c:pt idx="264">
                  <c:v>0.32490191520767397</c:v>
                </c:pt>
                <c:pt idx="265">
                  <c:v>0.333611633029889</c:v>
                </c:pt>
                <c:pt idx="266">
                  <c:v>0.39387184230805899</c:v>
                </c:pt>
                <c:pt idx="267">
                  <c:v>0.37370547962818201</c:v>
                </c:pt>
                <c:pt idx="268">
                  <c:v>3.0898177674369601E-2</c:v>
                </c:pt>
                <c:pt idx="269">
                  <c:v>0.26996251527944498</c:v>
                </c:pt>
                <c:pt idx="270">
                  <c:v>0.30100457192380498</c:v>
                </c:pt>
                <c:pt idx="271">
                  <c:v>0.19780481553474299</c:v>
                </c:pt>
                <c:pt idx="272">
                  <c:v>0.201753879229295</c:v>
                </c:pt>
                <c:pt idx="273">
                  <c:v>0.26141257154987202</c:v>
                </c:pt>
                <c:pt idx="274">
                  <c:v>0.110556795233339</c:v>
                </c:pt>
                <c:pt idx="275">
                  <c:v>7.9433329693283899E-2</c:v>
                </c:pt>
                <c:pt idx="276">
                  <c:v>5.9646266124666898E-2</c:v>
                </c:pt>
                <c:pt idx="277">
                  <c:v>-0.19960019818119401</c:v>
                </c:pt>
                <c:pt idx="278">
                  <c:v>-0.30185114527030199</c:v>
                </c:pt>
                <c:pt idx="279">
                  <c:v>-0.27417278213928098</c:v>
                </c:pt>
                <c:pt idx="280">
                  <c:v>-0.18756786792886601</c:v>
                </c:pt>
                <c:pt idx="281">
                  <c:v>-0.14631177562617501</c:v>
                </c:pt>
                <c:pt idx="282">
                  <c:v>-0.150483798460679</c:v>
                </c:pt>
                <c:pt idx="283">
                  <c:v>-0.13606125428192301</c:v>
                </c:pt>
                <c:pt idx="284">
                  <c:v>-0.29646306151519503</c:v>
                </c:pt>
                <c:pt idx="285">
                  <c:v>-0.399117928559997</c:v>
                </c:pt>
                <c:pt idx="286">
                  <c:v>-0.49557634687228402</c:v>
                </c:pt>
                <c:pt idx="287">
                  <c:v>-0.53844696216617205</c:v>
                </c:pt>
                <c:pt idx="288">
                  <c:v>-0.54320979927204305</c:v>
                </c:pt>
                <c:pt idx="289">
                  <c:v>-0.54797263637791405</c:v>
                </c:pt>
                <c:pt idx="290">
                  <c:v>-0.53414090647052404</c:v>
                </c:pt>
                <c:pt idx="291">
                  <c:v>-0.54510019230891105</c:v>
                </c:pt>
                <c:pt idx="292">
                  <c:v>-0.52825483136236295</c:v>
                </c:pt>
                <c:pt idx="293">
                  <c:v>-0.54640270642095501</c:v>
                </c:pt>
                <c:pt idx="294">
                  <c:v>-0.61209008059293901</c:v>
                </c:pt>
                <c:pt idx="295">
                  <c:v>-0.58284660136564703</c:v>
                </c:pt>
                <c:pt idx="296">
                  <c:v>-0.62900693492196902</c:v>
                </c:pt>
                <c:pt idx="297">
                  <c:v>-0.658689306256944</c:v>
                </c:pt>
                <c:pt idx="298">
                  <c:v>-0.68837167759191897</c:v>
                </c:pt>
                <c:pt idx="299">
                  <c:v>-0.73453201114824196</c:v>
                </c:pt>
                <c:pt idx="300">
                  <c:v>-0.74022028789646799</c:v>
                </c:pt>
                <c:pt idx="301">
                  <c:v>-0.76246059927979404</c:v>
                </c:pt>
                <c:pt idx="302">
                  <c:v>-0.76814887602801896</c:v>
                </c:pt>
                <c:pt idx="303">
                  <c:v>-0.74912020944422397</c:v>
                </c:pt>
                <c:pt idx="304">
                  <c:v>-0.75238130666143799</c:v>
                </c:pt>
                <c:pt idx="305">
                  <c:v>-0.743397651241129</c:v>
                </c:pt>
                <c:pt idx="306">
                  <c:v>-0.74673282087209703</c:v>
                </c:pt>
                <c:pt idx="307">
                  <c:v>-0.73563256065987503</c:v>
                </c:pt>
                <c:pt idx="308">
                  <c:v>-0.73735291628114097</c:v>
                </c:pt>
                <c:pt idx="309">
                  <c:v>-0.75555123412375402</c:v>
                </c:pt>
                <c:pt idx="310">
                  <c:v>-0.75727158974501996</c:v>
                </c:pt>
                <c:pt idx="311">
                  <c:v>-0.74039737835302599</c:v>
                </c:pt>
                <c:pt idx="312">
                  <c:v>-0.74218060792514895</c:v>
                </c:pt>
                <c:pt idx="313">
                  <c:v>-0.75628266254854903</c:v>
                </c:pt>
                <c:pt idx="314">
                  <c:v>-0.80953709034715904</c:v>
                </c:pt>
                <c:pt idx="315">
                  <c:v>-0.817442696238044</c:v>
                </c:pt>
                <c:pt idx="316">
                  <c:v>-0.75561665412238099</c:v>
                </c:pt>
                <c:pt idx="317">
                  <c:v>-0.63808620419640505</c:v>
                </c:pt>
                <c:pt idx="318">
                  <c:v>-0.61745506763410896</c:v>
                </c:pt>
                <c:pt idx="319">
                  <c:v>-0.58858494996113997</c:v>
                </c:pt>
                <c:pt idx="320">
                  <c:v>-0.59022738064255198</c:v>
                </c:pt>
                <c:pt idx="321">
                  <c:v>-0.56919540037010197</c:v>
                </c:pt>
                <c:pt idx="322">
                  <c:v>-0.67904146692766099</c:v>
                </c:pt>
                <c:pt idx="323">
                  <c:v>-0.79107826088255395</c:v>
                </c:pt>
                <c:pt idx="324">
                  <c:v>-0.80615211069143899</c:v>
                </c:pt>
                <c:pt idx="325">
                  <c:v>-0.64826576714278905</c:v>
                </c:pt>
                <c:pt idx="326">
                  <c:v>-0.74770310883852997</c:v>
                </c:pt>
                <c:pt idx="327">
                  <c:v>-0.86042478869218197</c:v>
                </c:pt>
                <c:pt idx="328">
                  <c:v>-0.82040504417575999</c:v>
                </c:pt>
                <c:pt idx="329">
                  <c:v>-0.85461020206915495</c:v>
                </c:pt>
                <c:pt idx="330">
                  <c:v>-0.71725715133795798</c:v>
                </c:pt>
                <c:pt idx="331">
                  <c:v>-0.79920168023887095</c:v>
                </c:pt>
                <c:pt idx="332">
                  <c:v>-0.83790877120825802</c:v>
                </c:pt>
                <c:pt idx="333">
                  <c:v>-0.82301761752781799</c:v>
                </c:pt>
                <c:pt idx="334">
                  <c:v>-0.73593887300000604</c:v>
                </c:pt>
                <c:pt idx="335">
                  <c:v>-0.76227270512002598</c:v>
                </c:pt>
                <c:pt idx="336">
                  <c:v>-0.81740854532838503</c:v>
                </c:pt>
                <c:pt idx="337">
                  <c:v>-0.75908781672224801</c:v>
                </c:pt>
                <c:pt idx="338">
                  <c:v>-0.87810341506926604</c:v>
                </c:pt>
                <c:pt idx="339">
                  <c:v>-0.88537513264675105</c:v>
                </c:pt>
                <c:pt idx="340">
                  <c:v>-0.85137787225711503</c:v>
                </c:pt>
                <c:pt idx="341">
                  <c:v>-0.85033653631017303</c:v>
                </c:pt>
                <c:pt idx="342">
                  <c:v>-0.78746319541844501</c:v>
                </c:pt>
                <c:pt idx="343">
                  <c:v>-0.87262730573661995</c:v>
                </c:pt>
                <c:pt idx="344">
                  <c:v>-1.08561978393015</c:v>
                </c:pt>
                <c:pt idx="345">
                  <c:v>-1.1976174423722601</c:v>
                </c:pt>
                <c:pt idx="346">
                  <c:v>-1.33024697939008</c:v>
                </c:pt>
                <c:pt idx="347">
                  <c:v>-1.44527368142749</c:v>
                </c:pt>
                <c:pt idx="348">
                  <c:v>-1.5561412462948301</c:v>
                </c:pt>
                <c:pt idx="349">
                  <c:v>-1.6381327306600799</c:v>
                </c:pt>
                <c:pt idx="350">
                  <c:v>-1.6974498040714701</c:v>
                </c:pt>
                <c:pt idx="351">
                  <c:v>-1.6939547118807901</c:v>
                </c:pt>
                <c:pt idx="352">
                  <c:v>-1.68425795014188</c:v>
                </c:pt>
                <c:pt idx="353">
                  <c:v>-0.57377277846592201</c:v>
                </c:pt>
                <c:pt idx="354">
                  <c:v>-0.62678646164319496</c:v>
                </c:pt>
                <c:pt idx="355">
                  <c:v>-0.76022671677851505</c:v>
                </c:pt>
                <c:pt idx="356">
                  <c:v>-0.74316419308461401</c:v>
                </c:pt>
                <c:pt idx="357">
                  <c:v>-0.77758330924862695</c:v>
                </c:pt>
                <c:pt idx="358">
                  <c:v>-0.779804937635872</c:v>
                </c:pt>
                <c:pt idx="359">
                  <c:v>-0.64799652859953005</c:v>
                </c:pt>
                <c:pt idx="360">
                  <c:v>-0.74515945201747902</c:v>
                </c:pt>
                <c:pt idx="361">
                  <c:v>-0.67730487353354996</c:v>
                </c:pt>
                <c:pt idx="362">
                  <c:v>-0.724510807132558</c:v>
                </c:pt>
                <c:pt idx="363">
                  <c:v>-0.70368306623855104</c:v>
                </c:pt>
                <c:pt idx="364">
                  <c:v>-0.73229443282429996</c:v>
                </c:pt>
                <c:pt idx="365">
                  <c:v>-0.75062428592121699</c:v>
                </c:pt>
                <c:pt idx="366">
                  <c:v>-0.81824149531879697</c:v>
                </c:pt>
                <c:pt idx="367">
                  <c:v>-0.85706191744375404</c:v>
                </c:pt>
                <c:pt idx="368">
                  <c:v>-0.86080458951838901</c:v>
                </c:pt>
                <c:pt idx="369">
                  <c:v>-0.90370485558394897</c:v>
                </c:pt>
                <c:pt idx="370">
                  <c:v>-0.98593503850373698</c:v>
                </c:pt>
                <c:pt idx="371">
                  <c:v>-1.1754253415055</c:v>
                </c:pt>
                <c:pt idx="372">
                  <c:v>-1.3319597200645801</c:v>
                </c:pt>
                <c:pt idx="373">
                  <c:v>-1.41214737060621</c:v>
                </c:pt>
                <c:pt idx="374">
                  <c:v>-1.5795205150229199</c:v>
                </c:pt>
                <c:pt idx="375">
                  <c:v>-1.73041569721829</c:v>
                </c:pt>
                <c:pt idx="376">
                  <c:v>-1.8998261531974501</c:v>
                </c:pt>
                <c:pt idx="377">
                  <c:v>-2.0878363970055802</c:v>
                </c:pt>
                <c:pt idx="378">
                  <c:v>-2.034445337627099</c:v>
                </c:pt>
                <c:pt idx="379">
                  <c:v>-0.84285642105939496</c:v>
                </c:pt>
                <c:pt idx="380">
                  <c:v>-0.88842053725835302</c:v>
                </c:pt>
                <c:pt idx="381">
                  <c:v>-0.91327348165213895</c:v>
                </c:pt>
                <c:pt idx="382">
                  <c:v>-0.89488898811439799</c:v>
                </c:pt>
                <c:pt idx="383">
                  <c:v>-0.91157180299554996</c:v>
                </c:pt>
                <c:pt idx="384">
                  <c:v>-0.85093229460611997</c:v>
                </c:pt>
                <c:pt idx="385">
                  <c:v>-0.84797087480712097</c:v>
                </c:pt>
                <c:pt idx="386">
                  <c:v>-0.98114565559219302</c:v>
                </c:pt>
                <c:pt idx="387">
                  <c:v>-1.0855184282889301</c:v>
                </c:pt>
                <c:pt idx="388">
                  <c:v>-0.97827119387137995</c:v>
                </c:pt>
                <c:pt idx="389">
                  <c:v>-0.90610170950415403</c:v>
                </c:pt>
                <c:pt idx="390">
                  <c:v>-0.84836765498011701</c:v>
                </c:pt>
                <c:pt idx="391">
                  <c:v>-0.81746714858001301</c:v>
                </c:pt>
                <c:pt idx="392">
                  <c:v>-0.93040352911364699</c:v>
                </c:pt>
                <c:pt idx="393">
                  <c:v>-1.05989194428238</c:v>
                </c:pt>
                <c:pt idx="394">
                  <c:v>-1.3023167399847499</c:v>
                </c:pt>
                <c:pt idx="395">
                  <c:v>-1.4143344763568899</c:v>
                </c:pt>
                <c:pt idx="396">
                  <c:v>-1.4810033908213001</c:v>
                </c:pt>
                <c:pt idx="397">
                  <c:v>-1.5332264338110999</c:v>
                </c:pt>
                <c:pt idx="398">
                  <c:v>-1.6410798121974499</c:v>
                </c:pt>
                <c:pt idx="399">
                  <c:v>-1.5623335947080801</c:v>
                </c:pt>
                <c:pt idx="400">
                  <c:v>-1.4773272977038601</c:v>
                </c:pt>
                <c:pt idx="401">
                  <c:v>-1.4954856143938799</c:v>
                </c:pt>
                <c:pt idx="402">
                  <c:v>-1.51982993818498</c:v>
                </c:pt>
                <c:pt idx="403">
                  <c:v>-0.72555338575415795</c:v>
                </c:pt>
                <c:pt idx="404">
                  <c:v>-0.67610070119086696</c:v>
                </c:pt>
                <c:pt idx="405">
                  <c:v>-0.62186479567054698</c:v>
                </c:pt>
                <c:pt idx="406">
                  <c:v>-0.544949258380652</c:v>
                </c:pt>
                <c:pt idx="407">
                  <c:v>-0.49690980159284698</c:v>
                </c:pt>
                <c:pt idx="408">
                  <c:v>-0.45507201435327199</c:v>
                </c:pt>
                <c:pt idx="409">
                  <c:v>-0.44549186650091899</c:v>
                </c:pt>
                <c:pt idx="410">
                  <c:v>-0.48345643857767101</c:v>
                </c:pt>
                <c:pt idx="411">
                  <c:v>-0.50486897601932201</c:v>
                </c:pt>
                <c:pt idx="412">
                  <c:v>-0.50972947882587205</c:v>
                </c:pt>
                <c:pt idx="413">
                  <c:v>-0.292591323226296</c:v>
                </c:pt>
                <c:pt idx="414">
                  <c:v>-0.16572203940679001</c:v>
                </c:pt>
                <c:pt idx="415">
                  <c:v>-0.255500042174583</c:v>
                </c:pt>
                <c:pt idx="416">
                  <c:v>-0.30196653459709499</c:v>
                </c:pt>
                <c:pt idx="417">
                  <c:v>-0.411767177925841</c:v>
                </c:pt>
                <c:pt idx="418">
                  <c:v>-0.63518297652801703</c:v>
                </c:pt>
                <c:pt idx="419">
                  <c:v>-0.75133343423249899</c:v>
                </c:pt>
                <c:pt idx="420">
                  <c:v>-0.99122719505602197</c:v>
                </c:pt>
                <c:pt idx="421">
                  <c:v>-1.01635559809374</c:v>
                </c:pt>
                <c:pt idx="422">
                  <c:v>-1.1488234144429099</c:v>
                </c:pt>
                <c:pt idx="423">
                  <c:v>-1.4710256760259799</c:v>
                </c:pt>
                <c:pt idx="424">
                  <c:v>-1.6983554941763901</c:v>
                </c:pt>
                <c:pt idx="425">
                  <c:v>-0.41418599336431999</c:v>
                </c:pt>
                <c:pt idx="426">
                  <c:v>-0.30278465650290798</c:v>
                </c:pt>
                <c:pt idx="427">
                  <c:v>-0.312004874134576</c:v>
                </c:pt>
                <c:pt idx="428">
                  <c:v>-0.26340407916401898</c:v>
                </c:pt>
                <c:pt idx="429">
                  <c:v>-0.32002087189728401</c:v>
                </c:pt>
                <c:pt idx="430">
                  <c:v>-0.36063643679381302</c:v>
                </c:pt>
                <c:pt idx="431">
                  <c:v>-0.417804036325443</c:v>
                </c:pt>
                <c:pt idx="432">
                  <c:v>-0.36355237860502299</c:v>
                </c:pt>
                <c:pt idx="433">
                  <c:v>-0.42071997813665302</c:v>
                </c:pt>
                <c:pt idx="434">
                  <c:v>-0.42913805525641302</c:v>
                </c:pt>
                <c:pt idx="435">
                  <c:v>-0.41699310539850898</c:v>
                </c:pt>
                <c:pt idx="436">
                  <c:v>-0.38625358852734598</c:v>
                </c:pt>
                <c:pt idx="437">
                  <c:v>-0.35339746686426998</c:v>
                </c:pt>
                <c:pt idx="438">
                  <c:v>-0.305736177846329</c:v>
                </c:pt>
                <c:pt idx="439">
                  <c:v>-0.21884322242371099</c:v>
                </c:pt>
                <c:pt idx="440">
                  <c:v>-0.22681748961804099</c:v>
                </c:pt>
                <c:pt idx="441">
                  <c:v>-0.30289950371914198</c:v>
                </c:pt>
                <c:pt idx="442">
                  <c:v>-0.308684708171936</c:v>
                </c:pt>
                <c:pt idx="443">
                  <c:v>-0.30615685910030299</c:v>
                </c:pt>
                <c:pt idx="444">
                  <c:v>-0.37793320566795302</c:v>
                </c:pt>
                <c:pt idx="445">
                  <c:v>-0.32808285390847602</c:v>
                </c:pt>
                <c:pt idx="446">
                  <c:v>-0.426865071463365</c:v>
                </c:pt>
                <c:pt idx="447">
                  <c:v>-0.50705272200499396</c:v>
                </c:pt>
                <c:pt idx="448">
                  <c:v>-0.67394268646665201</c:v>
                </c:pt>
                <c:pt idx="449">
                  <c:v>-0.82639200026940796</c:v>
                </c:pt>
                <c:pt idx="450">
                  <c:v>-0.98552616357544898</c:v>
                </c:pt>
                <c:pt idx="451">
                  <c:v>-1.1467769316734</c:v>
                </c:pt>
                <c:pt idx="452">
                  <c:v>-1.29978871866068</c:v>
                </c:pt>
                <c:pt idx="453">
                  <c:v>-1.4382857825753099</c:v>
                </c:pt>
                <c:pt idx="454">
                  <c:v>-1.41172827132075</c:v>
                </c:pt>
                <c:pt idx="455">
                  <c:v>-1.3872132924443601</c:v>
                </c:pt>
                <c:pt idx="456">
                  <c:v>-1.3153017384663701</c:v>
                </c:pt>
                <c:pt idx="457">
                  <c:v>-1.2268381498532801</c:v>
                </c:pt>
                <c:pt idx="458">
                  <c:v>-1.25595011898916</c:v>
                </c:pt>
                <c:pt idx="459">
                  <c:v>-1.2870305480894599</c:v>
                </c:pt>
                <c:pt idx="460">
                  <c:v>-1.2645179533556401</c:v>
                </c:pt>
                <c:pt idx="461">
                  <c:v>-1.2997575196260001</c:v>
                </c:pt>
                <c:pt idx="462">
                  <c:v>-1.3082270253094299</c:v>
                </c:pt>
                <c:pt idx="463">
                  <c:v>-1.34557261149495</c:v>
                </c:pt>
                <c:pt idx="464">
                  <c:v>-1.3911571787911501</c:v>
                </c:pt>
                <c:pt idx="465">
                  <c:v>-1.3975841520964201</c:v>
                </c:pt>
                <c:pt idx="466">
                  <c:v>-1.4277686988799689</c:v>
                </c:pt>
                <c:pt idx="467">
                  <c:v>-1.4847867937874499</c:v>
                </c:pt>
                <c:pt idx="468">
                  <c:v>-0.99668966523122804</c:v>
                </c:pt>
                <c:pt idx="469">
                  <c:v>-0.90989352450690897</c:v>
                </c:pt>
                <c:pt idx="470">
                  <c:v>-0.94037842552812101</c:v>
                </c:pt>
                <c:pt idx="471">
                  <c:v>-1.00593585578394</c:v>
                </c:pt>
                <c:pt idx="472">
                  <c:v>-1.03234091286455</c:v>
                </c:pt>
                <c:pt idx="473">
                  <c:v>-1.0319124218212301</c:v>
                </c:pt>
                <c:pt idx="474">
                  <c:v>-0.95613146317645004</c:v>
                </c:pt>
                <c:pt idx="475">
                  <c:v>-0.84935781923766895</c:v>
                </c:pt>
                <c:pt idx="476">
                  <c:v>-0.87667262268908897</c:v>
                </c:pt>
                <c:pt idx="477">
                  <c:v>-0.85243693468455395</c:v>
                </c:pt>
                <c:pt idx="478">
                  <c:v>-0.81156921963800799</c:v>
                </c:pt>
                <c:pt idx="479">
                  <c:v>-0.82852251719368597</c:v>
                </c:pt>
                <c:pt idx="480">
                  <c:v>-0.75885801487451598</c:v>
                </c:pt>
                <c:pt idx="481">
                  <c:v>-0.79848572338405699</c:v>
                </c:pt>
                <c:pt idx="482">
                  <c:v>-0.78423274429133205</c:v>
                </c:pt>
                <c:pt idx="483">
                  <c:v>-0.81540265952008695</c:v>
                </c:pt>
                <c:pt idx="484">
                  <c:v>-0.84241865839448604</c:v>
                </c:pt>
                <c:pt idx="485">
                  <c:v>-0.81795823822668301</c:v>
                </c:pt>
                <c:pt idx="486">
                  <c:v>-0.90853636838874996</c:v>
                </c:pt>
                <c:pt idx="487">
                  <c:v>-0.976440087596954</c:v>
                </c:pt>
                <c:pt idx="488">
                  <c:v>-1.025823312205649</c:v>
                </c:pt>
                <c:pt idx="489">
                  <c:v>-1.0256985777365499</c:v>
                </c:pt>
                <c:pt idx="490">
                  <c:v>-1.1199264798501101</c:v>
                </c:pt>
                <c:pt idx="491">
                  <c:v>-1.1625298180939601</c:v>
                </c:pt>
                <c:pt idx="492">
                  <c:v>-1.1824587453839399</c:v>
                </c:pt>
                <c:pt idx="493">
                  <c:v>-1.23541766953038</c:v>
                </c:pt>
                <c:pt idx="494">
                  <c:v>-1.2008891886858499</c:v>
                </c:pt>
                <c:pt idx="495">
                  <c:v>-1.16424410304941</c:v>
                </c:pt>
                <c:pt idx="496">
                  <c:v>-1.1254824126210601</c:v>
                </c:pt>
                <c:pt idx="497">
                  <c:v>-1.08679479460646</c:v>
                </c:pt>
                <c:pt idx="498">
                  <c:v>-1.1076542257992801</c:v>
                </c:pt>
                <c:pt idx="499">
                  <c:v>-1.1593529766428801</c:v>
                </c:pt>
                <c:pt idx="500">
                  <c:v>-1.1842922517762899</c:v>
                </c:pt>
                <c:pt idx="501">
                  <c:v>-1.2236721775686199</c:v>
                </c:pt>
                <c:pt idx="502">
                  <c:v>-1.26888901332077</c:v>
                </c:pt>
                <c:pt idx="503">
                  <c:v>-1.3038243355840891</c:v>
                </c:pt>
                <c:pt idx="504">
                  <c:v>-1.3469986389580899</c:v>
                </c:pt>
                <c:pt idx="505">
                  <c:v>-1.39629531865085</c:v>
                </c:pt>
                <c:pt idx="506">
                  <c:v>-1.3959732828892999</c:v>
                </c:pt>
                <c:pt idx="507">
                  <c:v>-1.4183256580816199</c:v>
                </c:pt>
                <c:pt idx="508">
                  <c:v>-1.47363395771663</c:v>
                </c:pt>
                <c:pt idx="509">
                  <c:v>-1.50006617684955</c:v>
                </c:pt>
                <c:pt idx="510">
                  <c:v>-1.5046496404479399</c:v>
                </c:pt>
                <c:pt idx="511">
                  <c:v>-1.5071957924838899</c:v>
                </c:pt>
                <c:pt idx="512">
                  <c:v>-1.5096678721060801</c:v>
                </c:pt>
                <c:pt idx="513">
                  <c:v>-1.5162938680826299</c:v>
                </c:pt>
                <c:pt idx="514">
                  <c:v>-1.5194995626401699</c:v>
                </c:pt>
                <c:pt idx="515">
                  <c:v>-1.54334235658913</c:v>
                </c:pt>
                <c:pt idx="516">
                  <c:v>-1.5465428303309601</c:v>
                </c:pt>
                <c:pt idx="517">
                  <c:v>-1.54770599251034</c:v>
                </c:pt>
                <c:pt idx="518">
                  <c:v>-1.5837648692945401</c:v>
                </c:pt>
                <c:pt idx="519">
                  <c:v>-1.6033457838573899</c:v>
                </c:pt>
                <c:pt idx="520">
                  <c:v>-1.65588262286293</c:v>
                </c:pt>
                <c:pt idx="521">
                  <c:v>-1.45287334424151</c:v>
                </c:pt>
                <c:pt idx="522">
                  <c:v>-1.23997131483137</c:v>
                </c:pt>
                <c:pt idx="523">
                  <c:v>-1.1508762193226001</c:v>
                </c:pt>
                <c:pt idx="524">
                  <c:v>-1.05142553791125</c:v>
                </c:pt>
                <c:pt idx="525">
                  <c:v>-0.95197485649989</c:v>
                </c:pt>
                <c:pt idx="526">
                  <c:v>-0.95197485649989</c:v>
                </c:pt>
                <c:pt idx="527">
                  <c:v>-0.93753420584098801</c:v>
                </c:pt>
                <c:pt idx="528">
                  <c:v>-0.95817130523240601</c:v>
                </c:pt>
                <c:pt idx="529">
                  <c:v>-1.31683168276667</c:v>
                </c:pt>
                <c:pt idx="530">
                  <c:v>-1.4364880397034001</c:v>
                </c:pt>
                <c:pt idx="531">
                  <c:v>-1.4430952146404099</c:v>
                </c:pt>
                <c:pt idx="532">
                  <c:v>-1.4579413706880999</c:v>
                </c:pt>
                <c:pt idx="533">
                  <c:v>-1.4318240228726991</c:v>
                </c:pt>
                <c:pt idx="534">
                  <c:v>-1.4139456561679791</c:v>
                </c:pt>
                <c:pt idx="535">
                  <c:v>-1.39606728946325</c:v>
                </c:pt>
                <c:pt idx="536">
                  <c:v>-1.3761463903803699</c:v>
                </c:pt>
                <c:pt idx="537">
                  <c:v>-1.3087977131811299</c:v>
                </c:pt>
                <c:pt idx="538">
                  <c:v>-1.2496880170925699</c:v>
                </c:pt>
                <c:pt idx="539">
                  <c:v>-1.1843818722715</c:v>
                </c:pt>
                <c:pt idx="540">
                  <c:v>-1.1335111572936201</c:v>
                </c:pt>
                <c:pt idx="541">
                  <c:v>-1.17136884359837</c:v>
                </c:pt>
                <c:pt idx="542">
                  <c:v>-1.2071839975249601</c:v>
                </c:pt>
                <c:pt idx="543">
                  <c:v>-1.24504168382972</c:v>
                </c:pt>
                <c:pt idx="544">
                  <c:v>-1.2973347999776601</c:v>
                </c:pt>
                <c:pt idx="545">
                  <c:v>-1.3746053292216101</c:v>
                </c:pt>
                <c:pt idx="546">
                  <c:v>-1.46835382068692</c:v>
                </c:pt>
                <c:pt idx="547">
                  <c:v>-1.5456243499308699</c:v>
                </c:pt>
                <c:pt idx="548">
                  <c:v>-1.6311338602854999</c:v>
                </c:pt>
                <c:pt idx="549">
                  <c:v>-1.56919061285828</c:v>
                </c:pt>
                <c:pt idx="550">
                  <c:v>-1.5196454837118101</c:v>
                </c:pt>
                <c:pt idx="551">
                  <c:v>-1.4618613734546591</c:v>
                </c:pt>
                <c:pt idx="552">
                  <c:v>-1.3814028522436499</c:v>
                </c:pt>
                <c:pt idx="553">
                  <c:v>-1.32883451663498</c:v>
                </c:pt>
                <c:pt idx="554">
                  <c:v>-1.29894059198016</c:v>
                </c:pt>
                <c:pt idx="555">
                  <c:v>-1.10105852375349</c:v>
                </c:pt>
                <c:pt idx="556">
                  <c:v>-1.0230348089762</c:v>
                </c:pt>
                <c:pt idx="557">
                  <c:v>-0.97176534909337697</c:v>
                </c:pt>
                <c:pt idx="558">
                  <c:v>-0.99268348005792595</c:v>
                </c:pt>
                <c:pt idx="559">
                  <c:v>-0.98472553052038403</c:v>
                </c:pt>
                <c:pt idx="560">
                  <c:v>-1.05074875804238</c:v>
                </c:pt>
                <c:pt idx="561">
                  <c:v>-1.01783013982253</c:v>
                </c:pt>
                <c:pt idx="562">
                  <c:v>-1.0323080967042799</c:v>
                </c:pt>
                <c:pt idx="563">
                  <c:v>-1.03023401895093</c:v>
                </c:pt>
                <c:pt idx="564">
                  <c:v>-1.0391978697855999</c:v>
                </c:pt>
                <c:pt idx="565">
                  <c:v>-1.06055983890102</c:v>
                </c:pt>
                <c:pt idx="566">
                  <c:v>-1.0510084159519</c:v>
                </c:pt>
                <c:pt idx="567">
                  <c:v>-1.0723703850673201</c:v>
                </c:pt>
                <c:pt idx="568">
                  <c:v>-1.0965239553069299</c:v>
                </c:pt>
                <c:pt idx="569">
                  <c:v>-1.1433519365003999</c:v>
                </c:pt>
                <c:pt idx="570">
                  <c:v>-1.17982433179128</c:v>
                </c:pt>
                <c:pt idx="571">
                  <c:v>-1.1751018215288001</c:v>
                </c:pt>
                <c:pt idx="572">
                  <c:v>-1.11738080559037</c:v>
                </c:pt>
                <c:pt idx="573">
                  <c:v>-1.03698537869809</c:v>
                </c:pt>
                <c:pt idx="574">
                  <c:v>-0.97306791402714998</c:v>
                </c:pt>
                <c:pt idx="575">
                  <c:v>-1.0266868621113101</c:v>
                </c:pt>
                <c:pt idx="576">
                  <c:v>-1.01186420478023</c:v>
                </c:pt>
                <c:pt idx="577">
                  <c:v>-1.0012006846192301</c:v>
                </c:pt>
                <c:pt idx="578">
                  <c:v>-0.99469108081257795</c:v>
                </c:pt>
                <c:pt idx="579">
                  <c:v>-0.99846299049476195</c:v>
                </c:pt>
                <c:pt idx="580">
                  <c:v>-1.01428441596939</c:v>
                </c:pt>
                <c:pt idx="581">
                  <c:v>-1.0507429408354301</c:v>
                </c:pt>
                <c:pt idx="582">
                  <c:v>-1.07268674262882</c:v>
                </c:pt>
                <c:pt idx="583">
                  <c:v>-1.07407273826025</c:v>
                </c:pt>
                <c:pt idx="584">
                  <c:v>-1.08310176615111</c:v>
                </c:pt>
                <c:pt idx="585">
                  <c:v>-1.0942473988338699</c:v>
                </c:pt>
                <c:pt idx="586">
                  <c:v>-1.10123389434657</c:v>
                </c:pt>
                <c:pt idx="587">
                  <c:v>-1.11645937096994</c:v>
                </c:pt>
                <c:pt idx="588">
                  <c:v>-1.1057023222838001</c:v>
                </c:pt>
                <c:pt idx="589">
                  <c:v>-1.1216995284921301</c:v>
                </c:pt>
                <c:pt idx="590">
                  <c:v>-1.0655884370825499</c:v>
                </c:pt>
                <c:pt idx="591">
                  <c:v>-1.09194122919346</c:v>
                </c:pt>
                <c:pt idx="592">
                  <c:v>-1.0849783749774</c:v>
                </c:pt>
                <c:pt idx="593">
                  <c:v>-1.07393567682075</c:v>
                </c:pt>
                <c:pt idx="594">
                  <c:v>-1.0421818068589199</c:v>
                </c:pt>
                <c:pt idx="595">
                  <c:v>-1.0558560520342899</c:v>
                </c:pt>
                <c:pt idx="596">
                  <c:v>-1.14243745222194</c:v>
                </c:pt>
                <c:pt idx="597">
                  <c:v>-1.1176841092027101</c:v>
                </c:pt>
                <c:pt idx="598">
                  <c:v>-1.1156051771373501</c:v>
                </c:pt>
                <c:pt idx="599">
                  <c:v>-1.1382431884040101</c:v>
                </c:pt>
                <c:pt idx="600">
                  <c:v>-1.1724150796417501</c:v>
                </c:pt>
                <c:pt idx="601">
                  <c:v>-1.2148259519901601</c:v>
                </c:pt>
                <c:pt idx="602">
                  <c:v>-1.25104037560605</c:v>
                </c:pt>
                <c:pt idx="603">
                  <c:v>-1.29345124795446</c:v>
                </c:pt>
                <c:pt idx="604">
                  <c:v>-1.27102198175736</c:v>
                </c:pt>
                <c:pt idx="605">
                  <c:v>-1.25063524793841</c:v>
                </c:pt>
                <c:pt idx="606">
                  <c:v>-1.26524697094032</c:v>
                </c:pt>
                <c:pt idx="607">
                  <c:v>-1.26133819934272</c:v>
                </c:pt>
                <c:pt idx="608">
                  <c:v>-1.29013501613168</c:v>
                </c:pt>
                <c:pt idx="609">
                  <c:v>-1.30449640307744</c:v>
                </c:pt>
                <c:pt idx="610">
                  <c:v>-1.3230169271932799</c:v>
                </c:pt>
                <c:pt idx="611">
                  <c:v>-1.3373783141390401</c:v>
                </c:pt>
                <c:pt idx="612">
                  <c:v>-1.32394647330099</c:v>
                </c:pt>
                <c:pt idx="613">
                  <c:v>-1.2919941378634201</c:v>
                </c:pt>
                <c:pt idx="614">
                  <c:v>-1.2496862165232701</c:v>
                </c:pt>
                <c:pt idx="615">
                  <c:v>-1.20329845124252</c:v>
                </c:pt>
                <c:pt idx="616">
                  <c:v>-1.2075926844673399</c:v>
                </c:pt>
                <c:pt idx="617">
                  <c:v>-1.2283648799135101</c:v>
                </c:pt>
                <c:pt idx="618">
                  <c:v>-1.2718167071292601</c:v>
                </c:pt>
                <c:pt idx="619">
                  <c:v>-1.2905463701972699</c:v>
                </c:pt>
                <c:pt idx="620">
                  <c:v>-1.2710413136852501</c:v>
                </c:pt>
                <c:pt idx="621">
                  <c:v>-1.1959007009609499</c:v>
                </c:pt>
                <c:pt idx="622">
                  <c:v>-1.1434397200062301</c:v>
                </c:pt>
                <c:pt idx="623">
                  <c:v>-1.1177382147616901</c:v>
                </c:pt>
                <c:pt idx="624">
                  <c:v>-1.05195657030978</c:v>
                </c:pt>
                <c:pt idx="625">
                  <c:v>-0.98617492585787803</c:v>
                </c:pt>
                <c:pt idx="626">
                  <c:v>-0.88743735696327997</c:v>
                </c:pt>
                <c:pt idx="627">
                  <c:v>-0.82165571251137604</c:v>
                </c:pt>
                <c:pt idx="628">
                  <c:v>-0.77654435899307295</c:v>
                </c:pt>
                <c:pt idx="629">
                  <c:v>-0.76438892991746499</c:v>
                </c:pt>
                <c:pt idx="630">
                  <c:v>-0.75427603322001502</c:v>
                </c:pt>
                <c:pt idx="631">
                  <c:v>-0.71120721207987103</c:v>
                </c:pt>
                <c:pt idx="632">
                  <c:v>-0.57939007344104998</c:v>
                </c:pt>
                <c:pt idx="633">
                  <c:v>-0.44757293480222798</c:v>
                </c:pt>
                <c:pt idx="634">
                  <c:v>-0.31575579616340699</c:v>
                </c:pt>
                <c:pt idx="635">
                  <c:v>-0.18393865752458499</c:v>
                </c:pt>
                <c:pt idx="636">
                  <c:v>-0.21285049968081199</c:v>
                </c:pt>
                <c:pt idx="637">
                  <c:v>-0.208806417394345</c:v>
                </c:pt>
                <c:pt idx="638">
                  <c:v>-0.204762335107877</c:v>
                </c:pt>
                <c:pt idx="639">
                  <c:v>-0.21719621504275599</c:v>
                </c:pt>
                <c:pt idx="640">
                  <c:v>-0.28910926358175898</c:v>
                </c:pt>
                <c:pt idx="641">
                  <c:v>-0.36102231212076302</c:v>
                </c:pt>
                <c:pt idx="642">
                  <c:v>-0.43293536065976601</c:v>
                </c:pt>
                <c:pt idx="643">
                  <c:v>-0.478088933488589</c:v>
                </c:pt>
                <c:pt idx="644">
                  <c:v>-0.36526518041901901</c:v>
                </c:pt>
                <c:pt idx="645">
                  <c:v>-0.28539735179214398</c:v>
                </c:pt>
                <c:pt idx="646">
                  <c:v>-0.189051560943921</c:v>
                </c:pt>
                <c:pt idx="647">
                  <c:v>-8.6509321363182901E-2</c:v>
                </c:pt>
                <c:pt idx="648">
                  <c:v>-0.118913260288667</c:v>
                </c:pt>
                <c:pt idx="649">
                  <c:v>-0.110122293660781</c:v>
                </c:pt>
                <c:pt idx="650">
                  <c:v>-0.20843808147165499</c:v>
                </c:pt>
                <c:pt idx="651">
                  <c:v>-0.28823337468302301</c:v>
                </c:pt>
                <c:pt idx="652">
                  <c:v>-0.31071119512941398</c:v>
                </c:pt>
                <c:pt idx="653">
                  <c:v>-0.28375512891176402</c:v>
                </c:pt>
                <c:pt idx="654">
                  <c:v>-0.22172653345950599</c:v>
                </c:pt>
                <c:pt idx="655">
                  <c:v>-0.16174569120112001</c:v>
                </c:pt>
                <c:pt idx="656">
                  <c:v>-0.216322887670509</c:v>
                </c:pt>
                <c:pt idx="657">
                  <c:v>-0.36575686512542199</c:v>
                </c:pt>
                <c:pt idx="658">
                  <c:v>-0.383218999982046</c:v>
                </c:pt>
                <c:pt idx="659">
                  <c:v>-0.45638554264898201</c:v>
                </c:pt>
                <c:pt idx="660">
                  <c:v>-0.51717553191335097</c:v>
                </c:pt>
                <c:pt idx="661">
                  <c:v>-0.57584891638580704</c:v>
                </c:pt>
                <c:pt idx="662">
                  <c:v>-0.58304588181606298</c:v>
                </c:pt>
                <c:pt idx="663">
                  <c:v>-0.50770489131207297</c:v>
                </c:pt>
                <c:pt idx="664">
                  <c:v>-0.56201104470118002</c:v>
                </c:pt>
                <c:pt idx="665">
                  <c:v>-0.62448210678720695</c:v>
                </c:pt>
                <c:pt idx="666">
                  <c:v>-0.72406300967028603</c:v>
                </c:pt>
                <c:pt idx="667">
                  <c:v>-0.813362399064533</c:v>
                </c:pt>
                <c:pt idx="668">
                  <c:v>-0.81073091534869401</c:v>
                </c:pt>
                <c:pt idx="669">
                  <c:v>-0.79978637810842801</c:v>
                </c:pt>
                <c:pt idx="670">
                  <c:v>-0.83827572753220503</c:v>
                </c:pt>
                <c:pt idx="671">
                  <c:v>-0.85204813362396103</c:v>
                </c:pt>
                <c:pt idx="672">
                  <c:v>-0.89563031858164699</c:v>
                </c:pt>
                <c:pt idx="673">
                  <c:v>-0.91245302782915305</c:v>
                </c:pt>
                <c:pt idx="674">
                  <c:v>-0.99723011834020903</c:v>
                </c:pt>
                <c:pt idx="675">
                  <c:v>-1.01609535996587</c:v>
                </c:pt>
                <c:pt idx="676">
                  <c:v>-1.0840810705467701</c:v>
                </c:pt>
                <c:pt idx="677">
                  <c:v>-1.14587033239515</c:v>
                </c:pt>
                <c:pt idx="678">
                  <c:v>-1.1891390996440201</c:v>
                </c:pt>
                <c:pt idx="679">
                  <c:v>-1.2674063237137501</c:v>
                </c:pt>
                <c:pt idx="680">
                  <c:v>-1.2977828901542701</c:v>
                </c:pt>
                <c:pt idx="681">
                  <c:v>-1.3219630078622799</c:v>
                </c:pt>
                <c:pt idx="682">
                  <c:v>-1.34614312557029</c:v>
                </c:pt>
                <c:pt idx="683">
                  <c:v>-1.36828071090014</c:v>
                </c:pt>
                <c:pt idx="684">
                  <c:v>-1.3244052665194399</c:v>
                </c:pt>
                <c:pt idx="685">
                  <c:v>-1.27229084102806</c:v>
                </c:pt>
                <c:pt idx="686">
                  <c:v>-1.1954594722046601</c:v>
                </c:pt>
                <c:pt idx="687">
                  <c:v>-1.1453875790914401</c:v>
                </c:pt>
                <c:pt idx="688">
                  <c:v>-1.1767470247499401</c:v>
                </c:pt>
                <c:pt idx="689">
                  <c:v>-1.2245844326297799</c:v>
                </c:pt>
                <c:pt idx="690">
                  <c:v>-1.26214032702079</c:v>
                </c:pt>
                <c:pt idx="691">
                  <c:v>-1.2934997726792901</c:v>
                </c:pt>
                <c:pt idx="692">
                  <c:v>-1.2844096959522799</c:v>
                </c:pt>
                <c:pt idx="693">
                  <c:v>-1.2917975814466101</c:v>
                </c:pt>
                <c:pt idx="694">
                  <c:v>-1.2991854669409499</c:v>
                </c:pt>
                <c:pt idx="695">
                  <c:v>-1.30657335243529</c:v>
                </c:pt>
                <c:pt idx="696">
                  <c:v>-1.2999572043121901</c:v>
                </c:pt>
                <c:pt idx="697">
                  <c:v>-1.2933410561890899</c:v>
                </c:pt>
                <c:pt idx="698">
                  <c:v>-1.2867249080659899</c:v>
                </c:pt>
                <c:pt idx="699">
                  <c:v>-1.28010875994289</c:v>
                </c:pt>
                <c:pt idx="700">
                  <c:v>-1.30699573930589</c:v>
                </c:pt>
                <c:pt idx="701">
                  <c:v>-1.31740475644755</c:v>
                </c:pt>
                <c:pt idx="702">
                  <c:v>-1.3278137735891999</c:v>
                </c:pt>
                <c:pt idx="703">
                  <c:v>-1.3382227907308599</c:v>
                </c:pt>
                <c:pt idx="704">
                  <c:v>-1.3487914875878999</c:v>
                </c:pt>
                <c:pt idx="705">
                  <c:v>-1.3593601844449399</c:v>
                </c:pt>
                <c:pt idx="706">
                  <c:v>-1.3699288813019801</c:v>
                </c:pt>
                <c:pt idx="707">
                  <c:v>-1.3804975781590201</c:v>
                </c:pt>
                <c:pt idx="708">
                  <c:v>-1.36226055088543</c:v>
                </c:pt>
                <c:pt idx="709">
                  <c:v>-1.3357845425011601</c:v>
                </c:pt>
                <c:pt idx="710">
                  <c:v>-1.32578649633825</c:v>
                </c:pt>
                <c:pt idx="711">
                  <c:v>-1.2993104879539901</c:v>
                </c:pt>
                <c:pt idx="712">
                  <c:v>-1.3051811757176599</c:v>
                </c:pt>
                <c:pt idx="713">
                  <c:v>-1.313094395859479</c:v>
                </c:pt>
                <c:pt idx="714">
                  <c:v>-1.32100761600131</c:v>
                </c:pt>
                <c:pt idx="715">
                  <c:v>-1.3453987983644891</c:v>
                </c:pt>
                <c:pt idx="716">
                  <c:v>-1.32257350995782</c:v>
                </c:pt>
                <c:pt idx="717">
                  <c:v>-1.29974822155115</c:v>
                </c:pt>
                <c:pt idx="718">
                  <c:v>-1.29340089536583</c:v>
                </c:pt>
                <c:pt idx="719">
                  <c:v>-1.27057560695917</c:v>
                </c:pt>
                <c:pt idx="720">
                  <c:v>-1.2552831865543299</c:v>
                </c:pt>
                <c:pt idx="721">
                  <c:v>-1.23999076614949</c:v>
                </c:pt>
                <c:pt idx="722">
                  <c:v>-1.2246983457446501</c:v>
                </c:pt>
                <c:pt idx="723">
                  <c:v>-1.20940592533981</c:v>
                </c:pt>
                <c:pt idx="724">
                  <c:v>-1.15265647181922</c:v>
                </c:pt>
                <c:pt idx="725">
                  <c:v>-1.0959070182986299</c:v>
                </c:pt>
                <c:pt idx="726">
                  <c:v>-1.03915756477804</c:v>
                </c:pt>
                <c:pt idx="727">
                  <c:v>-0.99888607347879099</c:v>
                </c:pt>
                <c:pt idx="728">
                  <c:v>-0.883432108528862</c:v>
                </c:pt>
                <c:pt idx="729">
                  <c:v>-0.76797814357893401</c:v>
                </c:pt>
                <c:pt idx="730">
                  <c:v>-0.65048164625084604</c:v>
                </c:pt>
                <c:pt idx="731">
                  <c:v>-0.53502768130091805</c:v>
                </c:pt>
                <c:pt idx="732">
                  <c:v>-0.54552897465605099</c:v>
                </c:pt>
                <c:pt idx="733">
                  <c:v>-0.55603026801118505</c:v>
                </c:pt>
                <c:pt idx="734">
                  <c:v>-0.56653156136631799</c:v>
                </c:pt>
                <c:pt idx="735">
                  <c:v>-0.56055489250010404</c:v>
                </c:pt>
                <c:pt idx="736">
                  <c:v>-0.564672310620006</c:v>
                </c:pt>
                <c:pt idx="737">
                  <c:v>-0.56878972873990796</c:v>
                </c:pt>
                <c:pt idx="738">
                  <c:v>-0.56466816574913603</c:v>
                </c:pt>
                <c:pt idx="739">
                  <c:v>-0.55230762164768998</c:v>
                </c:pt>
                <c:pt idx="740">
                  <c:v>-0.51307640744490801</c:v>
                </c:pt>
                <c:pt idx="741">
                  <c:v>-0.40793334435673601</c:v>
                </c:pt>
                <c:pt idx="742">
                  <c:v>-0.37074466253211302</c:v>
                </c:pt>
                <c:pt idx="743">
                  <c:v>-0.32531699959681498</c:v>
                </c:pt>
                <c:pt idx="744">
                  <c:v>-0.31295839129200398</c:v>
                </c:pt>
                <c:pt idx="745">
                  <c:v>-0.20997099076978101</c:v>
                </c:pt>
                <c:pt idx="746">
                  <c:v>-0.19761238246497001</c:v>
                </c:pt>
                <c:pt idx="747">
                  <c:v>-0.150255317339305</c:v>
                </c:pt>
                <c:pt idx="748">
                  <c:v>-0.19202948159906</c:v>
                </c:pt>
                <c:pt idx="749">
                  <c:v>-0.25028160808016198</c:v>
                </c:pt>
                <c:pt idx="750">
                  <c:v>-0.36416406995782202</c:v>
                </c:pt>
                <c:pt idx="751">
                  <c:v>-0.42037366406076598</c:v>
                </c:pt>
                <c:pt idx="752">
                  <c:v>-0.45089561264322903</c:v>
                </c:pt>
                <c:pt idx="753">
                  <c:v>-0.52261246677906004</c:v>
                </c:pt>
                <c:pt idx="754">
                  <c:v>-0.54489543425084896</c:v>
                </c:pt>
                <c:pt idx="755">
                  <c:v>-0.49507010410473301</c:v>
                </c:pt>
                <c:pt idx="756">
                  <c:v>-0.52812480202458001</c:v>
                </c:pt>
                <c:pt idx="757">
                  <c:v>-0.54265900534492095</c:v>
                </c:pt>
                <c:pt idx="758">
                  <c:v>-0.30579056576122499</c:v>
                </c:pt>
                <c:pt idx="759">
                  <c:v>-0.194480523617754</c:v>
                </c:pt>
                <c:pt idx="760">
                  <c:v>-0.110184181194623</c:v>
                </c:pt>
                <c:pt idx="761">
                  <c:v>-0.143276106699082</c:v>
                </c:pt>
                <c:pt idx="762">
                  <c:v>-0.19707398319300101</c:v>
                </c:pt>
                <c:pt idx="763">
                  <c:v>-0.16016899505575299</c:v>
                </c:pt>
                <c:pt idx="764">
                  <c:v>-0.26650500690117801</c:v>
                </c:pt>
                <c:pt idx="765">
                  <c:v>-0.12748667974757399</c:v>
                </c:pt>
                <c:pt idx="766">
                  <c:v>-0.114243746459742</c:v>
                </c:pt>
                <c:pt idx="767">
                  <c:v>-0.25565228753977498</c:v>
                </c:pt>
                <c:pt idx="768">
                  <c:v>-0.354686312175514</c:v>
                </c:pt>
                <c:pt idx="769">
                  <c:v>-0.402090552125831</c:v>
                </c:pt>
                <c:pt idx="770">
                  <c:v>-0.44738340809994998</c:v>
                </c:pt>
                <c:pt idx="771">
                  <c:v>-0.66948196111493397</c:v>
                </c:pt>
                <c:pt idx="772">
                  <c:v>-0.86692475754721798</c:v>
                </c:pt>
                <c:pt idx="773">
                  <c:v>-0.96338317585950495</c:v>
                </c:pt>
                <c:pt idx="774">
                  <c:v>-1.0825160051256499</c:v>
                </c:pt>
                <c:pt idx="775">
                  <c:v>-1.1017142720747199</c:v>
                </c:pt>
                <c:pt idx="776">
                  <c:v>-1.0899991469592401</c:v>
                </c:pt>
                <c:pt idx="777">
                  <c:v>-1.0947619840651099</c:v>
                </c:pt>
                <c:pt idx="778">
                  <c:v>-1.1160027833923301</c:v>
                </c:pt>
                <c:pt idx="779">
                  <c:v>-1.06823880956553</c:v>
                </c:pt>
                <c:pt idx="780">
                  <c:v>-1.03075634922756</c:v>
                </c:pt>
                <c:pt idx="781">
                  <c:v>-0.99947033762211301</c:v>
                </c:pt>
                <c:pt idx="782">
                  <c:v>-0.97022685839482103</c:v>
                </c:pt>
                <c:pt idx="783">
                  <c:v>-0.90723790513422597</c:v>
                </c:pt>
                <c:pt idx="784">
                  <c:v>-0.99459314424391798</c:v>
                </c:pt>
                <c:pt idx="785">
                  <c:v>-1.0539578869138699</c:v>
                </c:pt>
                <c:pt idx="786">
                  <c:v>-1.001973295887379</c:v>
                </c:pt>
                <c:pt idx="787">
                  <c:v>-1.0076615726356</c:v>
                </c:pt>
                <c:pt idx="788">
                  <c:v>-1.0277852792270199</c:v>
                </c:pt>
                <c:pt idx="789">
                  <c:v>-1.0334735559752399</c:v>
                </c:pt>
                <c:pt idx="790">
                  <c:v>-0.99765635243100004</c:v>
                </c:pt>
                <c:pt idx="791">
                  <c:v>-0.95360016777608403</c:v>
                </c:pt>
                <c:pt idx="792">
                  <c:v>-0.95897786978521005</c:v>
                </c:pt>
                <c:pt idx="793">
                  <c:v>-0.95815912306182105</c:v>
                </c:pt>
                <c:pt idx="794">
                  <c:v>-1.38489520697146</c:v>
                </c:pt>
                <c:pt idx="795">
                  <c:v>-1.4339957184157099</c:v>
                </c:pt>
                <c:pt idx="796">
                  <c:v>-1.4419013243065899</c:v>
                </c:pt>
                <c:pt idx="797">
                  <c:v>-1.4209368125245101</c:v>
                </c:pt>
                <c:pt idx="798">
                  <c:v>-1.2005275969278899</c:v>
                </c:pt>
                <c:pt idx="799">
                  <c:v>-1.1881354414762699</c:v>
                </c:pt>
                <c:pt idx="800">
                  <c:v>-1.18398226713532</c:v>
                </c:pt>
                <c:pt idx="801">
                  <c:v>-1.23505858448077</c:v>
                </c:pt>
                <c:pt idx="802">
                  <c:v>-1.2469825286510201</c:v>
                </c:pt>
                <c:pt idx="803">
                  <c:v>-1.2980588459964699</c:v>
                </c:pt>
                <c:pt idx="804">
                  <c:v>-1.34089618223125</c:v>
                </c:pt>
                <c:pt idx="805">
                  <c:v>-1.2927425375449499</c:v>
                </c:pt>
                <c:pt idx="806">
                  <c:v>-1.0805691775466499</c:v>
                </c:pt>
                <c:pt idx="807">
                  <c:v>-1.07052961938197</c:v>
                </c:pt>
                <c:pt idx="808">
                  <c:v>-1.07492549106048</c:v>
                </c:pt>
                <c:pt idx="809">
                  <c:v>-1.1877219446143299</c:v>
                </c:pt>
                <c:pt idx="810">
                  <c:v>-1.18696279804134</c:v>
                </c:pt>
                <c:pt idx="811">
                  <c:v>-1.1841663399058999</c:v>
                </c:pt>
                <c:pt idx="812">
                  <c:v>-1.60413296436972</c:v>
                </c:pt>
                <c:pt idx="813">
                  <c:v>-1.5365692658530301</c:v>
                </c:pt>
                <c:pt idx="814">
                  <c:v>-1.4504110003230799</c:v>
                </c:pt>
                <c:pt idx="815">
                  <c:v>-1.3766508530738799</c:v>
                </c:pt>
                <c:pt idx="816">
                  <c:v>-1.46758127032216</c:v>
                </c:pt>
                <c:pt idx="817">
                  <c:v>-1.56471335711866</c:v>
                </c:pt>
                <c:pt idx="818">
                  <c:v>-1.57105806523882</c:v>
                </c:pt>
                <c:pt idx="819">
                  <c:v>-1.65994595010894</c:v>
                </c:pt>
                <c:pt idx="820">
                  <c:v>-1.7835520462566901</c:v>
                </c:pt>
                <c:pt idx="821">
                  <c:v>-1.8742022179617599</c:v>
                </c:pt>
                <c:pt idx="822">
                  <c:v>-2.05970917065234</c:v>
                </c:pt>
                <c:pt idx="823">
                  <c:v>-1.1240157194082001</c:v>
                </c:pt>
                <c:pt idx="824">
                  <c:v>-1.24152580760382</c:v>
                </c:pt>
                <c:pt idx="825">
                  <c:v>-1.17760928327425</c:v>
                </c:pt>
                <c:pt idx="826">
                  <c:v>-1.1845358225464799</c:v>
                </c:pt>
                <c:pt idx="827">
                  <c:v>-1.1893457570268</c:v>
                </c:pt>
                <c:pt idx="828">
                  <c:v>-1.1611945462487101</c:v>
                </c:pt>
                <c:pt idx="829">
                  <c:v>-1.066978120942</c:v>
                </c:pt>
                <c:pt idx="830">
                  <c:v>-1.17360079551782</c:v>
                </c:pt>
                <c:pt idx="831">
                  <c:v>-1.1935952285873499</c:v>
                </c:pt>
                <c:pt idx="832">
                  <c:v>-1.14351345478571</c:v>
                </c:pt>
                <c:pt idx="833">
                  <c:v>-1.25633257809404</c:v>
                </c:pt>
                <c:pt idx="834">
                  <c:v>-1.2419230725009001</c:v>
                </c:pt>
                <c:pt idx="835">
                  <c:v>-1.1615224247928999</c:v>
                </c:pt>
                <c:pt idx="836">
                  <c:v>-1.12647581980834</c:v>
                </c:pt>
                <c:pt idx="837">
                  <c:v>-1.1161513789715101</c:v>
                </c:pt>
                <c:pt idx="838">
                  <c:v>-1.09724365688412</c:v>
                </c:pt>
                <c:pt idx="839">
                  <c:v>-1.18356396413198</c:v>
                </c:pt>
                <c:pt idx="840">
                  <c:v>-1.1646562420445801</c:v>
                </c:pt>
                <c:pt idx="841">
                  <c:v>-1.1808262700075101</c:v>
                </c:pt>
                <c:pt idx="842">
                  <c:v>-1.1717826073226101</c:v>
                </c:pt>
                <c:pt idx="843">
                  <c:v>-1.19380570234546</c:v>
                </c:pt>
                <c:pt idx="844">
                  <c:v>-1.1868786444524699</c:v>
                </c:pt>
                <c:pt idx="845">
                  <c:v>-1.24390019629618</c:v>
                </c:pt>
                <c:pt idx="846">
                  <c:v>-1.2736403959922</c:v>
                </c:pt>
                <c:pt idx="847">
                  <c:v>-1.37141427018125</c:v>
                </c:pt>
                <c:pt idx="848">
                  <c:v>-1.4485510449788701</c:v>
                </c:pt>
                <c:pt idx="849">
                  <c:v>-1.4947744277119599</c:v>
                </c:pt>
                <c:pt idx="850">
                  <c:v>-1.48401737902582</c:v>
                </c:pt>
                <c:pt idx="851">
                  <c:v>-1.50833285957428</c:v>
                </c:pt>
                <c:pt idx="852">
                  <c:v>-1.50377225962066</c:v>
                </c:pt>
                <c:pt idx="853">
                  <c:v>-1.49097267855636</c:v>
                </c:pt>
                <c:pt idx="854">
                  <c:v>-1.51703982119676</c:v>
                </c:pt>
                <c:pt idx="855">
                  <c:v>-1.49564153713752</c:v>
                </c:pt>
                <c:pt idx="856">
                  <c:v>-1.50931578231288</c:v>
                </c:pt>
                <c:pt idx="857">
                  <c:v>-1.49827308415623</c:v>
                </c:pt>
                <c:pt idx="858">
                  <c:v>-1.54359072719246</c:v>
                </c:pt>
                <c:pt idx="859">
                  <c:v>-1.5188373841732401</c:v>
                </c:pt>
                <c:pt idx="860">
                  <c:v>-1.50239709467845</c:v>
                </c:pt>
                <c:pt idx="861">
                  <c:v>-0.181043278931972</c:v>
                </c:pt>
                <c:pt idx="862">
                  <c:v>-0.25252551861891198</c:v>
                </c:pt>
                <c:pt idx="863">
                  <c:v>-0.24204741462260901</c:v>
                </c:pt>
                <c:pt idx="864">
                  <c:v>-5.6206664453270001E-2</c:v>
                </c:pt>
                <c:pt idx="865">
                  <c:v>-0.155031212917105</c:v>
                </c:pt>
                <c:pt idx="866">
                  <c:v>8.6519165878259904E-2</c:v>
                </c:pt>
                <c:pt idx="867">
                  <c:v>0.116532899352701</c:v>
                </c:pt>
                <c:pt idx="868">
                  <c:v>-6.8195824578080003E-2</c:v>
                </c:pt>
                <c:pt idx="869">
                  <c:v>8.1328002431577395E-2</c:v>
                </c:pt>
                <c:pt idx="870">
                  <c:v>-0.179525232275385</c:v>
                </c:pt>
                <c:pt idx="871">
                  <c:v>-0.10002510460132499</c:v>
                </c:pt>
                <c:pt idx="872" formatCode="0.00E+00">
                  <c:v>3.2829234686282398E-5</c:v>
                </c:pt>
                <c:pt idx="873">
                  <c:v>1.14992824157303E-2</c:v>
                </c:pt>
                <c:pt idx="874">
                  <c:v>8.6840272919719699E-2</c:v>
                </c:pt>
                <c:pt idx="875">
                  <c:v>-0.20247507519725799</c:v>
                </c:pt>
                <c:pt idx="876">
                  <c:v>-0.21959209455984499</c:v>
                </c:pt>
                <c:pt idx="877">
                  <c:v>-0.22847013281175901</c:v>
                </c:pt>
                <c:pt idx="878">
                  <c:v>-0.32601372413239299</c:v>
                </c:pt>
                <c:pt idx="879">
                  <c:v>-0.32330816800280099</c:v>
                </c:pt>
                <c:pt idx="880">
                  <c:v>-0.18234980649722399</c:v>
                </c:pt>
                <c:pt idx="881">
                  <c:v>-0.25394844600691802</c:v>
                </c:pt>
                <c:pt idx="882">
                  <c:v>-0.197649866043212</c:v>
                </c:pt>
                <c:pt idx="883">
                  <c:v>-0.113334831527501</c:v>
                </c:pt>
                <c:pt idx="884">
                  <c:v>-0.134242605531324</c:v>
                </c:pt>
                <c:pt idx="885">
                  <c:v>-0.26036796723896899</c:v>
                </c:pt>
                <c:pt idx="886">
                  <c:v>-0.188451051004001</c:v>
                </c:pt>
                <c:pt idx="887">
                  <c:v>-0.337016699186163</c:v>
                </c:pt>
                <c:pt idx="888">
                  <c:v>-0.52466064812978197</c:v>
                </c:pt>
                <c:pt idx="889">
                  <c:v>-0.31622004118817598</c:v>
                </c:pt>
                <c:pt idx="890">
                  <c:v>-0.378009303036555</c:v>
                </c:pt>
                <c:pt idx="891">
                  <c:v>-0.48065275355392001</c:v>
                </c:pt>
                <c:pt idx="892">
                  <c:v>-0.521310833483277</c:v>
                </c:pt>
                <c:pt idx="893">
                  <c:v>-0.67338817066468504</c:v>
                </c:pt>
                <c:pt idx="894">
                  <c:v>-0.82546550784609296</c:v>
                </c:pt>
                <c:pt idx="895">
                  <c:v>-0.91765219163570599</c:v>
                </c:pt>
                <c:pt idx="896">
                  <c:v>-0.98927584844765504</c:v>
                </c:pt>
                <c:pt idx="897">
                  <c:v>-1.07329240272463</c:v>
                </c:pt>
                <c:pt idx="898">
                  <c:v>-1.1016045491913</c:v>
                </c:pt>
                <c:pt idx="899">
                  <c:v>-1.2649358374480899</c:v>
                </c:pt>
                <c:pt idx="900">
                  <c:v>-1.3458032421843791</c:v>
                </c:pt>
                <c:pt idx="901">
                  <c:v>-1.49053996342791</c:v>
                </c:pt>
                <c:pt idx="902">
                  <c:v>-1.5775297444829599</c:v>
                </c:pt>
                <c:pt idx="903">
                  <c:v>-0.49654480387076499</c:v>
                </c:pt>
                <c:pt idx="904">
                  <c:v>-0.32330443550725102</c:v>
                </c:pt>
                <c:pt idx="905">
                  <c:v>-0.36850556478936503</c:v>
                </c:pt>
                <c:pt idx="906">
                  <c:v>-0.31279638836523499</c:v>
                </c:pt>
                <c:pt idx="907">
                  <c:v>-0.24257770968416201</c:v>
                </c:pt>
                <c:pt idx="908">
                  <c:v>-0.197189104522902</c:v>
                </c:pt>
                <c:pt idx="909">
                  <c:v>-0.21990302545269799</c:v>
                </c:pt>
                <c:pt idx="910">
                  <c:v>-0.20754441714788699</c:v>
                </c:pt>
                <c:pt idx="911">
                  <c:v>-0.15602821485215199</c:v>
                </c:pt>
                <c:pt idx="912">
                  <c:v>-0.216396946125166</c:v>
                </c:pt>
                <c:pt idx="913">
                  <c:v>-0.22514111352847199</c:v>
                </c:pt>
                <c:pt idx="914">
                  <c:v>-0.30606765096343702</c:v>
                </c:pt>
                <c:pt idx="915">
                  <c:v>-0.389110793190314</c:v>
                </c:pt>
                <c:pt idx="916">
                  <c:v>-0.41759020939461899</c:v>
                </c:pt>
                <c:pt idx="917">
                  <c:v>-0.52845943670565998</c:v>
                </c:pt>
                <c:pt idx="918">
                  <c:v>-0.49919191272149499</c:v>
                </c:pt>
                <c:pt idx="919">
                  <c:v>-0.53175639368211602</c:v>
                </c:pt>
                <c:pt idx="920">
                  <c:v>-0.46382671348196602</c:v>
                </c:pt>
                <c:pt idx="921">
                  <c:v>-0.43709193883518399</c:v>
                </c:pt>
                <c:pt idx="922">
                  <c:v>-0.29274667901955098</c:v>
                </c:pt>
                <c:pt idx="923">
                  <c:v>-0.24741733735950999</c:v>
                </c:pt>
                <c:pt idx="924">
                  <c:v>-0.27022774937513699</c:v>
                </c:pt>
                <c:pt idx="925">
                  <c:v>-0.40656880261901401</c:v>
                </c:pt>
                <c:pt idx="926">
                  <c:v>-0.42937921463464201</c:v>
                </c:pt>
                <c:pt idx="927">
                  <c:v>-0.26866207178031298</c:v>
                </c:pt>
                <c:pt idx="928">
                  <c:v>-0.27182302830007499</c:v>
                </c:pt>
                <c:pt idx="929">
                  <c:v>-0.34943632528662999</c:v>
                </c:pt>
                <c:pt idx="930">
                  <c:v>-0.354713886598304</c:v>
                </c:pt>
                <c:pt idx="931">
                  <c:v>-0.426051441622876</c:v>
                </c:pt>
                <c:pt idx="932">
                  <c:v>-0.378672973001424</c:v>
                </c:pt>
                <c:pt idx="933">
                  <c:v>-0.30650348863419802</c:v>
                </c:pt>
                <c:pt idx="934">
                  <c:v>-0.15390743230892501</c:v>
                </c:pt>
                <c:pt idx="935">
                  <c:v>-0.17864248212109299</c:v>
                </c:pt>
                <c:pt idx="936">
                  <c:v>-0.27510090043337998</c:v>
                </c:pt>
                <c:pt idx="937">
                  <c:v>-0.38803728096701401</c:v>
                </c:pt>
                <c:pt idx="938">
                  <c:v>-0.49893112912248899</c:v>
                </c:pt>
                <c:pt idx="939">
                  <c:v>-0.61398411444803602</c:v>
                </c:pt>
                <c:pt idx="940">
                  <c:v>-0.65593608558042704</c:v>
                </c:pt>
                <c:pt idx="941">
                  <c:v>-1.25373438713358</c:v>
                </c:pt>
                <c:pt idx="942">
                  <c:v>-1.20409125195526</c:v>
                </c:pt>
                <c:pt idx="943">
                  <c:v>-1.2286782400024701</c:v>
                </c:pt>
                <c:pt idx="944">
                  <c:v>-1.2367872658283301</c:v>
                </c:pt>
                <c:pt idx="945">
                  <c:v>-1.25517780514303</c:v>
                </c:pt>
                <c:pt idx="946">
                  <c:v>-1.3081367292894599</c:v>
                </c:pt>
                <c:pt idx="947">
                  <c:v>-1.33214550052005</c:v>
                </c:pt>
                <c:pt idx="948">
                  <c:v>-1.32115059411407</c:v>
                </c:pt>
                <c:pt idx="949">
                  <c:v>-1.3008266739666301</c:v>
                </c:pt>
                <c:pt idx="950">
                  <c:v>-1.2827020829297</c:v>
                </c:pt>
                <c:pt idx="951">
                  <c:v>-1.1821083875565599</c:v>
                </c:pt>
                <c:pt idx="952">
                  <c:v>-1.2878011720524201</c:v>
                </c:pt>
                <c:pt idx="953">
                  <c:v>-1.2511560864159801</c:v>
                </c:pt>
                <c:pt idx="954">
                  <c:v>-1.1563630507729199</c:v>
                </c:pt>
                <c:pt idx="955">
                  <c:v>-1.31328461013606</c:v>
                </c:pt>
                <c:pt idx="956">
                  <c:v>-1.3382238852694699</c:v>
                </c:pt>
                <c:pt idx="957">
                  <c:v>-1.39203924090498</c:v>
                </c:pt>
                <c:pt idx="958">
                  <c:v>-1.41669827049519</c:v>
                </c:pt>
                <c:pt idx="959">
                  <c:v>-1.47227069214993</c:v>
                </c:pt>
                <c:pt idx="960">
                  <c:v>-1.51544499552393</c:v>
                </c:pt>
                <c:pt idx="961">
                  <c:v>-1.6514439891367101</c:v>
                </c:pt>
                <c:pt idx="962">
                  <c:v>-1.75422293628708</c:v>
                </c:pt>
                <c:pt idx="963">
                  <c:v>-0.26920716028444602</c:v>
                </c:pt>
                <c:pt idx="964">
                  <c:v>-0.26637998351638797</c:v>
                </c:pt>
                <c:pt idx="965">
                  <c:v>-0.265743483953995</c:v>
                </c:pt>
                <c:pt idx="966">
                  <c:v>-0.20363559527226899</c:v>
                </c:pt>
                <c:pt idx="967">
                  <c:v>-0.10535470309372399</c:v>
                </c:pt>
                <c:pt idx="968">
                  <c:v>-6.6000518595328905E-2</c:v>
                </c:pt>
                <c:pt idx="969">
                  <c:v>-8.0517670836738296E-3</c:v>
                </c:pt>
                <c:pt idx="970">
                  <c:v>9.8308694408209996E-2</c:v>
                </c:pt>
                <c:pt idx="971">
                  <c:v>-9.0431021865133507E-2</c:v>
                </c:pt>
                <c:pt idx="972">
                  <c:v>-0.20486654249919201</c:v>
                </c:pt>
                <c:pt idx="973">
                  <c:v>-0.19548468760045601</c:v>
                </c:pt>
                <c:pt idx="974">
                  <c:v>-0.26860394354752898</c:v>
                </c:pt>
                <c:pt idx="975">
                  <c:v>-0.24897258166956401</c:v>
                </c:pt>
                <c:pt idx="976">
                  <c:v>-0.124044338858311</c:v>
                </c:pt>
                <c:pt idx="977">
                  <c:v>-3.8347762451735302E-2</c:v>
                </c:pt>
                <c:pt idx="978">
                  <c:v>-2.8705306104143399E-2</c:v>
                </c:pt>
                <c:pt idx="979">
                  <c:v>-7.0613341212505898E-2</c:v>
                </c:pt>
                <c:pt idx="980">
                  <c:v>-0.168082860119386</c:v>
                </c:pt>
                <c:pt idx="981">
                  <c:v>-0.20802765607905699</c:v>
                </c:pt>
                <c:pt idx="982">
                  <c:v>2.7877221272935199E-2</c:v>
                </c:pt>
                <c:pt idx="983">
                  <c:v>4.9103272002033398E-2</c:v>
                </c:pt>
                <c:pt idx="984">
                  <c:v>-5.9433328725582097E-3</c:v>
                </c:pt>
                <c:pt idx="985">
                  <c:v>9.1629445873983098E-2</c:v>
                </c:pt>
                <c:pt idx="986">
                  <c:v>-3.2384531857463497E-2</c:v>
                </c:pt>
                <c:pt idx="987">
                  <c:v>-8.6248230303981599E-2</c:v>
                </c:pt>
                <c:pt idx="988">
                  <c:v>-0.164982237725743</c:v>
                </c:pt>
                <c:pt idx="989">
                  <c:v>-0.165326984751902</c:v>
                </c:pt>
                <c:pt idx="990">
                  <c:v>-0.20859575200077499</c:v>
                </c:pt>
                <c:pt idx="991">
                  <c:v>-0.30342023152131598</c:v>
                </c:pt>
                <c:pt idx="992">
                  <c:v>-0.39612810624994599</c:v>
                </c:pt>
                <c:pt idx="993">
                  <c:v>-0.51574360151626297</c:v>
                </c:pt>
                <c:pt idx="994">
                  <c:v>-0.60190908981227997</c:v>
                </c:pt>
                <c:pt idx="995">
                  <c:v>-0.66320426913305497</c:v>
                </c:pt>
                <c:pt idx="996">
                  <c:v>-0.73077519041581296</c:v>
                </c:pt>
                <c:pt idx="997">
                  <c:v>-0.81686138548236298</c:v>
                </c:pt>
                <c:pt idx="998">
                  <c:v>-0.81017507512817799</c:v>
                </c:pt>
                <c:pt idx="999">
                  <c:v>-0.834407377654242</c:v>
                </c:pt>
                <c:pt idx="1000">
                  <c:v>-0.83384344361881801</c:v>
                </c:pt>
                <c:pt idx="1001">
                  <c:v>-0.80652003387321503</c:v>
                </c:pt>
                <c:pt idx="1002">
                  <c:v>-0.90182808926841096</c:v>
                </c:pt>
                <c:pt idx="1003">
                  <c:v>-0.96002108305084199</c:v>
                </c:pt>
                <c:pt idx="1004">
                  <c:v>-1.01609747204136</c:v>
                </c:pt>
                <c:pt idx="1005">
                  <c:v>-1.07429046582379</c:v>
                </c:pt>
                <c:pt idx="1006">
                  <c:v>-1.1271064664553201</c:v>
                </c:pt>
                <c:pt idx="1007">
                  <c:v>-1.1406908006821701</c:v>
                </c:pt>
                <c:pt idx="1008">
                  <c:v>-1.1873103525811901</c:v>
                </c:pt>
                <c:pt idx="1009">
                  <c:v>-1.2173726490293799</c:v>
                </c:pt>
                <c:pt idx="1010">
                  <c:v>-7.0020397248288201E-3</c:v>
                </c:pt>
                <c:pt idx="1011">
                  <c:v>-1.5423454823229999E-2</c:v>
                </c:pt>
                <c:pt idx="1012">
                  <c:v>0.19898842376675699</c:v>
                </c:pt>
                <c:pt idx="1013">
                  <c:v>0.24014904015990601</c:v>
                </c:pt>
                <c:pt idx="1014">
                  <c:v>0.43392381935847502</c:v>
                </c:pt>
                <c:pt idx="1015">
                  <c:v>0.29312851612741397</c:v>
                </c:pt>
                <c:pt idx="1016">
                  <c:v>0.29058601827233699</c:v>
                </c:pt>
                <c:pt idx="1017">
                  <c:v>0.37459246869406898</c:v>
                </c:pt>
                <c:pt idx="1018">
                  <c:v>0.18851719515332199</c:v>
                </c:pt>
                <c:pt idx="1019">
                  <c:v>4.46127501701176E-2</c:v>
                </c:pt>
                <c:pt idx="1020">
                  <c:v>9.0437529605098793E-2</c:v>
                </c:pt>
                <c:pt idx="1021">
                  <c:v>7.8510148035895497E-2</c:v>
                </c:pt>
                <c:pt idx="1022">
                  <c:v>-0.102509358560075</c:v>
                </c:pt>
                <c:pt idx="1023">
                  <c:v>7.2685662537769494E-2</c:v>
                </c:pt>
                <c:pt idx="1024">
                  <c:v>3.9929821324381797E-4</c:v>
                </c:pt>
                <c:pt idx="1025">
                  <c:v>0.171514475370485</c:v>
                </c:pt>
                <c:pt idx="1026">
                  <c:v>0.13845977745063701</c:v>
                </c:pt>
                <c:pt idx="1027">
                  <c:v>6.1982269187143099E-2</c:v>
                </c:pt>
                <c:pt idx="1028">
                  <c:v>6.5857260467941103E-2</c:v>
                </c:pt>
                <c:pt idx="1029">
                  <c:v>-2.3812666848799201E-3</c:v>
                </c:pt>
                <c:pt idx="1030">
                  <c:v>0.115029586639882</c:v>
                </c:pt>
                <c:pt idx="1031">
                  <c:v>0.334558999796713</c:v>
                </c:pt>
                <c:pt idx="1032">
                  <c:v>0.17462474330146099</c:v>
                </c:pt>
                <c:pt idx="1033">
                  <c:v>-0.15046993910746201</c:v>
                </c:pt>
                <c:pt idx="1034">
                  <c:v>-0.184697653334982</c:v>
                </c:pt>
                <c:pt idx="1035">
                  <c:v>9.1715778523086003E-2</c:v>
                </c:pt>
                <c:pt idx="1036">
                  <c:v>0.120573752545032</c:v>
                </c:pt>
                <c:pt idx="1037">
                  <c:v>0.26296758861094</c:v>
                </c:pt>
                <c:pt idx="1038">
                  <c:v>0.33513707297816597</c:v>
                </c:pt>
                <c:pt idx="1039">
                  <c:v>0.209802574163788</c:v>
                </c:pt>
                <c:pt idx="1040">
                  <c:v>3.0800979101541701E-2</c:v>
                </c:pt>
                <c:pt idx="1041">
                  <c:v>-0.195597191062302</c:v>
                </c:pt>
                <c:pt idx="1042">
                  <c:v>-0.31888915749852098</c:v>
                </c:pt>
                <c:pt idx="1043">
                  <c:v>-0.371122642119744</c:v>
                </c:pt>
                <c:pt idx="1044">
                  <c:v>-0.50378269869901304</c:v>
                </c:pt>
                <c:pt idx="1045">
                  <c:v>-0.50854553580488404</c:v>
                </c:pt>
                <c:pt idx="1046">
                  <c:v>-0.55661988325603695</c:v>
                </c:pt>
                <c:pt idx="1047">
                  <c:v>-0.599563994876117</c:v>
                </c:pt>
                <c:pt idx="1048">
                  <c:v>-0.65074708760687205</c:v>
                </c:pt>
                <c:pt idx="1049">
                  <c:v>-0.67305409983553399</c:v>
                </c:pt>
                <c:pt idx="1050">
                  <c:v>-0.72627972494444604</c:v>
                </c:pt>
                <c:pt idx="1051">
                  <c:v>-0.80751258773537604</c:v>
                </c:pt>
                <c:pt idx="1052">
                  <c:v>-0.89902696401513904</c:v>
                </c:pt>
                <c:pt idx="1053">
                  <c:v>-0.93694831646078802</c:v>
                </c:pt>
                <c:pt idx="1054">
                  <c:v>-0.99346423591969601</c:v>
                </c:pt>
                <c:pt idx="1055">
                  <c:v>-1.0156304748892699</c:v>
                </c:pt>
                <c:pt idx="1056">
                  <c:v>-1.0852673613741901</c:v>
                </c:pt>
                <c:pt idx="1057">
                  <c:v>-1.0909556381224199</c:v>
                </c:pt>
                <c:pt idx="1058">
                  <c:v>-1.11312187709199</c:v>
                </c:pt>
                <c:pt idx="1059">
                  <c:v>-1.0484285930456601</c:v>
                </c:pt>
                <c:pt idx="1060">
                  <c:v>-1.0600027437873001</c:v>
                </c:pt>
                <c:pt idx="1061">
                  <c:v>-1.02002640307299</c:v>
                </c:pt>
                <c:pt idx="1062">
                  <c:v>-1.0357596909847</c:v>
                </c:pt>
                <c:pt idx="1063">
                  <c:v>-1.08691393327001</c:v>
                </c:pt>
                <c:pt idx="1064">
                  <c:v>-1.11546783701521</c:v>
                </c:pt>
                <c:pt idx="1065">
                  <c:v>-1.15014411707917</c:v>
                </c:pt>
                <c:pt idx="1066">
                  <c:v>-1.2219354587558899</c:v>
                </c:pt>
                <c:pt idx="1067">
                  <c:v>-1.24427649448997</c:v>
                </c:pt>
                <c:pt idx="1068">
                  <c:v>-1.25218210038085</c:v>
                </c:pt>
                <c:pt idx="1069">
                  <c:v>-1.2972027678845</c:v>
                </c:pt>
                <c:pt idx="1070">
                  <c:v>-1.34018090300999</c:v>
                </c:pt>
                <c:pt idx="1071">
                  <c:v>-1.3277887475583701</c:v>
                </c:pt>
                <c:pt idx="1072">
                  <c:v>-1.2989186298854001</c:v>
                </c:pt>
                <c:pt idx="1073">
                  <c:v>-0.303588898468311</c:v>
                </c:pt>
                <c:pt idx="1074">
                  <c:v>-0.217941002244424</c:v>
                </c:pt>
                <c:pt idx="1075">
                  <c:v>-0.14877106824188499</c:v>
                </c:pt>
                <c:pt idx="1076">
                  <c:v>-8.5797582971861006E-2</c:v>
                </c:pt>
                <c:pt idx="1077">
                  <c:v>-4.9578352596302902E-2</c:v>
                </c:pt>
                <c:pt idx="1078">
                  <c:v>7.5747707220095203E-2</c:v>
                </c:pt>
                <c:pt idx="1079">
                  <c:v>0.207275436584722</c:v>
                </c:pt>
                <c:pt idx="1080">
                  <c:v>0.283167609737079</c:v>
                </c:pt>
                <c:pt idx="1081">
                  <c:v>0.22708271947543299</c:v>
                </c:pt>
                <c:pt idx="1082">
                  <c:v>0.32707782210466402</c:v>
                </c:pt>
                <c:pt idx="1083">
                  <c:v>0.43932289818713199</c:v>
                </c:pt>
                <c:pt idx="1084">
                  <c:v>0.59079441985856396</c:v>
                </c:pt>
                <c:pt idx="1085">
                  <c:v>0.637196498653682</c:v>
                </c:pt>
                <c:pt idx="1086">
                  <c:v>0.59581862662045504</c:v>
                </c:pt>
                <c:pt idx="1087">
                  <c:v>0.655504425936692</c:v>
                </c:pt>
                <c:pt idx="1088">
                  <c:v>0.62236553501413805</c:v>
                </c:pt>
                <c:pt idx="1089">
                  <c:v>0.50872599971978405</c:v>
                </c:pt>
                <c:pt idx="1090">
                  <c:v>0.58641320936736197</c:v>
                </c:pt>
                <c:pt idx="1091">
                  <c:v>0.48253610329367602</c:v>
                </c:pt>
                <c:pt idx="1092">
                  <c:v>0.436559303051681</c:v>
                </c:pt>
                <c:pt idx="1093">
                  <c:v>0.36987133100451303</c:v>
                </c:pt>
                <c:pt idx="1094">
                  <c:v>0.40574237998229201</c:v>
                </c:pt>
                <c:pt idx="1095">
                  <c:v>0.42929460390879398</c:v>
                </c:pt>
                <c:pt idx="1096">
                  <c:v>0.35797960521834499</c:v>
                </c:pt>
                <c:pt idx="1097">
                  <c:v>0.40413216768495602</c:v>
                </c:pt>
                <c:pt idx="1098">
                  <c:v>0.30971544808954399</c:v>
                </c:pt>
                <c:pt idx="1099">
                  <c:v>0.384470146750366</c:v>
                </c:pt>
                <c:pt idx="1100">
                  <c:v>0.32316271724086998</c:v>
                </c:pt>
                <c:pt idx="1101">
                  <c:v>0.185434487300177</c:v>
                </c:pt>
                <c:pt idx="1102">
                  <c:v>0.132341179469977</c:v>
                </c:pt>
                <c:pt idx="1103">
                  <c:v>0.18847645168616101</c:v>
                </c:pt>
                <c:pt idx="1104">
                  <c:v>0.259047153745534</c:v>
                </c:pt>
                <c:pt idx="1105">
                  <c:v>0.160525730778141</c:v>
                </c:pt>
                <c:pt idx="1106">
                  <c:v>0.14916894844433801</c:v>
                </c:pt>
                <c:pt idx="1107">
                  <c:v>6.1465438093091997E-2</c:v>
                </c:pt>
                <c:pt idx="1108">
                  <c:v>5.01086557592893E-2</c:v>
                </c:pt>
                <c:pt idx="1109">
                  <c:v>3.6793441908792301E-3</c:v>
                </c:pt>
                <c:pt idx="1110">
                  <c:v>-6.0847666735877798E-2</c:v>
                </c:pt>
                <c:pt idx="1111">
                  <c:v>-0.12537467766263499</c:v>
                </c:pt>
                <c:pt idx="1112">
                  <c:v>-0.17342372636804501</c:v>
                </c:pt>
                <c:pt idx="1113">
                  <c:v>-0.221472775073455</c:v>
                </c:pt>
                <c:pt idx="1114">
                  <c:v>-0.24571731925023399</c:v>
                </c:pt>
                <c:pt idx="1115">
                  <c:v>-0.34630859144445703</c:v>
                </c:pt>
                <c:pt idx="1116">
                  <c:v>-0.41174804117460601</c:v>
                </c:pt>
                <c:pt idx="1117">
                  <c:v>-0.47522425175606198</c:v>
                </c:pt>
                <c:pt idx="1118">
                  <c:v>-0.49644610289740698</c:v>
                </c:pt>
                <c:pt idx="1119">
                  <c:v>-0.48055289242598498</c:v>
                </c:pt>
                <c:pt idx="1120">
                  <c:v>-0.47289866306523798</c:v>
                </c:pt>
                <c:pt idx="1121">
                  <c:v>-0.42404952815112101</c:v>
                </c:pt>
                <c:pt idx="1122">
                  <c:v>-0.486617320562927</c:v>
                </c:pt>
                <c:pt idx="1123">
                  <c:v>-0.53890359948590205</c:v>
                </c:pt>
                <c:pt idx="1124">
                  <c:v>-0.55611734917426903</c:v>
                </c:pt>
                <c:pt idx="1125">
                  <c:v>-0.63727970859933603</c:v>
                </c:pt>
                <c:pt idx="1126">
                  <c:v>-0.61773788723024203</c:v>
                </c:pt>
                <c:pt idx="1127">
                  <c:v>-0.62094977004447904</c:v>
                </c:pt>
                <c:pt idx="1128">
                  <c:v>-0.60345048105354404</c:v>
                </c:pt>
                <c:pt idx="1129">
                  <c:v>-0.62306625367537505</c:v>
                </c:pt>
                <c:pt idx="1130">
                  <c:v>-0.65985952003567805</c:v>
                </c:pt>
                <c:pt idx="1131">
                  <c:v>-0.67193584306395904</c:v>
                </c:pt>
                <c:pt idx="1132">
                  <c:v>-0.72732367643752105</c:v>
                </c:pt>
                <c:pt idx="1133">
                  <c:v>-0.74763898057647704</c:v>
                </c:pt>
                <c:pt idx="1134">
                  <c:v>-0.73611385031980503</c:v>
                </c:pt>
                <c:pt idx="1135">
                  <c:v>-0.72458872006313202</c:v>
                </c:pt>
                <c:pt idx="1136">
                  <c:v>-0.75841763252989902</c:v>
                </c:pt>
                <c:pt idx="1137">
                  <c:v>-0.75724808817581302</c:v>
                </c:pt>
                <c:pt idx="1138">
                  <c:v>-0.78857989728314104</c:v>
                </c:pt>
                <c:pt idx="1139">
                  <c:v>-0.82815068750114396</c:v>
                </c:pt>
                <c:pt idx="1140">
                  <c:v>-0.86364163377854297</c:v>
                </c:pt>
                <c:pt idx="1141">
                  <c:v>-0.91969038621789301</c:v>
                </c:pt>
                <c:pt idx="1142">
                  <c:v>-0.87625463537007497</c:v>
                </c:pt>
                <c:pt idx="1143">
                  <c:v>-0.84105786563293095</c:v>
                </c:pt>
                <c:pt idx="1144">
                  <c:v>-0.78938313367444002</c:v>
                </c:pt>
                <c:pt idx="1145">
                  <c:v>-0.74594738282662199</c:v>
                </c:pt>
                <c:pt idx="1146">
                  <c:v>-0.72209803730590405</c:v>
                </c:pt>
                <c:pt idx="1147">
                  <c:v>-0.681770729563839</c:v>
                </c:pt>
                <c:pt idx="1148">
                  <c:v>-0.65792138404312095</c:v>
                </c:pt>
                <c:pt idx="1149">
                  <c:v>-0.64231101963307702</c:v>
                </c:pt>
                <c:pt idx="1150">
                  <c:v>-0.63712667247800703</c:v>
                </c:pt>
                <c:pt idx="1151">
                  <c:v>-0.64434044360368103</c:v>
                </c:pt>
                <c:pt idx="1152">
                  <c:v>-0.67006948851314696</c:v>
                </c:pt>
                <c:pt idx="1153">
                  <c:v>-0.66488514135807697</c:v>
                </c:pt>
                <c:pt idx="1154">
                  <c:v>-0.66621983507446803</c:v>
                </c:pt>
                <c:pt idx="1155">
                  <c:v>-0.69022893974472299</c:v>
                </c:pt>
                <c:pt idx="1156">
                  <c:v>-0.69360094502355896</c:v>
                </c:pt>
                <c:pt idx="1157">
                  <c:v>-0.70113208747246603</c:v>
                </c:pt>
                <c:pt idx="1158">
                  <c:v>-0.67536098862028504</c:v>
                </c:pt>
                <c:pt idx="1159">
                  <c:v>-0.65170649456001595</c:v>
                </c:pt>
                <c:pt idx="1160">
                  <c:v>-0.63213184444035098</c:v>
                </c:pt>
                <c:pt idx="1161">
                  <c:v>-0.60023836926940799</c:v>
                </c:pt>
                <c:pt idx="1162">
                  <c:v>-0.52174512728074096</c:v>
                </c:pt>
                <c:pt idx="1163">
                  <c:v>-0.44113528050016099</c:v>
                </c:pt>
                <c:pt idx="1164">
                  <c:v>-0.35228645260890701</c:v>
                </c:pt>
                <c:pt idx="1165">
                  <c:v>-0.234640837445029</c:v>
                </c:pt>
                <c:pt idx="1166">
                  <c:v>-0.24784093790261599</c:v>
                </c:pt>
                <c:pt idx="1167">
                  <c:v>-0.223925976747436</c:v>
                </c:pt>
                <c:pt idx="1168">
                  <c:v>-0.15466219368453099</c:v>
                </c:pt>
                <c:pt idx="1169">
                  <c:v>-6.4761311230208202E-2</c:v>
                </c:pt>
                <c:pt idx="1170">
                  <c:v>9.6639162320361106E-3</c:v>
                </c:pt>
                <c:pt idx="1171">
                  <c:v>8.0009299753676405E-2</c:v>
                </c:pt>
                <c:pt idx="1172">
                  <c:v>8.8448605916776293E-2</c:v>
                </c:pt>
                <c:pt idx="1173">
                  <c:v>0.15667738464650499</c:v>
                </c:pt>
                <c:pt idx="1174">
                  <c:v>0.18603882518809001</c:v>
                </c:pt>
                <c:pt idx="1175">
                  <c:v>0.223639246840348</c:v>
                </c:pt>
                <c:pt idx="1176">
                  <c:v>0.26947864960328</c:v>
                </c:pt>
                <c:pt idx="1177">
                  <c:v>0.32559956585504501</c:v>
                </c:pt>
                <c:pt idx="1178">
                  <c:v>0.33354309630791901</c:v>
                </c:pt>
                <c:pt idx="1179">
                  <c:v>0.357890516568386</c:v>
                </c:pt>
                <c:pt idx="1180">
                  <c:v>0.369913890961863</c:v>
                </c:pt>
                <c:pt idx="1181">
                  <c:v>0.58413868046802297</c:v>
                </c:pt>
                <c:pt idx="1182">
                  <c:v>0.60245125759262297</c:v>
                </c:pt>
                <c:pt idx="1183">
                  <c:v>0.65379383157367199</c:v>
                </c:pt>
                <c:pt idx="1184">
                  <c:v>0.65358591409876599</c:v>
                </c:pt>
                <c:pt idx="1185">
                  <c:v>0.69049305823662499</c:v>
                </c:pt>
                <c:pt idx="1186">
                  <c:v>0.69913017201476502</c:v>
                </c:pt>
                <c:pt idx="1187">
                  <c:v>0.51176231941273598</c:v>
                </c:pt>
                <c:pt idx="1188">
                  <c:v>0.57399245702498902</c:v>
                </c:pt>
                <c:pt idx="1189">
                  <c:v>0.43190457473264598</c:v>
                </c:pt>
                <c:pt idx="1190">
                  <c:v>0.27514485184068999</c:v>
                </c:pt>
                <c:pt idx="1191">
                  <c:v>0.25452132953280598</c:v>
                </c:pt>
                <c:pt idx="1192">
                  <c:v>0.35975249432016299</c:v>
                </c:pt>
                <c:pt idx="1193">
                  <c:v>0.248346814151646</c:v>
                </c:pt>
                <c:pt idx="1194">
                  <c:v>0.26123444847537602</c:v>
                </c:pt>
                <c:pt idx="1195">
                  <c:v>0.22060313137874701</c:v>
                </c:pt>
                <c:pt idx="1196">
                  <c:v>0.16954215596577701</c:v>
                </c:pt>
                <c:pt idx="1197">
                  <c:v>8.9605100050715494E-2</c:v>
                </c:pt>
                <c:pt idx="1198">
                  <c:v>4.9597995595804897E-2</c:v>
                </c:pt>
                <c:pt idx="1199">
                  <c:v>6.5300519766919807E-2</c:v>
                </c:pt>
                <c:pt idx="1200">
                  <c:v>8.1003043938034106E-2</c:v>
                </c:pt>
                <c:pt idx="1201">
                  <c:v>5.5431369326312797E-2</c:v>
                </c:pt>
                <c:pt idx="1202">
                  <c:v>2.55221323546155E-2</c:v>
                </c:pt>
                <c:pt idx="1203">
                  <c:v>8.0110136636624904E-3</c:v>
                </c:pt>
                <c:pt idx="1204">
                  <c:v>4.8246835161180002E-2</c:v>
                </c:pt>
                <c:pt idx="1205">
                  <c:v>4.5171146313416198E-2</c:v>
                </c:pt>
                <c:pt idx="1206">
                  <c:v>1.1563865358893199E-2</c:v>
                </c:pt>
                <c:pt idx="1207">
                  <c:v>-0.13549998441012601</c:v>
                </c:pt>
                <c:pt idx="1208">
                  <c:v>-0.23101334272318999</c:v>
                </c:pt>
                <c:pt idx="1209">
                  <c:v>-0.31617111513366802</c:v>
                </c:pt>
                <c:pt idx="1210">
                  <c:v>-0.388770165686743</c:v>
                </c:pt>
                <c:pt idx="1211">
                  <c:v>-0.45517276750730101</c:v>
                </c:pt>
                <c:pt idx="1212">
                  <c:v>-0.44319132974797198</c:v>
                </c:pt>
                <c:pt idx="1213">
                  <c:v>-0.54466646080313696</c:v>
                </c:pt>
                <c:pt idx="1214">
                  <c:v>-0.525461721148476</c:v>
                </c:pt>
                <c:pt idx="1215">
                  <c:v>-0.50209784432374405</c:v>
                </c:pt>
                <c:pt idx="1216">
                  <c:v>-0.50126545444108095</c:v>
                </c:pt>
                <c:pt idx="1217">
                  <c:v>-0.88643744093321797</c:v>
                </c:pt>
                <c:pt idx="1218">
                  <c:v>-0.95723569377586903</c:v>
                </c:pt>
                <c:pt idx="1219">
                  <c:v>-0.93733108198735404</c:v>
                </c:pt>
                <c:pt idx="1220">
                  <c:v>-0.96890288924104195</c:v>
                </c:pt>
                <c:pt idx="1221">
                  <c:v>-1.02110657507043</c:v>
                </c:pt>
                <c:pt idx="1222">
                  <c:v>-1.0045449124806001</c:v>
                </c:pt>
                <c:pt idx="1223">
                  <c:v>-0.98586664509884903</c:v>
                </c:pt>
                <c:pt idx="1224">
                  <c:v>-0.96514584533894199</c:v>
                </c:pt>
                <c:pt idx="1225">
                  <c:v>-0.96294554017854195</c:v>
                </c:pt>
                <c:pt idx="1226">
                  <c:v>-1.0036330186765501</c:v>
                </c:pt>
                <c:pt idx="1227">
                  <c:v>-0.98664762939984996</c:v>
                </c:pt>
                <c:pt idx="1228">
                  <c:v>-1.0355740890085401</c:v>
                </c:pt>
                <c:pt idx="1229">
                  <c:v>-1.0762615675065501</c:v>
                </c:pt>
                <c:pt idx="1230">
                  <c:v>-1.06114196769869</c:v>
                </c:pt>
                <c:pt idx="1231">
                  <c:v>-1.04602236789083</c:v>
                </c:pt>
                <c:pt idx="1232">
                  <c:v>-1.02886023570481</c:v>
                </c:pt>
                <c:pt idx="1233">
                  <c:v>-1.0302185981182901</c:v>
                </c:pt>
                <c:pt idx="1234">
                  <c:v>-1.0511830586715001</c:v>
                </c:pt>
                <c:pt idx="1235">
                  <c:v>-1.0721475192247001</c:v>
                </c:pt>
                <c:pt idx="1236">
                  <c:v>-1.0931119797779101</c:v>
                </c:pt>
                <c:pt idx="1237">
                  <c:v>-1.1140764403311101</c:v>
                </c:pt>
                <c:pt idx="1238">
                  <c:v>-1.07929389589223</c:v>
                </c:pt>
                <c:pt idx="1239">
                  <c:v>-1.04655388383152</c:v>
                </c:pt>
                <c:pt idx="1240">
                  <c:v>-0.98085794732810505</c:v>
                </c:pt>
                <c:pt idx="1241">
                  <c:v>-0.97903132733192499</c:v>
                </c:pt>
                <c:pt idx="1242">
                  <c:v>-0.93207222475706897</c:v>
                </c:pt>
                <c:pt idx="1243">
                  <c:v>-0.85208312532576402</c:v>
                </c:pt>
                <c:pt idx="1244">
                  <c:v>-0.83807994719360301</c:v>
                </c:pt>
                <c:pt idx="1245">
                  <c:v>-0.83231575017211601</c:v>
                </c:pt>
                <c:pt idx="1246">
                  <c:v>-0.86396234392857496</c:v>
                </c:pt>
                <c:pt idx="1247">
                  <c:v>-0.879056903049933</c:v>
                </c:pt>
                <c:pt idx="1248">
                  <c:v>-0.89210892979313205</c:v>
                </c:pt>
                <c:pt idx="1249">
                  <c:v>-0.87424756447179497</c:v>
                </c:pt>
                <c:pt idx="1250">
                  <c:v>-0.86108516217160302</c:v>
                </c:pt>
                <c:pt idx="1251">
                  <c:v>-0.84792275987141097</c:v>
                </c:pt>
                <c:pt idx="1252">
                  <c:v>-0.83476035757121902</c:v>
                </c:pt>
                <c:pt idx="1253">
                  <c:v>-0.82779440400354298</c:v>
                </c:pt>
                <c:pt idx="1254">
                  <c:v>-0.77537304438298904</c:v>
                </c:pt>
                <c:pt idx="1255">
                  <c:v>-0.72499421714059298</c:v>
                </c:pt>
                <c:pt idx="1256">
                  <c:v>-0.66433387640936503</c:v>
                </c:pt>
                <c:pt idx="1257">
                  <c:v>-0.61191251678881098</c:v>
                </c:pt>
                <c:pt idx="1258">
                  <c:v>-0.50143238454130501</c:v>
                </c:pt>
                <c:pt idx="1259">
                  <c:v>-0.39299478467195897</c:v>
                </c:pt>
                <c:pt idx="1260">
                  <c:v>-0.282514652424454</c:v>
                </c:pt>
                <c:pt idx="1261">
                  <c:v>-0.18027350128762201</c:v>
                </c:pt>
                <c:pt idx="1262">
                  <c:v>-0.180933044742251</c:v>
                </c:pt>
                <c:pt idx="1263">
                  <c:v>-0.15067919613234201</c:v>
                </c:pt>
                <c:pt idx="1264">
                  <c:v>-0.130706861011265</c:v>
                </c:pt>
                <c:pt idx="1265">
                  <c:v>-0.11693097462270401</c:v>
                </c:pt>
                <c:pt idx="1266">
                  <c:v>-0.12600364706452399</c:v>
                </c:pt>
                <c:pt idx="1267">
                  <c:v>-0.14535783299517399</c:v>
                </c:pt>
                <c:pt idx="1268">
                  <c:v>-0.16055288175575499</c:v>
                </c:pt>
                <c:pt idx="1269">
                  <c:v>-0.138712162133036</c:v>
                </c:pt>
                <c:pt idx="1270">
                  <c:v>1.2711705060837301E-2</c:v>
                </c:pt>
                <c:pt idx="1271">
                  <c:v>0.25068452053151902</c:v>
                </c:pt>
                <c:pt idx="1272">
                  <c:v>0.44768464769009397</c:v>
                </c:pt>
                <c:pt idx="1273">
                  <c:v>0.37635973524076</c:v>
                </c:pt>
                <c:pt idx="1274">
                  <c:v>0.37158373620296897</c:v>
                </c:pt>
                <c:pt idx="1275">
                  <c:v>0.54005377854630199</c:v>
                </c:pt>
                <c:pt idx="1276">
                  <c:v>0.51252407532518096</c:v>
                </c:pt>
                <c:pt idx="1277">
                  <c:v>0.44781045889325399</c:v>
                </c:pt>
                <c:pt idx="1278">
                  <c:v>0.47093210211327402</c:v>
                </c:pt>
                <c:pt idx="1279">
                  <c:v>0.50236679885772095</c:v>
                </c:pt>
                <c:pt idx="1280">
                  <c:v>0.45965066560610401</c:v>
                </c:pt>
                <c:pt idx="1281">
                  <c:v>0.39622336054931701</c:v>
                </c:pt>
                <c:pt idx="1282">
                  <c:v>0.391157059272006</c:v>
                </c:pt>
                <c:pt idx="1283">
                  <c:v>0.43144480071813501</c:v>
                </c:pt>
                <c:pt idx="1284">
                  <c:v>0.33763887395835102</c:v>
                </c:pt>
                <c:pt idx="1285">
                  <c:v>0.28926106233575999</c:v>
                </c:pt>
                <c:pt idx="1286">
                  <c:v>0.223780409279702</c:v>
                </c:pt>
                <c:pt idx="1287">
                  <c:v>0.28006937856256803</c:v>
                </c:pt>
                <c:pt idx="1288">
                  <c:v>0.26825582175437701</c:v>
                </c:pt>
                <c:pt idx="1289">
                  <c:v>8.5233535127506102E-2</c:v>
                </c:pt>
                <c:pt idx="1290">
                  <c:v>0.13252508663377099</c:v>
                </c:pt>
                <c:pt idx="1291">
                  <c:v>2.7202475334616599E-2</c:v>
                </c:pt>
                <c:pt idx="1292">
                  <c:v>-4.7275595498041202E-2</c:v>
                </c:pt>
                <c:pt idx="1293">
                  <c:v>-6.4080798555983601E-2</c:v>
                </c:pt>
                <c:pt idx="1294">
                  <c:v>-9.6846081496089698E-2</c:v>
                </c:pt>
                <c:pt idx="1295">
                  <c:v>-0.125605592909346</c:v>
                </c:pt>
                <c:pt idx="1296">
                  <c:v>-0.23675491542933999</c:v>
                </c:pt>
                <c:pt idx="1297">
                  <c:v>-0.27156273074760401</c:v>
                </c:pt>
                <c:pt idx="1298">
                  <c:v>-0.192841519301748</c:v>
                </c:pt>
                <c:pt idx="1299">
                  <c:v>-0.13672064639600201</c:v>
                </c:pt>
                <c:pt idx="1300">
                  <c:v>-0.17962091246156101</c:v>
                </c:pt>
                <c:pt idx="1301">
                  <c:v>-0.23695660837030999</c:v>
                </c:pt>
                <c:pt idx="1302">
                  <c:v>-0.37496527151416298</c:v>
                </c:pt>
                <c:pt idx="1303">
                  <c:v>-0.47163088427714001</c:v>
                </c:pt>
                <c:pt idx="1304">
                  <c:v>-0.57660955056454399</c:v>
                </c:pt>
                <c:pt idx="1305">
                  <c:v>-0.611443158382733</c:v>
                </c:pt>
                <c:pt idx="1306">
                  <c:v>-0.75198275467551501</c:v>
                </c:pt>
                <c:pt idx="1307">
                  <c:v>-0.90075611126325605</c:v>
                </c:pt>
                <c:pt idx="1308">
                  <c:v>-1.0330567264453601</c:v>
                </c:pt>
                <c:pt idx="1309">
                  <c:v>-1.1406351774797401</c:v>
                </c:pt>
                <c:pt idx="1310">
                  <c:v>-1.0294971779127799</c:v>
                </c:pt>
                <c:pt idx="1311">
                  <c:v>-0.94927257041036195</c:v>
                </c:pt>
                <c:pt idx="1312">
                  <c:v>-0.83813457084340603</c:v>
                </c:pt>
                <c:pt idx="1313">
                  <c:v>-0.854809276704668</c:v>
                </c:pt>
                <c:pt idx="1314">
                  <c:v>-0.87144905514605697</c:v>
                </c:pt>
                <c:pt idx="1315">
                  <c:v>-0.76231866053738895</c:v>
                </c:pt>
                <c:pt idx="1316">
                  <c:v>-0.76868214630566101</c:v>
                </c:pt>
                <c:pt idx="1317">
                  <c:v>-0.78736445712520797</c:v>
                </c:pt>
                <c:pt idx="1318">
                  <c:v>-0.79999309997871004</c:v>
                </c:pt>
                <c:pt idx="1319">
                  <c:v>-0.79402717581895199</c:v>
                </c:pt>
                <c:pt idx="1320">
                  <c:v>-0.83341007356692098</c:v>
                </c:pt>
                <c:pt idx="1321">
                  <c:v>-0.79653075734262502</c:v>
                </c:pt>
                <c:pt idx="1322">
                  <c:v>-0.87614919079021503</c:v>
                </c:pt>
                <c:pt idx="1323">
                  <c:v>-0.91457271868443601</c:v>
                </c:pt>
                <c:pt idx="1324">
                  <c:v>-0.99215384056958</c:v>
                </c:pt>
                <c:pt idx="1325">
                  <c:v>-0.91720009287877302</c:v>
                </c:pt>
                <c:pt idx="1326">
                  <c:v>-0.98027167606358301</c:v>
                </c:pt>
                <c:pt idx="1327">
                  <c:v>-0.91975854258828604</c:v>
                </c:pt>
                <c:pt idx="1328">
                  <c:v>-0.97670774945433503</c:v>
                </c:pt>
                <c:pt idx="1329">
                  <c:v>-0.97182495137559699</c:v>
                </c:pt>
                <c:pt idx="1330">
                  <c:v>-0.98678598673336604</c:v>
                </c:pt>
                <c:pt idx="1331">
                  <c:v>-0.97703007875911396</c:v>
                </c:pt>
                <c:pt idx="1332">
                  <c:v>-0.96107772205234598</c:v>
                </c:pt>
                <c:pt idx="1333">
                  <c:v>-0.95336434645625301</c:v>
                </c:pt>
                <c:pt idx="1334">
                  <c:v>-0.946736690602345</c:v>
                </c:pt>
                <c:pt idx="1335">
                  <c:v>-0.94215156712659498</c:v>
                </c:pt>
                <c:pt idx="1336">
                  <c:v>-0.94376289238335997</c:v>
                </c:pt>
                <c:pt idx="1337">
                  <c:v>-0.90410523967300305</c:v>
                </c:pt>
                <c:pt idx="1338">
                  <c:v>-0.86723535366224702</c:v>
                </c:pt>
                <c:pt idx="1339">
                  <c:v>-0.77057599508486296</c:v>
                </c:pt>
                <c:pt idx="1340">
                  <c:v>-0.89447473894502005</c:v>
                </c:pt>
                <c:pt idx="1341">
                  <c:v>-0.95865808265230201</c:v>
                </c:pt>
                <c:pt idx="1342">
                  <c:v>-0.96023950403838199</c:v>
                </c:pt>
                <c:pt idx="1343">
                  <c:v>-0.95977839304630297</c:v>
                </c:pt>
                <c:pt idx="1344">
                  <c:v>-0.99431573887507896</c:v>
                </c:pt>
                <c:pt idx="1345">
                  <c:v>-1.0206141035931799</c:v>
                </c:pt>
                <c:pt idx="1346">
                  <c:v>-1.07245262555607</c:v>
                </c:pt>
                <c:pt idx="1347">
                  <c:v>-1.0233808418127299</c:v>
                </c:pt>
                <c:pt idx="1348">
                  <c:v>-0.99282955266888395</c:v>
                </c:pt>
                <c:pt idx="1349">
                  <c:v>-1.02819011241043</c:v>
                </c:pt>
                <c:pt idx="1350">
                  <c:v>-1.0206692237314401</c:v>
                </c:pt>
                <c:pt idx="1351">
                  <c:v>-0.89160615077049299</c:v>
                </c:pt>
                <c:pt idx="1352">
                  <c:v>-0.94999711097688699</c:v>
                </c:pt>
                <c:pt idx="1353">
                  <c:v>-0.91571674658771196</c:v>
                </c:pt>
                <c:pt idx="1354">
                  <c:v>-0.849559424061755</c:v>
                </c:pt>
                <c:pt idx="1355">
                  <c:v>-0.76692413931445003</c:v>
                </c:pt>
                <c:pt idx="1356">
                  <c:v>-0.69252783567781895</c:v>
                </c:pt>
                <c:pt idx="1357">
                  <c:v>-0.62841304553001898</c:v>
                </c:pt>
                <c:pt idx="1358">
                  <c:v>-0.68793278576155303</c:v>
                </c:pt>
                <c:pt idx="1359">
                  <c:v>-0.73097456377173897</c:v>
                </c:pt>
                <c:pt idx="1360">
                  <c:v>-0.759580911938735</c:v>
                </c:pt>
                <c:pt idx="1361">
                  <c:v>-0.81910065217026895</c:v>
                </c:pt>
                <c:pt idx="1362">
                  <c:v>-0.81167642432703502</c:v>
                </c:pt>
                <c:pt idx="1363">
                  <c:v>-0.75278099825731304</c:v>
                </c:pt>
                <c:pt idx="1364">
                  <c:v>-0.69592810456575005</c:v>
                </c:pt>
                <c:pt idx="1365">
                  <c:v>-0.58336558224816204</c:v>
                </c:pt>
                <c:pt idx="1366">
                  <c:v>-0.47593756294813799</c:v>
                </c:pt>
                <c:pt idx="1367">
                  <c:v>-0.26124942356613401</c:v>
                </c:pt>
                <c:pt idx="1368">
                  <c:v>-0.242481736519116</c:v>
                </c:pt>
                <c:pt idx="1369">
                  <c:v>-0.16596710928362901</c:v>
                </c:pt>
                <c:pt idx="1370">
                  <c:v>-0.17997404808349399</c:v>
                </c:pt>
                <c:pt idx="1371">
                  <c:v>-0.21869793021538</c:v>
                </c:pt>
                <c:pt idx="1372">
                  <c:v>-0.156289289399762</c:v>
                </c:pt>
                <c:pt idx="1373">
                  <c:v>-0.16198317467519899</c:v>
                </c:pt>
                <c:pt idx="1374">
                  <c:v>-0.17886831981027901</c:v>
                </c:pt>
                <c:pt idx="1375">
                  <c:v>-8.0328436166458406E-2</c:v>
                </c:pt>
                <c:pt idx="1376">
                  <c:v>-0.15299728234131801</c:v>
                </c:pt>
                <c:pt idx="1377">
                  <c:v>-0.180312085792738</c:v>
                </c:pt>
                <c:pt idx="1378">
                  <c:v>-0.19726538334841601</c:v>
                </c:pt>
                <c:pt idx="1379">
                  <c:v>-0.31127135991099603</c:v>
                </c:pt>
                <c:pt idx="1380">
                  <c:v>-0.34273415972361698</c:v>
                </c:pt>
                <c:pt idx="1381">
                  <c:v>-0.337013046325432</c:v>
                </c:pt>
                <c:pt idx="1382">
                  <c:v>-0.31860093006263701</c:v>
                </c:pt>
                <c:pt idx="1383">
                  <c:v>-0.36829133989089802</c:v>
                </c:pt>
                <c:pt idx="1384">
                  <c:v>-0.444889370256846</c:v>
                </c:pt>
                <c:pt idx="1385">
                  <c:v>-0.50486129357393905</c:v>
                </c:pt>
                <c:pt idx="1386">
                  <c:v>-0.570796552817739</c:v>
                </c:pt>
                <c:pt idx="1387">
                  <c:v>-0.63673181206153795</c:v>
                </c:pt>
                <c:pt idx="1388">
                  <c:v>-0.73773960053994503</c:v>
                </c:pt>
                <c:pt idx="1389">
                  <c:v>-0.78500622035673095</c:v>
                </c:pt>
                <c:pt idx="1390">
                  <c:v>-0.84627819802759197</c:v>
                </c:pt>
                <c:pt idx="1391">
                  <c:v>-0.89923712217402596</c:v>
                </c:pt>
                <c:pt idx="1392">
                  <c:v>-1.03888791860906</c:v>
                </c:pt>
                <c:pt idx="1393">
                  <c:v>-1.1681142775434701</c:v>
                </c:pt>
                <c:pt idx="1394">
                  <c:v>-1.1273841271507199</c:v>
                </c:pt>
                <c:pt idx="1395">
                  <c:v>-1.00207870926127</c:v>
                </c:pt>
                <c:pt idx="1396">
                  <c:v>-0.96543362362483098</c:v>
                </c:pt>
                <c:pt idx="1397">
                  <c:v>-0.87935465132434998</c:v>
                </c:pt>
                <c:pt idx="1398">
                  <c:v>-0.87330646197947803</c:v>
                </c:pt>
                <c:pt idx="1399">
                  <c:v>-1.01578214986799</c:v>
                </c:pt>
                <c:pt idx="1400">
                  <c:v>-1.0571993872227601</c:v>
                </c:pt>
                <c:pt idx="1401">
                  <c:v>-1.06770323251299</c:v>
                </c:pt>
                <c:pt idx="1402">
                  <c:v>-1.0758050066523801</c:v>
                </c:pt>
                <c:pt idx="1403">
                  <c:v>-1.12102184240453</c:v>
                </c:pt>
                <c:pt idx="1404">
                  <c:v>-1.12912361654392</c:v>
                </c:pt>
                <c:pt idx="1405">
                  <c:v>-1.15574588528282</c:v>
                </c:pt>
                <c:pt idx="1406">
                  <c:v>-1.1677426745725501</c:v>
                </c:pt>
                <c:pt idx="1407">
                  <c:v>-1.1570650529084201</c:v>
                </c:pt>
                <c:pt idx="1408">
                  <c:v>-1.1546264123549601</c:v>
                </c:pt>
                <c:pt idx="1409">
                  <c:v>-1.1439487906908301</c:v>
                </c:pt>
                <c:pt idx="1410">
                  <c:v>-1.0908646073302199</c:v>
                </c:pt>
                <c:pt idx="1411">
                  <c:v>-1.0768587247310599</c:v>
                </c:pt>
                <c:pt idx="1412">
                  <c:v>-1.0298969176892101</c:v>
                </c:pt>
                <c:pt idx="1413">
                  <c:v>-0.99941307286870495</c:v>
                </c:pt>
                <c:pt idx="1414">
                  <c:v>-0.9861408052049</c:v>
                </c:pt>
                <c:pt idx="1415">
                  <c:v>-0.97286853754109504</c:v>
                </c:pt>
                <c:pt idx="1416">
                  <c:v>-0.96783525098796397</c:v>
                </c:pt>
                <c:pt idx="1417">
                  <c:v>-0.95252045094600102</c:v>
                </c:pt>
                <c:pt idx="1418">
                  <c:v>-0.98857932773019697</c:v>
                </c:pt>
                <c:pt idx="1419">
                  <c:v>-1.02463820451439</c:v>
                </c:pt>
                <c:pt idx="1420">
                  <c:v>-1.0771750435199401</c:v>
                </c:pt>
                <c:pt idx="1421">
                  <c:v>-1.1132339203041299</c:v>
                </c:pt>
                <c:pt idx="1422">
                  <c:v>-1.0302612011141199</c:v>
                </c:pt>
                <c:pt idx="1423">
                  <c:v>-0.97200542525613798</c:v>
                </c:pt>
                <c:pt idx="1424">
                  <c:v>-0.94050912510833096</c:v>
                </c:pt>
                <c:pt idx="1425">
                  <c:v>-0.85133995718580802</c:v>
                </c:pt>
                <c:pt idx="1426">
                  <c:v>-0.86577538702899703</c:v>
                </c:pt>
                <c:pt idx="1427">
                  <c:v>-0.89873131147169205</c:v>
                </c:pt>
                <c:pt idx="1428">
                  <c:v>-0.91520927369303895</c:v>
                </c:pt>
                <c:pt idx="1429">
                  <c:v>-1.2676732024947801</c:v>
                </c:pt>
                <c:pt idx="1430">
                  <c:v>-1.2688766163738201</c:v>
                </c:pt>
                <c:pt idx="1431">
                  <c:v>-1.2556446004096691</c:v>
                </c:pt>
                <c:pt idx="1432">
                  <c:v>-1.24241258444553</c:v>
                </c:pt>
                <c:pt idx="1433">
                  <c:v>-1.2434278006422901</c:v>
                </c:pt>
                <c:pt idx="1434">
                  <c:v>-1.24119707058186</c:v>
                </c:pt>
                <c:pt idx="1435">
                  <c:v>-1.23896634052143</c:v>
                </c:pt>
                <c:pt idx="1436">
                  <c:v>-1.2236280931754</c:v>
                </c:pt>
                <c:pt idx="1437">
                  <c:v>-1.24671323033377</c:v>
                </c:pt>
                <c:pt idx="1438">
                  <c:v>-1.2780373486028</c:v>
                </c:pt>
                <c:pt idx="1439">
                  <c:v>-1.3176004479825101</c:v>
                </c:pt>
                <c:pt idx="1440">
                  <c:v>-1.36335999609474</c:v>
                </c:pt>
                <c:pt idx="1441">
                  <c:v>-1.34548162939001</c:v>
                </c:pt>
                <c:pt idx="1442">
                  <c:v>-1.3193642815746101</c:v>
                </c:pt>
                <c:pt idx="1443">
                  <c:v>-1.3097248959805601</c:v>
                </c:pt>
                <c:pt idx="1444">
                  <c:v>-1.2918465292758401</c:v>
                </c:pt>
                <c:pt idx="1445">
                  <c:v>-1.22654038445476</c:v>
                </c:pt>
                <c:pt idx="1446">
                  <c:v>-1.1529952585230201</c:v>
                </c:pt>
                <c:pt idx="1447">
                  <c:v>-1.08768911370194</c:v>
                </c:pt>
                <c:pt idx="1448">
                  <c:v>-1.0223829688808701</c:v>
                </c:pt>
                <c:pt idx="1449">
                  <c:v>-1.04376269296427</c:v>
                </c:pt>
                <c:pt idx="1450">
                  <c:v>-1.06514241704768</c:v>
                </c:pt>
                <c:pt idx="1451">
                  <c:v>-1.0865221411310799</c:v>
                </c:pt>
                <c:pt idx="1452">
                  <c:v>-1.0996628841038201</c:v>
                </c:pt>
                <c:pt idx="1453">
                  <c:v>-1.16045545112642</c:v>
                </c:pt>
                <c:pt idx="1454">
                  <c:v>-1.2253330829053499</c:v>
                </c:pt>
                <c:pt idx="1455">
                  <c:v>-1.29640716341679</c:v>
                </c:pt>
                <c:pt idx="1456">
                  <c:v>-1.35924226281755</c:v>
                </c:pt>
                <c:pt idx="1457">
                  <c:v>-1.30350068493856</c:v>
                </c:pt>
                <c:pt idx="1458">
                  <c:v>-1.13438183147454</c:v>
                </c:pt>
                <c:pt idx="1459">
                  <c:v>-1.01885078102893</c:v>
                </c:pt>
                <c:pt idx="1460">
                  <c:v>-0.99191121123827697</c:v>
                </c:pt>
                <c:pt idx="1461">
                  <c:v>-0.95166170068087896</c:v>
                </c:pt>
                <c:pt idx="1462">
                  <c:v>-0.85986691948324001</c:v>
                </c:pt>
                <c:pt idx="1463">
                  <c:v>-0.82997299482842801</c:v>
                </c:pt>
                <c:pt idx="1464">
                  <c:v>-0.70788569904438403</c:v>
                </c:pt>
                <c:pt idx="1465">
                  <c:v>-0.64021234935396798</c:v>
                </c:pt>
                <c:pt idx="1466">
                  <c:v>-0.49988546622463298</c:v>
                </c:pt>
                <c:pt idx="1467">
                  <c:v>-0.54323428279276198</c:v>
                </c:pt>
                <c:pt idx="1468">
                  <c:v>-0.52263448962419201</c:v>
                </c:pt>
                <c:pt idx="1469">
                  <c:v>-0.67536003106621401</c:v>
                </c:pt>
                <c:pt idx="1470">
                  <c:v>-0.696722000181632</c:v>
                </c:pt>
                <c:pt idx="1471">
                  <c:v>-0.528206600051357</c:v>
                </c:pt>
                <c:pt idx="1472">
                  <c:v>-0.71458085025294005</c:v>
                </c:pt>
                <c:pt idx="1473">
                  <c:v>-0.51114106571556595</c:v>
                </c:pt>
                <c:pt idx="1474">
                  <c:v>-0.77037268228108402</c:v>
                </c:pt>
                <c:pt idx="1475">
                  <c:v>-0.61296193679942501</c:v>
                </c:pt>
                <c:pt idx="1476">
                  <c:v>-0.70091075113251</c:v>
                </c:pt>
                <c:pt idx="1477">
                  <c:v>-0.59089135993673603</c:v>
                </c:pt>
                <c:pt idx="1478">
                  <c:v>-0.71087703302023597</c:v>
                </c:pt>
                <c:pt idx="1479">
                  <c:v>-0.69646752742709395</c:v>
                </c:pt>
                <c:pt idx="1480">
                  <c:v>-0.81607761762611197</c:v>
                </c:pt>
                <c:pt idx="1481">
                  <c:v>-0.80166811203296995</c:v>
                </c:pt>
                <c:pt idx="1482">
                  <c:v>-0.73325243086778003</c:v>
                </c:pt>
                <c:pt idx="1483">
                  <c:v>-0.75561890756322303</c:v>
                </c:pt>
                <c:pt idx="1484">
                  <c:v>-0.687203226398033</c:v>
                </c:pt>
                <c:pt idx="1485">
                  <c:v>-0.59618720669273495</c:v>
                </c:pt>
                <c:pt idx="1486">
                  <c:v>-0.630455054353112</c:v>
                </c:pt>
                <c:pt idx="1487">
                  <c:v>-0.65036154458405304</c:v>
                </c:pt>
                <c:pt idx="1488">
                  <c:v>-0.62899383603215797</c:v>
                </c:pt>
                <c:pt idx="1489">
                  <c:v>-0.65713930737377302</c:v>
                </c:pt>
                <c:pt idx="1490">
                  <c:v>-0.65792935415395504</c:v>
                </c:pt>
                <c:pt idx="1491">
                  <c:v>-0.70619004844948796</c:v>
                </c:pt>
                <c:pt idx="1492">
                  <c:v>-0.783326823247113</c:v>
                </c:pt>
                <c:pt idx="1493">
                  <c:v>-0.83566736148325005</c:v>
                </c:pt>
                <c:pt idx="1494">
                  <c:v>-0.94864839510043597</c:v>
                </c:pt>
                <c:pt idx="1495">
                  <c:v>-1.03690726456989</c:v>
                </c:pt>
                <c:pt idx="1496">
                  <c:v>-1.1024865022697601</c:v>
                </c:pt>
                <c:pt idx="1497">
                  <c:v>-1.17834725345847</c:v>
                </c:pt>
                <c:pt idx="1498">
                  <c:v>-1.20849946085518</c:v>
                </c:pt>
                <c:pt idx="1499">
                  <c:v>-1.2984359200028099</c:v>
                </c:pt>
                <c:pt idx="1500">
                  <c:v>-1.3512625383533901</c:v>
                </c:pt>
                <c:pt idx="1501">
                  <c:v>-1.39584495477758</c:v>
                </c:pt>
                <c:pt idx="1502">
                  <c:v>-1.27630890318659</c:v>
                </c:pt>
                <c:pt idx="1503">
                  <c:v>-1.36077369858232</c:v>
                </c:pt>
                <c:pt idx="1504">
                  <c:v>-1.408128653181</c:v>
                </c:pt>
                <c:pt idx="1505">
                  <c:v>-1.43900564555834</c:v>
                </c:pt>
                <c:pt idx="1506">
                  <c:v>-1.48141651790675</c:v>
                </c:pt>
                <c:pt idx="1507">
                  <c:v>-1.5629797634303699</c:v>
                </c:pt>
                <c:pt idx="1508">
                  <c:v>-1.46525910529929</c:v>
                </c:pt>
                <c:pt idx="1509">
                  <c:v>-1.5694967617767701</c:v>
                </c:pt>
                <c:pt idx="1510">
                  <c:v>-1.5223505522476399</c:v>
                </c:pt>
                <c:pt idx="1511">
                  <c:v>-1.4668965100097999</c:v>
                </c:pt>
                <c:pt idx="1512">
                  <c:v>-1.48566214936607</c:v>
                </c:pt>
                <c:pt idx="1513">
                  <c:v>-1.0847000395156801</c:v>
                </c:pt>
                <c:pt idx="1514">
                  <c:v>-1.0609866851887899</c:v>
                </c:pt>
                <c:pt idx="1515">
                  <c:v>-1.0797163482568</c:v>
                </c:pt>
                <c:pt idx="1516">
                  <c:v>-1.08196804910346</c:v>
                </c:pt>
                <c:pt idx="1517">
                  <c:v>-1.12753126029541</c:v>
                </c:pt>
                <c:pt idx="1518">
                  <c:v>-1.0988643482618199</c:v>
                </c:pt>
                <c:pt idx="1519">
                  <c:v>-1.0958372539711401</c:v>
                </c:pt>
                <c:pt idx="1520">
                  <c:v>-1.0578117028596099</c:v>
                </c:pt>
                <c:pt idx="1521">
                  <c:v>-1.0218286841262401</c:v>
                </c:pt>
                <c:pt idx="1522">
                  <c:v>-0.94465075983949698</c:v>
                </c:pt>
                <c:pt idx="1523">
                  <c:v>-0.84591319094489803</c:v>
                </c:pt>
                <c:pt idx="1524">
                  <c:v>-0.78013154649299399</c:v>
                </c:pt>
                <c:pt idx="1525">
                  <c:v>-0.71434990204108995</c:v>
                </c:pt>
                <c:pt idx="1526">
                  <c:v>-0.64032927647851301</c:v>
                </c:pt>
                <c:pt idx="1527">
                  <c:v>-0.62197739867039004</c:v>
                </c:pt>
                <c:pt idx="1528">
                  <c:v>-0.58714755864091905</c:v>
                </c:pt>
                <c:pt idx="1529">
                  <c:v>-0.54407873750077396</c:v>
                </c:pt>
                <c:pt idx="1530">
                  <c:v>-0.50100991636062997</c:v>
                </c:pt>
                <c:pt idx="1531">
                  <c:v>-0.38567073994315598</c:v>
                </c:pt>
                <c:pt idx="1532">
                  <c:v>-0.23737563908298701</c:v>
                </c:pt>
                <c:pt idx="1533">
                  <c:v>-0.105558500444165</c:v>
                </c:pt>
                <c:pt idx="1534">
                  <c:v>2.8301170572814401E-2</c:v>
                </c:pt>
                <c:pt idx="1535">
                  <c:v>3.2345252859282199E-2</c:v>
                </c:pt>
                <c:pt idx="1536">
                  <c:v>3.6463407559503898E-2</c:v>
                </c:pt>
                <c:pt idx="1537">
                  <c:v>4.0507489845971703E-2</c:v>
                </c:pt>
                <c:pt idx="1538">
                  <c:v>5.6944469597470598E-2</c:v>
                </c:pt>
                <c:pt idx="1539">
                  <c:v>2.4183794233677901E-2</c:v>
                </c:pt>
                <c:pt idx="1540">
                  <c:v>-1.4773329862630601E-2</c:v>
                </c:pt>
                <c:pt idx="1541">
                  <c:v>-7.4288260120889196E-2</c:v>
                </c:pt>
                <c:pt idx="1542">
                  <c:v>-0.137962327549218</c:v>
                </c:pt>
                <c:pt idx="1543">
                  <c:v>-4.3659069079154303E-2</c:v>
                </c:pt>
                <c:pt idx="1544">
                  <c:v>9.1839094944279095E-2</c:v>
                </c:pt>
                <c:pt idx="1545">
                  <c:v>0.200583004073246</c:v>
                </c:pt>
                <c:pt idx="1546">
                  <c:v>0.29284373016515203</c:v>
                </c:pt>
                <c:pt idx="1547">
                  <c:v>0.23776538028580599</c:v>
                </c:pt>
                <c:pt idx="1548">
                  <c:v>0.18480363519837101</c:v>
                </c:pt>
                <c:pt idx="1549">
                  <c:v>0.204024260142596</c:v>
                </c:pt>
                <c:pt idx="1550">
                  <c:v>0.18817235585221401</c:v>
                </c:pt>
                <c:pt idx="1551">
                  <c:v>0.22344147559429201</c:v>
                </c:pt>
                <c:pt idx="1552">
                  <c:v>0.14941316369194599</c:v>
                </c:pt>
                <c:pt idx="1553">
                  <c:v>0.25686987428139701</c:v>
                </c:pt>
                <c:pt idx="1554">
                  <c:v>0.38707506823846499</c:v>
                </c:pt>
                <c:pt idx="1555">
                  <c:v>0.25630973021056702</c:v>
                </c:pt>
                <c:pt idx="1556">
                  <c:v>0.222374853948309</c:v>
                </c:pt>
                <c:pt idx="1557">
                  <c:v>9.7731892239171503E-2</c:v>
                </c:pt>
                <c:pt idx="1558">
                  <c:v>0.12578238656492099</c:v>
                </c:pt>
                <c:pt idx="1559">
                  <c:v>0.15138797993413899</c:v>
                </c:pt>
                <c:pt idx="1560">
                  <c:v>0.19989542231419599</c:v>
                </c:pt>
                <c:pt idx="1561">
                  <c:v>0.32678690427413998</c:v>
                </c:pt>
                <c:pt idx="1562">
                  <c:v>0.35677385205469098</c:v>
                </c:pt>
                <c:pt idx="1563">
                  <c:v>0.36233646446168</c:v>
                </c:pt>
                <c:pt idx="1564">
                  <c:v>0.21739629803944699</c:v>
                </c:pt>
                <c:pt idx="1565">
                  <c:v>0.220990450482032</c:v>
                </c:pt>
                <c:pt idx="1566">
                  <c:v>0.102735687356225</c:v>
                </c:pt>
                <c:pt idx="1567">
                  <c:v>0.15291189100117</c:v>
                </c:pt>
                <c:pt idx="1568">
                  <c:v>0.20308809464611299</c:v>
                </c:pt>
                <c:pt idx="1569">
                  <c:v>0.350168832470451</c:v>
                </c:pt>
                <c:pt idx="1570">
                  <c:v>0.31787593177918999</c:v>
                </c:pt>
                <c:pt idx="1571">
                  <c:v>0.22258988972232699</c:v>
                </c:pt>
                <c:pt idx="1572">
                  <c:v>0.222319215109922</c:v>
                </c:pt>
                <c:pt idx="1573">
                  <c:v>0.20768718306808201</c:v>
                </c:pt>
                <c:pt idx="1574">
                  <c:v>0.122830799327559</c:v>
                </c:pt>
                <c:pt idx="1575">
                  <c:v>0.122873542423967</c:v>
                </c:pt>
                <c:pt idx="1576">
                  <c:v>1.5656165438395001E-2</c:v>
                </c:pt>
                <c:pt idx="1577">
                  <c:v>1.5772980948555899E-2</c:v>
                </c:pt>
                <c:pt idx="1578">
                  <c:v>-5.8414399180567102E-2</c:v>
                </c:pt>
                <c:pt idx="1579">
                  <c:v>-4.7596060067722899E-2</c:v>
                </c:pt>
                <c:pt idx="1580">
                  <c:v>-0.14608037341501801</c:v>
                </c:pt>
                <c:pt idx="1581">
                  <c:v>-0.213651294697776</c:v>
                </c:pt>
                <c:pt idx="1582">
                  <c:v>-0.31833205677758603</c:v>
                </c:pt>
                <c:pt idx="1583">
                  <c:v>-0.42299093126169701</c:v>
                </c:pt>
                <c:pt idx="1584">
                  <c:v>-0.48841813934113099</c:v>
                </c:pt>
                <c:pt idx="1585">
                  <c:v>-0.55792519136116703</c:v>
                </c:pt>
                <c:pt idx="1586">
                  <c:v>-0.63166545296502896</c:v>
                </c:pt>
                <c:pt idx="1587">
                  <c:v>-0.76400927674352304</c:v>
                </c:pt>
                <c:pt idx="1588">
                  <c:v>-0.87790667833626601</c:v>
                </c:pt>
                <c:pt idx="1589">
                  <c:v>-1.0082131905523199</c:v>
                </c:pt>
                <c:pt idx="1590">
                  <c:v>-1.1035160251317999</c:v>
                </c:pt>
                <c:pt idx="1591">
                  <c:v>-1.1707622347908</c:v>
                </c:pt>
                <c:pt idx="1592">
                  <c:v>-1.1823092574552101</c:v>
                </c:pt>
                <c:pt idx="1593">
                  <c:v>-1.2412424135897899</c:v>
                </c:pt>
                <c:pt idx="1594">
                  <c:v>-1.3105311556269501</c:v>
                </c:pt>
                <c:pt idx="1595">
                  <c:v>-1.3080000722601699</c:v>
                </c:pt>
                <c:pt idx="1596">
                  <c:v>-1.3529291947773101</c:v>
                </c:pt>
                <c:pt idx="1597">
                  <c:v>-1.4039859144289299</c:v>
                </c:pt>
                <c:pt idx="1598">
                  <c:v>-1.4591965504349</c:v>
                </c:pt>
                <c:pt idx="1599">
                  <c:v>-1.5211560590325099</c:v>
                </c:pt>
                <c:pt idx="1600">
                  <c:v>-1.5501492015559999</c:v>
                </c:pt>
                <c:pt idx="1601">
                  <c:v>-1.5605582186976501</c:v>
                </c:pt>
                <c:pt idx="1602">
                  <c:v>-0.122446595160896</c:v>
                </c:pt>
                <c:pt idx="1603">
                  <c:v>-6.6464356994091998E-3</c:v>
                </c:pt>
                <c:pt idx="1604">
                  <c:v>0.102809130202055</c:v>
                </c:pt>
                <c:pt idx="1605">
                  <c:v>0.16691065338007999</c:v>
                </c:pt>
                <c:pt idx="1606">
                  <c:v>0.25773259449424601</c:v>
                </c:pt>
                <c:pt idx="1607">
                  <c:v>0.37123416737798998</c:v>
                </c:pt>
                <c:pt idx="1608">
                  <c:v>0.44557814627080899</c:v>
                </c:pt>
                <c:pt idx="1609">
                  <c:v>0.80041011202342904</c:v>
                </c:pt>
                <c:pt idx="1610">
                  <c:v>0.79786761416835095</c:v>
                </c:pt>
                <c:pt idx="1611">
                  <c:v>0.87779422064947998</c:v>
                </c:pt>
                <c:pt idx="1612">
                  <c:v>7.87403963911011E-2</c:v>
                </c:pt>
                <c:pt idx="1613">
                  <c:v>8.8122251289837306E-2</c:v>
                </c:pt>
                <c:pt idx="1614">
                  <c:v>-1.58836110278818E-2</c:v>
                </c:pt>
                <c:pt idx="1615">
                  <c:v>-1.48468161631772E-2</c:v>
                </c:pt>
                <c:pt idx="1616">
                  <c:v>0.12860192124758199</c:v>
                </c:pt>
                <c:pt idx="1617">
                  <c:v>4.5275224225431197E-2</c:v>
                </c:pt>
                <c:pt idx="1618">
                  <c:v>0.18245344048992099</c:v>
                </c:pt>
                <c:pt idx="1619">
                  <c:v>0.16949555829740401</c:v>
                </c:pt>
                <c:pt idx="1620">
                  <c:v>0.199849186450169</c:v>
                </c:pt>
                <c:pt idx="1621">
                  <c:v>1.15182164531884E-2</c:v>
                </c:pt>
                <c:pt idx="1622">
                  <c:v>8.7231108145105402E-2</c:v>
                </c:pt>
                <c:pt idx="1623">
                  <c:v>7.9581078372111397E-2</c:v>
                </c:pt>
                <c:pt idx="1624">
                  <c:v>0.197790956510071</c:v>
                </c:pt>
                <c:pt idx="1625">
                  <c:v>0.20880956616409099</c:v>
                </c:pt>
                <c:pt idx="1626">
                  <c:v>0.186570740904687</c:v>
                </c:pt>
                <c:pt idx="1627">
                  <c:v>0.20693716568369899</c:v>
                </c:pt>
                <c:pt idx="1628">
                  <c:v>0.12631399152700101</c:v>
                </c:pt>
                <c:pt idx="1629">
                  <c:v>0.13420822561151599</c:v>
                </c:pt>
                <c:pt idx="1630">
                  <c:v>0.18133412610070801</c:v>
                </c:pt>
                <c:pt idx="1631">
                  <c:v>0.105257579236648</c:v>
                </c:pt>
                <c:pt idx="1632">
                  <c:v>5.9946279609616203E-2</c:v>
                </c:pt>
                <c:pt idx="1633">
                  <c:v>8.2851656068478295E-3</c:v>
                </c:pt>
                <c:pt idx="1634">
                  <c:v>-6.0334487261796098E-3</c:v>
                </c:pt>
                <c:pt idx="1635">
                  <c:v>-0.100363845719117</c:v>
                </c:pt>
                <c:pt idx="1636">
                  <c:v>-3.99582542990096E-2</c:v>
                </c:pt>
                <c:pt idx="1637">
                  <c:v>-0.12612374259502701</c:v>
                </c:pt>
                <c:pt idx="1638">
                  <c:v>-0.21017262609913301</c:v>
                </c:pt>
                <c:pt idx="1639">
                  <c:v>-0.14158023838640599</c:v>
                </c:pt>
                <c:pt idx="1640">
                  <c:v>-0.124464269715881</c:v>
                </c:pt>
                <c:pt idx="1641">
                  <c:v>-0.173566881217188</c:v>
                </c:pt>
                <c:pt idx="1642">
                  <c:v>-0.23491424535601799</c:v>
                </c:pt>
                <c:pt idx="1643">
                  <c:v>-0.36952803956964703</c:v>
                </c:pt>
                <c:pt idx="1644">
                  <c:v>-0.52674739313909802</c:v>
                </c:pt>
                <c:pt idx="1645">
                  <c:v>-0.62001291615613596</c:v>
                </c:pt>
                <c:pt idx="1646">
                  <c:v>-0.66377048009537798</c:v>
                </c:pt>
                <c:pt idx="1647">
                  <c:v>-0.74137749647268203</c:v>
                </c:pt>
                <c:pt idx="1648">
                  <c:v>-0.82926602633881796</c:v>
                </c:pt>
                <c:pt idx="1649">
                  <c:v>-0.95011570146336299</c:v>
                </c:pt>
                <c:pt idx="1650">
                  <c:v>-1.12046811484999</c:v>
                </c:pt>
                <c:pt idx="1651">
                  <c:v>-1.1778005764635899</c:v>
                </c:pt>
                <c:pt idx="1652">
                  <c:v>-1.3031562709387801</c:v>
                </c:pt>
                <c:pt idx="1653">
                  <c:v>-1.3954871893732299</c:v>
                </c:pt>
                <c:pt idx="1654">
                  <c:v>-1.4425965474646101</c:v>
                </c:pt>
                <c:pt idx="1655">
                  <c:v>-1.54159704526123</c:v>
                </c:pt>
                <c:pt idx="1656">
                  <c:v>-1.48397760872559</c:v>
                </c:pt>
                <c:pt idx="1657">
                  <c:v>-1.63248084478429</c:v>
                </c:pt>
                <c:pt idx="1658">
                  <c:v>-0.32229982993706402</c:v>
                </c:pt>
                <c:pt idx="1659">
                  <c:v>-0.215073999015304</c:v>
                </c:pt>
                <c:pt idx="1660">
                  <c:v>-9.9609186982869705E-2</c:v>
                </c:pt>
                <c:pt idx="1661">
                  <c:v>5.1084352440336801E-3</c:v>
                </c:pt>
                <c:pt idx="1662">
                  <c:v>-2.63101431131351E-2</c:v>
                </c:pt>
                <c:pt idx="1663">
                  <c:v>-0.47177251753928601</c:v>
                </c:pt>
                <c:pt idx="1664">
                  <c:v>-0.46403350190553</c:v>
                </c:pt>
                <c:pt idx="1665">
                  <c:v>-0.45320717929140297</c:v>
                </c:pt>
                <c:pt idx="1666">
                  <c:v>-0.44857730540979102</c:v>
                </c:pt>
                <c:pt idx="1667">
                  <c:v>-0.44810134788253703</c:v>
                </c:pt>
                <c:pt idx="1668">
                  <c:v>-0.47234755450301602</c:v>
                </c:pt>
                <c:pt idx="1669">
                  <c:v>-0.43736857792984801</c:v>
                </c:pt>
                <c:pt idx="1670">
                  <c:v>-0.39407654783225099</c:v>
                </c:pt>
                <c:pt idx="1671">
                  <c:v>-0.31578084009808799</c:v>
                </c:pt>
                <c:pt idx="1672">
                  <c:v>-0.29932235812442598</c:v>
                </c:pt>
                <c:pt idx="1673">
                  <c:v>-0.330445823664481</c:v>
                </c:pt>
                <c:pt idx="1674">
                  <c:v>-0.32656561156796798</c:v>
                </c:pt>
                <c:pt idx="1675">
                  <c:v>-0.28950725778750003</c:v>
                </c:pt>
                <c:pt idx="1676">
                  <c:v>-0.337108685548903</c:v>
                </c:pt>
                <c:pt idx="1677">
                  <c:v>-0.31161577880783498</c:v>
                </c:pt>
                <c:pt idx="1678">
                  <c:v>-0.28174151765543398</c:v>
                </c:pt>
                <c:pt idx="1679">
                  <c:v>-0.29117299532146501</c:v>
                </c:pt>
                <c:pt idx="1680">
                  <c:v>-0.30688021494947898</c:v>
                </c:pt>
                <c:pt idx="1681">
                  <c:v>-0.15631624937093699</c:v>
                </c:pt>
                <c:pt idx="1682">
                  <c:v>-5.3154079709706502E-2</c:v>
                </c:pt>
                <c:pt idx="1683">
                  <c:v>-2.6338638065919899E-2</c:v>
                </c:pt>
                <c:pt idx="1684">
                  <c:v>0.24759304774718099</c:v>
                </c:pt>
                <c:pt idx="1685">
                  <c:v>0.18001070993698601</c:v>
                </c:pt>
                <c:pt idx="1686">
                  <c:v>5.1630312290968199E-3</c:v>
                </c:pt>
                <c:pt idx="1687">
                  <c:v>-4.1782207189679801E-2</c:v>
                </c:pt>
                <c:pt idx="1688">
                  <c:v>-0.24762257119157199</c:v>
                </c:pt>
                <c:pt idx="1689">
                  <c:v>-0.19047411012318999</c:v>
                </c:pt>
                <c:pt idx="1690">
                  <c:v>-0.19523694722906099</c:v>
                </c:pt>
                <c:pt idx="1691">
                  <c:v>-0.280505649522446</c:v>
                </c:pt>
                <c:pt idx="1692">
                  <c:v>-0.31618709950856599</c:v>
                </c:pt>
                <c:pt idx="1693">
                  <c:v>-0.24778602629034999</c:v>
                </c:pt>
                <c:pt idx="1694">
                  <c:v>-0.40427122077010702</c:v>
                </c:pt>
                <c:pt idx="1695">
                  <c:v>-0.36890536522405298</c:v>
                </c:pt>
                <c:pt idx="1696">
                  <c:v>-0.39551965945029399</c:v>
                </c:pt>
                <c:pt idx="1697">
                  <c:v>-0.53450990406112098</c:v>
                </c:pt>
                <c:pt idx="1698">
                  <c:v>-0.89859819197975699</c:v>
                </c:pt>
                <c:pt idx="1699">
                  <c:v>-1.1612524464801599</c:v>
                </c:pt>
                <c:pt idx="1700">
                  <c:v>-1.35812733447554</c:v>
                </c:pt>
                <c:pt idx="1701">
                  <c:v>-1.4937501422596</c:v>
                </c:pt>
                <c:pt idx="1702">
                  <c:v>-1.59225266761519</c:v>
                </c:pt>
                <c:pt idx="1703">
                  <c:v>-1.68660649743214</c:v>
                </c:pt>
                <c:pt idx="1704">
                  <c:v>-1.7438452656363199</c:v>
                </c:pt>
                <c:pt idx="1705">
                  <c:v>-0.47197028260262602</c:v>
                </c:pt>
                <c:pt idx="1706">
                  <c:v>-0.39465481174297201</c:v>
                </c:pt>
                <c:pt idx="1707">
                  <c:v>-0.276065142100481</c:v>
                </c:pt>
                <c:pt idx="1708">
                  <c:v>-0.220543700770027</c:v>
                </c:pt>
                <c:pt idx="1709">
                  <c:v>-0.22276919962804401</c:v>
                </c:pt>
                <c:pt idx="1710">
                  <c:v>-0.20435759909464299</c:v>
                </c:pt>
                <c:pt idx="1711">
                  <c:v>-0.24369293874971301</c:v>
                </c:pt>
                <c:pt idx="1712">
                  <c:v>-0.31242344317503801</c:v>
                </c:pt>
                <c:pt idx="1713">
                  <c:v>-0.33587397729067803</c:v>
                </c:pt>
                <c:pt idx="1714">
                  <c:v>-0.35917636657881002</c:v>
                </c:pt>
                <c:pt idx="1715">
                  <c:v>-0.34748029904608901</c:v>
                </c:pt>
                <c:pt idx="1716">
                  <c:v>-0.35076684405923397</c:v>
                </c:pt>
                <c:pt idx="1717">
                  <c:v>-0.36447782657300598</c:v>
                </c:pt>
                <c:pt idx="1718">
                  <c:v>-0.252408194405292</c:v>
                </c:pt>
                <c:pt idx="1719">
                  <c:v>-0.22689273133009899</c:v>
                </c:pt>
                <c:pt idx="1720">
                  <c:v>-0.224325623516651</c:v>
                </c:pt>
                <c:pt idx="1721">
                  <c:v>-0.24851799141338099</c:v>
                </c:pt>
                <c:pt idx="1722">
                  <c:v>-0.34286063859503901</c:v>
                </c:pt>
                <c:pt idx="1723">
                  <c:v>-0.25986695882354299</c:v>
                </c:pt>
                <c:pt idx="1724">
                  <c:v>-0.246969124538886</c:v>
                </c:pt>
                <c:pt idx="1725">
                  <c:v>-0.28570107493965102</c:v>
                </c:pt>
                <c:pt idx="1726">
                  <c:v>-0.29540880001081599</c:v>
                </c:pt>
                <c:pt idx="1727">
                  <c:v>-0.25786809480789202</c:v>
                </c:pt>
                <c:pt idx="1728">
                  <c:v>-0.18668170039173601</c:v>
                </c:pt>
                <c:pt idx="1729">
                  <c:v>-0.14021224930760001</c:v>
                </c:pt>
                <c:pt idx="1730">
                  <c:v>-0.15156903164140301</c:v>
                </c:pt>
                <c:pt idx="1731">
                  <c:v>-0.23103356088197499</c:v>
                </c:pt>
                <c:pt idx="1732">
                  <c:v>-0.28520498590614701</c:v>
                </c:pt>
                <c:pt idx="1733">
                  <c:v>-0.17655480704982099</c:v>
                </c:pt>
                <c:pt idx="1734">
                  <c:v>-0.39792919036582203</c:v>
                </c:pt>
                <c:pt idx="1735">
                  <c:v>-0.46873194325456302</c:v>
                </c:pt>
                <c:pt idx="1736">
                  <c:v>-0.497130403785699</c:v>
                </c:pt>
                <c:pt idx="1737">
                  <c:v>-0.57504204421034499</c:v>
                </c:pt>
                <c:pt idx="1738">
                  <c:v>-0.59301606724085498</c:v>
                </c:pt>
                <c:pt idx="1739">
                  <c:v>-0.637897710809053</c:v>
                </c:pt>
                <c:pt idx="1740">
                  <c:v>-0.650880580839723</c:v>
                </c:pt>
                <c:pt idx="1741">
                  <c:v>-0.60611128986620999</c:v>
                </c:pt>
                <c:pt idx="1742">
                  <c:v>-0.608812646408048</c:v>
                </c:pt>
                <c:pt idx="1743">
                  <c:v>-0.69201464732168705</c:v>
                </c:pt>
                <c:pt idx="1744">
                  <c:v>-0.77929938306551505</c:v>
                </c:pt>
                <c:pt idx="1745">
                  <c:v>-0.79039075643512002</c:v>
                </c:pt>
                <c:pt idx="1746">
                  <c:v>-0.807604506123488</c:v>
                </c:pt>
                <c:pt idx="1747">
                  <c:v>-0.83305723692252798</c:v>
                </c:pt>
                <c:pt idx="1748">
                  <c:v>-1.0218339861691701</c:v>
                </c:pt>
                <c:pt idx="1749">
                  <c:v>-1.0456036751453499</c:v>
                </c:pt>
                <c:pt idx="1750">
                  <c:v>-0.99923352646804098</c:v>
                </c:pt>
                <c:pt idx="1751">
                  <c:v>-0.45495238230002599</c:v>
                </c:pt>
                <c:pt idx="1752">
                  <c:v>-0.40581394629378398</c:v>
                </c:pt>
                <c:pt idx="1753">
                  <c:v>-0.30074586609825499</c:v>
                </c:pt>
                <c:pt idx="1754">
                  <c:v>-0.30285861275523901</c:v>
                </c:pt>
                <c:pt idx="1755">
                  <c:v>-0.10496062150520601</c:v>
                </c:pt>
                <c:pt idx="1756">
                  <c:v>5.3573220959782501E-2</c:v>
                </c:pt>
                <c:pt idx="1757">
                  <c:v>-0.110898003447121</c:v>
                </c:pt>
                <c:pt idx="1758">
                  <c:v>-0.100149505692783</c:v>
                </c:pt>
                <c:pt idx="1759">
                  <c:v>-9.1660536742151105E-2</c:v>
                </c:pt>
                <c:pt idx="1760">
                  <c:v>-0.13450506282192601</c:v>
                </c:pt>
                <c:pt idx="1761">
                  <c:v>-0.17364907972931601</c:v>
                </c:pt>
                <c:pt idx="1762">
                  <c:v>1.5101471017071001E-3</c:v>
                </c:pt>
                <c:pt idx="1763">
                  <c:v>-4.3682173710690199E-2</c:v>
                </c:pt>
                <c:pt idx="1764">
                  <c:v>-6.6348228396732503E-2</c:v>
                </c:pt>
                <c:pt idx="1765">
                  <c:v>-5.3386521659249099E-2</c:v>
                </c:pt>
                <c:pt idx="1766">
                  <c:v>-0.145647623441301</c:v>
                </c:pt>
                <c:pt idx="1767">
                  <c:v>4.87354750056537E-2</c:v>
                </c:pt>
                <c:pt idx="1768">
                  <c:v>-2.2514279935621799E-3</c:v>
                </c:pt>
                <c:pt idx="1769">
                  <c:v>2.9929058398900098E-2</c:v>
                </c:pt>
                <c:pt idx="1770">
                  <c:v>-2.4365331071691799E-2</c:v>
                </c:pt>
                <c:pt idx="1771">
                  <c:v>-2.92999062919953E-2</c:v>
                </c:pt>
                <c:pt idx="1772">
                  <c:v>-8.7753432932658207E-2</c:v>
                </c:pt>
                <c:pt idx="1773">
                  <c:v>3.8962485243627297E-2</c:v>
                </c:pt>
                <c:pt idx="1774">
                  <c:v>9.6241198876346296E-4</c:v>
                </c:pt>
                <c:pt idx="1775">
                  <c:v>0.156628483080895</c:v>
                </c:pt>
                <c:pt idx="1776">
                  <c:v>-3.4065046208855497E-2</c:v>
                </c:pt>
                <c:pt idx="1777">
                  <c:v>-0.119222818619334</c:v>
                </c:pt>
                <c:pt idx="1778">
                  <c:v>-0.12599133063421</c:v>
                </c:pt>
                <c:pt idx="1779">
                  <c:v>-0.22966959764419401</c:v>
                </c:pt>
                <c:pt idx="1780">
                  <c:v>-0.31482737005467298</c:v>
                </c:pt>
                <c:pt idx="1781">
                  <c:v>-0.35862963333512199</c:v>
                </c:pt>
                <c:pt idx="1782">
                  <c:v>-0.37544498284841699</c:v>
                </c:pt>
                <c:pt idx="1783">
                  <c:v>-0.46452721643855199</c:v>
                </c:pt>
                <c:pt idx="1784">
                  <c:v>-0.43606259564216099</c:v>
                </c:pt>
                <c:pt idx="1785">
                  <c:v>-0.373546345642219</c:v>
                </c:pt>
                <c:pt idx="1786">
                  <c:v>-0.29462620583468302</c:v>
                </c:pt>
                <c:pt idx="1787">
                  <c:v>-0.43832236328998703</c:v>
                </c:pt>
                <c:pt idx="1788">
                  <c:v>-0.34481342799603998</c:v>
                </c:pt>
                <c:pt idx="1789">
                  <c:v>-0.55183239546794405</c:v>
                </c:pt>
                <c:pt idx="1790">
                  <c:v>-0.65151194962839998</c:v>
                </c:pt>
                <c:pt idx="1791">
                  <c:v>-0.70175239630910002</c:v>
                </c:pt>
                <c:pt idx="1792">
                  <c:v>-0.71881470130584402</c:v>
                </c:pt>
                <c:pt idx="1793">
                  <c:v>-0.78487028787972102</c:v>
                </c:pt>
                <c:pt idx="1794">
                  <c:v>-0.90648213743640105</c:v>
                </c:pt>
                <c:pt idx="1795">
                  <c:v>-0.92076501531306199</c:v>
                </c:pt>
                <c:pt idx="1796">
                  <c:v>-0.93715927716592196</c:v>
                </c:pt>
                <c:pt idx="1797">
                  <c:v>-0.95728372868626899</c:v>
                </c:pt>
                <c:pt idx="1798">
                  <c:v>-1.0474843870777899</c:v>
                </c:pt>
                <c:pt idx="1799">
                  <c:v>-1.08612933319764</c:v>
                </c:pt>
                <c:pt idx="1800">
                  <c:v>-1.0875903661066899</c:v>
                </c:pt>
                <c:pt idx="1801">
                  <c:v>-0.97753469208384303</c:v>
                </c:pt>
                <c:pt idx="1802">
                  <c:v>-0.91290191238247198</c:v>
                </c:pt>
                <c:pt idx="1803">
                  <c:v>-1.0051165050703501</c:v>
                </c:pt>
                <c:pt idx="1804">
                  <c:v>-1.0828215955012801</c:v>
                </c:pt>
                <c:pt idx="1805">
                  <c:v>-1.109982504787</c:v>
                </c:pt>
                <c:pt idx="1806">
                  <c:v>-1.1289044329620399</c:v>
                </c:pt>
                <c:pt idx="1807">
                  <c:v>-1.2097324384956301</c:v>
                </c:pt>
                <c:pt idx="1808">
                  <c:v>-1.2966828203479701</c:v>
                </c:pt>
                <c:pt idx="1809">
                  <c:v>-1.3238063532676401</c:v>
                </c:pt>
                <c:pt idx="1810">
                  <c:v>-1.2848698924744091</c:v>
                </c:pt>
                <c:pt idx="1811">
                  <c:v>-1.23973176213295</c:v>
                </c:pt>
                <c:pt idx="1812">
                  <c:v>-1.1265651781141801</c:v>
                </c:pt>
                <c:pt idx="1813">
                  <c:v>-1.0816486079174901</c:v>
                </c:pt>
                <c:pt idx="1814">
                  <c:v>-1.1110310125443601</c:v>
                </c:pt>
                <c:pt idx="1815">
                  <c:v>-1.1361854284031201</c:v>
                </c:pt>
                <c:pt idx="1816">
                  <c:v>-1.3097948698972299</c:v>
                </c:pt>
                <c:pt idx="1817">
                  <c:v>-1.41975665163554</c:v>
                </c:pt>
                <c:pt idx="1818">
                  <c:v>-1.5090761131667201</c:v>
                </c:pt>
                <c:pt idx="1819">
                  <c:v>-1.52628727707999</c:v>
                </c:pt>
                <c:pt idx="1820">
                  <c:v>-1.55173742210393</c:v>
                </c:pt>
                <c:pt idx="1821">
                  <c:v>-0.58117195523060206</c:v>
                </c:pt>
                <c:pt idx="1822">
                  <c:v>-0.68171954271586999</c:v>
                </c:pt>
                <c:pt idx="1823">
                  <c:v>-0.67091672454712703</c:v>
                </c:pt>
                <c:pt idx="1824">
                  <c:v>-0.58322718718368605</c:v>
                </c:pt>
                <c:pt idx="1825">
                  <c:v>-0.60893058785241505</c:v>
                </c:pt>
                <c:pt idx="1826">
                  <c:v>-0.66554738058567897</c:v>
                </c:pt>
                <c:pt idx="1827">
                  <c:v>-0.79843682892263401</c:v>
                </c:pt>
                <c:pt idx="1828">
                  <c:v>-0.67207165276859404</c:v>
                </c:pt>
                <c:pt idx="1829">
                  <c:v>-0.650849991904623</c:v>
                </c:pt>
                <c:pt idx="1830">
                  <c:v>-0.76161583608607997</c:v>
                </c:pt>
                <c:pt idx="1831">
                  <c:v>-0.73215519411143504</c:v>
                </c:pt>
                <c:pt idx="1832">
                  <c:v>-0.74472718758555101</c:v>
                </c:pt>
                <c:pt idx="1833">
                  <c:v>-0.74490628359463795</c:v>
                </c:pt>
                <c:pt idx="1834">
                  <c:v>-0.73064994976053599</c:v>
                </c:pt>
                <c:pt idx="1835">
                  <c:v>-0.70195296526753104</c:v>
                </c:pt>
                <c:pt idx="1836">
                  <c:v>-0.59033784569717795</c:v>
                </c:pt>
                <c:pt idx="1837">
                  <c:v>-0.62310834945299698</c:v>
                </c:pt>
                <c:pt idx="1838">
                  <c:v>-0.690803237615916</c:v>
                </c:pt>
                <c:pt idx="1839">
                  <c:v>-0.64109941621981703</c:v>
                </c:pt>
                <c:pt idx="1840">
                  <c:v>-0.65724020657519699</c:v>
                </c:pt>
                <c:pt idx="1841">
                  <c:v>-0.71042198612958796</c:v>
                </c:pt>
                <c:pt idx="1842">
                  <c:v>-0.73480175759564204</c:v>
                </c:pt>
                <c:pt idx="1843">
                  <c:v>-0.757064924269783</c:v>
                </c:pt>
                <c:pt idx="1844">
                  <c:v>-0.86612865531350502</c:v>
                </c:pt>
                <c:pt idx="1845">
                  <c:v>-0.94835883823329203</c:v>
                </c:pt>
                <c:pt idx="1846">
                  <c:v>-0.97910738129516495</c:v>
                </c:pt>
                <c:pt idx="1847">
                  <c:v>-1.1108507441084601</c:v>
                </c:pt>
                <c:pt idx="1848">
                  <c:v>-1.2060362976778001</c:v>
                </c:pt>
                <c:pt idx="1849">
                  <c:v>-1.3032643836252999</c:v>
                </c:pt>
                <c:pt idx="1850">
                  <c:v>-1.3757703054250701</c:v>
                </c:pt>
                <c:pt idx="1851">
                  <c:v>-1.4709558589944101</c:v>
                </c:pt>
                <c:pt idx="1852">
                  <c:v>-1.46707797950944</c:v>
                </c:pt>
                <c:pt idx="1853">
                  <c:v>-1.45700365129195</c:v>
                </c:pt>
                <c:pt idx="1854">
                  <c:v>-1.4408017259399799</c:v>
                </c:pt>
                <c:pt idx="1855">
                  <c:v>-1.43684977404125</c:v>
                </c:pt>
                <c:pt idx="1856">
                  <c:v>-1.4081407305749101</c:v>
                </c:pt>
                <c:pt idx="1857">
                  <c:v>-1.4908509443606299</c:v>
                </c:pt>
                <c:pt idx="1858">
                  <c:v>-1.55292405875493</c:v>
                </c:pt>
                <c:pt idx="1859">
                  <c:v>-1.62527346582234</c:v>
                </c:pt>
                <c:pt idx="1860">
                  <c:v>-1.66473565679978</c:v>
                </c:pt>
                <c:pt idx="1861">
                  <c:v>-1.70827769171782</c:v>
                </c:pt>
                <c:pt idx="1862">
                  <c:v>-1.7023117675580599</c:v>
                </c:pt>
                <c:pt idx="1863">
                  <c:v>-1.75613531596493</c:v>
                </c:pt>
                <c:pt idx="1864">
                  <c:v>-1.78631986274847</c:v>
                </c:pt>
                <c:pt idx="1865">
                  <c:v>-1.7917926870157099</c:v>
                </c:pt>
                <c:pt idx="1866">
                  <c:v>-1.87972417398773</c:v>
                </c:pt>
                <c:pt idx="1867">
                  <c:v>-1.1319478488808099</c:v>
                </c:pt>
                <c:pt idx="1868">
                  <c:v>-0.90549960495472603</c:v>
                </c:pt>
                <c:pt idx="1869">
                  <c:v>-0.86885987867629</c:v>
                </c:pt>
                <c:pt idx="1870">
                  <c:v>-0.92497077022289298</c:v>
                </c:pt>
                <c:pt idx="1871">
                  <c:v>-0.93988153540041197</c:v>
                </c:pt>
                <c:pt idx="1872">
                  <c:v>-0.95661602078597796</c:v>
                </c:pt>
                <c:pt idx="1873">
                  <c:v>-1.0393416482864</c:v>
                </c:pt>
                <c:pt idx="1874">
                  <c:v>-1.11382829467615</c:v>
                </c:pt>
                <c:pt idx="1875">
                  <c:v>-1.0294250362985</c:v>
                </c:pt>
                <c:pt idx="1876">
                  <c:v>-1.0086579816222701</c:v>
                </c:pt>
                <c:pt idx="1877">
                  <c:v>-1.07663577324423</c:v>
                </c:pt>
                <c:pt idx="1878">
                  <c:v>-1.0000850175282201</c:v>
                </c:pt>
                <c:pt idx="1879">
                  <c:v>-1.0989814220304299</c:v>
                </c:pt>
                <c:pt idx="1880">
                  <c:v>-1.0839066716838399</c:v>
                </c:pt>
                <c:pt idx="1881">
                  <c:v>-1.0894690207286799</c:v>
                </c:pt>
                <c:pt idx="1882">
                  <c:v>-1.19186705235487</c:v>
                </c:pt>
                <c:pt idx="1883">
                  <c:v>-1.3479321802289299</c:v>
                </c:pt>
                <c:pt idx="1884">
                  <c:v>-1.09879894517526</c:v>
                </c:pt>
                <c:pt idx="1885">
                  <c:v>-1.13230413882375</c:v>
                </c:pt>
                <c:pt idx="1886">
                  <c:v>-1.09558498077355</c:v>
                </c:pt>
                <c:pt idx="1887">
                  <c:v>-1.0589398951371201</c:v>
                </c:pt>
                <c:pt idx="1888">
                  <c:v>-0.82399444575170799</c:v>
                </c:pt>
                <c:pt idx="1889">
                  <c:v>-0.89013384725420797</c:v>
                </c:pt>
                <c:pt idx="1890">
                  <c:v>-0.97902695294004005</c:v>
                </c:pt>
                <c:pt idx="1891">
                  <c:v>-1.0060087604516199</c:v>
                </c:pt>
                <c:pt idx="1892">
                  <c:v>-1.0821442090840201</c:v>
                </c:pt>
                <c:pt idx="1893">
                  <c:v>-1.0861661392828099</c:v>
                </c:pt>
                <c:pt idx="1894">
                  <c:v>-1.09011399706784</c:v>
                </c:pt>
                <c:pt idx="1895">
                  <c:v>-1.20140126816432</c:v>
                </c:pt>
                <c:pt idx="1896">
                  <c:v>-1.08345830560249</c:v>
                </c:pt>
                <c:pt idx="1897">
                  <c:v>-1.15532908150403</c:v>
                </c:pt>
                <c:pt idx="1898">
                  <c:v>-1.0890159036276299</c:v>
                </c:pt>
                <c:pt idx="1899">
                  <c:v>-1.2023038023238</c:v>
                </c:pt>
                <c:pt idx="1900">
                  <c:v>-1.2358426396537501</c:v>
                </c:pt>
                <c:pt idx="1901">
                  <c:v>-1.5539727032031201</c:v>
                </c:pt>
                <c:pt idx="1902">
                  <c:v>-1.7030054209100101</c:v>
                </c:pt>
                <c:pt idx="1903">
                  <c:v>-1.7921005212227701</c:v>
                </c:pt>
                <c:pt idx="1904">
                  <c:v>-1.90664617980289</c:v>
                </c:pt>
                <c:pt idx="1905">
                  <c:v>-1.98408199758597</c:v>
                </c:pt>
                <c:pt idx="1906">
                  <c:v>-1.2737441194493799</c:v>
                </c:pt>
                <c:pt idx="1907">
                  <c:v>-1.16267996618421</c:v>
                </c:pt>
                <c:pt idx="1908">
                  <c:v>-1.14028136598777</c:v>
                </c:pt>
                <c:pt idx="1909">
                  <c:v>-1.05369043070434</c:v>
                </c:pt>
                <c:pt idx="1910">
                  <c:v>-1.19190646988942</c:v>
                </c:pt>
                <c:pt idx="1911">
                  <c:v>-1.04340423643174</c:v>
                </c:pt>
                <c:pt idx="1912">
                  <c:v>-0.90328912891223601</c:v>
                </c:pt>
                <c:pt idx="1913">
                  <c:v>-1.00508289080141</c:v>
                </c:pt>
                <c:pt idx="1914">
                  <c:v>-1.0553209404189301</c:v>
                </c:pt>
                <c:pt idx="1915">
                  <c:v>-0.85595577900644104</c:v>
                </c:pt>
                <c:pt idx="1916">
                  <c:v>-0.87731774812185903</c:v>
                </c:pt>
                <c:pt idx="1917">
                  <c:v>-0.895195576399483</c:v>
                </c:pt>
                <c:pt idx="1918">
                  <c:v>-0.93385864889603298</c:v>
                </c:pt>
                <c:pt idx="1919">
                  <c:v>-0.98068663008950296</c:v>
                </c:pt>
                <c:pt idx="1920">
                  <c:v>-0.88517674115067102</c:v>
                </c:pt>
                <c:pt idx="1921">
                  <c:v>-0.98422902518773803</c:v>
                </c:pt>
                <c:pt idx="1922">
                  <c:v>-0.90382837747973899</c:v>
                </c:pt>
                <c:pt idx="1923">
                  <c:v>-0.74292186458422504</c:v>
                </c:pt>
                <c:pt idx="1924">
                  <c:v>-0.82549618639994504</c:v>
                </c:pt>
                <c:pt idx="1925">
                  <c:v>-0.79419556684752102</c:v>
                </c:pt>
                <c:pt idx="1926">
                  <c:v>-0.694935345215835</c:v>
                </c:pt>
                <c:pt idx="1927">
                  <c:v>-0.69863318248426398</c:v>
                </c:pt>
                <c:pt idx="1928">
                  <c:v>-0.75199234447371199</c:v>
                </c:pt>
                <c:pt idx="1929">
                  <c:v>-0.73266716829997502</c:v>
                </c:pt>
                <c:pt idx="1930">
                  <c:v>-0.78356634382491996</c:v>
                </c:pt>
                <c:pt idx="1931">
                  <c:v>-0.75184304937044</c:v>
                </c:pt>
                <c:pt idx="1932">
                  <c:v>-0.73259194561045704</c:v>
                </c:pt>
                <c:pt idx="1933">
                  <c:v>-0.78705430945421895</c:v>
                </c:pt>
                <c:pt idx="1934">
                  <c:v>-0.78784435623440097</c:v>
                </c:pt>
                <c:pt idx="1935">
                  <c:v>-0.77215644079323498</c:v>
                </c:pt>
                <c:pt idx="1936">
                  <c:v>-0.75034614903330799</c:v>
                </c:pt>
                <c:pt idx="1937">
                  <c:v>-0.79113959180312199</c:v>
                </c:pt>
                <c:pt idx="1938">
                  <c:v>-0.75150646261488896</c:v>
                </c:pt>
                <c:pt idx="1939">
                  <c:v>-0.74082348634250195</c:v>
                </c:pt>
                <c:pt idx="1940">
                  <c:v>-0.70119035715426903</c:v>
                </c:pt>
                <c:pt idx="1941">
                  <c:v>-0.67979207309502798</c:v>
                </c:pt>
                <c:pt idx="1942">
                  <c:v>-0.71826255483188295</c:v>
                </c:pt>
                <c:pt idx="1943">
                  <c:v>-1.0599188298014199</c:v>
                </c:pt>
                <c:pt idx="1944">
                  <c:v>-1.1190211901139799</c:v>
                </c:pt>
                <c:pt idx="1945">
                  <c:v>-1.1582164568314499</c:v>
                </c:pt>
                <c:pt idx="1946">
                  <c:v>-1.1932525863788599</c:v>
                </c:pt>
                <c:pt idx="1947">
                  <c:v>-1.1870938103728901</c:v>
                </c:pt>
                <c:pt idx="1948">
                  <c:v>-1.2056519776989501</c:v>
                </c:pt>
                <c:pt idx="1949">
                  <c:v>-1.2563018311580401</c:v>
                </c:pt>
                <c:pt idx="1950">
                  <c:v>-1.2677993114419099</c:v>
                </c:pt>
                <c:pt idx="1951">
                  <c:v>-1.29169491000653</c:v>
                </c:pt>
                <c:pt idx="1952">
                  <c:v>-1.29283680438782</c:v>
                </c:pt>
                <c:pt idx="1953">
                  <c:v>-1.29097056516838</c:v>
                </c:pt>
                <c:pt idx="1954">
                  <c:v>-1.29945991185152</c:v>
                </c:pt>
                <c:pt idx="1955">
                  <c:v>-1.3471016317098801</c:v>
                </c:pt>
                <c:pt idx="1956">
                  <c:v>-1.37206894061437</c:v>
                </c:pt>
                <c:pt idx="1957">
                  <c:v>-1.37819134644946</c:v>
                </c:pt>
                <c:pt idx="1958">
                  <c:v>-1.36987832244136</c:v>
                </c:pt>
                <c:pt idx="1959">
                  <c:v>-1.3677617471657799</c:v>
                </c:pt>
                <c:pt idx="1960">
                  <c:v>-1.40479754506541</c:v>
                </c:pt>
                <c:pt idx="1961">
                  <c:v>-1.401721290129939</c:v>
                </c:pt>
                <c:pt idx="1962">
                  <c:v>-1.4233619785264899</c:v>
                </c:pt>
                <c:pt idx="1963">
                  <c:v>-1.4594380967662299</c:v>
                </c:pt>
                <c:pt idx="1964">
                  <c:v>-1.51819384677554</c:v>
                </c:pt>
                <c:pt idx="1965">
                  <c:v>6.9467168547476296E-2</c:v>
                </c:pt>
                <c:pt idx="1966">
                  <c:v>0.12573400350642699</c:v>
                </c:pt>
                <c:pt idx="1967">
                  <c:v>0.20890845900306401</c:v>
                </c:pt>
                <c:pt idx="1968">
                  <c:v>4.2490145101134899E-2</c:v>
                </c:pt>
                <c:pt idx="1969">
                  <c:v>0.10459281296714699</c:v>
                </c:pt>
                <c:pt idx="1970">
                  <c:v>6.3520425507495204E-2</c:v>
                </c:pt>
                <c:pt idx="1971">
                  <c:v>0.150345257521242</c:v>
                </c:pt>
                <c:pt idx="1972">
                  <c:v>4.11651231548208E-2</c:v>
                </c:pt>
                <c:pt idx="1973">
                  <c:v>-1.7486696439459101E-2</c:v>
                </c:pt>
                <c:pt idx="1974">
                  <c:v>-0.105088668949584</c:v>
                </c:pt>
                <c:pt idx="1975">
                  <c:v>-0.231922307864387</c:v>
                </c:pt>
                <c:pt idx="1976">
                  <c:v>-0.373191376622379</c:v>
                </c:pt>
                <c:pt idx="1977">
                  <c:v>-0.39679745267594202</c:v>
                </c:pt>
                <c:pt idx="1978">
                  <c:v>-0.43280164701024898</c:v>
                </c:pt>
                <c:pt idx="1979">
                  <c:v>-0.33682355711484202</c:v>
                </c:pt>
                <c:pt idx="1980">
                  <c:v>-0.30887914171245001</c:v>
                </c:pt>
                <c:pt idx="1981">
                  <c:v>-0.352829709198971</c:v>
                </c:pt>
                <c:pt idx="1982">
                  <c:v>-0.43389533829825699</c:v>
                </c:pt>
                <c:pt idx="1983">
                  <c:v>-0.47784590578477798</c:v>
                </c:pt>
                <c:pt idx="1984">
                  <c:v>-0.45580533115644201</c:v>
                </c:pt>
                <c:pt idx="1985">
                  <c:v>-0.47789079077262497</c:v>
                </c:pt>
                <c:pt idx="1986">
                  <c:v>-0.49173726927813399</c:v>
                </c:pt>
                <c:pt idx="1987">
                  <c:v>-0.52622084717506201</c:v>
                </c:pt>
                <c:pt idx="1988">
                  <c:v>-0.62049389763861695</c:v>
                </c:pt>
                <c:pt idx="1989">
                  <c:v>-0.83542251561106295</c:v>
                </c:pt>
                <c:pt idx="1990">
                  <c:v>-1.11005609210496</c:v>
                </c:pt>
                <c:pt idx="1991">
                  <c:v>-1.2588402023193199</c:v>
                </c:pt>
                <c:pt idx="1992">
                  <c:v>-1.2921408737881801</c:v>
                </c:pt>
                <c:pt idx="1993">
                  <c:v>-1.39716757356808</c:v>
                </c:pt>
                <c:pt idx="1994">
                  <c:v>-1.4383938084387999</c:v>
                </c:pt>
                <c:pt idx="1995">
                  <c:v>-1.4837051080658299</c:v>
                </c:pt>
                <c:pt idx="1996">
                  <c:v>-1.5125384454715201</c:v>
                </c:pt>
                <c:pt idx="1997">
                  <c:v>-1.50580517111499</c:v>
                </c:pt>
                <c:pt idx="1998">
                  <c:v>-1.50322581311282</c:v>
                </c:pt>
                <c:pt idx="1999">
                  <c:v>-1.4944500063781301</c:v>
                </c:pt>
                <c:pt idx="2000">
                  <c:v>-1.5021521618647899</c:v>
                </c:pt>
                <c:pt idx="2001">
                  <c:v>-1.45003773637342</c:v>
                </c:pt>
                <c:pt idx="2002">
                  <c:v>-1.36292485406118</c:v>
                </c:pt>
                <c:pt idx="2003">
                  <c:v>-1.2860934852377801</c:v>
                </c:pt>
                <c:pt idx="2004">
                  <c:v>-1.2360163713088499</c:v>
                </c:pt>
                <c:pt idx="2005">
                  <c:v>-1.2508978547459999</c:v>
                </c:pt>
                <c:pt idx="2006">
                  <c:v>-1.26373680580499</c:v>
                </c:pt>
                <c:pt idx="2007">
                  <c:v>-1.27861828924214</c:v>
                </c:pt>
                <c:pt idx="2008">
                  <c:v>-1.3676506026753501</c:v>
                </c:pt>
                <c:pt idx="2009">
                  <c:v>-1.4656672803871</c:v>
                </c:pt>
                <c:pt idx="2010">
                  <c:v>-1.4936922652728599</c:v>
                </c:pt>
                <c:pt idx="2011">
                  <c:v>-1.48460218854584</c:v>
                </c:pt>
                <c:pt idx="2012">
                  <c:v>-1.4919900740401799</c:v>
                </c:pt>
                <c:pt idx="2013">
                  <c:v>-1.48537392591708</c:v>
                </c:pt>
                <c:pt idx="2014">
                  <c:v>-1.4807950893564299</c:v>
                </c:pt>
                <c:pt idx="2015">
                  <c:v>-1.4494619979012999</c:v>
                </c:pt>
                <c:pt idx="2016">
                  <c:v>-1.4263678875568599</c:v>
                </c:pt>
                <c:pt idx="2017">
                  <c:v>-1.3873430180344699</c:v>
                </c:pt>
                <c:pt idx="2018">
                  <c:v>-1.3977520351761199</c:v>
                </c:pt>
                <c:pt idx="2019">
                  <c:v>-1.4081610523177801</c:v>
                </c:pt>
                <c:pt idx="2020">
                  <c:v>-1.4185700694594401</c:v>
                </c:pt>
                <c:pt idx="2021">
                  <c:v>-1.4456167285378201</c:v>
                </c:pt>
                <c:pt idx="2022">
                  <c:v>-1.4561854253948601</c:v>
                </c:pt>
                <c:pt idx="2023">
                  <c:v>-1.4667541222519</c:v>
                </c:pt>
                <c:pt idx="2024">
                  <c:v>-1.45260587577692</c:v>
                </c:pt>
                <c:pt idx="2025">
                  <c:v>-1.4261298673926599</c:v>
                </c:pt>
                <c:pt idx="2026">
                  <c:v>-1.4058503077409099</c:v>
                </c:pt>
                <c:pt idx="2027">
                  <c:v>-1.37937429935665</c:v>
                </c:pt>
                <c:pt idx="2028">
                  <c:v>-1.3117033854190201</c:v>
                </c:pt>
                <c:pt idx="2029">
                  <c:v>-1.33609456778219</c:v>
                </c:pt>
                <c:pt idx="2030">
                  <c:v>-1.34400778792402</c:v>
                </c:pt>
                <c:pt idx="2031">
                  <c:v>-1.3354430458444999</c:v>
                </c:pt>
                <c:pt idx="2032">
                  <c:v>-1.3268783037649801</c:v>
                </c:pt>
                <c:pt idx="2033">
                  <c:v>-1.2875750531369701</c:v>
                </c:pt>
                <c:pt idx="2034">
                  <c:v>-1.2647497647303001</c:v>
                </c:pt>
                <c:pt idx="2035">
                  <c:v>-1.2419244763236299</c:v>
                </c:pt>
                <c:pt idx="2036">
                  <c:v>-1.1943822445849399</c:v>
                </c:pt>
                <c:pt idx="2037">
                  <c:v>-1.16261186195876</c:v>
                </c:pt>
                <c:pt idx="2038">
                  <c:v>-1.1473194415539201</c:v>
                </c:pt>
                <c:pt idx="2039">
                  <c:v>-1.1320270211490799</c:v>
                </c:pt>
                <c:pt idx="2040">
                  <c:v>-1.11673460074424</c:v>
                </c:pt>
                <c:pt idx="2041">
                  <c:v>-1.0599851472236499</c:v>
                </c:pt>
                <c:pt idx="2042">
                  <c:v>-1.00323569370306</c:v>
                </c:pt>
                <c:pt idx="2043">
                  <c:v>-0.96296420240381397</c:v>
                </c:pt>
                <c:pt idx="2044">
                  <c:v>-0.93093169221524197</c:v>
                </c:pt>
                <c:pt idx="2045">
                  <c:v>-0.83195568948666099</c:v>
                </c:pt>
                <c:pt idx="2046">
                  <c:v>-0.716501724536733</c:v>
                </c:pt>
                <c:pt idx="2047">
                  <c:v>-0.61752572180815202</c:v>
                </c:pt>
                <c:pt idx="2048">
                  <c:v>-0.50207175685822303</c:v>
                </c:pt>
                <c:pt idx="2049">
                  <c:v>-0.51257305021335597</c:v>
                </c:pt>
                <c:pt idx="2050">
                  <c:v>-0.52307434356849003</c:v>
                </c:pt>
                <c:pt idx="2051">
                  <c:v>-0.53357563692362298</c:v>
                </c:pt>
                <c:pt idx="2052">
                  <c:v>-0.54407693027875603</c:v>
                </c:pt>
                <c:pt idx="2053">
                  <c:v>-0.54819434839865799</c:v>
                </c:pt>
                <c:pt idx="2054">
                  <c:v>-0.56878972873990796</c:v>
                </c:pt>
                <c:pt idx="2055">
                  <c:v>-0.54819020352778802</c:v>
                </c:pt>
                <c:pt idx="2056">
                  <c:v>-0.56878558386903799</c:v>
                </c:pt>
                <c:pt idx="2057">
                  <c:v>-0.52955436966625602</c:v>
                </c:pt>
                <c:pt idx="2058">
                  <c:v>-0.50680111768482095</c:v>
                </c:pt>
                <c:pt idx="2059">
                  <c:v>-0.45933092237136502</c:v>
                </c:pt>
                <c:pt idx="2060">
                  <c:v>-0.366511905150184</c:v>
                </c:pt>
                <c:pt idx="2061">
                  <c:v>-0.30056549382697301</c:v>
                </c:pt>
                <c:pt idx="2062">
                  <c:v>-0.21609858790425601</c:v>
                </c:pt>
                <c:pt idx="2063">
                  <c:v>-0.108883198613923</c:v>
                </c:pt>
                <c:pt idx="2064">
                  <c:v>4.3686233399849901E-2</c:v>
                </c:pt>
                <c:pt idx="2065">
                  <c:v>-0.144426351703341</c:v>
                </c:pt>
                <c:pt idx="2066">
                  <c:v>-0.16352088419351901</c:v>
                </c:pt>
                <c:pt idx="2067">
                  <c:v>-0.35994130200542501</c:v>
                </c:pt>
                <c:pt idx="2068">
                  <c:v>-0.203831774781502</c:v>
                </c:pt>
                <c:pt idx="2069">
                  <c:v>-8.1675929776218306E-2</c:v>
                </c:pt>
                <c:pt idx="2070">
                  <c:v>9.4152232292646396E-2</c:v>
                </c:pt>
                <c:pt idx="2071">
                  <c:v>-0.32806769694799598</c:v>
                </c:pt>
                <c:pt idx="2072">
                  <c:v>-0.20801801510319801</c:v>
                </c:pt>
                <c:pt idx="2073">
                  <c:v>-0.317414220224776</c:v>
                </c:pt>
                <c:pt idx="2074">
                  <c:v>-2.4613934773792201E-2</c:v>
                </c:pt>
                <c:pt idx="2075">
                  <c:v>-0.25366315744237999</c:v>
                </c:pt>
                <c:pt idx="2076">
                  <c:v>-0.284675322984069</c:v>
                </c:pt>
                <c:pt idx="2077">
                  <c:v>-0.21269780561221499</c:v>
                </c:pt>
                <c:pt idx="2078">
                  <c:v>-0.29537176260822501</c:v>
                </c:pt>
                <c:pt idx="2079">
                  <c:v>-0.180082734891089</c:v>
                </c:pt>
                <c:pt idx="2080">
                  <c:v>-0.169863150050269</c:v>
                </c:pt>
                <c:pt idx="2081">
                  <c:v>-0.50223909300677905</c:v>
                </c:pt>
                <c:pt idx="2082">
                  <c:v>-0.37983643127060301</c:v>
                </c:pt>
                <c:pt idx="2083">
                  <c:v>-0.47998121519922698</c:v>
                </c:pt>
                <c:pt idx="2084">
                  <c:v>-0.50808133229227104</c:v>
                </c:pt>
                <c:pt idx="2085">
                  <c:v>-0.44611928900012299</c:v>
                </c:pt>
                <c:pt idx="2086">
                  <c:v>-0.442052330723953</c:v>
                </c:pt>
                <c:pt idx="2087">
                  <c:v>-0.38840334095623202</c:v>
                </c:pt>
                <c:pt idx="2088">
                  <c:v>-0.34926385344545502</c:v>
                </c:pt>
                <c:pt idx="2089">
                  <c:v>-0.237985838820614</c:v>
                </c:pt>
                <c:pt idx="2090">
                  <c:v>-0.47261776927941701</c:v>
                </c:pt>
                <c:pt idx="2091">
                  <c:v>-0.57943177349428998</c:v>
                </c:pt>
                <c:pt idx="2092">
                  <c:v>-0.72744068326253197</c:v>
                </c:pt>
                <c:pt idx="2093">
                  <c:v>-0.63522491377525503</c:v>
                </c:pt>
                <c:pt idx="2094">
                  <c:v>-0.67914534487205003</c:v>
                </c:pt>
                <c:pt idx="2095">
                  <c:v>-0.76024968917965097</c:v>
                </c:pt>
                <c:pt idx="2096">
                  <c:v>-0.73198252942907305</c:v>
                </c:pt>
                <c:pt idx="2097">
                  <c:v>-0.77908055740351001</c:v>
                </c:pt>
                <c:pt idx="2098">
                  <c:v>-0.65497507637498198</c:v>
                </c:pt>
                <c:pt idx="2099">
                  <c:v>-0.79278118979629797</c:v>
                </c:pt>
                <c:pt idx="2100">
                  <c:v>-0.75325619708017399</c:v>
                </c:pt>
                <c:pt idx="2101">
                  <c:v>-0.90047498117024805</c:v>
                </c:pt>
                <c:pt idx="2102">
                  <c:v>-1.0745220925685399</c:v>
                </c:pt>
                <c:pt idx="2103">
                  <c:v>-1.23413377412365</c:v>
                </c:pt>
                <c:pt idx="2104">
                  <c:v>-1.39986783199751</c:v>
                </c:pt>
                <c:pt idx="2105">
                  <c:v>-1.37260018430304</c:v>
                </c:pt>
                <c:pt idx="2106">
                  <c:v>-1.52046252390892</c:v>
                </c:pt>
                <c:pt idx="2107">
                  <c:v>-1.52615080065715</c:v>
                </c:pt>
                <c:pt idx="2108">
                  <c:v>-1.5318390774053701</c:v>
                </c:pt>
                <c:pt idx="2109">
                  <c:v>-1.5578486579902</c:v>
                </c:pt>
                <c:pt idx="2110">
                  <c:v>-1.75279177714287</c:v>
                </c:pt>
                <c:pt idx="2111">
                  <c:v>-1.7726049089951801</c:v>
                </c:pt>
                <c:pt idx="2112">
                  <c:v>-1.7882589036774299</c:v>
                </c:pt>
                <c:pt idx="2113">
                  <c:v>-0.28382216202487198</c:v>
                </c:pt>
                <c:pt idx="2114">
                  <c:v>-0.286042440067176</c:v>
                </c:pt>
                <c:pt idx="2115">
                  <c:v>-0.33777589800298902</c:v>
                </c:pt>
                <c:pt idx="2116">
                  <c:v>-0.32344414141019201</c:v>
                </c:pt>
                <c:pt idx="2117">
                  <c:v>-0.32566441945249502</c:v>
                </c:pt>
                <c:pt idx="2118">
                  <c:v>-0.32840378176296298</c:v>
                </c:pt>
                <c:pt idx="2119">
                  <c:v>-0.14811321283689699</c:v>
                </c:pt>
                <c:pt idx="2120">
                  <c:v>-0.196280690284558</c:v>
                </c:pt>
                <c:pt idx="2121">
                  <c:v>-0.22177375677835701</c:v>
                </c:pt>
                <c:pt idx="2122">
                  <c:v>-0.45956143125452298</c:v>
                </c:pt>
                <c:pt idx="2123">
                  <c:v>-0.497989357100316</c:v>
                </c:pt>
                <c:pt idx="2124">
                  <c:v>-0.54662994483690097</c:v>
                </c:pt>
                <c:pt idx="2125">
                  <c:v>-0.58921700785276498</c:v>
                </c:pt>
                <c:pt idx="2126">
                  <c:v>-0.58657582762556204</c:v>
                </c:pt>
                <c:pt idx="2127">
                  <c:v>-0.567604830004519</c:v>
                </c:pt>
                <c:pt idx="2128">
                  <c:v>-0.62694379954961099</c:v>
                </c:pt>
                <c:pt idx="2129">
                  <c:v>-0.68212885274034496</c:v>
                </c:pt>
                <c:pt idx="2130">
                  <c:v>-0.67331608321200398</c:v>
                </c:pt>
                <c:pt idx="2131">
                  <c:v>-0.66873130245177403</c:v>
                </c:pt>
                <c:pt idx="2132">
                  <c:v>-0.47923264453578801</c:v>
                </c:pt>
                <c:pt idx="2133">
                  <c:v>-0.43337888580843598</c:v>
                </c:pt>
                <c:pt idx="2134">
                  <c:v>-0.496286159598193</c:v>
                </c:pt>
                <c:pt idx="2135">
                  <c:v>-0.56954901929053603</c:v>
                </c:pt>
                <c:pt idx="2136">
                  <c:v>-0.59329869908937005</c:v>
                </c:pt>
                <c:pt idx="2137">
                  <c:v>-0.60465548142317305</c:v>
                </c:pt>
                <c:pt idx="2138">
                  <c:v>-0.63214150315091799</c:v>
                </c:pt>
                <c:pt idx="2139">
                  <c:v>-0.69885919128334195</c:v>
                </c:pt>
                <c:pt idx="2140">
                  <c:v>-0.77585317208888405</c:v>
                </c:pt>
                <c:pt idx="2141">
                  <c:v>-0.92080153415797406</c:v>
                </c:pt>
                <c:pt idx="2142">
                  <c:v>-0.96983709408052798</c:v>
                </c:pt>
                <c:pt idx="2143">
                  <c:v>-1.0023206193679799</c:v>
                </c:pt>
                <c:pt idx="2144">
                  <c:v>-1.0224800987884399</c:v>
                </c:pt>
                <c:pt idx="2145">
                  <c:v>-1.0467246429652199</c:v>
                </c:pt>
                <c:pt idx="2146">
                  <c:v>-1.0287889001156401</c:v>
                </c:pt>
                <c:pt idx="2147">
                  <c:v>-0.98198229757968603</c:v>
                </c:pt>
                <c:pt idx="2148">
                  <c:v>-0.96200402235194704</c:v>
                </c:pt>
                <c:pt idx="2149">
                  <c:v>-0.92351047334041703</c:v>
                </c:pt>
                <c:pt idx="2150">
                  <c:v>-1.0107899882685301</c:v>
                </c:pt>
                <c:pt idx="2151">
                  <c:v>-1.0589171300214399</c:v>
                </c:pt>
                <c:pt idx="2152">
                  <c:v>-1.1008478230418199</c:v>
                </c:pt>
                <c:pt idx="2153">
                  <c:v>-1.1304596910109399</c:v>
                </c:pt>
                <c:pt idx="2154">
                  <c:v>-1.13155496903326</c:v>
                </c:pt>
                <c:pt idx="2155">
                  <c:v>-1.1635636391201201</c:v>
                </c:pt>
                <c:pt idx="2156">
                  <c:v>-1.16465891714245</c:v>
                </c:pt>
                <c:pt idx="2157">
                  <c:v>-1.18018962500796</c:v>
                </c:pt>
                <c:pt idx="2158">
                  <c:v>-1.1922659480362401</c:v>
                </c:pt>
                <c:pt idx="2159">
                  <c:v>-1.22905921439654</c:v>
                </c:pt>
                <c:pt idx="2160">
                  <c:v>-1.25557096726801</c:v>
                </c:pt>
                <c:pt idx="2161">
                  <c:v>-1.28208272013949</c:v>
                </c:pt>
                <c:pt idx="2162">
                  <c:v>-1.284993019726</c:v>
                </c:pt>
                <c:pt idx="2163">
                  <c:v>-1.2817068705800001</c:v>
                </c:pt>
                <c:pt idx="2164">
                  <c:v>-1.30313766476603</c:v>
                </c:pt>
                <c:pt idx="2165">
                  <c:v>-1.2916125345093501</c:v>
                </c:pt>
                <c:pt idx="2166">
                  <c:v>-1.3311833247273599</c:v>
                </c:pt>
                <c:pt idx="2167">
                  <c:v>-1.3707541149453599</c:v>
                </c:pt>
                <c:pt idx="2168">
                  <c:v>-1.3938469429420099</c:v>
                </c:pt>
                <c:pt idx="2169">
                  <c:v>-1.41693977093867</c:v>
                </c:pt>
                <c:pt idx="2170">
                  <c:v>-1.3735040200908499</c:v>
                </c:pt>
                <c:pt idx="2171">
                  <c:v>-1.3300682692430299</c:v>
                </c:pt>
                <c:pt idx="2172">
                  <c:v>-1.2866325183952201</c:v>
                </c:pt>
                <c:pt idx="2173">
                  <c:v>-1.2431967675474001</c:v>
                </c:pt>
                <c:pt idx="2174">
                  <c:v>-1.21110844091601</c:v>
                </c:pt>
                <c:pt idx="2175">
                  <c:v>-1.17902011428461</c:v>
                </c:pt>
                <c:pt idx="2176">
                  <c:v>-1.1469317876532199</c:v>
                </c:pt>
                <c:pt idx="2177">
                  <c:v>-1.1148434610218301</c:v>
                </c:pt>
                <c:pt idx="2178">
                  <c:v>-1.10965911386676</c:v>
                </c:pt>
                <c:pt idx="2179">
                  <c:v>-1.1044747667116901</c:v>
                </c:pt>
                <c:pt idx="2180">
                  <c:v>-1.1713987171745299</c:v>
                </c:pt>
                <c:pt idx="2181">
                  <c:v>-1.16621437001946</c:v>
                </c:pt>
                <c:pt idx="2182">
                  <c:v>-1.1469119643444301</c:v>
                </c:pt>
                <c:pt idx="2183">
                  <c:v>-1.1276095586693999</c:v>
                </c:pt>
                <c:pt idx="2184">
                  <c:v>-1.10830715299438</c:v>
                </c:pt>
                <c:pt idx="2185">
                  <c:v>-1.08900474731935</c:v>
                </c:pt>
                <c:pt idx="2186">
                  <c:v>-1.03851670513515</c:v>
                </c:pt>
                <c:pt idx="2187">
                  <c:v>-0.98802866295094405</c:v>
                </c:pt>
                <c:pt idx="2188">
                  <c:v>-0.93754062076674205</c:v>
                </c:pt>
                <c:pt idx="2189">
                  <c:v>-0.88705257858254105</c:v>
                </c:pt>
                <c:pt idx="2190">
                  <c:v>-0.76729035862674999</c:v>
                </c:pt>
                <c:pt idx="2191">
                  <c:v>-0.65576711978163404</c:v>
                </c:pt>
                <c:pt idx="2192">
                  <c:v>-0.53600489982584398</c:v>
                </c:pt>
                <c:pt idx="2193">
                  <c:v>-0.41624267987005298</c:v>
                </c:pt>
                <c:pt idx="2194">
                  <c:v>-0.42944278032763999</c:v>
                </c:pt>
                <c:pt idx="2195">
                  <c:v>-0.44264288078522601</c:v>
                </c:pt>
                <c:pt idx="2196">
                  <c:v>-0.45584298124281197</c:v>
                </c:pt>
                <c:pt idx="2197">
                  <c:v>-0.47108561407855698</c:v>
                </c:pt>
                <c:pt idx="2198">
                  <c:v>-0.45440732680478302</c:v>
                </c:pt>
                <c:pt idx="2199">
                  <c:v>-0.44801055301984199</c:v>
                </c:pt>
                <c:pt idx="2200">
                  <c:v>-0.41689683590287901</c:v>
                </c:pt>
                <c:pt idx="2201">
                  <c:v>-0.37958667005340102</c:v>
                </c:pt>
                <c:pt idx="2202">
                  <c:v>-0.32142844223919098</c:v>
                </c:pt>
                <c:pt idx="2203">
                  <c:v>-0.24883478458179301</c:v>
                </c:pt>
                <c:pt idx="2204">
                  <c:v>-0.21947334404020899</c:v>
                </c:pt>
                <c:pt idx="2205">
                  <c:v>-0.14892221876096901</c:v>
                </c:pt>
                <c:pt idx="2206">
                  <c:v>-6.2673941957674104E-2</c:v>
                </c:pt>
                <c:pt idx="2207">
                  <c:v>-4.02949816616111E-2</c:v>
                </c:pt>
                <c:pt idx="2208">
                  <c:v>5.30400820204169E-4</c:v>
                </c:pt>
                <c:pt idx="2209">
                  <c:v>3.5302258581297298E-2</c:v>
                </c:pt>
                <c:pt idx="2210">
                  <c:v>1.8616378885044499E-2</c:v>
                </c:pt>
                <c:pt idx="2211">
                  <c:v>-2.8982892875746399E-2</c:v>
                </c:pt>
                <c:pt idx="2212">
                  <c:v>-3.3349947520722803E-2</c:v>
                </c:pt>
                <c:pt idx="2213">
                  <c:v>-3.9680241314390297E-2</c:v>
                </c:pt>
                <c:pt idx="2214">
                  <c:v>-0.19401287624425601</c:v>
                </c:pt>
                <c:pt idx="2215">
                  <c:v>-0.33602146530713201</c:v>
                </c:pt>
                <c:pt idx="2216">
                  <c:v>-0.41612919782718</c:v>
                </c:pt>
                <c:pt idx="2217">
                  <c:v>-0.436373385366846</c:v>
                </c:pt>
                <c:pt idx="2218">
                  <c:v>-0.35798098951913598</c:v>
                </c:pt>
                <c:pt idx="2219">
                  <c:v>-0.22606964225106799</c:v>
                </c:pt>
                <c:pt idx="2220">
                  <c:v>-0.33528464521391899</c:v>
                </c:pt>
                <c:pt idx="2221">
                  <c:v>-0.24252567112106099</c:v>
                </c:pt>
                <c:pt idx="2222">
                  <c:v>-0.35118544189499301</c:v>
                </c:pt>
                <c:pt idx="2223">
                  <c:v>-0.290832380871625</c:v>
                </c:pt>
                <c:pt idx="2224">
                  <c:v>-0.30258761746616297</c:v>
                </c:pt>
                <c:pt idx="2225">
                  <c:v>-0.27314794850733198</c:v>
                </c:pt>
                <c:pt idx="2226">
                  <c:v>4.6039858677746401E-4</c:v>
                </c:pt>
                <c:pt idx="2227">
                  <c:v>-0.103421243191078</c:v>
                </c:pt>
                <c:pt idx="2228">
                  <c:v>-0.172304428148081</c:v>
                </c:pt>
                <c:pt idx="2229">
                  <c:v>-0.22055051371366499</c:v>
                </c:pt>
                <c:pt idx="2230">
                  <c:v>-0.238061632404618</c:v>
                </c:pt>
                <c:pt idx="2231">
                  <c:v>-0.31332491209975499</c:v>
                </c:pt>
                <c:pt idx="2232">
                  <c:v>-0.32675618685010399</c:v>
                </c:pt>
                <c:pt idx="2233">
                  <c:v>-0.37314338604314901</c:v>
                </c:pt>
                <c:pt idx="2234">
                  <c:v>-0.53048874930099998</c:v>
                </c:pt>
                <c:pt idx="2235">
                  <c:v>-0.61564652171147805</c:v>
                </c:pt>
                <c:pt idx="2236">
                  <c:v>-0.65333364660660498</c:v>
                </c:pt>
                <c:pt idx="2237">
                  <c:v>-0.76532496714101705</c:v>
                </c:pt>
                <c:pt idx="2238">
                  <c:v>-0.80489402083764205</c:v>
                </c:pt>
                <c:pt idx="2239">
                  <c:v>-0.89193372204961896</c:v>
                </c:pt>
                <c:pt idx="2240">
                  <c:v>-0.90058416286599297</c:v>
                </c:pt>
                <c:pt idx="2241">
                  <c:v>-1.0350152183638599</c:v>
                </c:pt>
                <c:pt idx="2242">
                  <c:v>-1.03228844093054</c:v>
                </c:pt>
                <c:pt idx="2243">
                  <c:v>-1.02132268238655</c:v>
                </c:pt>
                <c:pt idx="2244">
                  <c:v>-0.96704541349728401</c:v>
                </c:pt>
                <c:pt idx="2245">
                  <c:v>-0.92932017924311705</c:v>
                </c:pt>
                <c:pt idx="2246">
                  <c:v>-1.2022989639356001</c:v>
                </c:pt>
                <c:pt idx="2247">
                  <c:v>-1.20915382785726</c:v>
                </c:pt>
                <c:pt idx="2248">
                  <c:v>-1.2510760001978201</c:v>
                </c:pt>
                <c:pt idx="2249">
                  <c:v>-1.2888442561840201</c:v>
                </c:pt>
                <c:pt idx="2250">
                  <c:v>-1.2886864834017799</c:v>
                </c:pt>
                <c:pt idx="2251">
                  <c:v>-1.27205074839819</c:v>
                </c:pt>
                <c:pt idx="2252">
                  <c:v>-1.2657705992971899</c:v>
                </c:pt>
                <c:pt idx="2253">
                  <c:v>-1.2553313130261099</c:v>
                </c:pt>
                <c:pt idx="2254">
                  <c:v>-1.27749829692462</c:v>
                </c:pt>
                <c:pt idx="2255">
                  <c:v>-1.31818577542263</c:v>
                </c:pt>
                <c:pt idx="2256">
                  <c:v>-1.3423952916993001</c:v>
                </c:pt>
                <c:pt idx="2257">
                  <c:v>-1.3666048079759601</c:v>
                </c:pt>
                <c:pt idx="2258">
                  <c:v>-1.2895843516252701</c:v>
                </c:pt>
                <c:pt idx="2259">
                  <c:v>-1.3198187945408499</c:v>
                </c:pt>
                <c:pt idx="2260">
                  <c:v>-1.32941613806501</c:v>
                </c:pt>
                <c:pt idx="2261">
                  <c:v>-1.3596453601648799</c:v>
                </c:pt>
                <c:pt idx="2262">
                  <c:v>-1.3888488018287599</c:v>
                </c:pt>
                <c:pt idx="2263">
                  <c:v>-1.3026324355294501</c:v>
                </c:pt>
                <c:pt idx="2264">
                  <c:v>-1.42458127420265</c:v>
                </c:pt>
                <c:pt idx="2265">
                  <c:v>-1.4682201457097099</c:v>
                </c:pt>
                <c:pt idx="2266">
                  <c:v>-1.43139506889268</c:v>
                </c:pt>
                <c:pt idx="2267">
                  <c:v>-1.41104795429699</c:v>
                </c:pt>
                <c:pt idx="2268">
                  <c:v>-1.39274337207947</c:v>
                </c:pt>
                <c:pt idx="2269">
                  <c:v>-1.3744387898619399</c:v>
                </c:pt>
                <c:pt idx="2270">
                  <c:v>-1.3521966306191</c:v>
                </c:pt>
                <c:pt idx="2271">
                  <c:v>-1.3381934524869401</c:v>
                </c:pt>
                <c:pt idx="2272">
                  <c:v>-1.3221477419766201</c:v>
                </c:pt>
                <c:pt idx="2273">
                  <c:v>-1.30814456384446</c:v>
                </c:pt>
                <c:pt idx="2274">
                  <c:v>-1.31500014185515</c:v>
                </c:pt>
                <c:pt idx="2275">
                  <c:v>-1.29299008099517</c:v>
                </c:pt>
                <c:pt idx="2276">
                  <c:v>-1.2812563128083001</c:v>
                </c:pt>
                <c:pt idx="2277">
                  <c:v>-1.2633949474869699</c:v>
                </c:pt>
                <c:pt idx="2278">
                  <c:v>-1.2543916823568499</c:v>
                </c:pt>
                <c:pt idx="2279">
                  <c:v>-1.2721426721211899</c:v>
                </c:pt>
                <c:pt idx="2280">
                  <c:v>-1.2671503993336299</c:v>
                </c:pt>
                <c:pt idx="2281">
                  <c:v>-1.27046595925479</c:v>
                </c:pt>
                <c:pt idx="2282">
                  <c:v>-1.23248525029314</c:v>
                </c:pt>
                <c:pt idx="2283">
                  <c:v>-1.1862603394050999</c:v>
                </c:pt>
                <c:pt idx="2284">
                  <c:v>-1.1399665769190199</c:v>
                </c:pt>
                <c:pt idx="2285">
                  <c:v>-1.10198586795737</c:v>
                </c:pt>
                <c:pt idx="2286">
                  <c:v>-0.99763333284433697</c:v>
                </c:pt>
                <c:pt idx="2287">
                  <c:v>-0.89954609806186203</c:v>
                </c:pt>
                <c:pt idx="2288">
                  <c:v>-0.80759168122957603</c:v>
                </c:pt>
                <c:pt idx="2289">
                  <c:v>-0.71358951120341896</c:v>
                </c:pt>
                <c:pt idx="2290">
                  <c:v>-0.69981362481485798</c:v>
                </c:pt>
                <c:pt idx="2291">
                  <c:v>-0.69427671953697101</c:v>
                </c:pt>
                <c:pt idx="2292">
                  <c:v>-0.67845830077025204</c:v>
                </c:pt>
                <c:pt idx="2293">
                  <c:v>-0.65848596564917505</c:v>
                </c:pt>
                <c:pt idx="2294">
                  <c:v>-0.70051456253368904</c:v>
                </c:pt>
                <c:pt idx="2295">
                  <c:v>-0.73015026195317201</c:v>
                </c:pt>
                <c:pt idx="2296">
                  <c:v>-0.76598241010516999</c:v>
                </c:pt>
                <c:pt idx="2297">
                  <c:v>-0.80800578617397001</c:v>
                </c:pt>
                <c:pt idx="2298">
                  <c:v>-0.80298919142157399</c:v>
                </c:pt>
                <c:pt idx="2299">
                  <c:v>-0.75057602156757897</c:v>
                </c:pt>
                <c:pt idx="2300">
                  <c:v>-0.74760195919334105</c:v>
                </c:pt>
                <c:pt idx="2301">
                  <c:v>-0.71786842110892302</c:v>
                </c:pt>
                <c:pt idx="2302">
                  <c:v>-0.68764596332586103</c:v>
                </c:pt>
                <c:pt idx="2303">
                  <c:v>-0.63882893852953904</c:v>
                </c:pt>
                <c:pt idx="2304">
                  <c:v>-0.57973562106009702</c:v>
                </c:pt>
                <c:pt idx="2305">
                  <c:v>-0.62162146089494097</c:v>
                </c:pt>
                <c:pt idx="2306">
                  <c:v>-0.59850503849063497</c:v>
                </c:pt>
                <c:pt idx="2307">
                  <c:v>-0.61045070368950805</c:v>
                </c:pt>
                <c:pt idx="2308">
                  <c:v>-0.56465464951562605</c:v>
                </c:pt>
                <c:pt idx="2309">
                  <c:v>-0.504354313900514</c:v>
                </c:pt>
                <c:pt idx="2310">
                  <c:v>-0.55273212552310502</c:v>
                </c:pt>
                <c:pt idx="2311">
                  <c:v>-0.48969590070935898</c:v>
                </c:pt>
                <c:pt idx="2312">
                  <c:v>-0.41018171367426498</c:v>
                </c:pt>
                <c:pt idx="2313">
                  <c:v>-0.52046560265539699</c:v>
                </c:pt>
                <c:pt idx="2314">
                  <c:v>-0.44157107401670898</c:v>
                </c:pt>
                <c:pt idx="2315">
                  <c:v>-0.49669614117018102</c:v>
                </c:pt>
                <c:pt idx="2316">
                  <c:v>-0.55386374070181099</c:v>
                </c:pt>
                <c:pt idx="2317">
                  <c:v>-0.66258183168939599</c:v>
                </c:pt>
                <c:pt idx="2318">
                  <c:v>-0.37415870913649901</c:v>
                </c:pt>
                <c:pt idx="2319">
                  <c:v>-0.47955539284940801</c:v>
                </c:pt>
                <c:pt idx="2320">
                  <c:v>-0.31071643624548101</c:v>
                </c:pt>
                <c:pt idx="2321">
                  <c:v>-7.6304457924198897E-3</c:v>
                </c:pt>
                <c:pt idx="2322">
                  <c:v>-0.217806128099434</c:v>
                </c:pt>
                <c:pt idx="2323">
                  <c:v>-0.55354020784667202</c:v>
                </c:pt>
                <c:pt idx="2324">
                  <c:v>-0.61110172734826695</c:v>
                </c:pt>
                <c:pt idx="2325">
                  <c:v>-0.627389048067025</c:v>
                </c:pt>
                <c:pt idx="2326">
                  <c:v>-0.55427692685936802</c:v>
                </c:pt>
                <c:pt idx="2327">
                  <c:v>-0.56217873610407398</c:v>
                </c:pt>
                <c:pt idx="2328">
                  <c:v>-0.56592140817870895</c:v>
                </c:pt>
                <c:pt idx="2329">
                  <c:v>-0.536634083396896</c:v>
                </c:pt>
                <c:pt idx="2330">
                  <c:v>-0.633151551332365</c:v>
                </c:pt>
                <c:pt idx="2331">
                  <c:v>-0.69970812695066997</c:v>
                </c:pt>
                <c:pt idx="2332">
                  <c:v>-0.767497659211554</c:v>
                </c:pt>
                <c:pt idx="2333">
                  <c:v>-0.822968366421162</c:v>
                </c:pt>
                <c:pt idx="2334">
                  <c:v>-0.92230783634486102</c:v>
                </c:pt>
                <c:pt idx="2335">
                  <c:v>-1.0814419996508999</c:v>
                </c:pt>
                <c:pt idx="2336">
                  <c:v>-1.22402412832184</c:v>
                </c:pt>
                <c:pt idx="2337">
                  <c:v>-1.37076017334714</c:v>
                </c:pt>
                <c:pt idx="2338">
                  <c:v>-1.3173691139686501</c:v>
                </c:pt>
                <c:pt idx="2339">
                  <c:v>-1.24742601995507</c:v>
                </c:pt>
                <c:pt idx="2340">
                  <c:v>-1.15896243134197</c:v>
                </c:pt>
                <c:pt idx="2341">
                  <c:v>-1.11585288545232</c:v>
                </c:pt>
                <c:pt idx="2342">
                  <c:v>-1.1448167097607</c:v>
                </c:pt>
                <c:pt idx="2343">
                  <c:v>-1.18005627603106</c:v>
                </c:pt>
                <c:pt idx="2344">
                  <c:v>-1.2544482154766401</c:v>
                </c:pt>
                <c:pt idx="2345">
                  <c:v>-1.3515834174741099</c:v>
                </c:pt>
                <c:pt idx="2346">
                  <c:v>-1.5270868533590101</c:v>
                </c:pt>
                <c:pt idx="2347">
                  <c:v>-1.5829424925126201</c:v>
                </c:pt>
                <c:pt idx="2348">
                  <c:v>-1.59965097930672</c:v>
                </c:pt>
                <c:pt idx="2349">
                  <c:v>-1.60812048499015</c:v>
                </c:pt>
                <c:pt idx="2350">
                  <c:v>-1.61358808844168</c:v>
                </c:pt>
                <c:pt idx="2351">
                  <c:v>-1.6375761864927101</c:v>
                </c:pt>
                <c:pt idx="2352">
                  <c:v>-1.6450863223223899</c:v>
                </c:pt>
                <c:pt idx="2353">
                  <c:v>-1.6381610283088901</c:v>
                </c:pt>
                <c:pt idx="2354">
                  <c:v>-1.52610262419335</c:v>
                </c:pt>
                <c:pt idx="2355">
                  <c:v>-1.53150133960344</c:v>
                </c:pt>
                <c:pt idx="2356">
                  <c:v>-1.5204220927921901</c:v>
                </c:pt>
                <c:pt idx="2357">
                  <c:v>-1.4928648837595899</c:v>
                </c:pt>
                <c:pt idx="2358">
                  <c:v>-1.50782591911736</c:v>
                </c:pt>
                <c:pt idx="2359">
                  <c:v>-1.5248294868532899</c:v>
                </c:pt>
                <c:pt idx="2360">
                  <c:v>-1.5418330545892101</c:v>
                </c:pt>
                <c:pt idx="2361">
                  <c:v>-1.5444011924819501</c:v>
                </c:pt>
                <c:pt idx="2362">
                  <c:v>-1.5377735366280401</c:v>
                </c:pt>
                <c:pt idx="2363">
                  <c:v>-1.5476238429954801</c:v>
                </c:pt>
                <c:pt idx="2364">
                  <c:v>-1.54515532431165</c:v>
                </c:pt>
                <c:pt idx="2365">
                  <c:v>-1.53852766845774</c:v>
                </c:pt>
                <c:pt idx="2366">
                  <c:v>-1.5387676232440299</c:v>
                </c:pt>
                <c:pt idx="2367">
                  <c:v>-1.5390075780303301</c:v>
                </c:pt>
                <c:pt idx="2368">
                  <c:v>-1.5412848443790701</c:v>
                </c:pt>
                <c:pt idx="2369">
                  <c:v>-1.5724381912298999</c:v>
                </c:pt>
                <c:pt idx="2370">
                  <c:v>-1.59049757483733</c:v>
                </c:pt>
                <c:pt idx="2371">
                  <c:v>-1.6065144260666</c:v>
                </c:pt>
                <c:pt idx="2372">
                  <c:v>-1.60605331507452</c:v>
                </c:pt>
                <c:pt idx="2373">
                  <c:v>-1.6096772688387599</c:v>
                </c:pt>
                <c:pt idx="2374">
                  <c:v>-1.57912597969492</c:v>
                </c:pt>
                <c:pt idx="2375">
                  <c:v>-1.56505265277242</c:v>
                </c:pt>
                <c:pt idx="2376">
                  <c:v>-1.55097932584993</c:v>
                </c:pt>
                <c:pt idx="2377">
                  <c:v>-1.5369059989274301</c:v>
                </c:pt>
                <c:pt idx="2378">
                  <c:v>-1.50671069929458</c:v>
                </c:pt>
                <c:pt idx="2379">
                  <c:v>-1.4744728672835601</c:v>
                </c:pt>
                <c:pt idx="2380">
                  <c:v>-1.46075552987205</c:v>
                </c:pt>
                <c:pt idx="2381">
                  <c:v>-1.4285176978610299</c:v>
                </c:pt>
                <c:pt idx="2382">
                  <c:v>-1.3623603753350699</c:v>
                </c:pt>
                <c:pt idx="2383">
                  <c:v>-1.2941657412466701</c:v>
                </c:pt>
                <c:pt idx="2384">
                  <c:v>-1.2280084187207101</c:v>
                </c:pt>
                <c:pt idx="2385">
                  <c:v>-1.1618510961947599</c:v>
                </c:pt>
                <c:pt idx="2386">
                  <c:v>-1.2213708364262901</c:v>
                </c:pt>
                <c:pt idx="2387">
                  <c:v>-1.28089057665782</c:v>
                </c:pt>
                <c:pt idx="2388">
                  <c:v>-1.34041031688936</c:v>
                </c:pt>
                <c:pt idx="2389">
                  <c:v>-1.43288076074787</c:v>
                </c:pt>
                <c:pt idx="2390">
                  <c:v>-1.4440563207336099</c:v>
                </c:pt>
                <c:pt idx="2391">
                  <c:v>-1.4201593514847399</c:v>
                </c:pt>
                <c:pt idx="2392">
                  <c:v>-1.4189367931897401</c:v>
                </c:pt>
                <c:pt idx="2393">
                  <c:v>-1.43419219711608</c:v>
                </c:pt>
                <c:pt idx="2394">
                  <c:v>-1.29584556493581</c:v>
                </c:pt>
                <c:pt idx="2395">
                  <c:v>-1.1781360321469501</c:v>
                </c:pt>
                <c:pt idx="2396">
                  <c:v>-1.0851434426901101</c:v>
                </c:pt>
                <c:pt idx="2397">
                  <c:v>-0.96947644227941598</c:v>
                </c:pt>
                <c:pt idx="2398">
                  <c:v>-0.99996134330062902</c:v>
                </c:pt>
                <c:pt idx="2399">
                  <c:v>-1.0119309705380499</c:v>
                </c:pt>
                <c:pt idx="2400">
                  <c:v>-1.0279804417160701</c:v>
                </c:pt>
                <c:pt idx="2401">
                  <c:v>-1.11001583419324</c:v>
                </c:pt>
                <c:pt idx="2402">
                  <c:v>-0.95584561515286204</c:v>
                </c:pt>
                <c:pt idx="2403">
                  <c:v>-0.84294959489531995</c:v>
                </c:pt>
                <c:pt idx="2404">
                  <c:v>-0.719692767919478</c:v>
                </c:pt>
                <c:pt idx="2405">
                  <c:v>-0.68510149401235798</c:v>
                </c:pt>
                <c:pt idx="2406">
                  <c:v>-0.59895380865612602</c:v>
                </c:pt>
                <c:pt idx="2407">
                  <c:v>-0.48597257517596099</c:v>
                </c:pt>
                <c:pt idx="2408">
                  <c:v>-0.45341269283812902</c:v>
                </c:pt>
                <c:pt idx="2409">
                  <c:v>-0.34655383567672599</c:v>
                </c:pt>
                <c:pt idx="2410">
                  <c:v>-0.17355909664410701</c:v>
                </c:pt>
                <c:pt idx="2411">
                  <c:v>-0.25643286897203799</c:v>
                </c:pt>
                <c:pt idx="2412">
                  <c:v>-0.52398785958303695</c:v>
                </c:pt>
                <c:pt idx="2413">
                  <c:v>-0.495146085003902</c:v>
                </c:pt>
                <c:pt idx="2414">
                  <c:v>-0.50347732807102596</c:v>
                </c:pt>
                <c:pt idx="2415">
                  <c:v>-0.48883787052927102</c:v>
                </c:pt>
                <c:pt idx="2416">
                  <c:v>-0.43912066293719598</c:v>
                </c:pt>
                <c:pt idx="2417">
                  <c:v>-0.47391509205948401</c:v>
                </c:pt>
                <c:pt idx="2418">
                  <c:v>-0.58470024962385503</c:v>
                </c:pt>
                <c:pt idx="2419">
                  <c:v>-0.63161086986528103</c:v>
                </c:pt>
                <c:pt idx="2420">
                  <c:v>-0.66174201741463101</c:v>
                </c:pt>
                <c:pt idx="2421">
                  <c:v>-0.80571053747867205</c:v>
                </c:pt>
                <c:pt idx="2422">
                  <c:v>-0.95048684355170399</c:v>
                </c:pt>
                <c:pt idx="2423">
                  <c:v>-0.845808083422249</c:v>
                </c:pt>
                <c:pt idx="2424">
                  <c:v>-0.76176642268421202</c:v>
                </c:pt>
                <c:pt idx="2425">
                  <c:v>-0.71680828352334602</c:v>
                </c:pt>
                <c:pt idx="2426">
                  <c:v>-0.71483993811907698</c:v>
                </c:pt>
                <c:pt idx="2427">
                  <c:v>-0.73977921325249496</c:v>
                </c:pt>
                <c:pt idx="2428">
                  <c:v>-0.76364411820226796</c:v>
                </c:pt>
                <c:pt idx="2429">
                  <c:v>-0.74731441536856402</c:v>
                </c:pt>
                <c:pt idx="2430">
                  <c:v>-0.87500035545692401</c:v>
                </c:pt>
                <c:pt idx="2431">
                  <c:v>-0.85626858147238005</c:v>
                </c:pt>
                <c:pt idx="2432">
                  <c:v>-0.84169594465790598</c:v>
                </c:pt>
                <c:pt idx="2433">
                  <c:v>-0.87043481818871304</c:v>
                </c:pt>
                <c:pt idx="2434">
                  <c:v>-0.58340495141583404</c:v>
                </c:pt>
                <c:pt idx="2435">
                  <c:v>-0.790591910534442</c:v>
                </c:pt>
                <c:pt idx="2436">
                  <c:v>-0.87689811627917202</c:v>
                </c:pt>
                <c:pt idx="2437">
                  <c:v>-0.93447638634931895</c:v>
                </c:pt>
                <c:pt idx="2438">
                  <c:v>-1.01132673402455</c:v>
                </c:pt>
                <c:pt idx="2439">
                  <c:v>-1.0922621464561</c:v>
                </c:pt>
                <c:pt idx="2440">
                  <c:v>-1.14016234121548</c:v>
                </c:pt>
                <c:pt idx="2441">
                  <c:v>-1.1447510256295801</c:v>
                </c:pt>
                <c:pt idx="2442">
                  <c:v>-1.2202183834482501</c:v>
                </c:pt>
                <c:pt idx="2443">
                  <c:v>-1.35778793178816</c:v>
                </c:pt>
                <c:pt idx="2444">
                  <c:v>-1.36719007507821</c:v>
                </c:pt>
                <c:pt idx="2445">
                  <c:v>-1.3992666293221401</c:v>
                </c:pt>
                <c:pt idx="2446">
                  <c:v>-1.4353255061063299</c:v>
                </c:pt>
                <c:pt idx="2447">
                  <c:v>-1.53737030418967</c:v>
                </c:pt>
                <c:pt idx="2448">
                  <c:v>-1.61258155414908</c:v>
                </c:pt>
                <c:pt idx="2449">
                  <c:v>-1.7022282339516699</c:v>
                </c:pt>
                <c:pt idx="2450">
                  <c:v>-1.67080078540191</c:v>
                </c:pt>
                <c:pt idx="2451">
                  <c:v>-1.6022634960550901</c:v>
                </c:pt>
                <c:pt idx="2452">
                  <c:v>-1.52132808842752</c:v>
                </c:pt>
                <c:pt idx="2453">
                  <c:v>-1.41984009545372</c:v>
                </c:pt>
                <c:pt idx="2454">
                  <c:v>-1.4775129632284401</c:v>
                </c:pt>
                <c:pt idx="2455">
                  <c:v>-1.5187026479661001</c:v>
                </c:pt>
                <c:pt idx="2456">
                  <c:v>-1.5187026479661001</c:v>
                </c:pt>
                <c:pt idx="2457">
                  <c:v>-1.86292759565717</c:v>
                </c:pt>
                <c:pt idx="2458">
                  <c:v>-1.8620936979737599</c:v>
                </c:pt>
                <c:pt idx="2459">
                  <c:v>-1.7993589437475299</c:v>
                </c:pt>
                <c:pt idx="2460">
                  <c:v>-1.80261011082044</c:v>
                </c:pt>
                <c:pt idx="2461">
                  <c:v>-1.8285304680315</c:v>
                </c:pt>
                <c:pt idx="2462">
                  <c:v>-1.8139068405060399</c:v>
                </c:pt>
                <c:pt idx="2463">
                  <c:v>-1.85906746473149</c:v>
                </c:pt>
                <c:pt idx="2464">
                  <c:v>-1.8279710958003901</c:v>
                </c:pt>
                <c:pt idx="2465">
                  <c:v>-1.7350479427402199</c:v>
                </c:pt>
                <c:pt idx="2466">
                  <c:v>-1.72142591914767</c:v>
                </c:pt>
                <c:pt idx="2467">
                  <c:v>-1.6686463015641899</c:v>
                </c:pt>
                <c:pt idx="2468">
                  <c:v>-1.6570615895340799</c:v>
                </c:pt>
                <c:pt idx="2469">
                  <c:v>-1.2057066574354389</c:v>
                </c:pt>
                <c:pt idx="2470">
                  <c:v>-1.10052597207669</c:v>
                </c:pt>
                <c:pt idx="2471">
                  <c:v>-1.54339823694766</c:v>
                </c:pt>
                <c:pt idx="2472">
                  <c:v>-1.3980052111001999</c:v>
                </c:pt>
                <c:pt idx="2473">
                  <c:v>-1.2897220260497899</c:v>
                </c:pt>
                <c:pt idx="2474">
                  <c:v>-1.1814440618150901</c:v>
                </c:pt>
                <c:pt idx="2475">
                  <c:v>-1.0751345575447899</c:v>
                </c:pt>
                <c:pt idx="2476">
                  <c:v>-0.99899478868672298</c:v>
                </c:pt>
                <c:pt idx="2477">
                  <c:v>-0.88355450182593898</c:v>
                </c:pt>
                <c:pt idx="2478">
                  <c:v>-0.74550343479361902</c:v>
                </c:pt>
                <c:pt idx="2479">
                  <c:v>-0.66112468482487896</c:v>
                </c:pt>
                <c:pt idx="2480">
                  <c:v>-0.59108056336083903</c:v>
                </c:pt>
                <c:pt idx="2481">
                  <c:v>-0.62830700361020697</c:v>
                </c:pt>
                <c:pt idx="2482">
                  <c:v>-0.44758956984736897</c:v>
                </c:pt>
                <c:pt idx="2483">
                  <c:v>-0.30112986876784498</c:v>
                </c:pt>
                <c:pt idx="2484">
                  <c:v>-0.27509526278166602</c:v>
                </c:pt>
                <c:pt idx="2485">
                  <c:v>-0.19524019490439801</c:v>
                </c:pt>
                <c:pt idx="2486">
                  <c:v>-0.348584448249532</c:v>
                </c:pt>
                <c:pt idx="2487">
                  <c:v>-0.27296258995608902</c:v>
                </c:pt>
                <c:pt idx="2488">
                  <c:v>-0.22492334853260901</c:v>
                </c:pt>
                <c:pt idx="2489">
                  <c:v>-0.28603861474176001</c:v>
                </c:pt>
                <c:pt idx="2490">
                  <c:v>-0.62473386188652402</c:v>
                </c:pt>
                <c:pt idx="2491">
                  <c:v>-0.591130050306234</c:v>
                </c:pt>
                <c:pt idx="2492">
                  <c:v>-0.54980770335969098</c:v>
                </c:pt>
                <c:pt idx="2493">
                  <c:v>-0.46736452327353301</c:v>
                </c:pt>
                <c:pt idx="2494">
                  <c:v>-0.39943606626003197</c:v>
                </c:pt>
                <c:pt idx="2495">
                  <c:v>-0.341635757092141</c:v>
                </c:pt>
                <c:pt idx="2496">
                  <c:v>-0.29801109167272699</c:v>
                </c:pt>
                <c:pt idx="2497">
                  <c:v>-0.33254824859193899</c:v>
                </c:pt>
                <c:pt idx="2498">
                  <c:v>-0.31984219605277497</c:v>
                </c:pt>
                <c:pt idx="2499">
                  <c:v>-0.27833413542527202</c:v>
                </c:pt>
                <c:pt idx="2500">
                  <c:v>-0.23224948354135599</c:v>
                </c:pt>
                <c:pt idx="2501">
                  <c:v>-0.175883318168608</c:v>
                </c:pt>
                <c:pt idx="2502">
                  <c:v>-0.12760276826331199</c:v>
                </c:pt>
                <c:pt idx="2503">
                  <c:v>-0.118633177992162</c:v>
                </c:pt>
                <c:pt idx="2504">
                  <c:v>-0.17113230268723401</c:v>
                </c:pt>
                <c:pt idx="2505">
                  <c:v>-0.16156676356482899</c:v>
                </c:pt>
                <c:pt idx="2506">
                  <c:v>-9.0243291911392007E-2</c:v>
                </c:pt>
                <c:pt idx="2507">
                  <c:v>-4.2583276669184697E-2</c:v>
                </c:pt>
                <c:pt idx="2508">
                  <c:v>-7.7180270706483298E-2</c:v>
                </c:pt>
                <c:pt idx="2509">
                  <c:v>-0.130525197400263</c:v>
                </c:pt>
                <c:pt idx="2510">
                  <c:v>-0.14259592531120599</c:v>
                </c:pt>
                <c:pt idx="2511">
                  <c:v>-0.22270032771516499</c:v>
                </c:pt>
                <c:pt idx="2512">
                  <c:v>-0.42399241333251803</c:v>
                </c:pt>
                <c:pt idx="2513">
                  <c:v>-0.64198989922819305</c:v>
                </c:pt>
                <c:pt idx="2514">
                  <c:v>-0.84138759729489498</c:v>
                </c:pt>
                <c:pt idx="2515">
                  <c:v>-1.0016224805549601</c:v>
                </c:pt>
                <c:pt idx="2516">
                  <c:v>-1.10476113619342</c:v>
                </c:pt>
                <c:pt idx="2517">
                  <c:v>-1.18515130846427</c:v>
                </c:pt>
                <c:pt idx="2518">
                  <c:v>-1.2944175612372</c:v>
                </c:pt>
                <c:pt idx="2519">
                  <c:v>-1.36656875239737</c:v>
                </c:pt>
                <c:pt idx="2520">
                  <c:v>-1.4770080784230899</c:v>
                </c:pt>
                <c:pt idx="2521">
                  <c:v>-1.59364385318131</c:v>
                </c:pt>
                <c:pt idx="2522">
                  <c:v>-1.61957676330838</c:v>
                </c:pt>
                <c:pt idx="2523">
                  <c:v>-1.7011452296477101</c:v>
                </c:pt>
                <c:pt idx="2524">
                  <c:v>-1.69723645805011</c:v>
                </c:pt>
                <c:pt idx="2525">
                  <c:v>-1.73043752724956</c:v>
                </c:pt>
                <c:pt idx="2526">
                  <c:v>-1.82138553663749</c:v>
                </c:pt>
                <c:pt idx="2527">
                  <c:v>-1.81747154422418</c:v>
                </c:pt>
                <c:pt idx="2528">
                  <c:v>-1.7617671659302001</c:v>
                </c:pt>
                <c:pt idx="2529">
                  <c:v>-0.48711429463396699</c:v>
                </c:pt>
                <c:pt idx="2530">
                  <c:v>-0.27104141382497998</c:v>
                </c:pt>
                <c:pt idx="2531">
                  <c:v>-0.25385810044320001</c:v>
                </c:pt>
                <c:pt idx="2532">
                  <c:v>-0.21610653926804199</c:v>
                </c:pt>
                <c:pt idx="2533">
                  <c:v>-0.200891685850666</c:v>
                </c:pt>
                <c:pt idx="2534">
                  <c:v>-0.171310254188141</c:v>
                </c:pt>
                <c:pt idx="2535">
                  <c:v>-0.104826231910798</c:v>
                </c:pt>
                <c:pt idx="2536">
                  <c:v>4.8217180274781599E-2</c:v>
                </c:pt>
                <c:pt idx="2537">
                  <c:v>0.21139396112168601</c:v>
                </c:pt>
                <c:pt idx="2538">
                  <c:v>0.28182012414355201</c:v>
                </c:pt>
                <c:pt idx="2539">
                  <c:v>0.19421815163342701</c:v>
                </c:pt>
                <c:pt idx="2540">
                  <c:v>9.6413958863936805E-2</c:v>
                </c:pt>
                <c:pt idx="2541">
                  <c:v>8.1004798016897805E-2</c:v>
                </c:pt>
                <c:pt idx="2542">
                  <c:v>6.5521564756105793E-2</c:v>
                </c:pt>
                <c:pt idx="2543">
                  <c:v>7.0865641618388403E-2</c:v>
                </c:pt>
                <c:pt idx="2544">
                  <c:v>0.1069749657177</c:v>
                </c:pt>
                <c:pt idx="2545">
                  <c:v>0.19275083535374299</c:v>
                </c:pt>
                <c:pt idx="2546">
                  <c:v>0.24760809210953599</c:v>
                </c:pt>
                <c:pt idx="2547">
                  <c:v>0.22013548684436199</c:v>
                </c:pt>
                <c:pt idx="2548">
                  <c:v>0.194705413957347</c:v>
                </c:pt>
                <c:pt idx="2549">
                  <c:v>0.17766768782422701</c:v>
                </c:pt>
                <c:pt idx="2550">
                  <c:v>0.21210638073330801</c:v>
                </c:pt>
                <c:pt idx="2551">
                  <c:v>0.185935856360809</c:v>
                </c:pt>
                <c:pt idx="2552">
                  <c:v>0.18864141249040101</c:v>
                </c:pt>
                <c:pt idx="2553">
                  <c:v>0.29029925599325901</c:v>
                </c:pt>
                <c:pt idx="2554">
                  <c:v>0.37766981448043502</c:v>
                </c:pt>
                <c:pt idx="2555">
                  <c:v>0.40219537642951902</c:v>
                </c:pt>
                <c:pt idx="2556">
                  <c:v>0.40169726376013898</c:v>
                </c:pt>
                <c:pt idx="2557">
                  <c:v>0.37686301145893297</c:v>
                </c:pt>
                <c:pt idx="2558">
                  <c:v>0.37235912726270398</c:v>
                </c:pt>
                <c:pt idx="2559">
                  <c:v>0.35169069855393897</c:v>
                </c:pt>
                <c:pt idx="2560">
                  <c:v>0.36216832078240102</c:v>
                </c:pt>
                <c:pt idx="2561">
                  <c:v>0.33961072533869902</c:v>
                </c:pt>
                <c:pt idx="2562">
                  <c:v>0.288177049392906</c:v>
                </c:pt>
                <c:pt idx="2563">
                  <c:v>0.25772118972291402</c:v>
                </c:pt>
                <c:pt idx="2564">
                  <c:v>0.13957397067552499</c:v>
                </c:pt>
                <c:pt idx="2565">
                  <c:v>0.23497801891648501</c:v>
                </c:pt>
                <c:pt idx="2566">
                  <c:v>0.14465339345039699</c:v>
                </c:pt>
                <c:pt idx="2567">
                  <c:v>0.10371569064600999</c:v>
                </c:pt>
                <c:pt idx="2568">
                  <c:v>-8.3793091874502706E-2</c:v>
                </c:pt>
                <c:pt idx="2569">
                  <c:v>-0.120196074624337</c:v>
                </c:pt>
                <c:pt idx="2570">
                  <c:v>-0.19204716949326101</c:v>
                </c:pt>
                <c:pt idx="2571">
                  <c:v>-0.38017991512724802</c:v>
                </c:pt>
                <c:pt idx="2572">
                  <c:v>-0.58267401819067099</c:v>
                </c:pt>
                <c:pt idx="2573">
                  <c:v>-0.73376577462564696</c:v>
                </c:pt>
                <c:pt idx="2574">
                  <c:v>-0.93005820814084095</c:v>
                </c:pt>
                <c:pt idx="2575">
                  <c:v>-0.95604066064843596</c:v>
                </c:pt>
                <c:pt idx="2576">
                  <c:v>-1.1345632035477</c:v>
                </c:pt>
                <c:pt idx="2577">
                  <c:v>-1.23681309084327</c:v>
                </c:pt>
                <c:pt idx="2578">
                  <c:v>-1.3061070536961501</c:v>
                </c:pt>
                <c:pt idx="2579">
                  <c:v>-1.36963074322655</c:v>
                </c:pt>
                <c:pt idx="2580">
                  <c:v>-1.3939279871679799</c:v>
                </c:pt>
                <c:pt idx="2581">
                  <c:v>-1.46977572256538</c:v>
                </c:pt>
                <c:pt idx="2582">
                  <c:v>-1.5538624390734399</c:v>
                </c:pt>
                <c:pt idx="2583">
                  <c:v>-1.5931423159014699</c:v>
                </c:pt>
                <c:pt idx="2584">
                  <c:v>-1.6447514594122099</c:v>
                </c:pt>
                <c:pt idx="2585">
                  <c:v>-1.6984667660834301</c:v>
                </c:pt>
                <c:pt idx="2586">
                  <c:v>-1.70887578322509</c:v>
                </c:pt>
                <c:pt idx="2587">
                  <c:v>-1.80803073992138</c:v>
                </c:pt>
                <c:pt idx="2588">
                  <c:v>0.60542829227696704</c:v>
                </c:pt>
                <c:pt idx="2589">
                  <c:v>0.60335147073858897</c:v>
                </c:pt>
                <c:pt idx="2590">
                  <c:v>0.77029270181322496</c:v>
                </c:pt>
                <c:pt idx="2591">
                  <c:v>1.19925042569081E-2</c:v>
                </c:pt>
                <c:pt idx="2592">
                  <c:v>0.10069784057916301</c:v>
                </c:pt>
                <c:pt idx="2593">
                  <c:v>7.5697928195770994E-2</c:v>
                </c:pt>
                <c:pt idx="2594">
                  <c:v>0.14337978203937701</c:v>
                </c:pt>
                <c:pt idx="2595">
                  <c:v>0.252409907079572</c:v>
                </c:pt>
                <c:pt idx="2596">
                  <c:v>0.28501923168856902</c:v>
                </c:pt>
                <c:pt idx="2597">
                  <c:v>0.30416382864283797</c:v>
                </c:pt>
                <c:pt idx="2598">
                  <c:v>0.35218450609919799</c:v>
                </c:pt>
                <c:pt idx="2599">
                  <c:v>0.38365314892045699</c:v>
                </c:pt>
                <c:pt idx="2600">
                  <c:v>0.33876984290855899</c:v>
                </c:pt>
                <c:pt idx="2601">
                  <c:v>0.373748819481728</c:v>
                </c:pt>
                <c:pt idx="2602">
                  <c:v>0.445922150897129</c:v>
                </c:pt>
                <c:pt idx="2603">
                  <c:v>0.85084570171503804</c:v>
                </c:pt>
                <c:pt idx="2604">
                  <c:v>1.04283063713639</c:v>
                </c:pt>
                <c:pt idx="2605">
                  <c:v>0.47440105260082499</c:v>
                </c:pt>
                <c:pt idx="2606">
                  <c:v>0.49679653848112898</c:v>
                </c:pt>
                <c:pt idx="2607">
                  <c:v>0.50906387651582297</c:v>
                </c:pt>
                <c:pt idx="2608">
                  <c:v>0.486332757729662</c:v>
                </c:pt>
                <c:pt idx="2609">
                  <c:v>0.43335711084566098</c:v>
                </c:pt>
                <c:pt idx="2610">
                  <c:v>0.37441245328611999</c:v>
                </c:pt>
                <c:pt idx="2611">
                  <c:v>0.35069369060440803</c:v>
                </c:pt>
                <c:pt idx="2612">
                  <c:v>0.328864094657633</c:v>
                </c:pt>
                <c:pt idx="2613">
                  <c:v>0.26073302045500302</c:v>
                </c:pt>
                <c:pt idx="2614">
                  <c:v>0.30402642432013699</c:v>
                </c:pt>
                <c:pt idx="2615">
                  <c:v>0.37211606474676101</c:v>
                </c:pt>
                <c:pt idx="2616">
                  <c:v>0.37413526982905898</c:v>
                </c:pt>
                <c:pt idx="2617">
                  <c:v>0.27767685151677202</c:v>
                </c:pt>
                <c:pt idx="2618">
                  <c:v>0.222492631987322</c:v>
                </c:pt>
                <c:pt idx="2619">
                  <c:v>7.2287824197700495E-2</c:v>
                </c:pt>
                <c:pt idx="2620">
                  <c:v>-0.164624518327664</c:v>
                </c:pt>
                <c:pt idx="2621">
                  <c:v>-0.24165423951037501</c:v>
                </c:pt>
                <c:pt idx="2622">
                  <c:v>-0.10557631720616301</c:v>
                </c:pt>
                <c:pt idx="2623">
                  <c:v>-0.14745421592479899</c:v>
                </c:pt>
                <c:pt idx="2624">
                  <c:v>-0.16461517131141401</c:v>
                </c:pt>
                <c:pt idx="2625">
                  <c:v>-0.199320301820821</c:v>
                </c:pt>
                <c:pt idx="2626">
                  <c:v>-0.252619999343488</c:v>
                </c:pt>
                <c:pt idx="2627">
                  <c:v>-0.28747327468040201</c:v>
                </c:pt>
                <c:pt idx="2628">
                  <c:v>-0.39224939124526897</c:v>
                </c:pt>
                <c:pt idx="2629">
                  <c:v>-0.52919188266222505</c:v>
                </c:pt>
                <c:pt idx="2630">
                  <c:v>-0.60225983675623496</c:v>
                </c:pt>
                <c:pt idx="2631">
                  <c:v>-0.69574267300040205</c:v>
                </c:pt>
                <c:pt idx="2632">
                  <c:v>-0.77901806816949004</c:v>
                </c:pt>
                <c:pt idx="2633">
                  <c:v>-0.84865495465441398</c:v>
                </c:pt>
                <c:pt idx="2634">
                  <c:v>-0.798707675190369</c:v>
                </c:pt>
                <c:pt idx="2635">
                  <c:v>-0.89933202615358299</c:v>
                </c:pt>
                <c:pt idx="2636">
                  <c:v>-0.96692115944463597</c:v>
                </c:pt>
                <c:pt idx="2637">
                  <c:v>-1.0032863259320499</c:v>
                </c:pt>
                <c:pt idx="2638">
                  <c:v>-0.93648165790951998</c:v>
                </c:pt>
                <c:pt idx="2639">
                  <c:v>-1.08819778076208</c:v>
                </c:pt>
                <c:pt idx="2640">
                  <c:v>-1.1039310686738</c:v>
                </c:pt>
                <c:pt idx="2641">
                  <c:v>-1.1324797516032801</c:v>
                </c:pt>
                <c:pt idx="2642">
                  <c:v>-1.1445504723114199</c:v>
                </c:pt>
                <c:pt idx="2643">
                  <c:v>-1.14422829555453</c:v>
                </c:pt>
                <c:pt idx="2644">
                  <c:v>-1.2139771048530901</c:v>
                </c:pt>
                <c:pt idx="2645">
                  <c:v>-1.26927406502986</c:v>
                </c:pt>
                <c:pt idx="2646">
                  <c:v>-1.27513713854259</c:v>
                </c:pt>
                <c:pt idx="2647">
                  <c:v>-1.28304274443347</c:v>
                </c:pt>
                <c:pt idx="2648">
                  <c:v>-1.3177078260345401</c:v>
                </c:pt>
                <c:pt idx="2649">
                  <c:v>-1.3012306058266001</c:v>
                </c:pt>
                <c:pt idx="2650">
                  <c:v>-1.2847586064343799</c:v>
                </c:pt>
                <c:pt idx="2651">
                  <c:v>-1.2723664509827499</c:v>
                </c:pt>
                <c:pt idx="2652">
                  <c:v>-1.25588923077482</c:v>
                </c:pt>
                <c:pt idx="2653">
                  <c:v>-1.2637281101887401</c:v>
                </c:pt>
                <c:pt idx="2654">
                  <c:v>-1.29628393293469</c:v>
                </c:pt>
                <c:pt idx="2655">
                  <c:v>-1.2958838312379499</c:v>
                </c:pt>
                <c:pt idx="2656">
                  <c:v>-1.3160467565188601</c:v>
                </c:pt>
                <c:pt idx="2657">
                  <c:v>-1.2493726172330599</c:v>
                </c:pt>
                <c:pt idx="2658">
                  <c:v>-1.23621742936761</c:v>
                </c:pt>
                <c:pt idx="2659">
                  <c:v>-1.1860212523031499</c:v>
                </c:pt>
                <c:pt idx="2660">
                  <c:v>-1.1584994861925499</c:v>
                </c:pt>
                <c:pt idx="2661">
                  <c:v>-1.17733078771425</c:v>
                </c:pt>
                <c:pt idx="2662">
                  <c:v>-1.2353144624111601</c:v>
                </c:pt>
                <c:pt idx="2663">
                  <c:v>-1.23562526933335</c:v>
                </c:pt>
                <c:pt idx="2664">
                  <c:v>-1.2379786086336999</c:v>
                </c:pt>
                <c:pt idx="2665">
                  <c:v>-1.1424367534889299</c:v>
                </c:pt>
                <c:pt idx="2666">
                  <c:v>-1.0942862526300601</c:v>
                </c:pt>
                <c:pt idx="2667">
                  <c:v>-1.0193762760609999</c:v>
                </c:pt>
                <c:pt idx="2668">
                  <c:v>-0.94446629949194205</c:v>
                </c:pt>
                <c:pt idx="2669">
                  <c:v>-0.81531027171176096</c:v>
                </c:pt>
                <c:pt idx="2670">
                  <c:v>-0.70263220615292699</c:v>
                </c:pt>
                <c:pt idx="2671">
                  <c:v>-0.62291006503678803</c:v>
                </c:pt>
                <c:pt idx="2672">
                  <c:v>-0.48136113979157702</c:v>
                </c:pt>
                <c:pt idx="2673">
                  <c:v>-0.432339594509414</c:v>
                </c:pt>
                <c:pt idx="2674">
                  <c:v>-0.42247042240246202</c:v>
                </c:pt>
                <c:pt idx="2675">
                  <c:v>-0.47027411807022601</c:v>
                </c:pt>
                <c:pt idx="2676">
                  <c:v>-0.47484037580646299</c:v>
                </c:pt>
                <c:pt idx="2677">
                  <c:v>-0.52116432218086395</c:v>
                </c:pt>
                <c:pt idx="2678">
                  <c:v>-0.454185065383991</c:v>
                </c:pt>
                <c:pt idx="2679">
                  <c:v>-0.31706597093361599</c:v>
                </c:pt>
                <c:pt idx="2680">
                  <c:v>8.8304090710912095E-2</c:v>
                </c:pt>
                <c:pt idx="2681">
                  <c:v>0.43041514031069</c:v>
                </c:pt>
                <c:pt idx="2682">
                  <c:v>0.69384586067556497</c:v>
                </c:pt>
                <c:pt idx="2683">
                  <c:v>-7.3177214478619398E-2</c:v>
                </c:pt>
                <c:pt idx="2684">
                  <c:v>4.3915085042818401E-2</c:v>
                </c:pt>
                <c:pt idx="2685">
                  <c:v>0.160536294720905</c:v>
                </c:pt>
                <c:pt idx="2686">
                  <c:v>0.318357630768074</c:v>
                </c:pt>
                <c:pt idx="2687">
                  <c:v>0.48230656394971699</c:v>
                </c:pt>
                <c:pt idx="2688">
                  <c:v>0.52454950557476498</c:v>
                </c:pt>
                <c:pt idx="2689">
                  <c:v>0.49564382423603598</c:v>
                </c:pt>
                <c:pt idx="2690">
                  <c:v>0.54089419370908398</c:v>
                </c:pt>
                <c:pt idx="2691">
                  <c:v>0.67595855884825096</c:v>
                </c:pt>
                <c:pt idx="2692">
                  <c:v>0.70888488245430903</c:v>
                </c:pt>
                <c:pt idx="2693">
                  <c:v>0.668956386117321</c:v>
                </c:pt>
                <c:pt idx="2694">
                  <c:v>0.76108424642380301</c:v>
                </c:pt>
                <c:pt idx="2695">
                  <c:v>0.66128698429071997</c:v>
                </c:pt>
                <c:pt idx="2696">
                  <c:v>0.83195224982031002</c:v>
                </c:pt>
                <c:pt idx="2697">
                  <c:v>0.696461203336188</c:v>
                </c:pt>
                <c:pt idx="2698">
                  <c:v>0.67095512348313002</c:v>
                </c:pt>
                <c:pt idx="2699">
                  <c:v>0.76261509431640095</c:v>
                </c:pt>
                <c:pt idx="2700">
                  <c:v>0.56944595924184904</c:v>
                </c:pt>
                <c:pt idx="2701">
                  <c:v>0.53701461023444497</c:v>
                </c:pt>
                <c:pt idx="2702">
                  <c:v>0.57057440334189802</c:v>
                </c:pt>
                <c:pt idx="2703">
                  <c:v>0.39368857941028101</c:v>
                </c:pt>
                <c:pt idx="2704">
                  <c:v>0.64804957545939101</c:v>
                </c:pt>
                <c:pt idx="2705">
                  <c:v>0.42147234655966498</c:v>
                </c:pt>
                <c:pt idx="2706">
                  <c:v>0.64677903703208295</c:v>
                </c:pt>
                <c:pt idx="2707">
                  <c:v>0.81637609887847695</c:v>
                </c:pt>
                <c:pt idx="2708">
                  <c:v>0.46008655618416899</c:v>
                </c:pt>
                <c:pt idx="2709">
                  <c:v>0.459085359752952</c:v>
                </c:pt>
                <c:pt idx="2710">
                  <c:v>0.51999546149598996</c:v>
                </c:pt>
                <c:pt idx="2711">
                  <c:v>0.53993287492691999</c:v>
                </c:pt>
                <c:pt idx="2712">
                  <c:v>0.51633133995559399</c:v>
                </c:pt>
                <c:pt idx="2713">
                  <c:v>0.451650963385615</c:v>
                </c:pt>
                <c:pt idx="2714">
                  <c:v>0.27139219239351497</c:v>
                </c:pt>
                <c:pt idx="2715">
                  <c:v>0.26250073767902898</c:v>
                </c:pt>
                <c:pt idx="2716">
                  <c:v>0.17529409498269599</c:v>
                </c:pt>
                <c:pt idx="2717">
                  <c:v>0.21908322529893201</c:v>
                </c:pt>
                <c:pt idx="2718">
                  <c:v>9.99714585052036E-2</c:v>
                </c:pt>
                <c:pt idx="2719">
                  <c:v>2.4023057229248398E-2</c:v>
                </c:pt>
                <c:pt idx="2720">
                  <c:v>-0.14890917145556901</c:v>
                </c:pt>
                <c:pt idx="2721">
                  <c:v>-0.13724917056797201</c:v>
                </c:pt>
                <c:pt idx="2722">
                  <c:v>-0.187421174625162</c:v>
                </c:pt>
                <c:pt idx="2723">
                  <c:v>-0.22935419757167699</c:v>
                </c:pt>
                <c:pt idx="2724">
                  <c:v>-0.21346098710025599</c:v>
                </c:pt>
                <c:pt idx="2725">
                  <c:v>-0.267789798401389</c:v>
                </c:pt>
                <c:pt idx="2726">
                  <c:v>-0.33262234043261601</c:v>
                </c:pt>
                <c:pt idx="2727">
                  <c:v>-0.43026266207902902</c:v>
                </c:pt>
                <c:pt idx="2728">
                  <c:v>-0.52994551610360197</c:v>
                </c:pt>
                <c:pt idx="2729">
                  <c:v>-0.53104079412592697</c:v>
                </c:pt>
                <c:pt idx="2730">
                  <c:v>-0.54861403436959799</c:v>
                </c:pt>
                <c:pt idx="2731">
                  <c:v>-0.64041739783880203</c:v>
                </c:pt>
                <c:pt idx="2732">
                  <c:v>-0.70130214842775496</c:v>
                </c:pt>
                <c:pt idx="2733">
                  <c:v>-0.76084911897138896</c:v>
                </c:pt>
                <c:pt idx="2734">
                  <c:v>-0.82651846583378297</c:v>
                </c:pt>
                <c:pt idx="2735">
                  <c:v>-0.85507275108341196</c:v>
                </c:pt>
                <c:pt idx="2736">
                  <c:v>-0.75376657771095201</c:v>
                </c:pt>
                <c:pt idx="2737">
                  <c:v>-0.79998838764275004</c:v>
                </c:pt>
                <c:pt idx="2738">
                  <c:v>-0.85445439950093505</c:v>
                </c:pt>
                <c:pt idx="2739">
                  <c:v>-0.89243722832205896</c:v>
                </c:pt>
                <c:pt idx="2740">
                  <c:v>-0.775694510361565</c:v>
                </c:pt>
                <c:pt idx="2741">
                  <c:v>-0.763714809123612</c:v>
                </c:pt>
                <c:pt idx="2742">
                  <c:v>-0.78680763712026702</c:v>
                </c:pt>
                <c:pt idx="2743">
                  <c:v>-0.83877654561901405</c:v>
                </c:pt>
                <c:pt idx="2744">
                  <c:v>-0.91341986507162398</c:v>
                </c:pt>
                <c:pt idx="2745">
                  <c:v>-0.92153460567976098</c:v>
                </c:pt>
                <c:pt idx="2746">
                  <c:v>-0.91521391644470895</c:v>
                </c:pt>
                <c:pt idx="2747">
                  <c:v>-0.87177816559689103</c:v>
                </c:pt>
                <c:pt idx="2748">
                  <c:v>-1.0820098072725299</c:v>
                </c:pt>
                <c:pt idx="2749">
                  <c:v>-1.1530224635530499</c:v>
                </c:pt>
                <c:pt idx="2750">
                  <c:v>-1.03642772102301</c:v>
                </c:pt>
                <c:pt idx="2751">
                  <c:v>-1.1507466668330899</c:v>
                </c:pt>
                <c:pt idx="2752">
                  <c:v>-1.2382320645192399</c:v>
                </c:pt>
                <c:pt idx="2753">
                  <c:v>-1.30107095022576</c:v>
                </c:pt>
                <c:pt idx="2754">
                  <c:v>-1.37835048659118</c:v>
                </c:pt>
                <c:pt idx="2755">
                  <c:v>-1.4061168430630999</c:v>
                </c:pt>
                <c:pt idx="2756">
                  <c:v>-1.4380423367050801</c:v>
                </c:pt>
                <c:pt idx="2757">
                  <c:v>-1.5032463469287001</c:v>
                </c:pt>
                <c:pt idx="2758">
                  <c:v>1.65354125355835E-2</c:v>
                </c:pt>
                <c:pt idx="2759">
                  <c:v>3.5541267174582503E-2</c:v>
                </c:pt>
                <c:pt idx="2760">
                  <c:v>9.9975236950773996E-2</c:v>
                </c:pt>
                <c:pt idx="2761">
                  <c:v>0.32321981826490098</c:v>
                </c:pt>
                <c:pt idx="2762">
                  <c:v>0.45772477409655399</c:v>
                </c:pt>
                <c:pt idx="2763">
                  <c:v>0.52961691428612601</c:v>
                </c:pt>
                <c:pt idx="2764">
                  <c:v>0.22037321451422701</c:v>
                </c:pt>
                <c:pt idx="2765">
                  <c:v>0.230433349759013</c:v>
                </c:pt>
                <c:pt idx="2766">
                  <c:v>0.26528450074957399</c:v>
                </c:pt>
                <c:pt idx="2767">
                  <c:v>0.40537192102880998</c:v>
                </c:pt>
                <c:pt idx="2768">
                  <c:v>0.50222190337651895</c:v>
                </c:pt>
                <c:pt idx="2769">
                  <c:v>0.55152716579512295</c:v>
                </c:pt>
                <c:pt idx="2770">
                  <c:v>0.58246007844172898</c:v>
                </c:pt>
                <c:pt idx="2771">
                  <c:v>0.51883552895874196</c:v>
                </c:pt>
                <c:pt idx="2772">
                  <c:v>0.37789086844808401</c:v>
                </c:pt>
                <c:pt idx="2773">
                  <c:v>0.37405579153172602</c:v>
                </c:pt>
                <c:pt idx="2774">
                  <c:v>0.20732503832111601</c:v>
                </c:pt>
                <c:pt idx="2775">
                  <c:v>0.26501148317936601</c:v>
                </c:pt>
                <c:pt idx="2776">
                  <c:v>0.30221419428941898</c:v>
                </c:pt>
                <c:pt idx="2777">
                  <c:v>0.20736054875600399</c:v>
                </c:pt>
                <c:pt idx="2778">
                  <c:v>0.30019881607832999</c:v>
                </c:pt>
                <c:pt idx="2779">
                  <c:v>0.28421036989996801</c:v>
                </c:pt>
                <c:pt idx="2780">
                  <c:v>0.29505547184553899</c:v>
                </c:pt>
                <c:pt idx="2781">
                  <c:v>0.34505816778203502</c:v>
                </c:pt>
                <c:pt idx="2782">
                  <c:v>0.32702718922551399</c:v>
                </c:pt>
                <c:pt idx="2783">
                  <c:v>-0.15441851383806099</c:v>
                </c:pt>
                <c:pt idx="2784">
                  <c:v>-0.49767504230797999</c:v>
                </c:pt>
                <c:pt idx="2785">
                  <c:v>-0.62429994663773902</c:v>
                </c:pt>
                <c:pt idx="2786">
                  <c:v>-0.61698454840480599</c:v>
                </c:pt>
                <c:pt idx="2787">
                  <c:v>-0.60358227503122197</c:v>
                </c:pt>
                <c:pt idx="2788">
                  <c:v>-0.58813746927947996</c:v>
                </c:pt>
                <c:pt idx="2789">
                  <c:v>-0.64064704479128598</c:v>
                </c:pt>
                <c:pt idx="2790">
                  <c:v>-0.65611563110408</c:v>
                </c:pt>
                <c:pt idx="2791">
                  <c:v>-0.77226086799284899</c:v>
                </c:pt>
                <c:pt idx="2792">
                  <c:v>-0.88833203246786396</c:v>
                </c:pt>
                <c:pt idx="2793">
                  <c:v>-0.98377131836717402</c:v>
                </c:pt>
                <c:pt idx="2794">
                  <c:v>-1.1018850152203501</c:v>
                </c:pt>
                <c:pt idx="2795">
                  <c:v>-1.1002591633636001</c:v>
                </c:pt>
                <c:pt idx="2796">
                  <c:v>-1.1398282170602301</c:v>
                </c:pt>
                <c:pt idx="2797">
                  <c:v>-1.1793972707568501</c:v>
                </c:pt>
                <c:pt idx="2798">
                  <c:v>-1.0334807512505499</c:v>
                </c:pt>
                <c:pt idx="2799">
                  <c:v>-0.93173805566163903</c:v>
                </c:pt>
                <c:pt idx="2800">
                  <c:v>-0.84443078991592202</c:v>
                </c:pt>
                <c:pt idx="2801">
                  <c:v>-0.897334347879165</c:v>
                </c:pt>
                <c:pt idx="2802">
                  <c:v>-0.92552096251038896</c:v>
                </c:pt>
                <c:pt idx="2803">
                  <c:v>-0.95505023738591699</c:v>
                </c:pt>
                <c:pt idx="2804">
                  <c:v>-1.0443689848280699</c:v>
                </c:pt>
                <c:pt idx="2805">
                  <c:v>-1.04918131637158</c:v>
                </c:pt>
                <c:pt idx="2806">
                  <c:v>-1.1714559882564299</c:v>
                </c:pt>
                <c:pt idx="2807">
                  <c:v>-1.2331249996032601</c:v>
                </c:pt>
                <c:pt idx="2808">
                  <c:v>-1.29894792730445</c:v>
                </c:pt>
                <c:pt idx="2809">
                  <c:v>-1.27822712754455</c:v>
                </c:pt>
                <c:pt idx="2810">
                  <c:v>-1.29250478460549</c:v>
                </c:pt>
                <c:pt idx="2811">
                  <c:v>-1.31671430088216</c:v>
                </c:pt>
                <c:pt idx="2812">
                  <c:v>-1.34092381715882</c:v>
                </c:pt>
                <c:pt idx="2813">
                  <c:v>-1.38780774438935</c:v>
                </c:pt>
                <c:pt idx="2814">
                  <c:v>-1.42849522288736</c:v>
                </c:pt>
                <c:pt idx="2815">
                  <c:v>-1.4628095097435401</c:v>
                </c:pt>
                <c:pt idx="2816">
                  <c:v>-1.4476899099356799</c:v>
                </c:pt>
                <c:pt idx="2817">
                  <c:v>-1.4408092912385</c:v>
                </c:pt>
                <c:pt idx="2818">
                  <c:v>-1.4174507103199601</c:v>
                </c:pt>
                <c:pt idx="2819">
                  <c:v>-1.4219372086518201</c:v>
                </c:pt>
                <c:pt idx="2820">
                  <c:v>-1.40994574476233</c:v>
                </c:pt>
                <c:pt idx="2821">
                  <c:v>-1.4123897107160199</c:v>
                </c:pt>
                <c:pt idx="2822">
                  <c:v>-1.4086372279372099</c:v>
                </c:pt>
                <c:pt idx="2823">
                  <c:v>-1.3573767212769801</c:v>
                </c:pt>
                <c:pt idx="2824">
                  <c:v>-1.30611621461676</c:v>
                </c:pt>
                <c:pt idx="2825">
                  <c:v>-1.2466167268458599</c:v>
                </c:pt>
                <c:pt idx="2826">
                  <c:v>-1.21183418240699</c:v>
                </c:pt>
                <c:pt idx="2827">
                  <c:v>-1.1895920231641499</c:v>
                </c:pt>
                <c:pt idx="2828">
                  <c:v>-1.15911088281065</c:v>
                </c:pt>
                <c:pt idx="2829">
                  <c:v>-1.0462399313504001</c:v>
                </c:pt>
                <c:pt idx="2830">
                  <c:v>-0.92512999877947999</c:v>
                </c:pt>
                <c:pt idx="2831">
                  <c:v>-0.85368083043974297</c:v>
                </c:pt>
                <c:pt idx="2832">
                  <c:v>-0.83581946511840599</c:v>
                </c:pt>
                <c:pt idx="2833">
                  <c:v>-0.81795809979706802</c:v>
                </c:pt>
                <c:pt idx="2834">
                  <c:v>-0.80009673447573104</c:v>
                </c:pt>
                <c:pt idx="2835">
                  <c:v>-0.78693433217553899</c:v>
                </c:pt>
                <c:pt idx="2836">
                  <c:v>-0.75729396765400003</c:v>
                </c:pt>
                <c:pt idx="2837">
                  <c:v>-0.74617409773196697</c:v>
                </c:pt>
                <c:pt idx="2838">
                  <c:v>-0.74744712527496404</c:v>
                </c:pt>
                <c:pt idx="2839">
                  <c:v>-0.719742708986431</c:v>
                </c:pt>
                <c:pt idx="2840">
                  <c:v>-0.69823474143041397</c:v>
                </c:pt>
                <c:pt idx="2841">
                  <c:v>-0.66229134403120604</c:v>
                </c:pt>
                <c:pt idx="2842">
                  <c:v>-0.634586927742674</c:v>
                </c:pt>
                <c:pt idx="2843">
                  <c:v>-0.55706271993786405</c:v>
                </c:pt>
                <c:pt idx="2844">
                  <c:v>-0.47129953102237998</c:v>
                </c:pt>
                <c:pt idx="2845">
                  <c:v>-0.37729736099622202</c:v>
                </c:pt>
                <c:pt idx="2846">
                  <c:v>-0.29977315319141201</c:v>
                </c:pt>
                <c:pt idx="2847">
                  <c:v>-0.28599726680285098</c:v>
                </c:pt>
                <c:pt idx="2848">
                  <c:v>-0.28869934263563801</c:v>
                </c:pt>
                <c:pt idx="2849">
                  <c:v>-0.27288092386891799</c:v>
                </c:pt>
                <c:pt idx="2850">
                  <c:v>-0.25910503748035701</c:v>
                </c:pt>
                <c:pt idx="2851">
                  <c:v>-0.31761159658621901</c:v>
                </c:pt>
                <c:pt idx="2852">
                  <c:v>-0.37611815569208001</c:v>
                </c:pt>
                <c:pt idx="2853">
                  <c:v>-0.36871286591255098</c:v>
                </c:pt>
                <c:pt idx="2854">
                  <c:v>-0.42721942501841198</c:v>
                </c:pt>
                <c:pt idx="2855">
                  <c:v>-0.36657249486945798</c:v>
                </c:pt>
                <c:pt idx="2856">
                  <c:v>-0.36564096487337799</c:v>
                </c:pt>
                <c:pt idx="2857">
                  <c:v>-0.27203811028172797</c:v>
                </c:pt>
                <c:pt idx="2858">
                  <c:v>-0.22364115358601</c:v>
                </c:pt>
                <c:pt idx="2859">
                  <c:v>-9.0322933706752095E-2</c:v>
                </c:pt>
                <c:pt idx="2860">
                  <c:v>4.2995286172507002E-2</c:v>
                </c:pt>
                <c:pt idx="2861">
                  <c:v>0.33103905283338397</c:v>
                </c:pt>
                <c:pt idx="2862">
                  <c:v>-7.7176835050974293E-2</c:v>
                </c:pt>
                <c:pt idx="2863">
                  <c:v>-5.4055191830954398E-2</c:v>
                </c:pt>
                <c:pt idx="2864">
                  <c:v>-6.3815400639876202E-2</c:v>
                </c:pt>
                <c:pt idx="2865">
                  <c:v>2.6177529254248202E-3</c:v>
                </c:pt>
                <c:pt idx="2866">
                  <c:v>4.01800468043471E-2</c:v>
                </c:pt>
                <c:pt idx="2867">
                  <c:v>7.0556636830413799E-2</c:v>
                </c:pt>
                <c:pt idx="2868">
                  <c:v>0.106542317094678</c:v>
                </c:pt>
                <c:pt idx="2869">
                  <c:v>0.38336327875055998</c:v>
                </c:pt>
                <c:pt idx="2870">
                  <c:v>0.40709898556158802</c:v>
                </c:pt>
                <c:pt idx="2871">
                  <c:v>0.34993138602995699</c:v>
                </c:pt>
                <c:pt idx="2872">
                  <c:v>0.523915354526856</c:v>
                </c:pt>
                <c:pt idx="2873">
                  <c:v>0.19243282144892401</c:v>
                </c:pt>
                <c:pt idx="2874">
                  <c:v>6.3003558656166095E-2</c:v>
                </c:pt>
                <c:pt idx="2875">
                  <c:v>5.48023219769891E-4</c:v>
                </c:pt>
                <c:pt idx="2876">
                  <c:v>0.22758357531040299</c:v>
                </c:pt>
                <c:pt idx="2877">
                  <c:v>0.39445929276563901</c:v>
                </c:pt>
                <c:pt idx="2878">
                  <c:v>0.26018652855063901</c:v>
                </c:pt>
                <c:pt idx="2879">
                  <c:v>0.38003540841595201</c:v>
                </c:pt>
                <c:pt idx="2880">
                  <c:v>0.380374194746049</c:v>
                </c:pt>
                <c:pt idx="2881">
                  <c:v>0.335210793525198</c:v>
                </c:pt>
                <c:pt idx="2882">
                  <c:v>0.36835735947048298</c:v>
                </c:pt>
                <c:pt idx="2883">
                  <c:v>0.267858298043961</c:v>
                </c:pt>
                <c:pt idx="2884">
                  <c:v>0.14846315913345001</c:v>
                </c:pt>
                <c:pt idx="2885">
                  <c:v>-0.19580258502789299</c:v>
                </c:pt>
                <c:pt idx="2886">
                  <c:v>-0.51519279939828</c:v>
                </c:pt>
                <c:pt idx="2887">
                  <c:v>-0.85452445032119795</c:v>
                </c:pt>
                <c:pt idx="2888">
                  <c:v>-1.0954911723651699</c:v>
                </c:pt>
                <c:pt idx="2889">
                  <c:v>-1.0334943184177201</c:v>
                </c:pt>
                <c:pt idx="2890">
                  <c:v>-1.0992465391161601</c:v>
                </c:pt>
                <c:pt idx="2891">
                  <c:v>-0.97130773015780802</c:v>
                </c:pt>
                <c:pt idx="2892">
                  <c:v>-0.72633535289349804</c:v>
                </c:pt>
                <c:pt idx="2893">
                  <c:v>-0.68334217350061</c:v>
                </c:pt>
                <c:pt idx="2894">
                  <c:v>-0.76000723247044599</c:v>
                </c:pt>
                <c:pt idx="2895">
                  <c:v>-0.67644350516496199</c:v>
                </c:pt>
                <c:pt idx="2896">
                  <c:v>-0.77165561624933299</c:v>
                </c:pt>
                <c:pt idx="2897">
                  <c:v>-0.84411402315037298</c:v>
                </c:pt>
                <c:pt idx="2898">
                  <c:v>-0.65874590035788705</c:v>
                </c:pt>
                <c:pt idx="2899">
                  <c:v>-0.77236428539242497</c:v>
                </c:pt>
                <c:pt idx="2900">
                  <c:v>-0.78696675227137003</c:v>
                </c:pt>
                <c:pt idx="2901">
                  <c:v>-0.83248261121485201</c:v>
                </c:pt>
                <c:pt idx="2902">
                  <c:v>-0.95426068413059595</c:v>
                </c:pt>
                <c:pt idx="2903">
                  <c:v>-0.88435137104985195</c:v>
                </c:pt>
                <c:pt idx="2904">
                  <c:v>-1.0268352517097299</c:v>
                </c:pt>
                <c:pt idx="2905">
                  <c:v>-1.0744571305683699</c:v>
                </c:pt>
                <c:pt idx="2906">
                  <c:v>-1.1179250930726601</c:v>
                </c:pt>
                <c:pt idx="2907">
                  <c:v>-1.16663013445571</c:v>
                </c:pt>
                <c:pt idx="2908">
                  <c:v>-1.1885757001285799</c:v>
                </c:pt>
                <c:pt idx="2909">
                  <c:v>-1.23728074151163</c:v>
                </c:pt>
                <c:pt idx="2910">
                  <c:v>-1.2777468017840099</c:v>
                </c:pt>
                <c:pt idx="2911">
                  <c:v>-1.19871317370921</c:v>
                </c:pt>
                <c:pt idx="2912">
                  <c:v>-1.1876339268979601</c:v>
                </c:pt>
                <c:pt idx="2913">
                  <c:v>-1.21774958564007</c:v>
                </c:pt>
                <c:pt idx="2914">
                  <c:v>-1.25610422549286</c:v>
                </c:pt>
                <c:pt idx="2915">
                  <c:v>-1.29782473656081</c:v>
                </c:pt>
                <c:pt idx="2916">
                  <c:v>-1.3725011720714499</c:v>
                </c:pt>
                <c:pt idx="2917">
                  <c:v>-1.4389386264714299</c:v>
                </c:pt>
                <c:pt idx="2918">
                  <c:v>-1.5136150619820701</c:v>
                </c:pt>
                <c:pt idx="2919">
                  <c:v>-1.5358634866302501</c:v>
                </c:pt>
                <c:pt idx="2920">
                  <c:v>-1.5374748118870201</c:v>
                </c:pt>
                <c:pt idx="2921">
                  <c:v>-1.5638030804758101</c:v>
                </c:pt>
                <c:pt idx="2922">
                  <c:v>-1.5571754246219001</c:v>
                </c:pt>
                <c:pt idx="2923">
                  <c:v>-1.5924086154133299</c:v>
                </c:pt>
                <c:pt idx="2924">
                  <c:v>-1.65032143797435</c:v>
                </c:pt>
                <c:pt idx="2925">
                  <c:v>-1.1861100484968901</c:v>
                </c:pt>
                <c:pt idx="2926">
                  <c:v>-1.0333279864734299</c:v>
                </c:pt>
                <c:pt idx="2927">
                  <c:v>-0.90723132774638804</c:v>
                </c:pt>
                <c:pt idx="2928">
                  <c:v>-0.93771622876759997</c:v>
                </c:pt>
                <c:pt idx="2929">
                  <c:v>-0.95989329708009896</c:v>
                </c:pt>
                <c:pt idx="2930">
                  <c:v>-0.97170955867429798</c:v>
                </c:pt>
                <c:pt idx="2931">
                  <c:v>-0.96296279329083301</c:v>
                </c:pt>
                <c:pt idx="2932">
                  <c:v>-0.89322491773535095</c:v>
                </c:pt>
                <c:pt idx="2933">
                  <c:v>-0.77207947473570804</c:v>
                </c:pt>
                <c:pt idx="2934">
                  <c:v>-0.26797787663769501</c:v>
                </c:pt>
                <c:pt idx="2935">
                  <c:v>-0.268385059551427</c:v>
                </c:pt>
                <c:pt idx="2936">
                  <c:v>-7.4972033297502502E-2</c:v>
                </c:pt>
                <c:pt idx="2937">
                  <c:v>-9.3967863231338905E-2</c:v>
                </c:pt>
                <c:pt idx="2938">
                  <c:v>-0.16655671699928801</c:v>
                </c:pt>
                <c:pt idx="2939">
                  <c:v>1.6728161409025999E-2</c:v>
                </c:pt>
                <c:pt idx="2940">
                  <c:v>-3.9312062794971597E-2</c:v>
                </c:pt>
                <c:pt idx="2941">
                  <c:v>5.7415241449671403E-2</c:v>
                </c:pt>
                <c:pt idx="2942">
                  <c:v>-5.6303071344755498E-2</c:v>
                </c:pt>
                <c:pt idx="2943">
                  <c:v>-7.3037556730321404E-2</c:v>
                </c:pt>
                <c:pt idx="2944">
                  <c:v>-0.109948590644522</c:v>
                </c:pt>
                <c:pt idx="2945">
                  <c:v>8.2106487079854906E-2</c:v>
                </c:pt>
                <c:pt idx="2946">
                  <c:v>-2.0869761362956901E-2</c:v>
                </c:pt>
                <c:pt idx="2947">
                  <c:v>-9.7012461681835194E-2</c:v>
                </c:pt>
                <c:pt idx="2948">
                  <c:v>-7.3624657810824806E-2</c:v>
                </c:pt>
                <c:pt idx="2949">
                  <c:v>-0.240045371587468</c:v>
                </c:pt>
                <c:pt idx="2950">
                  <c:v>-0.31152479033340702</c:v>
                </c:pt>
                <c:pt idx="2951">
                  <c:v>-0.36025050489601801</c:v>
                </c:pt>
                <c:pt idx="2952">
                  <c:v>-0.191623135029863</c:v>
                </c:pt>
                <c:pt idx="2953">
                  <c:v>-0.16737616767416799</c:v>
                </c:pt>
                <c:pt idx="2954">
                  <c:v>-2.1349136348123701E-2</c:v>
                </c:pt>
                <c:pt idx="2955">
                  <c:v>-0.18902729143199401</c:v>
                </c:pt>
                <c:pt idx="2956">
                  <c:v>3.5557351235115497E-2</c:v>
                </c:pt>
                <c:pt idx="2957">
                  <c:v>-0.125295907241113</c:v>
                </c:pt>
                <c:pt idx="2958">
                  <c:v>-8.2354873524737096E-2</c:v>
                </c:pt>
                <c:pt idx="2959">
                  <c:v>-0.22060779346085599</c:v>
                </c:pt>
                <c:pt idx="2960">
                  <c:v>-0.24315021825914901</c:v>
                </c:pt>
                <c:pt idx="2961">
                  <c:v>-0.121312240546982</c:v>
                </c:pt>
                <c:pt idx="2962">
                  <c:v>-0.15836938841793</c:v>
                </c:pt>
                <c:pt idx="2963">
                  <c:v>-0.292331070468272</c:v>
                </c:pt>
                <c:pt idx="2964">
                  <c:v>-0.24869752436144599</c:v>
                </c:pt>
                <c:pt idx="2965">
                  <c:v>-0.297888668493411</c:v>
                </c:pt>
                <c:pt idx="2966">
                  <c:v>-0.28932765162119201</c:v>
                </c:pt>
                <c:pt idx="2967">
                  <c:v>-0.412822991392442</c:v>
                </c:pt>
                <c:pt idx="2968">
                  <c:v>-0.45052096589246099</c:v>
                </c:pt>
                <c:pt idx="2969">
                  <c:v>-0.56244906361801195</c:v>
                </c:pt>
                <c:pt idx="2970">
                  <c:v>-0.68049953766232496</c:v>
                </c:pt>
                <c:pt idx="2971">
                  <c:v>-0.89129540871596102</c:v>
                </c:pt>
                <c:pt idx="2972">
                  <c:v>-0.98112412396406501</c:v>
                </c:pt>
                <c:pt idx="2973">
                  <c:v>-1.0586340141608901</c:v>
                </c:pt>
                <c:pt idx="2974">
                  <c:v>-1.1154327325525499</c:v>
                </c:pt>
                <c:pt idx="2975">
                  <c:v>-1.13110539698888</c:v>
                </c:pt>
                <c:pt idx="2976">
                  <c:v>-1.1961092058731999</c:v>
                </c:pt>
                <c:pt idx="2977">
                  <c:v>-1.3248446280686801</c:v>
                </c:pt>
                <c:pt idx="2978">
                  <c:v>-1.4557602858384</c:v>
                </c:pt>
                <c:pt idx="2979">
                  <c:v>-1.6093503545619801</c:v>
                </c:pt>
                <c:pt idx="2980">
                  <c:v>-1.5655352293628999</c:v>
                </c:pt>
                <c:pt idx="2981">
                  <c:v>-1.35481865634271</c:v>
                </c:pt>
                <c:pt idx="2982">
                  <c:v>-1.33986917001429</c:v>
                </c:pt>
                <c:pt idx="2983">
                  <c:v>-1.3435142506991391</c:v>
                </c:pt>
                <c:pt idx="2984">
                  <c:v>-1.4506898567359301</c:v>
                </c:pt>
                <c:pt idx="2985">
                  <c:v>-1.5001237433999799</c:v>
                </c:pt>
                <c:pt idx="2986">
                  <c:v>-1.5681469762615701</c:v>
                </c:pt>
                <c:pt idx="2987">
                  <c:v>-0.739921477563522</c:v>
                </c:pt>
                <c:pt idx="2988">
                  <c:v>-0.52309931771146501</c:v>
                </c:pt>
                <c:pt idx="2989">
                  <c:v>-0.32509394211393</c:v>
                </c:pt>
                <c:pt idx="2990">
                  <c:v>-0.295200017459118</c:v>
                </c:pt>
                <c:pt idx="2991">
                  <c:v>-1.02779998996851</c:v>
                </c:pt>
                <c:pt idx="2992">
                  <c:v>-0.89888492634239503</c:v>
                </c:pt>
                <c:pt idx="2993">
                  <c:v>-0.76581072554620699</c:v>
                </c:pt>
                <c:pt idx="2994">
                  <c:v>-0.68347450795562503</c:v>
                </c:pt>
                <c:pt idx="2995">
                  <c:v>-0.53113615590762298</c:v>
                </c:pt>
                <c:pt idx="2996">
                  <c:v>-0.38492018017838298</c:v>
                </c:pt>
                <c:pt idx="2997">
                  <c:v>-0.28595263472323301</c:v>
                </c:pt>
                <c:pt idx="2998">
                  <c:v>-0.24032916693619899</c:v>
                </c:pt>
                <c:pt idx="2999">
                  <c:v>-0.223809217708233</c:v>
                </c:pt>
                <c:pt idx="3000">
                  <c:v>-0.213639082856002</c:v>
                </c:pt>
                <c:pt idx="3001">
                  <c:v>-0.26915857964790102</c:v>
                </c:pt>
                <c:pt idx="3002">
                  <c:v>-0.24924634998048201</c:v>
                </c:pt>
                <c:pt idx="3003">
                  <c:v>-0.19622483022714901</c:v>
                </c:pt>
                <c:pt idx="3004">
                  <c:v>-0.24041457593965199</c:v>
                </c:pt>
                <c:pt idx="3005">
                  <c:v>-0.29269515793532003</c:v>
                </c:pt>
                <c:pt idx="3006">
                  <c:v>-0.199450018615908</c:v>
                </c:pt>
                <c:pt idx="3007">
                  <c:v>-0.16138555939481899</c:v>
                </c:pt>
                <c:pt idx="3008">
                  <c:v>-0.15446715111095399</c:v>
                </c:pt>
                <c:pt idx="3009">
                  <c:v>-0.11262435841998999</c:v>
                </c:pt>
                <c:pt idx="3010">
                  <c:v>-0.118851952218266</c:v>
                </c:pt>
                <c:pt idx="3011">
                  <c:v>-0.13331852712721501</c:v>
                </c:pt>
                <c:pt idx="3012">
                  <c:v>-0.100388526934568</c:v>
                </c:pt>
                <c:pt idx="3013">
                  <c:v>-2.5956889902108399E-2</c:v>
                </c:pt>
                <c:pt idx="3014">
                  <c:v>4.0421479700636302E-2</c:v>
                </c:pt>
                <c:pt idx="3015">
                  <c:v>-2.5080239724709599E-3</c:v>
                </c:pt>
                <c:pt idx="3016">
                  <c:v>-2.66992259394279E-2</c:v>
                </c:pt>
                <c:pt idx="3017">
                  <c:v>0.151098400915368</c:v>
                </c:pt>
                <c:pt idx="3018">
                  <c:v>0.24253709552272301</c:v>
                </c:pt>
                <c:pt idx="3019">
                  <c:v>0.17327079104149301</c:v>
                </c:pt>
                <c:pt idx="3020">
                  <c:v>7.2784363209283706E-2</c:v>
                </c:pt>
                <c:pt idx="3021">
                  <c:v>0.224091823612735</c:v>
                </c:pt>
                <c:pt idx="3022">
                  <c:v>0.29949513920677601</c:v>
                </c:pt>
                <c:pt idx="3023">
                  <c:v>-0.17487463407347401</c:v>
                </c:pt>
                <c:pt idx="3024">
                  <c:v>-0.28504662654326102</c:v>
                </c:pt>
                <c:pt idx="3025">
                  <c:v>-0.34162559517893598</c:v>
                </c:pt>
                <c:pt idx="3026">
                  <c:v>-0.21725339121936399</c:v>
                </c:pt>
                <c:pt idx="3027">
                  <c:v>-0.111703192330028</c:v>
                </c:pt>
                <c:pt idx="3028">
                  <c:v>-0.21493688180180001</c:v>
                </c:pt>
                <c:pt idx="3029">
                  <c:v>-0.45574628329434502</c:v>
                </c:pt>
                <c:pt idx="3030">
                  <c:v>-0.56852096067048496</c:v>
                </c:pt>
                <c:pt idx="3031">
                  <c:v>-0.248609306629197</c:v>
                </c:pt>
                <c:pt idx="3032">
                  <c:v>-0.38813823889980298</c:v>
                </c:pt>
                <c:pt idx="3033">
                  <c:v>-0.51315766891346604</c:v>
                </c:pt>
                <c:pt idx="3034">
                  <c:v>-0.63890188390775005</c:v>
                </c:pt>
                <c:pt idx="3035">
                  <c:v>-0.71112714748167505</c:v>
                </c:pt>
                <c:pt idx="3036">
                  <c:v>-0.72560025005141604</c:v>
                </c:pt>
                <c:pt idx="3037">
                  <c:v>-0.80599042232226004</c:v>
                </c:pt>
                <c:pt idx="3038">
                  <c:v>-0.76593741115017899</c:v>
                </c:pt>
                <c:pt idx="3039">
                  <c:v>-0.91363994361616396</c:v>
                </c:pt>
                <c:pt idx="3040">
                  <c:v>-0.99316587757734098</c:v>
                </c:pt>
                <c:pt idx="3041">
                  <c:v>-0.95930931513777495</c:v>
                </c:pt>
                <c:pt idx="3042">
                  <c:v>-0.98223409166411002</c:v>
                </c:pt>
                <c:pt idx="3043">
                  <c:v>-1.08346361454087</c:v>
                </c:pt>
                <c:pt idx="3044">
                  <c:v>-1.1434982318642499</c:v>
                </c:pt>
                <c:pt idx="3045">
                  <c:v>-1.1375469278885</c:v>
                </c:pt>
                <c:pt idx="3046">
                  <c:v>-1.1519083148342599</c:v>
                </c:pt>
                <c:pt idx="3047">
                  <c:v>-1.2322556230791699</c:v>
                </c:pt>
                <c:pt idx="3048">
                  <c:v>-1.30224734542149</c:v>
                </c:pt>
                <c:pt idx="3049">
                  <c:v>-1.2816102755464001</c:v>
                </c:pt>
                <c:pt idx="3050">
                  <c:v>-1.2372650426438101</c:v>
                </c:pt>
                <c:pt idx="3051">
                  <c:v>-1.14136931828526</c:v>
                </c:pt>
                <c:pt idx="3052">
                  <c:v>-1.19392339874635</c:v>
                </c:pt>
                <c:pt idx="3053">
                  <c:v>-1.21760139870534</c:v>
                </c:pt>
                <c:pt idx="3054">
                  <c:v>-1.2692869862160501</c:v>
                </c:pt>
                <c:pt idx="3055">
                  <c:v>-1.3086485278597599</c:v>
                </c:pt>
                <c:pt idx="3056">
                  <c:v>-1.14189783854056</c:v>
                </c:pt>
                <c:pt idx="3057">
                  <c:v>-1.2183003693832899</c:v>
                </c:pt>
                <c:pt idx="3058">
                  <c:v>-1.2832965079542</c:v>
                </c:pt>
                <c:pt idx="3059">
                  <c:v>-1.2452709568426601</c:v>
                </c:pt>
                <c:pt idx="3060">
                  <c:v>-1.27315725461652</c:v>
                </c:pt>
                <c:pt idx="3061">
                  <c:v>-1.2536521981044999</c:v>
                </c:pt>
                <c:pt idx="3062">
                  <c:v>-1.1858280212744301</c:v>
                </c:pt>
                <c:pt idx="3063">
                  <c:v>-1.13856687142204</c:v>
                </c:pt>
                <c:pt idx="3064">
                  <c:v>-1.11193760014534</c:v>
                </c:pt>
                <c:pt idx="3065">
                  <c:v>-1.0750268153798199</c:v>
                </c:pt>
                <c:pt idx="3066">
                  <c:v>-1.0319579942396699</c:v>
                </c:pt>
                <c:pt idx="3067">
                  <c:v>-1.02184509754222</c:v>
                </c:pt>
                <c:pt idx="3068">
                  <c:v>-0.82216678370123697</c:v>
                </c:pt>
                <c:pt idx="3069">
                  <c:v>-0.79557592478243999</c:v>
                </c:pt>
                <c:pt idx="3070">
                  <c:v>-0.80389031662311305</c:v>
                </c:pt>
                <c:pt idx="3071">
                  <c:v>-0.72974604575900803</c:v>
                </c:pt>
                <c:pt idx="3072">
                  <c:v>-0.64532026140607102</c:v>
                </c:pt>
                <c:pt idx="3073">
                  <c:v>-8.8585986767997796E-2</c:v>
                </c:pt>
                <c:pt idx="3074">
                  <c:v>9.9364805948971902E-2</c:v>
                </c:pt>
                <c:pt idx="3075">
                  <c:v>0.26396126771575801</c:v>
                </c:pt>
                <c:pt idx="3076">
                  <c:v>-0.18153378048607799</c:v>
                </c:pt>
                <c:pt idx="3077">
                  <c:v>3.4396176311115197E-2</c:v>
                </c:pt>
                <c:pt idx="3078">
                  <c:v>0.20927415156673401</c:v>
                </c:pt>
                <c:pt idx="3079">
                  <c:v>0.234770518472942</c:v>
                </c:pt>
                <c:pt idx="3080">
                  <c:v>0.27675006841621103</c:v>
                </c:pt>
                <c:pt idx="3081">
                  <c:v>0.26921643846596899</c:v>
                </c:pt>
                <c:pt idx="3082">
                  <c:v>0.24724737867254001</c:v>
                </c:pt>
                <c:pt idx="3083">
                  <c:v>0.309355267354265</c:v>
                </c:pt>
                <c:pt idx="3084">
                  <c:v>0.81186474085210203</c:v>
                </c:pt>
                <c:pt idx="3085">
                  <c:v>0.79157759761137603</c:v>
                </c:pt>
                <c:pt idx="3086">
                  <c:v>0.90516190533530305</c:v>
                </c:pt>
                <c:pt idx="3087">
                  <c:v>0.82179314240900103</c:v>
                </c:pt>
                <c:pt idx="3088">
                  <c:v>0.46183947550126497</c:v>
                </c:pt>
                <c:pt idx="3089">
                  <c:v>0.58256651523829805</c:v>
                </c:pt>
                <c:pt idx="3090">
                  <c:v>0.426782723407649</c:v>
                </c:pt>
                <c:pt idx="3091">
                  <c:v>0.48383065736910802</c:v>
                </c:pt>
                <c:pt idx="3092">
                  <c:v>0.59628670948586304</c:v>
                </c:pt>
                <c:pt idx="3093">
                  <c:v>0.60556248546124203</c:v>
                </c:pt>
                <c:pt idx="3094">
                  <c:v>0.66449958615763804</c:v>
                </c:pt>
                <c:pt idx="3095">
                  <c:v>0.57307837115576499</c:v>
                </c:pt>
                <c:pt idx="3096">
                  <c:v>0.52912780366924395</c:v>
                </c:pt>
                <c:pt idx="3097">
                  <c:v>0.460460292850702</c:v>
                </c:pt>
                <c:pt idx="3098">
                  <c:v>0.44326920107436002</c:v>
                </c:pt>
                <c:pt idx="3099">
                  <c:v>0.50380099062188999</c:v>
                </c:pt>
                <c:pt idx="3100">
                  <c:v>0.52298450897283</c:v>
                </c:pt>
                <c:pt idx="3101">
                  <c:v>0.366800160335019</c:v>
                </c:pt>
                <c:pt idx="3102">
                  <c:v>0.46021380191148997</c:v>
                </c:pt>
                <c:pt idx="3103">
                  <c:v>0.350640474838946</c:v>
                </c:pt>
                <c:pt idx="3104">
                  <c:v>0.28014544852786</c:v>
                </c:pt>
                <c:pt idx="3105">
                  <c:v>0.62026014280608199</c:v>
                </c:pt>
                <c:pt idx="3106">
                  <c:v>0.40327333000833698</c:v>
                </c:pt>
                <c:pt idx="3107">
                  <c:v>0.48790178223286201</c:v>
                </c:pt>
                <c:pt idx="3108">
                  <c:v>0.52317042020709803</c:v>
                </c:pt>
                <c:pt idx="3109">
                  <c:v>0.36628649768479399</c:v>
                </c:pt>
                <c:pt idx="3110">
                  <c:v>0.31084705021215198</c:v>
                </c:pt>
                <c:pt idx="3111">
                  <c:v>0.30314489472549</c:v>
                </c:pt>
                <c:pt idx="3112">
                  <c:v>0.34691915828102798</c:v>
                </c:pt>
                <c:pt idx="3113">
                  <c:v>0.28562397896025299</c:v>
                </c:pt>
                <c:pt idx="3114">
                  <c:v>0.220169662469408</c:v>
                </c:pt>
                <c:pt idx="3115">
                  <c:v>0.237058193082958</c:v>
                </c:pt>
                <c:pt idx="3116">
                  <c:v>0.280859565049909</c:v>
                </c:pt>
                <c:pt idx="3117">
                  <c:v>0.31044772441493301</c:v>
                </c:pt>
                <c:pt idx="3118">
                  <c:v>0.31698066912589701</c:v>
                </c:pt>
                <c:pt idx="3119">
                  <c:v>8.9542184673478395E-2</c:v>
                </c:pt>
                <c:pt idx="3120">
                  <c:v>4.5897151808672997E-3</c:v>
                </c:pt>
                <c:pt idx="3121">
                  <c:v>-0.25973639282734201</c:v>
                </c:pt>
                <c:pt idx="3122">
                  <c:v>-0.470543549415193</c:v>
                </c:pt>
                <c:pt idx="3123">
                  <c:v>-0.53779497988991098</c:v>
                </c:pt>
                <c:pt idx="3124">
                  <c:v>-0.60096656642402602</c:v>
                </c:pt>
                <c:pt idx="3125">
                  <c:v>-0.66821799689874495</c:v>
                </c:pt>
                <c:pt idx="3126">
                  <c:v>-0.72715637384903498</c:v>
                </c:pt>
                <c:pt idx="3127">
                  <c:v>-0.76800565242557295</c:v>
                </c:pt>
                <c:pt idx="3128">
                  <c:v>-0.82737542560161703</c:v>
                </c:pt>
                <c:pt idx="3129">
                  <c:v>-0.868224704178155</c:v>
                </c:pt>
                <c:pt idx="3130">
                  <c:v>-0.91315904751101096</c:v>
                </c:pt>
                <c:pt idx="3131">
                  <c:v>-0.95652398909536096</c:v>
                </c:pt>
                <c:pt idx="3132">
                  <c:v>-0.84735406110375899</c:v>
                </c:pt>
                <c:pt idx="3133">
                  <c:v>-0.95677899640100705</c:v>
                </c:pt>
                <c:pt idx="3134">
                  <c:v>-1.0207758165610601</c:v>
                </c:pt>
                <c:pt idx="3135">
                  <c:v>-1.05817806154204</c:v>
                </c:pt>
                <c:pt idx="3136">
                  <c:v>-0.95325287802213399</c:v>
                </c:pt>
                <c:pt idx="3137">
                  <c:v>-1.08135798763427</c:v>
                </c:pt>
                <c:pt idx="3138">
                  <c:v>-1.1455144875097101</c:v>
                </c:pt>
                <c:pt idx="3139">
                  <c:v>-1.1499518711899901</c:v>
                </c:pt>
                <c:pt idx="3140">
                  <c:v>-1.1626282359809299</c:v>
                </c:pt>
                <c:pt idx="3141">
                  <c:v>-1.0969998544214601</c:v>
                </c:pt>
                <c:pt idx="3142">
                  <c:v>-1.02721755650763</c:v>
                </c:pt>
                <c:pt idx="3143">
                  <c:v>-1.14850283141877</c:v>
                </c:pt>
                <c:pt idx="3144">
                  <c:v>-1.1770479301363099</c:v>
                </c:pt>
                <c:pt idx="3145">
                  <c:v>-1.21587454234267</c:v>
                </c:pt>
                <c:pt idx="3146">
                  <c:v>-1.15576452962291</c:v>
                </c:pt>
                <c:pt idx="3147">
                  <c:v>-1.1844897326721999</c:v>
                </c:pt>
                <c:pt idx="3148">
                  <c:v>-1.19877428506258</c:v>
                </c:pt>
                <c:pt idx="3149">
                  <c:v>-1.2233403509417999</c:v>
                </c:pt>
                <c:pt idx="3150">
                  <c:v>-1.2149504923783201</c:v>
                </c:pt>
                <c:pt idx="3151">
                  <c:v>-1.1687394590932301</c:v>
                </c:pt>
                <c:pt idx="3152">
                  <c:v>-1.19464194424176</c:v>
                </c:pt>
                <c:pt idx="3153">
                  <c:v>-1.17934952383693</c:v>
                </c:pt>
                <c:pt idx="3154">
                  <c:v>-1.1805350656534299</c:v>
                </c:pt>
                <c:pt idx="3155">
                  <c:v>-1.16913965485628</c:v>
                </c:pt>
                <c:pt idx="3156">
                  <c:v>-1.1206291824463599</c:v>
                </c:pt>
                <c:pt idx="3157">
                  <c:v>-1.09683565336847</c:v>
                </c:pt>
                <c:pt idx="3158">
                  <c:v>-1.04212351141032</c:v>
                </c:pt>
                <c:pt idx="3159">
                  <c:v>-0.95554562696248102</c:v>
                </c:pt>
                <c:pt idx="3160">
                  <c:v>-0.82361369979120502</c:v>
                </c:pt>
                <c:pt idx="3161">
                  <c:v>-0.70815973484127603</c:v>
                </c:pt>
                <c:pt idx="3162">
                  <c:v>-0.61946002478581397</c:v>
                </c:pt>
                <c:pt idx="3163">
                  <c:v>-0.62996131814094702</c:v>
                </c:pt>
                <c:pt idx="3164">
                  <c:v>-0.64046261149608097</c:v>
                </c:pt>
                <c:pt idx="3165">
                  <c:v>-0.593291037076498</c:v>
                </c:pt>
                <c:pt idx="3166">
                  <c:v>-0.51316353821422001</c:v>
                </c:pt>
                <c:pt idx="3167">
                  <c:v>-0.21434348442126999</c:v>
                </c:pt>
                <c:pt idx="3168">
                  <c:v>5.5690223730481998E-2</c:v>
                </c:pt>
                <c:pt idx="3169">
                  <c:v>0.36910951464126901</c:v>
                </c:pt>
                <c:pt idx="3170">
                  <c:v>0.36506616893512001</c:v>
                </c:pt>
                <c:pt idx="3171">
                  <c:v>0.37134145869520702</c:v>
                </c:pt>
                <c:pt idx="3172">
                  <c:v>-5.2725540113245803E-2</c:v>
                </c:pt>
                <c:pt idx="3173">
                  <c:v>2.5806192092254002E-2</c:v>
                </c:pt>
                <c:pt idx="3174">
                  <c:v>0.12074703492106099</c:v>
                </c:pt>
                <c:pt idx="3175">
                  <c:v>0.205367306486999</c:v>
                </c:pt>
                <c:pt idx="3176">
                  <c:v>0.304428228711841</c:v>
                </c:pt>
                <c:pt idx="3177">
                  <c:v>0.40137254614476903</c:v>
                </c:pt>
                <c:pt idx="3178">
                  <c:v>0.47359992024567599</c:v>
                </c:pt>
                <c:pt idx="3179">
                  <c:v>0.47725387112311402</c:v>
                </c:pt>
                <c:pt idx="3180">
                  <c:v>0.52641523036721405</c:v>
                </c:pt>
                <c:pt idx="3181">
                  <c:v>0.57746575634624997</c:v>
                </c:pt>
                <c:pt idx="3182">
                  <c:v>0.58338967765882199</c:v>
                </c:pt>
                <c:pt idx="3183">
                  <c:v>0.61901223683443796</c:v>
                </c:pt>
                <c:pt idx="3184">
                  <c:v>0.73990362999019199</c:v>
                </c:pt>
                <c:pt idx="3185">
                  <c:v>0.60000495653383801</c:v>
                </c:pt>
                <c:pt idx="3186">
                  <c:v>0.51181014017665905</c:v>
                </c:pt>
                <c:pt idx="3187">
                  <c:v>0.60876926652212104</c:v>
                </c:pt>
                <c:pt idx="3188">
                  <c:v>0.75282345749845403</c:v>
                </c:pt>
                <c:pt idx="3189">
                  <c:v>0.76323363556710799</c:v>
                </c:pt>
                <c:pt idx="3190">
                  <c:v>0.82504616026421096</c:v>
                </c:pt>
                <c:pt idx="3191">
                  <c:v>0.796039299516068</c:v>
                </c:pt>
                <c:pt idx="3192">
                  <c:v>0.78343632857551804</c:v>
                </c:pt>
                <c:pt idx="3193">
                  <c:v>0.79139116379691998</c:v>
                </c:pt>
                <c:pt idx="3194">
                  <c:v>0.76866004501076002</c:v>
                </c:pt>
                <c:pt idx="3195">
                  <c:v>0.763308411285332</c:v>
                </c:pt>
                <c:pt idx="3196">
                  <c:v>0.77670471021638499</c:v>
                </c:pt>
                <c:pt idx="3197">
                  <c:v>0.67217857187642904</c:v>
                </c:pt>
                <c:pt idx="3198">
                  <c:v>0.65458218551347902</c:v>
                </c:pt>
                <c:pt idx="3199">
                  <c:v>0.88957327376120299</c:v>
                </c:pt>
                <c:pt idx="3200">
                  <c:v>0.77019843938905996</c:v>
                </c:pt>
                <c:pt idx="3201">
                  <c:v>0.92460959003551701</c:v>
                </c:pt>
                <c:pt idx="3202">
                  <c:v>0.96782892148689703</c:v>
                </c:pt>
                <c:pt idx="3203">
                  <c:v>0.63636130844674099</c:v>
                </c:pt>
                <c:pt idx="3204">
                  <c:v>0.50467699525662502</c:v>
                </c:pt>
                <c:pt idx="3205">
                  <c:v>0.49068768128054302</c:v>
                </c:pt>
                <c:pt idx="3206">
                  <c:v>0.33640302955031898</c:v>
                </c:pt>
                <c:pt idx="3207">
                  <c:v>0.27192479229157301</c:v>
                </c:pt>
                <c:pt idx="3208">
                  <c:v>0.40957389773175701</c:v>
                </c:pt>
                <c:pt idx="3209">
                  <c:v>0.32634772781652999</c:v>
                </c:pt>
                <c:pt idx="3210">
                  <c:v>0.32982387182133299</c:v>
                </c:pt>
                <c:pt idx="3211">
                  <c:v>0.32195228943586002</c:v>
                </c:pt>
                <c:pt idx="3212">
                  <c:v>0.41718691077801001</c:v>
                </c:pt>
                <c:pt idx="3213">
                  <c:v>0.39895974248994998</c:v>
                </c:pt>
                <c:pt idx="3214">
                  <c:v>0.29826346986568603</c:v>
                </c:pt>
                <c:pt idx="3215">
                  <c:v>0.22526958818543</c:v>
                </c:pt>
                <c:pt idx="3216">
                  <c:v>2.2410027067370501E-2</c:v>
                </c:pt>
                <c:pt idx="3217">
                  <c:v>-0.122771445460259</c:v>
                </c:pt>
                <c:pt idx="3218">
                  <c:v>-0.179287364919167</c:v>
                </c:pt>
                <c:pt idx="3219">
                  <c:v>-0.28399678063869899</c:v>
                </c:pt>
                <c:pt idx="3220">
                  <c:v>-0.46300517118180201</c:v>
                </c:pt>
                <c:pt idx="3221">
                  <c:v>-0.55743307341250203</c:v>
                </c:pt>
                <c:pt idx="3222">
                  <c:v>-0.58995489828465997</c:v>
                </c:pt>
                <c:pt idx="3223">
                  <c:v>-0.58709361918311298</c:v>
                </c:pt>
                <c:pt idx="3224">
                  <c:v>-0.69972622045850597</c:v>
                </c:pt>
                <c:pt idx="3225">
                  <c:v>-0.76080833027794403</c:v>
                </c:pt>
                <c:pt idx="3226">
                  <c:v>-0.80949754263235196</c:v>
                </c:pt>
                <c:pt idx="3227">
                  <c:v>-0.87720381955276105</c:v>
                </c:pt>
                <c:pt idx="3228">
                  <c:v>-0.89131707263905702</c:v>
                </c:pt>
                <c:pt idx="3229">
                  <c:v>-0.92599335270301797</c:v>
                </c:pt>
                <c:pt idx="3230">
                  <c:v>-0.97510506261016705</c:v>
                </c:pt>
                <c:pt idx="3231">
                  <c:v>-1.0345611599570099</c:v>
                </c:pt>
                <c:pt idx="3232">
                  <c:v>-1.0630986444235999</c:v>
                </c:pt>
                <c:pt idx="3233">
                  <c:v>-1.06480780158197</c:v>
                </c:pt>
                <c:pt idx="3234">
                  <c:v>-1.0953878184267101</c:v>
                </c:pt>
                <c:pt idx="3235">
                  <c:v>-1.09743109281828</c:v>
                </c:pt>
                <c:pt idx="3236">
                  <c:v>-1.0871555421585699</c:v>
                </c:pt>
                <c:pt idx="3237">
                  <c:v>-1.1077193111496499</c:v>
                </c:pt>
                <c:pt idx="3238">
                  <c:v>-1.09124209094171</c:v>
                </c:pt>
                <c:pt idx="3239">
                  <c:v>-1.0908419892449599</c:v>
                </c:pt>
                <c:pt idx="3240">
                  <c:v>-1.1007234010370499</c:v>
                </c:pt>
                <c:pt idx="3241">
                  <c:v>-1.1188437939398099</c:v>
                </c:pt>
                <c:pt idx="3242">
                  <c:v>-1.15344214906391</c:v>
                </c:pt>
                <c:pt idx="3243">
                  <c:v>-1.1052885043776099</c:v>
                </c:pt>
                <c:pt idx="3244">
                  <c:v>-1.0715702895345001</c:v>
                </c:pt>
                <c:pt idx="3245">
                  <c:v>-1.00693868262685</c:v>
                </c:pt>
                <c:pt idx="3246">
                  <c:v>-0.97526300016190004</c:v>
                </c:pt>
                <c:pt idx="3247">
                  <c:v>-0.97761633946224902</c:v>
                </c:pt>
                <c:pt idx="3248">
                  <c:v>-1.02116458431597</c:v>
                </c:pt>
                <c:pt idx="3249">
                  <c:v>-1.0564738480590099</c:v>
                </c:pt>
                <c:pt idx="3250">
                  <c:v>-1.0815015983132199</c:v>
                </c:pt>
                <c:pt idx="3251">
                  <c:v>-1.00863415412232</c:v>
                </c:pt>
                <c:pt idx="3252">
                  <c:v>-0.96872263437411898</c:v>
                </c:pt>
                <c:pt idx="3253">
                  <c:v>-0.87937722796187201</c:v>
                </c:pt>
                <c:pt idx="3254">
                  <c:v>-0.84566215694618296</c:v>
                </c:pt>
                <c:pt idx="3255">
                  <c:v>-0.749462053608697</c:v>
                </c:pt>
                <c:pt idx="3256">
                  <c:v>-0.68621787471390605</c:v>
                </c:pt>
                <c:pt idx="3257">
                  <c:v>-0.54058388471237795</c:v>
                </c:pt>
                <c:pt idx="3258">
                  <c:v>-0.42790581915354398</c:v>
                </c:pt>
                <c:pt idx="3259">
                  <c:v>-0.45099257148928701</c:v>
                </c:pt>
                <c:pt idx="3260">
                  <c:v>-0.42464543716098802</c:v>
                </c:pt>
                <c:pt idx="3261">
                  <c:v>-0.36534237838999301</c:v>
                </c:pt>
                <c:pt idx="3262">
                  <c:v>-0.29780033850832399</c:v>
                </c:pt>
                <c:pt idx="3263">
                  <c:v>-0.25349549266531402</c:v>
                </c:pt>
                <c:pt idx="3264">
                  <c:v>1.08072131069187E-3</c:v>
                </c:pt>
                <c:pt idx="3265">
                  <c:v>0.119684541977274</c:v>
                </c:pt>
                <c:pt idx="3266">
                  <c:v>0.149553957977095</c:v>
                </c:pt>
                <c:pt idx="3267">
                  <c:v>0.16354005377090999</c:v>
                </c:pt>
                <c:pt idx="3268">
                  <c:v>0.17125562841845601</c:v>
                </c:pt>
                <c:pt idx="3269">
                  <c:v>0.25327017788957401</c:v>
                </c:pt>
                <c:pt idx="3270">
                  <c:v>0.230215284484377</c:v>
                </c:pt>
                <c:pt idx="3271">
                  <c:v>0.187957031026488</c:v>
                </c:pt>
                <c:pt idx="3272">
                  <c:v>0.27759654775313303</c:v>
                </c:pt>
                <c:pt idx="3273">
                  <c:v>0.61477585986876004</c:v>
                </c:pt>
                <c:pt idx="3274">
                  <c:v>0.64469997644253096</c:v>
                </c:pt>
                <c:pt idx="3275">
                  <c:v>0.58480160980979701</c:v>
                </c:pt>
                <c:pt idx="3276">
                  <c:v>0.669125059228589</c:v>
                </c:pt>
                <c:pt idx="3277">
                  <c:v>0.74142597325111803</c:v>
                </c:pt>
                <c:pt idx="3278">
                  <c:v>0.60095288983283002</c:v>
                </c:pt>
                <c:pt idx="3279">
                  <c:v>0.64976401897831704</c:v>
                </c:pt>
                <c:pt idx="3280">
                  <c:v>0.68640446790003495</c:v>
                </c:pt>
                <c:pt idx="3281">
                  <c:v>0.58471803903201502</c:v>
                </c:pt>
                <c:pt idx="3282">
                  <c:v>0.56345818212204002</c:v>
                </c:pt>
                <c:pt idx="3283">
                  <c:v>0.48383012990716501</c:v>
                </c:pt>
                <c:pt idx="3284">
                  <c:v>0.51970117888494305</c:v>
                </c:pt>
                <c:pt idx="3285">
                  <c:v>0.38043179893094697</c:v>
                </c:pt>
                <c:pt idx="3286">
                  <c:v>0.395591676103553</c:v>
                </c:pt>
                <c:pt idx="3287">
                  <c:v>0.56112853262500795</c:v>
                </c:pt>
                <c:pt idx="3288">
                  <c:v>0.61751610232954601</c:v>
                </c:pt>
                <c:pt idx="3289">
                  <c:v>0.59120712964090305</c:v>
                </c:pt>
                <c:pt idx="3290">
                  <c:v>0.26352223722505003</c:v>
                </c:pt>
                <c:pt idx="3291">
                  <c:v>0.29085550135289601</c:v>
                </c:pt>
                <c:pt idx="3292">
                  <c:v>0.29952012605372902</c:v>
                </c:pt>
                <c:pt idx="3293">
                  <c:v>0.30001984205764198</c:v>
                </c:pt>
                <c:pt idx="3294">
                  <c:v>0.33763461967432101</c:v>
                </c:pt>
                <c:pt idx="3295">
                  <c:v>0.66877459020734398</c:v>
                </c:pt>
                <c:pt idx="3296">
                  <c:v>0.49860197551989299</c:v>
                </c:pt>
                <c:pt idx="3297">
                  <c:v>0.493367569504851</c:v>
                </c:pt>
                <c:pt idx="3298">
                  <c:v>0.60983393423069299</c:v>
                </c:pt>
                <c:pt idx="3299">
                  <c:v>0.47931578118907803</c:v>
                </c:pt>
                <c:pt idx="3300">
                  <c:v>0.23518769368974601</c:v>
                </c:pt>
                <c:pt idx="3301">
                  <c:v>-1.11258501995377E-2</c:v>
                </c:pt>
                <c:pt idx="3302">
                  <c:v>-0.26348769799382998</c:v>
                </c:pt>
                <c:pt idx="3303">
                  <c:v>-0.41751862837894399</c:v>
                </c:pt>
                <c:pt idx="3304">
                  <c:v>-0.77570377139400604</c:v>
                </c:pt>
                <c:pt idx="3305">
                  <c:v>-0.84129136595166198</c:v>
                </c:pt>
                <c:pt idx="3306">
                  <c:v>-0.871658286447202</c:v>
                </c:pt>
                <c:pt idx="3307">
                  <c:v>-0.82689421628940296</c:v>
                </c:pt>
                <c:pt idx="3308">
                  <c:v>-0.79875103236474498</c:v>
                </c:pt>
                <c:pt idx="3309">
                  <c:v>-0.778772757137006</c:v>
                </c:pt>
                <c:pt idx="3310">
                  <c:v>-0.67633581920449104</c:v>
                </c:pt>
                <c:pt idx="3311">
                  <c:v>-0.75122243666757405</c:v>
                </c:pt>
                <c:pt idx="3312">
                  <c:v>-0.83033704289876797</c:v>
                </c:pt>
                <c:pt idx="3313">
                  <c:v>-0.86402875480848396</c:v>
                </c:pt>
                <c:pt idx="3314">
                  <c:v>-0.91034055991817098</c:v>
                </c:pt>
                <c:pt idx="3315">
                  <c:v>-0.88530704214940004</c:v>
                </c:pt>
                <c:pt idx="3316">
                  <c:v>-0.96949166279558796</c:v>
                </c:pt>
                <c:pt idx="3317">
                  <c:v>-0.88058360770387101</c:v>
                </c:pt>
                <c:pt idx="3318">
                  <c:v>-1.0101222710735001</c:v>
                </c:pt>
                <c:pt idx="3319">
                  <c:v>-1.0542274762133801</c:v>
                </c:pt>
                <c:pt idx="3320">
                  <c:v>-0.99122592691450995</c:v>
                </c:pt>
                <c:pt idx="3321">
                  <c:v>-0.96111145046029101</c:v>
                </c:pt>
                <c:pt idx="3322">
                  <c:v>-1.0547246146779701</c:v>
                </c:pt>
                <c:pt idx="3323">
                  <c:v>-1.09225287251782</c:v>
                </c:pt>
                <c:pt idx="3324">
                  <c:v>-1.1462590925790099</c:v>
                </c:pt>
                <c:pt idx="3325">
                  <c:v>-1.21054682612903</c:v>
                </c:pt>
                <c:pt idx="3326">
                  <c:v>-1.0935029028304799</c:v>
                </c:pt>
                <c:pt idx="3327">
                  <c:v>-1.1530940624808199</c:v>
                </c:pt>
                <c:pt idx="3328">
                  <c:v>-1.1632461146513999</c:v>
                </c:pt>
                <c:pt idx="3329">
                  <c:v>-1.1610052693569499</c:v>
                </c:pt>
                <c:pt idx="3330">
                  <c:v>-1.14848291057367</c:v>
                </c:pt>
                <c:pt idx="3331">
                  <c:v>-1.15758948949565</c:v>
                </c:pt>
                <c:pt idx="3332">
                  <c:v>-0.92769676461004502</c:v>
                </c:pt>
                <c:pt idx="3333">
                  <c:v>-1.0418675655926199</c:v>
                </c:pt>
                <c:pt idx="3334">
                  <c:v>-1.0468890797582799</c:v>
                </c:pt>
                <c:pt idx="3335">
                  <c:v>-1.03142321911438</c:v>
                </c:pt>
                <c:pt idx="3336">
                  <c:v>-0.97680498529526805</c:v>
                </c:pt>
                <c:pt idx="3337">
                  <c:v>-0.83979694036941699</c:v>
                </c:pt>
                <c:pt idx="3338">
                  <c:v>-0.87369611479151699</c:v>
                </c:pt>
                <c:pt idx="3339">
                  <c:v>-0.92445947435623799</c:v>
                </c:pt>
                <c:pt idx="3340">
                  <c:v>-0.90311453630305205</c:v>
                </c:pt>
                <c:pt idx="3341">
                  <c:v>-0.90852907396004701</c:v>
                </c:pt>
                <c:pt idx="3342">
                  <c:v>-0.92218259272771497</c:v>
                </c:pt>
                <c:pt idx="3343">
                  <c:v>-0.69656456324316496</c:v>
                </c:pt>
                <c:pt idx="3344">
                  <c:v>-0.64607652105896296</c:v>
                </c:pt>
                <c:pt idx="3345">
                  <c:v>-0.58946088174028599</c:v>
                </c:pt>
                <c:pt idx="3346">
                  <c:v>-0.52249487733473698</c:v>
                </c:pt>
                <c:pt idx="3347">
                  <c:v>-0.37801571404692502</c:v>
                </c:pt>
                <c:pt idx="3348">
                  <c:v>-0.23973299949162899</c:v>
                </c:pt>
                <c:pt idx="3349">
                  <c:v>-0.103492817314491</c:v>
                </c:pt>
                <c:pt idx="3350">
                  <c:v>3.2747364862646601E-2</c:v>
                </c:pt>
                <c:pt idx="3351">
                  <c:v>2.7786245515734199E-2</c:v>
                </c:pt>
                <c:pt idx="3352">
                  <c:v>1.45861450581479E-2</c:v>
                </c:pt>
                <c:pt idx="3353">
                  <c:v>0.14968770459268901</c:v>
                </c:pt>
                <c:pt idx="3354">
                  <c:v>7.0649827663466197E-2</c:v>
                </c:pt>
                <c:pt idx="3355">
                  <c:v>9.5567096047913996E-2</c:v>
                </c:pt>
                <c:pt idx="3356">
                  <c:v>0.104006402211013</c:v>
                </c:pt>
                <c:pt idx="3357">
                  <c:v>0.10420672726344</c:v>
                </c:pt>
                <c:pt idx="3358">
                  <c:v>0.12708146326972899</c:v>
                </c:pt>
                <c:pt idx="3359">
                  <c:v>0.146087317908728</c:v>
                </c:pt>
                <c:pt idx="3360">
                  <c:v>0.163050640169568</c:v>
                </c:pt>
                <c:pt idx="3361">
                  <c:v>0.21508649166501601</c:v>
                </c:pt>
                <c:pt idx="3362">
                  <c:v>0.24028879503653</c:v>
                </c:pt>
                <c:pt idx="3363">
                  <c:v>0.23787673958681799</c:v>
                </c:pt>
                <c:pt idx="3364">
                  <c:v>0.26842060857980099</c:v>
                </c:pt>
                <c:pt idx="3365">
                  <c:v>0.27636413903267398</c:v>
                </c:pt>
                <c:pt idx="3366">
                  <c:v>0.25747412136161502</c:v>
                </c:pt>
                <c:pt idx="3367">
                  <c:v>0.39740295518191698</c:v>
                </c:pt>
                <c:pt idx="3368">
                  <c:v>0.53952246620788402</c:v>
                </c:pt>
                <c:pt idx="3369">
                  <c:v>0.73742567827363104</c:v>
                </c:pt>
                <c:pt idx="3370">
                  <c:v>0.64235575899748898</c:v>
                </c:pt>
                <c:pt idx="3371">
                  <c:v>0.75903881656111305</c:v>
                </c:pt>
                <c:pt idx="3372">
                  <c:v>0.68921259752989805</c:v>
                </c:pt>
                <c:pt idx="3373">
                  <c:v>0.69565006140292196</c:v>
                </c:pt>
                <c:pt idx="3374">
                  <c:v>0.71833804944031898</c:v>
                </c:pt>
                <c:pt idx="3375">
                  <c:v>0.64623810809023396</c:v>
                </c:pt>
                <c:pt idx="3376">
                  <c:v>0.60513085203415395</c:v>
                </c:pt>
                <c:pt idx="3377">
                  <c:v>0.53131617243785401</c:v>
                </c:pt>
                <c:pt idx="3378">
                  <c:v>0.73000133206667295</c:v>
                </c:pt>
                <c:pt idx="3379">
                  <c:v>0.78400979953001804</c:v>
                </c:pt>
                <c:pt idx="3380">
                  <c:v>0.749500858752149</c:v>
                </c:pt>
                <c:pt idx="3381">
                  <c:v>1.03543847252896</c:v>
                </c:pt>
                <c:pt idx="3382">
                  <c:v>0.86155991710940105</c:v>
                </c:pt>
                <c:pt idx="3383">
                  <c:v>0.895782935880022</c:v>
                </c:pt>
                <c:pt idx="3384">
                  <c:v>0.93408579859124596</c:v>
                </c:pt>
                <c:pt idx="3385">
                  <c:v>0.99511208512340199</c:v>
                </c:pt>
                <c:pt idx="3386">
                  <c:v>0.979638277994893</c:v>
                </c:pt>
                <c:pt idx="3387">
                  <c:v>0.97044021282836801</c:v>
                </c:pt>
                <c:pt idx="3388">
                  <c:v>0.946653352175433</c:v>
                </c:pt>
                <c:pt idx="3389">
                  <c:v>0.89460486985087095</c:v>
                </c:pt>
                <c:pt idx="3390">
                  <c:v>0.73121120268801199</c:v>
                </c:pt>
                <c:pt idx="3391">
                  <c:v>0.56970670226009001</c:v>
                </c:pt>
                <c:pt idx="3392">
                  <c:v>0.55477328154829397</c:v>
                </c:pt>
                <c:pt idx="3393">
                  <c:v>0.385111110356891</c:v>
                </c:pt>
                <c:pt idx="3394">
                  <c:v>0.38265711827303101</c:v>
                </c:pt>
                <c:pt idx="3395">
                  <c:v>0.36584176875973701</c:v>
                </c:pt>
                <c:pt idx="3396">
                  <c:v>0.36739354820272602</c:v>
                </c:pt>
                <c:pt idx="3397">
                  <c:v>0.37820594110349198</c:v>
                </c:pt>
                <c:pt idx="3398">
                  <c:v>0.44261135783837202</c:v>
                </c:pt>
                <c:pt idx="3399">
                  <c:v>0.40406393648884997</c:v>
                </c:pt>
                <c:pt idx="3400">
                  <c:v>0.27480842969244901</c:v>
                </c:pt>
                <c:pt idx="3401">
                  <c:v>4.3151812117990997E-2</c:v>
                </c:pt>
                <c:pt idx="3402">
                  <c:v>1.77764535968205E-2</c:v>
                </c:pt>
                <c:pt idx="3403">
                  <c:v>-0.230432198612739</c:v>
                </c:pt>
                <c:pt idx="3404">
                  <c:v>-0.34462125503013802</c:v>
                </c:pt>
                <c:pt idx="3405">
                  <c:v>-0.445670077609155</c:v>
                </c:pt>
                <c:pt idx="3406">
                  <c:v>-0.52805026076115802</c:v>
                </c:pt>
                <c:pt idx="3407">
                  <c:v>-0.4702196202042</c:v>
                </c:pt>
                <c:pt idx="3408">
                  <c:v>-0.53604776872110105</c:v>
                </c:pt>
                <c:pt idx="3409">
                  <c:v>-0.66131573553151701</c:v>
                </c:pt>
                <c:pt idx="3410">
                  <c:v>-0.72890561375150298</c:v>
                </c:pt>
                <c:pt idx="3411">
                  <c:v>-0.769593092249515</c:v>
                </c:pt>
                <c:pt idx="3412">
                  <c:v>-0.85774599744716495</c:v>
                </c:pt>
                <c:pt idx="3413">
                  <c:v>-0.89417688909525905</c:v>
                </c:pt>
                <c:pt idx="3414">
                  <c:v>-0.92644864357328305</c:v>
                </c:pt>
                <c:pt idx="3415">
                  <c:v>-0.91132904376542201</c:v>
                </c:pt>
                <c:pt idx="3416">
                  <c:v>-0.89620944395756197</c:v>
                </c:pt>
                <c:pt idx="3417">
                  <c:v>-0.93984831546462799</c:v>
                </c:pt>
                <c:pt idx="3418">
                  <c:v>-1.02672462490322</c:v>
                </c:pt>
                <c:pt idx="3419">
                  <c:v>-1.0827616146910299</c:v>
                </c:pt>
                <c:pt idx="3420">
                  <c:v>-1.1181615050874301</c:v>
                </c:pt>
                <c:pt idx="3421">
                  <c:v>-1.0689435308053601</c:v>
                </c:pt>
                <c:pt idx="3422">
                  <c:v>-1.0114125029988701</c:v>
                </c:pt>
                <c:pt idx="3423">
                  <c:v>-1.07352927192368</c:v>
                </c:pt>
                <c:pt idx="3424">
                  <c:v>-1.06966011954934</c:v>
                </c:pt>
                <c:pt idx="3425">
                  <c:v>-1.0783313523710401</c:v>
                </c:pt>
                <c:pt idx="3426">
                  <c:v>-1.0808061364602199</c:v>
                </c:pt>
                <c:pt idx="3427">
                  <c:v>-1.05856397721739</c:v>
                </c:pt>
                <c:pt idx="3428">
                  <c:v>-1.01780132337505</c:v>
                </c:pt>
                <c:pt idx="3429">
                  <c:v>-1.0081789391643901</c:v>
                </c:pt>
                <c:pt idx="3430">
                  <c:v>-1.0067955360644001</c:v>
                </c:pt>
                <c:pt idx="3431">
                  <c:v>-0.96421722741103799</c:v>
                </c:pt>
                <c:pt idx="3432">
                  <c:v>-0.93804802938098597</c:v>
                </c:pt>
                <c:pt idx="3433">
                  <c:v>-0.99290885994238298</c:v>
                </c:pt>
                <c:pt idx="3434">
                  <c:v>-1.03741932541691</c:v>
                </c:pt>
                <c:pt idx="3435">
                  <c:v>-1.0386923529599099</c:v>
                </c:pt>
                <c:pt idx="3436">
                  <c:v>-1.05024689399174</c:v>
                </c:pt>
                <c:pt idx="3437">
                  <c:v>-0.99782553437118104</c:v>
                </c:pt>
                <c:pt idx="3438">
                  <c:v>-0.94540417475062599</c:v>
                </c:pt>
                <c:pt idx="3439">
                  <c:v>-0.90946077735141895</c:v>
                </c:pt>
                <c:pt idx="3440">
                  <c:v>-0.87147484757405402</c:v>
                </c:pt>
                <c:pt idx="3441">
                  <c:v>-0.76099471532654905</c:v>
                </c:pt>
                <c:pt idx="3442">
                  <c:v>-0.72466541307510801</c:v>
                </c:pt>
                <c:pt idx="3443">
                  <c:v>-0.59770731860625503</c:v>
                </c:pt>
                <c:pt idx="3444">
                  <c:v>-0.48722718635875001</c:v>
                </c:pt>
                <c:pt idx="3445">
                  <c:v>-0.44873435663816802</c:v>
                </c:pt>
                <c:pt idx="3446">
                  <c:v>-0.44319745136028099</c:v>
                </c:pt>
                <c:pt idx="3447">
                  <c:v>-0.21718173687431999</c:v>
                </c:pt>
                <c:pt idx="3448">
                  <c:v>-0.23431924255029599</c:v>
                </c:pt>
                <c:pt idx="3449">
                  <c:v>-0.13008871182084</c:v>
                </c:pt>
                <c:pt idx="3450">
                  <c:v>8.7593166907397796E-2</c:v>
                </c:pt>
                <c:pt idx="3451">
                  <c:v>0.187817926110004</c:v>
                </c:pt>
                <c:pt idx="3452">
                  <c:v>0.38910113584636102</c:v>
                </c:pt>
                <c:pt idx="3453">
                  <c:v>4.3768021137167899E-2</c:v>
                </c:pt>
                <c:pt idx="3454">
                  <c:v>0.21801966492812599</c:v>
                </c:pt>
                <c:pt idx="3455">
                  <c:v>0.29362053181654602</c:v>
                </c:pt>
                <c:pt idx="3456">
                  <c:v>0.36273388113314903</c:v>
                </c:pt>
                <c:pt idx="3457">
                  <c:v>0.43226207773464298</c:v>
                </c:pt>
                <c:pt idx="3458">
                  <c:v>0.51622570417932701</c:v>
                </c:pt>
                <c:pt idx="3459">
                  <c:v>0.59399288189149502</c:v>
                </c:pt>
                <c:pt idx="3460">
                  <c:v>0.68627478267631903</c:v>
                </c:pt>
                <c:pt idx="3461">
                  <c:v>1.3272772616774</c:v>
                </c:pt>
                <c:pt idx="3462">
                  <c:v>1.3709619318750801</c:v>
                </c:pt>
                <c:pt idx="3463">
                  <c:v>1.4064816933758499</c:v>
                </c:pt>
                <c:pt idx="3464">
                  <c:v>1.42975670223909</c:v>
                </c:pt>
                <c:pt idx="3465">
                  <c:v>1.3813788906165001</c:v>
                </c:pt>
                <c:pt idx="3466">
                  <c:v>1.3928698447900001</c:v>
                </c:pt>
                <c:pt idx="3467">
                  <c:v>1.44343909972496</c:v>
                </c:pt>
                <c:pt idx="3468">
                  <c:v>1.3992204252724401</c:v>
                </c:pt>
                <c:pt idx="3469">
                  <c:v>1.35853078796216</c:v>
                </c:pt>
                <c:pt idx="3470">
                  <c:v>1.34059485483521</c:v>
                </c:pt>
                <c:pt idx="3471">
                  <c:v>1.1678488608814599</c:v>
                </c:pt>
                <c:pt idx="3472">
                  <c:v>1.2181740403044901</c:v>
                </c:pt>
                <c:pt idx="3473">
                  <c:v>1.2055227536009101</c:v>
                </c:pt>
                <c:pt idx="3474">
                  <c:v>1.1186413436717899</c:v>
                </c:pt>
                <c:pt idx="3475">
                  <c:v>1.06267854662293</c:v>
                </c:pt>
                <c:pt idx="3476">
                  <c:v>1.02742692137923</c:v>
                </c:pt>
                <c:pt idx="3477">
                  <c:v>1.09156617261852</c:v>
                </c:pt>
                <c:pt idx="3478">
                  <c:v>1.0032394058798999</c:v>
                </c:pt>
                <c:pt idx="3479">
                  <c:v>1.067378657119189</c:v>
                </c:pt>
                <c:pt idx="3480">
                  <c:v>1.1481492362230401</c:v>
                </c:pt>
                <c:pt idx="3481">
                  <c:v>1.06163072852576</c:v>
                </c:pt>
                <c:pt idx="3482">
                  <c:v>0.97337641973676103</c:v>
                </c:pt>
                <c:pt idx="3483">
                  <c:v>0.96759121528396697</c:v>
                </c:pt>
                <c:pt idx="3484">
                  <c:v>0.85650912989788497</c:v>
                </c:pt>
                <c:pt idx="3485">
                  <c:v>0.69385237502005004</c:v>
                </c:pt>
                <c:pt idx="3486">
                  <c:v>0.59491679182194002</c:v>
                </c:pt>
                <c:pt idx="3487">
                  <c:v>0.42818019300350302</c:v>
                </c:pt>
                <c:pt idx="3488">
                  <c:v>0.39946896150407502</c:v>
                </c:pt>
                <c:pt idx="3489">
                  <c:v>0.258929365211294</c:v>
                </c:pt>
                <c:pt idx="3490">
                  <c:v>0.145149244628692</c:v>
                </c:pt>
                <c:pt idx="3491">
                  <c:v>-1.74016603982596E-3</c:v>
                </c:pt>
                <c:pt idx="3492">
                  <c:v>-0.17735229156721399</c:v>
                </c:pt>
                <c:pt idx="3493">
                  <c:v>-0.16931527491216899</c:v>
                </c:pt>
                <c:pt idx="3494">
                  <c:v>-0.21093958297814</c:v>
                </c:pt>
                <c:pt idx="3495">
                  <c:v>-0.63338777890342801</c:v>
                </c:pt>
                <c:pt idx="3496">
                  <c:v>-0.65838075910483096</c:v>
                </c:pt>
                <c:pt idx="3497">
                  <c:v>-0.93524952005524897</c:v>
                </c:pt>
                <c:pt idx="3498">
                  <c:v>-0.98491929535308798</c:v>
                </c:pt>
                <c:pt idx="3499">
                  <c:v>-0.93973228966540501</c:v>
                </c:pt>
                <c:pt idx="3500">
                  <c:v>-0.93574018953108995</c:v>
                </c:pt>
                <c:pt idx="3501">
                  <c:v>-0.94829475997083801</c:v>
                </c:pt>
                <c:pt idx="3502">
                  <c:v>-0.97324222787561698</c:v>
                </c:pt>
                <c:pt idx="3503">
                  <c:v>-0.95079834149451103</c:v>
                </c:pt>
                <c:pt idx="3504">
                  <c:v>-1.00250528510947</c:v>
                </c:pt>
                <c:pt idx="3505">
                  <c:v>-0.99353745871780597</c:v>
                </c:pt>
                <c:pt idx="3506">
                  <c:v>-1.0443591048927701</c:v>
                </c:pt>
                <c:pt idx="3507">
                  <c:v>-1.06630467056564</c:v>
                </c:pt>
                <c:pt idx="3508">
                  <c:v>-1.0573368441739801</c:v>
                </c:pt>
                <c:pt idx="3509">
                  <c:v>-0.99682371069868403</c:v>
                </c:pt>
                <c:pt idx="3510">
                  <c:v>-0.98574446388742998</c:v>
                </c:pt>
                <c:pt idx="3511">
                  <c:v>-0.99114317929752405</c:v>
                </c:pt>
                <c:pt idx="3512">
                  <c:v>-0.988302913596944</c:v>
                </c:pt>
                <c:pt idx="3513">
                  <c:v>-1.0382624057755701</c:v>
                </c:pt>
                <c:pt idx="3514">
                  <c:v>-1.0697014033546799</c:v>
                </c:pt>
                <c:pt idx="3515">
                  <c:v>-1.1278998766439801</c:v>
                </c:pt>
                <c:pt idx="3516">
                  <c:v>-1.18609834993328</c:v>
                </c:pt>
                <c:pt idx="3517">
                  <c:v>-0.91477218642323099</c:v>
                </c:pt>
                <c:pt idx="3518">
                  <c:v>-0.812639322421982</c:v>
                </c:pt>
                <c:pt idx="3519">
                  <c:v>-0.72078797190956601</c:v>
                </c:pt>
                <c:pt idx="3520">
                  <c:v>-0.71920549317721805</c:v>
                </c:pt>
                <c:pt idx="3521">
                  <c:v>-0.56438089877559705</c:v>
                </c:pt>
                <c:pt idx="3522">
                  <c:v>-0.18316167364125999</c:v>
                </c:pt>
                <c:pt idx="3523">
                  <c:v>-5.50224825360651E-2</c:v>
                </c:pt>
                <c:pt idx="3524">
                  <c:v>0.108115165389985</c:v>
                </c:pt>
                <c:pt idx="3525">
                  <c:v>2.60797729128175E-2</c:v>
                </c:pt>
                <c:pt idx="3526">
                  <c:v>-7.4476114163855495E-2</c:v>
                </c:pt>
                <c:pt idx="3527">
                  <c:v>-6.7920025986056898E-2</c:v>
                </c:pt>
                <c:pt idx="3528">
                  <c:v>-9.8256782179761207E-2</c:v>
                </c:pt>
                <c:pt idx="3529">
                  <c:v>6.61949503494485E-2</c:v>
                </c:pt>
                <c:pt idx="3530">
                  <c:v>0.144171807015605</c:v>
                </c:pt>
                <c:pt idx="3531">
                  <c:v>0.236663386754417</c:v>
                </c:pt>
                <c:pt idx="3532">
                  <c:v>0.27548787024536298</c:v>
                </c:pt>
                <c:pt idx="3533">
                  <c:v>0.35143333534222898</c:v>
                </c:pt>
                <c:pt idx="3534">
                  <c:v>0.43584521960674499</c:v>
                </c:pt>
                <c:pt idx="3535">
                  <c:v>0.40853633614848101</c:v>
                </c:pt>
                <c:pt idx="3536">
                  <c:v>0.28016378134075198</c:v>
                </c:pt>
                <c:pt idx="3537">
                  <c:v>0.38709330584475998</c:v>
                </c:pt>
                <c:pt idx="3538">
                  <c:v>0.41994607276645801</c:v>
                </c:pt>
                <c:pt idx="3539">
                  <c:v>0.52279575332986195</c:v>
                </c:pt>
                <c:pt idx="3540">
                  <c:v>0.43599028188883598</c:v>
                </c:pt>
                <c:pt idx="3541">
                  <c:v>0.33913640976478598</c:v>
                </c:pt>
                <c:pt idx="3542">
                  <c:v>3.1165048062167099E-2</c:v>
                </c:pt>
                <c:pt idx="3543">
                  <c:v>0.128950703295339</c:v>
                </c:pt>
                <c:pt idx="3544">
                  <c:v>0.15175506953401399</c:v>
                </c:pt>
                <c:pt idx="3545">
                  <c:v>0.16478728750243701</c:v>
                </c:pt>
                <c:pt idx="3546">
                  <c:v>8.9074659172672904E-2</c:v>
                </c:pt>
                <c:pt idx="3547">
                  <c:v>1.0432057916322001E-3</c:v>
                </c:pt>
                <c:pt idx="3548">
                  <c:v>-8.5025008440717795E-2</c:v>
                </c:pt>
                <c:pt idx="3549">
                  <c:v>-4.8379922804278802E-2</c:v>
                </c:pt>
                <c:pt idx="3550">
                  <c:v>-1.7857213486601201E-2</c:v>
                </c:pt>
                <c:pt idx="3551">
                  <c:v>3.1032624787360599E-2</c:v>
                </c:pt>
                <c:pt idx="3552">
                  <c:v>1.4084686589686601E-2</c:v>
                </c:pt>
                <c:pt idx="3553">
                  <c:v>-6.4447612377845104E-2</c:v>
                </c:pt>
                <c:pt idx="3554">
                  <c:v>-0.13890006740477301</c:v>
                </c:pt>
                <c:pt idx="3555">
                  <c:v>-1.9390088429691799E-2</c:v>
                </c:pt>
                <c:pt idx="3556">
                  <c:v>-0.16814673909590599</c:v>
                </c:pt>
                <c:pt idx="3557">
                  <c:v>-0.126814626571252</c:v>
                </c:pt>
                <c:pt idx="3558">
                  <c:v>-0.18019637102032701</c:v>
                </c:pt>
                <c:pt idx="3559">
                  <c:v>-0.229646416356306</c:v>
                </c:pt>
                <c:pt idx="3560">
                  <c:v>-0.31613745089129702</c:v>
                </c:pt>
                <c:pt idx="3561">
                  <c:v>-0.29729492053024598</c:v>
                </c:pt>
                <c:pt idx="3562">
                  <c:v>-0.28873390365802698</c:v>
                </c:pt>
                <c:pt idx="3563">
                  <c:v>-0.307006434909741</c:v>
                </c:pt>
                <c:pt idx="3564">
                  <c:v>-0.35211251428538898</c:v>
                </c:pt>
                <c:pt idx="3565">
                  <c:v>-0.27007817800893102</c:v>
                </c:pt>
                <c:pt idx="3566">
                  <c:v>-0.22311637096707901</c:v>
                </c:pt>
                <c:pt idx="3567">
                  <c:v>-0.25249607112695799</c:v>
                </c:pt>
                <c:pt idx="3568">
                  <c:v>-0.205534264085106</c:v>
                </c:pt>
                <c:pt idx="3569">
                  <c:v>-0.196421133591372</c:v>
                </c:pt>
                <c:pt idx="3570">
                  <c:v>-0.42550295198535198</c:v>
                </c:pt>
                <c:pt idx="3571">
                  <c:v>-0.18635456048510901</c:v>
                </c:pt>
                <c:pt idx="3572">
                  <c:v>-0.19568263136141401</c:v>
                </c:pt>
                <c:pt idx="3573">
                  <c:v>-0.22342845462118199</c:v>
                </c:pt>
                <c:pt idx="3574">
                  <c:v>-0.30484137412881801</c:v>
                </c:pt>
                <c:pt idx="3575">
                  <c:v>-0.34913923202368702</c:v>
                </c:pt>
                <c:pt idx="3576">
                  <c:v>-0.36660354179462301</c:v>
                </c:pt>
                <c:pt idx="3577">
                  <c:v>-0.31258097552046099</c:v>
                </c:pt>
                <c:pt idx="3578">
                  <c:v>-0.24820282334371299</c:v>
                </c:pt>
                <c:pt idx="3579">
                  <c:v>-0.19002111989948101</c:v>
                </c:pt>
                <c:pt idx="3580">
                  <c:v>-9.0570438488125404E-2</c:v>
                </c:pt>
                <c:pt idx="3581">
                  <c:v>-0.25149243400225801</c:v>
                </c:pt>
                <c:pt idx="3582">
                  <c:v>-0.34226937104717797</c:v>
                </c:pt>
                <c:pt idx="3583">
                  <c:v>-0.393819862503132</c:v>
                </c:pt>
                <c:pt idx="3584">
                  <c:v>-0.81846616133653705</c:v>
                </c:pt>
                <c:pt idx="3585">
                  <c:v>-0.82790855632625004</c:v>
                </c:pt>
                <c:pt idx="3586">
                  <c:v>-0.84151008848603503</c:v>
                </c:pt>
                <c:pt idx="3587">
                  <c:v>-0.84271350236507403</c:v>
                </c:pt>
                <c:pt idx="3588">
                  <c:v>-0.44377339968113999</c:v>
                </c:pt>
                <c:pt idx="3589">
                  <c:v>-0.86844566189386097</c:v>
                </c:pt>
                <c:pt idx="3590">
                  <c:v>-0.43931193956027398</c:v>
                </c:pt>
                <c:pt idx="3591">
                  <c:v>-0.91961453716955299</c:v>
                </c:pt>
                <c:pt idx="3592">
                  <c:v>-0.96681769377316296</c:v>
                </c:pt>
                <c:pt idx="3593">
                  <c:v>-0.98213538146502599</c:v>
                </c:pt>
                <c:pt idx="3594">
                  <c:v>-1.02829238880767</c:v>
                </c:pt>
                <c:pt idx="3595">
                  <c:v>-1.0497324528183001</c:v>
                </c:pt>
                <c:pt idx="3596">
                  <c:v>-1.04441304111874</c:v>
                </c:pt>
                <c:pt idx="3597">
                  <c:v>-1.11693206494115</c:v>
                </c:pt>
                <c:pt idx="3598">
                  <c:v>-1.1235392398781601</c:v>
                </c:pt>
                <c:pt idx="3599">
                  <c:v>-1.1301464148151801</c:v>
                </c:pt>
                <c:pt idx="3600">
                  <c:v>-1.1037976653095001</c:v>
                </c:pt>
                <c:pt idx="3601">
                  <c:v>-1.1188752230474699</c:v>
                </c:pt>
                <c:pt idx="3602">
                  <c:v>-1.1257137996747599</c:v>
                </c:pt>
                <c:pt idx="3603">
                  <c:v>-1.1078354329700399</c:v>
                </c:pt>
                <c:pt idx="3604">
                  <c:v>-1.08995706626531</c:v>
                </c:pt>
                <c:pt idx="3605">
                  <c:v>-1.0246509214442401</c:v>
                </c:pt>
                <c:pt idx="3606">
                  <c:v>-0.73857489857578595</c:v>
                </c:pt>
                <c:pt idx="3607">
                  <c:v>-0.83432323164921196</c:v>
                </c:pt>
                <c:pt idx="3608">
                  <c:v>-0.73606116238544295</c:v>
                </c:pt>
                <c:pt idx="3609">
                  <c:v>-0.765679867579523</c:v>
                </c:pt>
                <c:pt idx="3610">
                  <c:v>-0.80353755388427694</c:v>
                </c:pt>
                <c:pt idx="3611">
                  <c:v>-0.79196135352498798</c:v>
                </c:pt>
                <c:pt idx="3612">
                  <c:v>-0.77418870443318299</c:v>
                </c:pt>
                <c:pt idx="3613">
                  <c:v>-0.758713836667814</c:v>
                </c:pt>
                <c:pt idx="3614">
                  <c:v>-0.78859301162588302</c:v>
                </c:pt>
                <c:pt idx="3615">
                  <c:v>-0.84931150623473595</c:v>
                </c:pt>
                <c:pt idx="3616">
                  <c:v>-0.82144374100433604</c:v>
                </c:pt>
                <c:pt idx="3617">
                  <c:v>-0.78837657407921002</c:v>
                </c:pt>
                <c:pt idx="3618">
                  <c:v>-0.75530940715408401</c:v>
                </c:pt>
                <c:pt idx="3619">
                  <c:v>-0.47069145249741401</c:v>
                </c:pt>
                <c:pt idx="3620">
                  <c:v>-0.52729535722661303</c:v>
                </c:pt>
                <c:pt idx="3621">
                  <c:v>-0.205761604677482</c:v>
                </c:pt>
                <c:pt idx="3622">
                  <c:v>-0.19846801856277799</c:v>
                </c:pt>
                <c:pt idx="3623">
                  <c:v>-0.10054564023066399</c:v>
                </c:pt>
                <c:pt idx="3624">
                  <c:v>6.7595868984417801E-2</c:v>
                </c:pt>
                <c:pt idx="3625">
                  <c:v>7.5253648446585502E-3</c:v>
                </c:pt>
                <c:pt idx="3626">
                  <c:v>8.5628372851415294E-2</c:v>
                </c:pt>
                <c:pt idx="3627">
                  <c:v>5.0348884457431103E-2</c:v>
                </c:pt>
                <c:pt idx="3628">
                  <c:v>0.12225544373167201</c:v>
                </c:pt>
                <c:pt idx="3629">
                  <c:v>0.124334742300736</c:v>
                </c:pt>
                <c:pt idx="3630">
                  <c:v>8.0985925732607197E-2</c:v>
                </c:pt>
                <c:pt idx="3631">
                  <c:v>-2.6311500572221199E-2</c:v>
                </c:pt>
                <c:pt idx="3632">
                  <c:v>-4.5017446222082702E-2</c:v>
                </c:pt>
                <c:pt idx="3633">
                  <c:v>-2.43080560080185E-3</c:v>
                </c:pt>
                <c:pt idx="3634">
                  <c:v>-0.120697308895615</c:v>
                </c:pt>
                <c:pt idx="3635">
                  <c:v>-7.4030824333730899E-2</c:v>
                </c:pt>
                <c:pt idx="3636">
                  <c:v>-2.5321807393688701E-2</c:v>
                </c:pt>
                <c:pt idx="3637">
                  <c:v>-7.2149788587158203E-2</c:v>
                </c:pt>
                <c:pt idx="3638">
                  <c:v>-8.7911012072869998E-2</c:v>
                </c:pt>
                <c:pt idx="3639">
                  <c:v>-0.19052269430611801</c:v>
                </c:pt>
                <c:pt idx="3640">
                  <c:v>-0.28066218584487002</c:v>
                </c:pt>
                <c:pt idx="3641">
                  <c:v>-0.400346348457641</c:v>
                </c:pt>
                <c:pt idx="3642">
                  <c:v>-0.404605482291513</c:v>
                </c:pt>
                <c:pt idx="3643">
                  <c:v>-0.52232118493988</c:v>
                </c:pt>
                <c:pt idx="3644">
                  <c:v>-0.56573269194896203</c:v>
                </c:pt>
                <c:pt idx="3645">
                  <c:v>-0.66844644737298398</c:v>
                </c:pt>
                <c:pt idx="3646">
                  <c:v>-0.66397937594449297</c:v>
                </c:pt>
                <c:pt idx="3647">
                  <c:v>-1.1725938829972</c:v>
                </c:pt>
                <c:pt idx="3648">
                  <c:v>-1.16812681156871</c:v>
                </c:pt>
                <c:pt idx="3649">
                  <c:v>-1.1282438292330199</c:v>
                </c:pt>
                <c:pt idx="3650">
                  <c:v>-1.16054321692899</c:v>
                </c:pt>
                <c:pt idx="3651">
                  <c:v>-1.12269754615575</c:v>
                </c:pt>
                <c:pt idx="3652">
                  <c:v>-1.1426040363866901</c:v>
                </c:pt>
                <c:pt idx="3653">
                  <c:v>-1.1269161209455201</c:v>
                </c:pt>
                <c:pt idx="3654">
                  <c:v>-1.1112282055043601</c:v>
                </c:pt>
                <c:pt idx="3655">
                  <c:v>-1.0831421717824501</c:v>
                </c:pt>
                <c:pt idx="3656">
                  <c:v>-1.0509762941199301</c:v>
                </c:pt>
                <c:pt idx="3657">
                  <c:v>-1.0113431649317</c:v>
                </c:pt>
                <c:pt idx="3658">
                  <c:v>-0.94699309241144702</c:v>
                </c:pt>
                <c:pt idx="3659">
                  <c:v>-0.84553317909414105</c:v>
                </c:pt>
                <c:pt idx="3660">
                  <c:v>-0.80590004990590802</c:v>
                </c:pt>
                <c:pt idx="3661">
                  <c:v>-0.75978482251464596</c:v>
                </c:pt>
                <c:pt idx="3662">
                  <c:v>-0.79401687385196296</c:v>
                </c:pt>
                <c:pt idx="3663">
                  <c:v>-0.81177096296793305</c:v>
                </c:pt>
                <c:pt idx="3664">
                  <c:v>-0.79037267890869201</c:v>
                </c:pt>
                <c:pt idx="3665">
                  <c:v>-0.81097337861290697</c:v>
                </c:pt>
                <c:pt idx="3666">
                  <c:v>-0.80269799781503104</c:v>
                </c:pt>
                <c:pt idx="3667">
                  <c:v>-0.77794465479580799</c:v>
                </c:pt>
                <c:pt idx="3668">
                  <c:v>-0.77790825510860595</c:v>
                </c:pt>
                <c:pt idx="3669">
                  <c:v>-0.80588369761382705</c:v>
                </c:pt>
                <c:pt idx="3670">
                  <c:v>-0.83385914011904805</c:v>
                </c:pt>
                <c:pt idx="3671">
                  <c:v>-0.88450899357813195</c:v>
                </c:pt>
                <c:pt idx="3672">
                  <c:v>-0.91248443608335295</c:v>
                </c:pt>
                <c:pt idx="3673">
                  <c:v>-0.94153158892845001</c:v>
                </c:pt>
                <c:pt idx="3674">
                  <c:v>-0.94586179844152596</c:v>
                </c:pt>
                <c:pt idx="3675">
                  <c:v>-0.95843098906527502</c:v>
                </c:pt>
                <c:pt idx="3676">
                  <c:v>-0.95452221746767596</c:v>
                </c:pt>
                <c:pt idx="3677">
                  <c:v>-0.935927679970746</c:v>
                </c:pt>
                <c:pt idx="3678">
                  <c:v>-0.93381110469516404</c:v>
                </c:pt>
                <c:pt idx="3679">
                  <c:v>-1.03880128385834</c:v>
                </c:pt>
                <c:pt idx="3680">
                  <c:v>-1.06964063302545</c:v>
                </c:pt>
                <c:pt idx="3681">
                  <c:v>-1.0644477732980699</c:v>
                </c:pt>
                <c:pt idx="3682">
                  <c:v>-1.0345379702386599</c:v>
                </c:pt>
                <c:pt idx="3683">
                  <c:v>-0.93047733718319403</c:v>
                </c:pt>
                <c:pt idx="3684">
                  <c:v>-0.95824040189850401</c:v>
                </c:pt>
                <c:pt idx="3685">
                  <c:v>-0.97901259734467505</c:v>
                </c:pt>
                <c:pt idx="3686">
                  <c:v>-0.99978479279084598</c:v>
                </c:pt>
                <c:pt idx="3687">
                  <c:v>-1.03703495045836</c:v>
                </c:pt>
                <c:pt idx="3688">
                  <c:v>-1.0495681647938599</c:v>
                </c:pt>
                <c:pt idx="3689">
                  <c:v>-1.0218241271711599</c:v>
                </c:pt>
                <c:pt idx="3690">
                  <c:v>-1.00851551939165</c:v>
                </c:pt>
                <c:pt idx="3691">
                  <c:v>-0.98901046287962402</c:v>
                </c:pt>
                <c:pt idx="3692">
                  <c:v>-0.96950540636759797</c:v>
                </c:pt>
                <c:pt idx="3693">
                  <c:v>-0.90372376191569503</c:v>
                </c:pt>
                <c:pt idx="3694">
                  <c:v>-0.854420079685139</c:v>
                </c:pt>
                <c:pt idx="3695">
                  <c:v>-0.78863843523323496</c:v>
                </c:pt>
                <c:pt idx="3696">
                  <c:v>-0.665183923006614</c:v>
                </c:pt>
                <c:pt idx="3697">
                  <c:v>-0.57437426877467102</c:v>
                </c:pt>
                <c:pt idx="3698">
                  <c:v>-0.71910895960777999</c:v>
                </c:pt>
                <c:pt idx="3699">
                  <c:v>-0.65956217624628799</c:v>
                </c:pt>
                <c:pt idx="3700">
                  <c:v>-0.616493355106143</c:v>
                </c:pt>
                <c:pt idx="3701">
                  <c:v>-0.4599592731353</c:v>
                </c:pt>
                <c:pt idx="3702">
                  <c:v>-0.328142134496479</c:v>
                </c:pt>
                <c:pt idx="3703">
                  <c:v>-0.20456397696833101</c:v>
                </c:pt>
                <c:pt idx="3704">
                  <c:v>-3.1551932776140698E-2</c:v>
                </c:pt>
                <c:pt idx="3705">
                  <c:v>-1.1029888268325501E-2</c:v>
                </c:pt>
                <c:pt idx="3706">
                  <c:v>1.2531751288161199E-3</c:v>
                </c:pt>
                <c:pt idx="3707">
                  <c:v>2.1775219636631399E-2</c:v>
                </c:pt>
                <c:pt idx="3708">
                  <c:v>6.7014207476467996E-2</c:v>
                </c:pt>
                <c:pt idx="3709">
                  <c:v>2.8057083380160198E-2</c:v>
                </c:pt>
                <c:pt idx="3710">
                  <c:v>-1.9139021826821499E-2</c:v>
                </c:pt>
                <c:pt idx="3711">
                  <c:v>-4.16181837017826E-2</c:v>
                </c:pt>
                <c:pt idx="3712">
                  <c:v>-3.9380402244721301E-2</c:v>
                </c:pt>
                <c:pt idx="3713">
                  <c:v>9.8160294156870401E-2</c:v>
                </c:pt>
                <c:pt idx="3714">
                  <c:v>0.25217895277980901</c:v>
                </c:pt>
                <c:pt idx="3715">
                  <c:v>0.33204678140668398</c:v>
                </c:pt>
                <c:pt idx="3716">
                  <c:v>0.55409389370692497</c:v>
                </c:pt>
                <c:pt idx="3717">
                  <c:v>0.60830775465629106</c:v>
                </c:pt>
                <c:pt idx="3718">
                  <c:v>0.68112140343462801</c:v>
                </c:pt>
                <c:pt idx="3719">
                  <c:v>0.82203757830402302</c:v>
                </c:pt>
                <c:pt idx="3720">
                  <c:v>0.60195216815422603</c:v>
                </c:pt>
                <c:pt idx="3721">
                  <c:v>0.88061238774664297</c:v>
                </c:pt>
                <c:pt idx="3722">
                  <c:v>0.744677998485756</c:v>
                </c:pt>
                <c:pt idx="3723">
                  <c:v>0.80277489482491904</c:v>
                </c:pt>
                <c:pt idx="3724">
                  <c:v>0.10992890984128</c:v>
                </c:pt>
                <c:pt idx="3725">
                  <c:v>0.70924713650350302</c:v>
                </c:pt>
                <c:pt idx="3726">
                  <c:v>0.74137747476985505</c:v>
                </c:pt>
                <c:pt idx="3727">
                  <c:v>0.40418273286116302</c:v>
                </c:pt>
                <c:pt idx="3728">
                  <c:v>-0.34781317269495499</c:v>
                </c:pt>
                <c:pt idx="3729">
                  <c:v>0.12752318954450101</c:v>
                </c:pt>
                <c:pt idx="3730">
                  <c:v>0.56824711947901496</c:v>
                </c:pt>
                <c:pt idx="3731">
                  <c:v>0.57563372871945595</c:v>
                </c:pt>
                <c:pt idx="3732">
                  <c:v>0.86549495938740495</c:v>
                </c:pt>
                <c:pt idx="3733">
                  <c:v>0.82577760148470802</c:v>
                </c:pt>
                <c:pt idx="3734">
                  <c:v>0.78182703399818798</c:v>
                </c:pt>
                <c:pt idx="3735">
                  <c:v>0.61632906141400501</c:v>
                </c:pt>
                <c:pt idx="3736">
                  <c:v>0.57237849392748497</c:v>
                </c:pt>
                <c:pt idx="3737">
                  <c:v>0.48014275502637299</c:v>
                </c:pt>
                <c:pt idx="3738">
                  <c:v>0.37982140065781</c:v>
                </c:pt>
                <c:pt idx="3739">
                  <c:v>0.240940252424066</c:v>
                </c:pt>
                <c:pt idx="3740">
                  <c:v>0.424162668850943</c:v>
                </c:pt>
                <c:pt idx="3741">
                  <c:v>0.31663187415655802</c:v>
                </c:pt>
                <c:pt idx="3742">
                  <c:v>0.29776663253089303</c:v>
                </c:pt>
                <c:pt idx="3743">
                  <c:v>0.14050044070173501</c:v>
                </c:pt>
                <c:pt idx="3744">
                  <c:v>0.19374871750969</c:v>
                </c:pt>
                <c:pt idx="3745">
                  <c:v>0.41495780480081002</c:v>
                </c:pt>
                <c:pt idx="3746">
                  <c:v>6.8127661434773001E-2</c:v>
                </c:pt>
                <c:pt idx="3747">
                  <c:v>-6.2819359356117701E-3</c:v>
                </c:pt>
                <c:pt idx="3748">
                  <c:v>-0.144338632571967</c:v>
                </c:pt>
                <c:pt idx="3749">
                  <c:v>-0.20366535192833701</c:v>
                </c:pt>
                <c:pt idx="3750">
                  <c:v>-0.24644003664960701</c:v>
                </c:pt>
                <c:pt idx="3751">
                  <c:v>-0.361323018988782</c:v>
                </c:pt>
                <c:pt idx="3752">
                  <c:v>-0.41029415244256601</c:v>
                </c:pt>
                <c:pt idx="3753">
                  <c:v>-0.42620818062848997</c:v>
                </c:pt>
                <c:pt idx="3754">
                  <c:v>-0.41324612831232199</c:v>
                </c:pt>
                <c:pt idx="3755">
                  <c:v>-0.41880457059565901</c:v>
                </c:pt>
                <c:pt idx="3756">
                  <c:v>-0.44696857223481901</c:v>
                </c:pt>
                <c:pt idx="3757">
                  <c:v>-0.48445039421207797</c:v>
                </c:pt>
                <c:pt idx="3758">
                  <c:v>-0.60031625576922598</c:v>
                </c:pt>
                <c:pt idx="3759">
                  <c:v>-0.631675701427723</c:v>
                </c:pt>
                <c:pt idx="3760">
                  <c:v>-0.640360736132358</c:v>
                </c:pt>
                <c:pt idx="3761">
                  <c:v>-0.75288691610104796</c:v>
                </c:pt>
                <c:pt idx="3762">
                  <c:v>-0.74379683937403596</c:v>
                </c:pt>
                <c:pt idx="3763">
                  <c:v>-0.74914219249021397</c:v>
                </c:pt>
                <c:pt idx="3764">
                  <c:v>-0.72765921829817104</c:v>
                </c:pt>
                <c:pt idx="3765">
                  <c:v>-0.73343596764010199</c:v>
                </c:pt>
                <c:pt idx="3766">
                  <c:v>-0.66083389821785798</c:v>
                </c:pt>
                <c:pt idx="3767">
                  <c:v>-0.66449926358359102</c:v>
                </c:pt>
                <c:pt idx="3768">
                  <c:v>-0.71563005564896098</c:v>
                </c:pt>
                <c:pt idx="3769">
                  <c:v>-0.66399529223599496</c:v>
                </c:pt>
                <c:pt idx="3770">
                  <c:v>-0.79207842532882999</c:v>
                </c:pt>
                <c:pt idx="3771">
                  <c:v>-0.87051589614778702</c:v>
                </c:pt>
                <c:pt idx="3772">
                  <c:v>-0.92007728646465303</c:v>
                </c:pt>
                <c:pt idx="3773">
                  <c:v>-0.96360190776438803</c:v>
                </c:pt>
                <c:pt idx="3774">
                  <c:v>-0.98860603446461603</c:v>
                </c:pt>
                <c:pt idx="3775">
                  <c:v>-0.93326288243626598</c:v>
                </c:pt>
                <c:pt idx="3776">
                  <c:v>-0.91707210358312596</c:v>
                </c:pt>
                <c:pt idx="3777">
                  <c:v>-0.87411813297751595</c:v>
                </c:pt>
                <c:pt idx="3778">
                  <c:v>-0.81468620015055804</c:v>
                </c:pt>
                <c:pt idx="3779">
                  <c:v>-0.76349324843427502</c:v>
                </c:pt>
                <c:pt idx="3780">
                  <c:v>-0.72258181020682299</c:v>
                </c:pt>
                <c:pt idx="3781">
                  <c:v>-0.73049503034865004</c:v>
                </c:pt>
                <c:pt idx="3782">
                  <c:v>-0.75488621271182599</c:v>
                </c:pt>
                <c:pt idx="3783">
                  <c:v>-0.76279943285365404</c:v>
                </c:pt>
                <c:pt idx="3784">
                  <c:v>-0.77071265299548197</c:v>
                </c:pt>
                <c:pt idx="3785">
                  <c:v>-0.747887364588815</c:v>
                </c:pt>
                <c:pt idx="3786">
                  <c:v>-0.72506207618214802</c:v>
                </c:pt>
                <c:pt idx="3787">
                  <c:v>-0.70835916409424204</c:v>
                </c:pt>
                <c:pt idx="3788">
                  <c:v>-0.69793199396831995</c:v>
                </c:pt>
                <c:pt idx="3789">
                  <c:v>-0.69087855467415504</c:v>
                </c:pt>
                <c:pt idx="3790">
                  <c:v>-0.70854205871201204</c:v>
                </c:pt>
                <c:pt idx="3791">
                  <c:v>-0.69324963830717301</c:v>
                </c:pt>
                <c:pt idx="3792">
                  <c:v>-0.69443518012368299</c:v>
                </c:pt>
                <c:pt idx="3793">
                  <c:v>-0.65416368882443798</c:v>
                </c:pt>
                <c:pt idx="3794">
                  <c:v>-0.59741423530384496</c:v>
                </c:pt>
                <c:pt idx="3795">
                  <c:v>-0.55094629527208505</c:v>
                </c:pt>
                <c:pt idx="3796">
                  <c:v>-0.48595786064081897</c:v>
                </c:pt>
                <c:pt idx="3797">
                  <c:v>-0.37874287680156399</c:v>
                </c:pt>
                <c:pt idx="3798">
                  <c:v>-0.29420230391617203</c:v>
                </c:pt>
                <c:pt idx="3799">
                  <c:v>-0.17874833896624301</c:v>
                </c:pt>
                <c:pt idx="3800">
                  <c:v>-6.3294374016314797E-2</c:v>
                </c:pt>
                <c:pt idx="3801">
                  <c:v>-7.3795667371448201E-2</c:v>
                </c:pt>
                <c:pt idx="3802">
                  <c:v>-8.4296960726581494E-2</c:v>
                </c:pt>
                <c:pt idx="3803">
                  <c:v>-9.47982540817148E-2</c:v>
                </c:pt>
                <c:pt idx="3804">
                  <c:v>-8.1884584633337108E-3</c:v>
                </c:pt>
                <c:pt idx="3805">
                  <c:v>-0.12589492777809799</c:v>
                </c:pt>
                <c:pt idx="3806">
                  <c:v>-4.9379219145832598E-2</c:v>
                </c:pt>
                <c:pt idx="3807">
                  <c:v>-0.12793331528538601</c:v>
                </c:pt>
                <c:pt idx="3808">
                  <c:v>-0.14852869562663601</c:v>
                </c:pt>
                <c:pt idx="3809">
                  <c:v>-0.169012881576728</c:v>
                </c:pt>
                <c:pt idx="3810">
                  <c:v>-0.12970759496019199</c:v>
                </c:pt>
                <c:pt idx="3811">
                  <c:v>-7.6040950914221597E-2</c:v>
                </c:pt>
                <c:pt idx="3812">
                  <c:v>-0.104764117974988</c:v>
                </c:pt>
                <c:pt idx="3813">
                  <c:v>-0.12951535046722801</c:v>
                </c:pt>
                <c:pt idx="3814">
                  <c:v>-7.5961836609048303E-2</c:v>
                </c:pt>
                <c:pt idx="3815">
                  <c:v>0.12195641731245099</c:v>
                </c:pt>
                <c:pt idx="3816">
                  <c:v>0.13840009037357801</c:v>
                </c:pt>
                <c:pt idx="3817">
                  <c:v>0.17916388204806899</c:v>
                </c:pt>
                <c:pt idx="3818">
                  <c:v>0.32929917778073797</c:v>
                </c:pt>
                <c:pt idx="3819">
                  <c:v>0.37626463900345802</c:v>
                </c:pt>
                <c:pt idx="3820">
                  <c:v>0.46676382781272002</c:v>
                </c:pt>
                <c:pt idx="3821">
                  <c:v>0.46723456452426099</c:v>
                </c:pt>
                <c:pt idx="3822">
                  <c:v>0.36664162988633803</c:v>
                </c:pt>
                <c:pt idx="3823">
                  <c:v>0.19386110440104201</c:v>
                </c:pt>
                <c:pt idx="3824">
                  <c:v>0.266667576787464</c:v>
                </c:pt>
                <c:pt idx="3825">
                  <c:v>0.252133373467122</c:v>
                </c:pt>
                <c:pt idx="3826">
                  <c:v>0.26428457344320599</c:v>
                </c:pt>
                <c:pt idx="3827">
                  <c:v>6.8186054401600096E-2</c:v>
                </c:pt>
                <c:pt idx="3828">
                  <c:v>-8.2542262772823897E-3</c:v>
                </c:pt>
                <c:pt idx="3829">
                  <c:v>-1.05016113152453E-2</c:v>
                </c:pt>
                <c:pt idx="3830">
                  <c:v>5.7321989702252003E-2</c:v>
                </c:pt>
                <c:pt idx="3831">
                  <c:v>-0.25153482241663799</c:v>
                </c:pt>
                <c:pt idx="3832">
                  <c:v>-9.57070992384908E-2</c:v>
                </c:pt>
                <c:pt idx="3833">
                  <c:v>-9.2745679439490997E-2</c:v>
                </c:pt>
                <c:pt idx="3834">
                  <c:v>9.1557838839511699E-2</c:v>
                </c:pt>
                <c:pt idx="3835">
                  <c:v>2.4374200169297099E-2</c:v>
                </c:pt>
                <c:pt idx="3836">
                  <c:v>4.5871366006801396E-3</c:v>
                </c:pt>
                <c:pt idx="3837">
                  <c:v>-0.170571398811241</c:v>
                </c:pt>
                <c:pt idx="3838">
                  <c:v>0.15928169123771899</c:v>
                </c:pt>
                <c:pt idx="3839">
                  <c:v>0.16349679434139699</c:v>
                </c:pt>
                <c:pt idx="3840">
                  <c:v>0.32032606025049398</c:v>
                </c:pt>
                <c:pt idx="3841">
                  <c:v>0.27541813339416299</c:v>
                </c:pt>
                <c:pt idx="3842">
                  <c:v>9.6342465918163006E-2</c:v>
                </c:pt>
                <c:pt idx="3843">
                  <c:v>1.0239633508461901E-2</c:v>
                </c:pt>
                <c:pt idx="3844">
                  <c:v>-2.4312707445284101E-2</c:v>
                </c:pt>
                <c:pt idx="3845">
                  <c:v>-0.206332578274842</c:v>
                </c:pt>
                <c:pt idx="3846">
                  <c:v>-0.30718515300881499</c:v>
                </c:pt>
                <c:pt idx="3847">
                  <c:v>-0.18297640045764299</c:v>
                </c:pt>
                <c:pt idx="3848">
                  <c:v>-0.18773923756351399</c:v>
                </c:pt>
                <c:pt idx="3849">
                  <c:v>-0.15849575833622201</c:v>
                </c:pt>
                <c:pt idx="3850">
                  <c:v>-0.24679391267974099</c:v>
                </c:pt>
                <c:pt idx="3851">
                  <c:v>-0.26910092490840398</c:v>
                </c:pt>
                <c:pt idx="3852">
                  <c:v>-0.34916009814124999</c:v>
                </c:pt>
                <c:pt idx="3853">
                  <c:v>-0.467508022544946</c:v>
                </c:pt>
                <c:pt idx="3854">
                  <c:v>-0.63324730123452599</c:v>
                </c:pt>
                <c:pt idx="3855">
                  <c:v>-0.77018979265148102</c:v>
                </c:pt>
                <c:pt idx="3856">
                  <c:v>-0.87613959877443204</c:v>
                </c:pt>
                <c:pt idx="3857">
                  <c:v>-0.95816938272438801</c:v>
                </c:pt>
                <c:pt idx="3858">
                  <c:v>-0.93082766261616401</c:v>
                </c:pt>
                <c:pt idx="3859">
                  <c:v>-1.02109642767679</c:v>
                </c:pt>
                <c:pt idx="3860">
                  <c:v>-0.94424674849077295</c:v>
                </c:pt>
                <c:pt idx="3861">
                  <c:v>-0.94138546938922596</c:v>
                </c:pt>
                <c:pt idx="3862">
                  <c:v>-0.95500215250902498</c:v>
                </c:pt>
                <c:pt idx="3863">
                  <c:v>-0.97685781673950001</c:v>
                </c:pt>
                <c:pt idx="3864">
                  <c:v>-1.0235044967157501</c:v>
                </c:pt>
                <c:pt idx="3865">
                  <c:v>-1.18811530781555</c:v>
                </c:pt>
                <c:pt idx="3866">
                  <c:v>-1.12997211845643</c:v>
                </c:pt>
                <c:pt idx="3867">
                  <c:v>-1.28845533242176</c:v>
                </c:pt>
                <c:pt idx="3868">
                  <c:v>-1.3375670423289101</c:v>
                </c:pt>
                <c:pt idx="3869">
                  <c:v>-1.37223212392998</c:v>
                </c:pt>
                <c:pt idx="3870">
                  <c:v>-1.4090138103229499</c:v>
                </c:pt>
                <c:pt idx="3871">
                  <c:v>-1.48902771383174</c:v>
                </c:pt>
                <c:pt idx="3872">
                  <c:v>-1.5484838111785799</c:v>
                </c:pt>
                <c:pt idx="3873">
                  <c:v>-1.5670050477915001</c:v>
                </c:pt>
                <c:pt idx="3874">
                  <c:v>-1.3835627489801301</c:v>
                </c:pt>
                <c:pt idx="3875">
                  <c:v>-1.5092648124455601</c:v>
                </c:pt>
                <c:pt idx="3876">
                  <c:v>-1.5566569087448601</c:v>
                </c:pt>
                <c:pt idx="3877">
                  <c:v>-1.55625680704811</c:v>
                </c:pt>
                <c:pt idx="3878">
                  <c:v>-1.5764197323290301</c:v>
                </c:pt>
                <c:pt idx="3879">
                  <c:v>-1.5615842007890901</c:v>
                </c:pt>
                <c:pt idx="3880">
                  <c:v>-1.4849218851200801</c:v>
                </c:pt>
                <c:pt idx="3881">
                  <c:v>-1.51711551916236</c:v>
                </c:pt>
                <c:pt idx="3882">
                  <c:v>-1.51431069638379</c:v>
                </c:pt>
                <c:pt idx="3883">
                  <c:v>-1.47855516997823</c:v>
                </c:pt>
                <c:pt idx="3884">
                  <c:v>-1.4860318606884899</c:v>
                </c:pt>
                <c:pt idx="3885">
                  <c:v>-1.55640843285042</c:v>
                </c:pt>
                <c:pt idx="3886">
                  <c:v>-0.485072178964848</c:v>
                </c:pt>
                <c:pt idx="3887">
                  <c:v>-0.39746997380064703</c:v>
                </c:pt>
                <c:pt idx="3888">
                  <c:v>-0.29740601957337598</c:v>
                </c:pt>
                <c:pt idx="3889">
                  <c:v>-0.19726799293235001</c:v>
                </c:pt>
                <c:pt idx="3890">
                  <c:v>0.32376844269357202</c:v>
                </c:pt>
                <c:pt idx="3891">
                  <c:v>8.0808579297559895E-3</c:v>
                </c:pt>
                <c:pt idx="3892">
                  <c:v>0.16889918019349801</c:v>
                </c:pt>
                <c:pt idx="3893">
                  <c:v>1.19481345538628E-2</c:v>
                </c:pt>
                <c:pt idx="3894">
                  <c:v>0.17844904209767001</c:v>
                </c:pt>
                <c:pt idx="3895">
                  <c:v>0.11176107005050299</c:v>
                </c:pt>
                <c:pt idx="3896">
                  <c:v>-0.10338714844772701</c:v>
                </c:pt>
                <c:pt idx="3897">
                  <c:v>-0.147469561139072</c:v>
                </c:pt>
                <c:pt idx="3898">
                  <c:v>-0.15687848247097799</c:v>
                </c:pt>
                <c:pt idx="3899">
                  <c:v>-0.137411323300794</c:v>
                </c:pt>
                <c:pt idx="3900">
                  <c:v>-8.9142156042271201E-2</c:v>
                </c:pt>
                <c:pt idx="3901">
                  <c:v>-0.181168326537891</c:v>
                </c:pt>
                <c:pt idx="3902">
                  <c:v>-0.16817156040810199</c:v>
                </c:pt>
                <c:pt idx="3903">
                  <c:v>-0.23363812708766901</c:v>
                </c:pt>
                <c:pt idx="3904">
                  <c:v>-0.23114509168797301</c:v>
                </c:pt>
                <c:pt idx="3905">
                  <c:v>-0.14815141191647699</c:v>
                </c:pt>
                <c:pt idx="3906">
                  <c:v>-0.36210308447848399</c:v>
                </c:pt>
                <c:pt idx="3907">
                  <c:v>-7.9044233001881806E-2</c:v>
                </c:pt>
                <c:pt idx="3908">
                  <c:v>-0.19404883900633599</c:v>
                </c:pt>
                <c:pt idx="3909">
                  <c:v>-0.21214369001568301</c:v>
                </c:pt>
                <c:pt idx="3910">
                  <c:v>-0.17398729245597599</c:v>
                </c:pt>
                <c:pt idx="3911">
                  <c:v>-0.28852435093115603</c:v>
                </c:pt>
                <c:pt idx="3912">
                  <c:v>-0.26064946686028001</c:v>
                </c:pt>
                <c:pt idx="3913">
                  <c:v>-0.107142112935427</c:v>
                </c:pt>
                <c:pt idx="3914">
                  <c:v>-0.35112205560725102</c:v>
                </c:pt>
                <c:pt idx="3915">
                  <c:v>-0.34134487089472298</c:v>
                </c:pt>
                <c:pt idx="3916">
                  <c:v>-0.35235293040112098</c:v>
                </c:pt>
                <c:pt idx="3917">
                  <c:v>-0.46435058884322999</c:v>
                </c:pt>
                <c:pt idx="3918">
                  <c:v>-0.45556513616356098</c:v>
                </c:pt>
                <c:pt idx="3919">
                  <c:v>-0.39734057600413503</c:v>
                </c:pt>
                <c:pt idx="3920">
                  <c:v>-0.440179687194174</c:v>
                </c:pt>
                <c:pt idx="3921">
                  <c:v>-0.47885966121414297</c:v>
                </c:pt>
                <c:pt idx="3922">
                  <c:v>-0.49395913603672498</c:v>
                </c:pt>
                <c:pt idx="3923">
                  <c:v>-0.48842151146788998</c:v>
                </c:pt>
                <c:pt idx="3924">
                  <c:v>-0.50147845391231405</c:v>
                </c:pt>
                <c:pt idx="3925">
                  <c:v>-0.53305589095624395</c:v>
                </c:pt>
                <c:pt idx="3926">
                  <c:v>-0.57098081244978305</c:v>
                </c:pt>
                <c:pt idx="3927">
                  <c:v>-0.58819456213815102</c:v>
                </c:pt>
                <c:pt idx="3928">
                  <c:v>-0.84879941167685602</c:v>
                </c:pt>
                <c:pt idx="3929">
                  <c:v>-0.894889241867315</c:v>
                </c:pt>
                <c:pt idx="3930">
                  <c:v>-1.1249349690810799</c:v>
                </c:pt>
                <c:pt idx="3931">
                  <c:v>-1.1549011067897801</c:v>
                </c:pt>
                <c:pt idx="3932">
                  <c:v>-1.2200138461468399</c:v>
                </c:pt>
                <c:pt idx="3933">
                  <c:v>-1.23554455401236</c:v>
                </c:pt>
                <c:pt idx="3934">
                  <c:v>-1.3012086800590399</c:v>
                </c:pt>
                <c:pt idx="3935">
                  <c:v>-1.3937063542296499</c:v>
                </c:pt>
                <c:pt idx="3936">
                  <c:v>-1.34810980948322</c:v>
                </c:pt>
                <c:pt idx="3937">
                  <c:v>-1.51679562521234</c:v>
                </c:pt>
                <c:pt idx="3938">
                  <c:v>-1.5939308272086801</c:v>
                </c:pt>
                <c:pt idx="3939">
                  <c:v>-1.65247146219175</c:v>
                </c:pt>
                <c:pt idx="3940">
                  <c:v>-1.68833768622096</c:v>
                </c:pt>
                <c:pt idx="3941">
                  <c:v>-1.7159649291395001</c:v>
                </c:pt>
                <c:pt idx="3942">
                  <c:v>-1.6875124864959099</c:v>
                </c:pt>
                <c:pt idx="3943">
                  <c:v>-0.66901592635905804</c:v>
                </c:pt>
                <c:pt idx="3944">
                  <c:v>-0.59696740138854998</c:v>
                </c:pt>
                <c:pt idx="3945">
                  <c:v>-0.259335326800124</c:v>
                </c:pt>
                <c:pt idx="3946">
                  <c:v>-0.222428182662264</c:v>
                </c:pt>
                <c:pt idx="3947">
                  <c:v>-0.109105458908921</c:v>
                </c:pt>
                <c:pt idx="3948">
                  <c:v>-0.19118165139337401</c:v>
                </c:pt>
                <c:pt idx="3949">
                  <c:v>-0.34967342349330999</c:v>
                </c:pt>
                <c:pt idx="3950">
                  <c:v>-0.39062356202243398</c:v>
                </c:pt>
                <c:pt idx="3951">
                  <c:v>-0.49333163308259198</c:v>
                </c:pt>
                <c:pt idx="3952">
                  <c:v>-0.30154629920271397</c:v>
                </c:pt>
                <c:pt idx="3953">
                  <c:v>-0.40668145822496099</c:v>
                </c:pt>
                <c:pt idx="3954">
                  <c:v>-0.37159535190681903</c:v>
                </c:pt>
                <c:pt idx="3955">
                  <c:v>-0.51807878212565694</c:v>
                </c:pt>
                <c:pt idx="3956">
                  <c:v>-0.32778074843501898</c:v>
                </c:pt>
                <c:pt idx="3957">
                  <c:v>-0.30037839103863301</c:v>
                </c:pt>
                <c:pt idx="3958">
                  <c:v>-0.39271356523443801</c:v>
                </c:pt>
                <c:pt idx="3959">
                  <c:v>-0.37151287738628103</c:v>
                </c:pt>
                <c:pt idx="3960">
                  <c:v>-0.444475906283886</c:v>
                </c:pt>
                <c:pt idx="3961">
                  <c:v>-0.37722289065681702</c:v>
                </c:pt>
                <c:pt idx="3962">
                  <c:v>-0.42539490380864797</c:v>
                </c:pt>
                <c:pt idx="3963">
                  <c:v>-0.42617034185887998</c:v>
                </c:pt>
                <c:pt idx="3964">
                  <c:v>-0.365297420969946</c:v>
                </c:pt>
                <c:pt idx="3965">
                  <c:v>-0.32914144341303098</c:v>
                </c:pt>
                <c:pt idx="3966">
                  <c:v>-0.32390407873636801</c:v>
                </c:pt>
                <c:pt idx="3967">
                  <c:v>-0.287822173593208</c:v>
                </c:pt>
                <c:pt idx="3968">
                  <c:v>-0.372979946003686</c:v>
                </c:pt>
                <c:pt idx="3969">
                  <c:v>-0.44370228857097499</c:v>
                </c:pt>
                <c:pt idx="3970">
                  <c:v>-0.62372728359840202</c:v>
                </c:pt>
                <c:pt idx="3971">
                  <c:v>-0.63253832799143705</c:v>
                </c:pt>
                <c:pt idx="3972">
                  <c:v>-0.70098346219015395</c:v>
                </c:pt>
                <c:pt idx="3973">
                  <c:v>-0.80654365800163597</c:v>
                </c:pt>
                <c:pt idx="3974">
                  <c:v>-0.72032687620106195</c:v>
                </c:pt>
                <c:pt idx="3975">
                  <c:v>-0.92075429462949399</c:v>
                </c:pt>
                <c:pt idx="3976">
                  <c:v>-0.831478568919372</c:v>
                </c:pt>
                <c:pt idx="3977">
                  <c:v>-0.88650395249024105</c:v>
                </c:pt>
                <c:pt idx="3978">
                  <c:v>-0.79722822678011995</c:v>
                </c:pt>
                <c:pt idx="3979">
                  <c:v>-0.91620222008768804</c:v>
                </c:pt>
                <c:pt idx="3980">
                  <c:v>-0.96848519914654696</c:v>
                </c:pt>
                <c:pt idx="3981">
                  <c:v>-1.03928867280491</c:v>
                </c:pt>
                <c:pt idx="3982">
                  <c:v>-1.1286867134765399</c:v>
                </c:pt>
                <c:pt idx="3983">
                  <c:v>-1.22836104682128</c:v>
                </c:pt>
                <c:pt idx="3984">
                  <c:v>-1.23855885994162</c:v>
                </c:pt>
                <c:pt idx="3985">
                  <c:v>-1.33129462899621</c:v>
                </c:pt>
                <c:pt idx="3986">
                  <c:v>-1.3352907725683301</c:v>
                </c:pt>
                <c:pt idx="3987">
                  <c:v>-1.3310479350297699</c:v>
                </c:pt>
                <c:pt idx="3988">
                  <c:v>-1.3985689616517101</c:v>
                </c:pt>
                <c:pt idx="3989">
                  <c:v>-1.47432896938433</c:v>
                </c:pt>
                <c:pt idx="3990">
                  <c:v>-1.51917558505242</c:v>
                </c:pt>
                <c:pt idx="3991">
                  <c:v>-1.5722559610154601</c:v>
                </c:pt>
                <c:pt idx="3992">
                  <c:v>-1.55917889358576</c:v>
                </c:pt>
                <c:pt idx="3993">
                  <c:v>-1.5791318230125</c:v>
                </c:pt>
                <c:pt idx="3994">
                  <c:v>-1.59492561526918</c:v>
                </c:pt>
                <c:pt idx="3995">
                  <c:v>-1.6169210770740801</c:v>
                </c:pt>
                <c:pt idx="3996">
                  <c:v>-1.6997175425720701</c:v>
                </c:pt>
                <c:pt idx="3997">
                  <c:v>-0.61433140992413704</c:v>
                </c:pt>
                <c:pt idx="3998">
                  <c:v>-0.53248438827136602</c:v>
                </c:pt>
                <c:pt idx="3999">
                  <c:v>-0.48660904086801599</c:v>
                </c:pt>
                <c:pt idx="4000">
                  <c:v>-0.18354249060064101</c:v>
                </c:pt>
                <c:pt idx="4001">
                  <c:v>-0.108870355924666</c:v>
                </c:pt>
                <c:pt idx="4002">
                  <c:v>2.3553939755492401E-2</c:v>
                </c:pt>
                <c:pt idx="4003">
                  <c:v>1.65191785137771E-2</c:v>
                </c:pt>
                <c:pt idx="4004">
                  <c:v>0.10843670464532899</c:v>
                </c:pt>
                <c:pt idx="4005">
                  <c:v>-0.12347388266293199</c:v>
                </c:pt>
                <c:pt idx="4006">
                  <c:v>-0.21720573700896201</c:v>
                </c:pt>
                <c:pt idx="4007">
                  <c:v>7.6288325023153303E-2</c:v>
                </c:pt>
                <c:pt idx="4008">
                  <c:v>-0.141811711654038</c:v>
                </c:pt>
                <c:pt idx="4009">
                  <c:v>-0.124749187960137</c:v>
                </c:pt>
                <c:pt idx="4010">
                  <c:v>-8.0779043728548799E-2</c:v>
                </c:pt>
                <c:pt idx="4011">
                  <c:v>-7.89156073594771E-2</c:v>
                </c:pt>
                <c:pt idx="4012">
                  <c:v>-6.6696585087819296E-2</c:v>
                </c:pt>
                <c:pt idx="4013">
                  <c:v>-5.2360958024249699E-2</c:v>
                </c:pt>
                <c:pt idx="4014">
                  <c:v>-0.14543881668588099</c:v>
                </c:pt>
                <c:pt idx="4015">
                  <c:v>-0.163768669782797</c:v>
                </c:pt>
                <c:pt idx="4016">
                  <c:v>-6.8636733249505394E-2</c:v>
                </c:pt>
                <c:pt idx="4017">
                  <c:v>-0.126050107923592</c:v>
                </c:pt>
                <c:pt idx="4018">
                  <c:v>-0.113461348140259</c:v>
                </c:pt>
                <c:pt idx="4019">
                  <c:v>-0.119246552593053</c:v>
                </c:pt>
                <c:pt idx="4020">
                  <c:v>-0.21989897966279601</c:v>
                </c:pt>
                <c:pt idx="4021">
                  <c:v>-0.18864319491657799</c:v>
                </c:pt>
                <c:pt idx="4022">
                  <c:v>-0.14900028423217901</c:v>
                </c:pt>
                <c:pt idx="4023">
                  <c:v>-0.29517907688866502</c:v>
                </c:pt>
                <c:pt idx="4024">
                  <c:v>-0.15668212928055</c:v>
                </c:pt>
                <c:pt idx="4025">
                  <c:v>-0.443156259691179</c:v>
                </c:pt>
                <c:pt idx="4026">
                  <c:v>-0.68427634737836895</c:v>
                </c:pt>
                <c:pt idx="4027">
                  <c:v>-0.80017307275288296</c:v>
                </c:pt>
                <c:pt idx="4028">
                  <c:v>-0.75083007898425702</c:v>
                </c:pt>
                <c:pt idx="4029">
                  <c:v>-0.792422608719487</c:v>
                </c:pt>
                <c:pt idx="4030">
                  <c:v>-0.82773939649273198</c:v>
                </c:pt>
                <c:pt idx="4031">
                  <c:v>-0.73927580787963998</c:v>
                </c:pt>
                <c:pt idx="4032">
                  <c:v>-0.721036570965229</c:v>
                </c:pt>
                <c:pt idx="4033">
                  <c:v>-0.74194970722602904</c:v>
                </c:pt>
                <c:pt idx="4034">
                  <c:v>-0.74631080885172696</c:v>
                </c:pt>
                <c:pt idx="4035">
                  <c:v>-0.79394849340283402</c:v>
                </c:pt>
                <c:pt idx="4036">
                  <c:v>-0.82714552729503898</c:v>
                </c:pt>
                <c:pt idx="4037">
                  <c:v>-0.95527863540223401</c:v>
                </c:pt>
                <c:pt idx="4038">
                  <c:v>-1.08129513871752</c:v>
                </c:pt>
                <c:pt idx="4039">
                  <c:v>-1.2175877914605899</c:v>
                </c:pt>
                <c:pt idx="4040">
                  <c:v>-1.3745123227793701</c:v>
                </c:pt>
                <c:pt idx="4041">
                  <c:v>-1.46545093279901</c:v>
                </c:pt>
                <c:pt idx="4042">
                  <c:v>-1.56666583549176</c:v>
                </c:pt>
                <c:pt idx="4043">
                  <c:v>-1.6257264627774</c:v>
                </c:pt>
                <c:pt idx="4044">
                  <c:v>-0.29874863829688603</c:v>
                </c:pt>
                <c:pt idx="4045">
                  <c:v>-0.41994162476497798</c:v>
                </c:pt>
                <c:pt idx="4046">
                  <c:v>-0.36591488907182701</c:v>
                </c:pt>
                <c:pt idx="4047">
                  <c:v>-0.47463568484541901</c:v>
                </c:pt>
                <c:pt idx="4048">
                  <c:v>-0.38229224993411498</c:v>
                </c:pt>
                <c:pt idx="4049">
                  <c:v>-0.24051492835876701</c:v>
                </c:pt>
                <c:pt idx="4050">
                  <c:v>-0.240996183686254</c:v>
                </c:pt>
                <c:pt idx="4051">
                  <c:v>-0.21464389088980701</c:v>
                </c:pt>
                <c:pt idx="4052">
                  <c:v>1.5969119612026001E-3</c:v>
                </c:pt>
                <c:pt idx="4053">
                  <c:v>6.9155251119888003E-2</c:v>
                </c:pt>
                <c:pt idx="4054">
                  <c:v>6.6790749050620102E-2</c:v>
                </c:pt>
                <c:pt idx="4055">
                  <c:v>-9.6733628221183393E-2</c:v>
                </c:pt>
                <c:pt idx="4056" formatCode="0.00E+00">
                  <c:v>-6.3239765398792596E-6</c:v>
                </c:pt>
                <c:pt idx="4057">
                  <c:v>0.17306770828554599</c:v>
                </c:pt>
                <c:pt idx="4058">
                  <c:v>0.108862575384629</c:v>
                </c:pt>
                <c:pt idx="4059">
                  <c:v>-4.5976570549413502E-2</c:v>
                </c:pt>
                <c:pt idx="4060">
                  <c:v>-1.50072956138188E-2</c:v>
                </c:pt>
                <c:pt idx="4061">
                  <c:v>-7.2629501333190793E-2</c:v>
                </c:pt>
                <c:pt idx="4062">
                  <c:v>-6.00273553538812E-2</c:v>
                </c:pt>
                <c:pt idx="4063">
                  <c:v>-6.2014004860981103E-2</c:v>
                </c:pt>
                <c:pt idx="4064">
                  <c:v>-5.32149964763819E-2</c:v>
                </c:pt>
                <c:pt idx="4065">
                  <c:v>-0.17828743905643499</c:v>
                </c:pt>
                <c:pt idx="4066">
                  <c:v>-0.30335988163648803</c:v>
                </c:pt>
                <c:pt idx="4067">
                  <c:v>-0.31519797264330601</c:v>
                </c:pt>
                <c:pt idx="4068">
                  <c:v>-0.27855288700686698</c:v>
                </c:pt>
                <c:pt idx="4069">
                  <c:v>-0.20668190649259999</c:v>
                </c:pt>
                <c:pt idx="4070">
                  <c:v>-8.7567716519956207E-2</c:v>
                </c:pt>
                <c:pt idx="4071">
                  <c:v>-9.2270902080106798E-2</c:v>
                </c:pt>
                <c:pt idx="4072">
                  <c:v>-0.106780518897185</c:v>
                </c:pt>
                <c:pt idx="4073">
                  <c:v>-0.13187315967382501</c:v>
                </c:pt>
                <c:pt idx="4074">
                  <c:v>-0.212447991019515</c:v>
                </c:pt>
                <c:pt idx="4075">
                  <c:v>-0.132090385219644</c:v>
                </c:pt>
                <c:pt idx="4076">
                  <c:v>-0.150627038491086</c:v>
                </c:pt>
                <c:pt idx="4077">
                  <c:v>-7.40690310886047E-2</c:v>
                </c:pt>
                <c:pt idx="4078">
                  <c:v>-0.15020447972101</c:v>
                </c:pt>
                <c:pt idx="4079">
                  <c:v>-0.22445076161847799</c:v>
                </c:pt>
                <c:pt idx="4080">
                  <c:v>-0.139543016728815</c:v>
                </c:pt>
                <c:pt idx="4081">
                  <c:v>-0.151619099248015</c:v>
                </c:pt>
                <c:pt idx="4082">
                  <c:v>-0.231802928673983</c:v>
                </c:pt>
                <c:pt idx="4083">
                  <c:v>-0.355372340858987</c:v>
                </c:pt>
                <c:pt idx="4084">
                  <c:v>-0.34764220022181402</c:v>
                </c:pt>
                <c:pt idx="4085">
                  <c:v>-0.49252622239006</c:v>
                </c:pt>
                <c:pt idx="4086">
                  <c:v>-0.59817857815362696</c:v>
                </c:pt>
                <c:pt idx="4087">
                  <c:v>-0.72854787724921699</c:v>
                </c:pt>
                <c:pt idx="4088">
                  <c:v>-0.86373063522076099</c:v>
                </c:pt>
                <c:pt idx="4089">
                  <c:v>-0.94539444177194498</c:v>
                </c:pt>
                <c:pt idx="4090">
                  <c:v>-0.96099303379451895</c:v>
                </c:pt>
                <c:pt idx="4091">
                  <c:v>-0.90032941184482895</c:v>
                </c:pt>
                <c:pt idx="4092">
                  <c:v>-1.01680963977136</c:v>
                </c:pt>
                <c:pt idx="4093">
                  <c:v>-1.12921002375728</c:v>
                </c:pt>
                <c:pt idx="4094">
                  <c:v>-1.22921228946247</c:v>
                </c:pt>
                <c:pt idx="4095">
                  <c:v>-1.26527116624666</c:v>
                </c:pt>
                <c:pt idx="4096">
                  <c:v>-1.3142650688392301</c:v>
                </c:pt>
                <c:pt idx="4097">
                  <c:v>-1.29108182221585</c:v>
                </c:pt>
                <c:pt idx="4098">
                  <c:v>-1.26169690604424</c:v>
                </c:pt>
                <c:pt idx="4099">
                  <c:v>-1.0261945380939901</c:v>
                </c:pt>
                <c:pt idx="4100">
                  <c:v>-1.0261945380939901</c:v>
                </c:pt>
                <c:pt idx="4101">
                  <c:v>-1.2261155411401199</c:v>
                </c:pt>
                <c:pt idx="4102">
                  <c:v>-1.2611828495590101</c:v>
                </c:pt>
                <c:pt idx="4103">
                  <c:v>-1.64251763804713</c:v>
                </c:pt>
                <c:pt idx="4104">
                  <c:v>-1.66019901414752</c:v>
                </c:pt>
                <c:pt idx="4105">
                  <c:v>-1.66140242802656</c:v>
                </c:pt>
                <c:pt idx="4106">
                  <c:v>-1.6728873553944299</c:v>
                </c:pt>
                <c:pt idx="4107">
                  <c:v>-1.70908922609433</c:v>
                </c:pt>
                <c:pt idx="4108">
                  <c:v>-1.73157543936591</c:v>
                </c:pt>
                <c:pt idx="4109">
                  <c:v>-1.79729909056903</c:v>
                </c:pt>
                <c:pt idx="4110">
                  <c:v>-1.5292437020359499</c:v>
                </c:pt>
                <c:pt idx="4111">
                  <c:v>-1.2961657972038101</c:v>
                </c:pt>
                <c:pt idx="4112">
                  <c:v>-1.0732953334467401</c:v>
                </c:pt>
                <c:pt idx="4113">
                  <c:v>-0.96297483683388396</c:v>
                </c:pt>
                <c:pt idx="4114">
                  <c:v>-0.84018214952652703</c:v>
                </c:pt>
                <c:pt idx="4115">
                  <c:v>-0.72781912053551001</c:v>
                </c:pt>
                <c:pt idx="4116">
                  <c:v>-0.60502643322815297</c:v>
                </c:pt>
                <c:pt idx="4117">
                  <c:v>-0.48768653800100498</c:v>
                </c:pt>
                <c:pt idx="4118">
                  <c:v>-0.38471322101900601</c:v>
                </c:pt>
                <c:pt idx="4119">
                  <c:v>0.113307638055666</c:v>
                </c:pt>
                <c:pt idx="4120">
                  <c:v>0.302909196543941</c:v>
                </c:pt>
                <c:pt idx="4121">
                  <c:v>0.41429636838885697</c:v>
                </c:pt>
                <c:pt idx="4122">
                  <c:v>0.30306724297093302</c:v>
                </c:pt>
                <c:pt idx="4123">
                  <c:v>0.21844422761996801</c:v>
                </c:pt>
                <c:pt idx="4124">
                  <c:v>0.30723106092477498</c:v>
                </c:pt>
                <c:pt idx="4125">
                  <c:v>0.39109190032889202</c:v>
                </c:pt>
                <c:pt idx="4126">
                  <c:v>0.13441400519916</c:v>
                </c:pt>
                <c:pt idx="4127">
                  <c:v>0.31510530636891698</c:v>
                </c:pt>
                <c:pt idx="4128">
                  <c:v>0.26713722718653998</c:v>
                </c:pt>
                <c:pt idx="4129">
                  <c:v>0.18719995590715399</c:v>
                </c:pt>
                <c:pt idx="4130">
                  <c:v>0.14037197471368501</c:v>
                </c:pt>
                <c:pt idx="4131">
                  <c:v>0.207005783150425</c:v>
                </c:pt>
                <c:pt idx="4132">
                  <c:v>0.22616894407181201</c:v>
                </c:pt>
                <c:pt idx="4133">
                  <c:v>0.13747224593733101</c:v>
                </c:pt>
                <c:pt idx="4134">
                  <c:v>0.27350844985760198</c:v>
                </c:pt>
                <c:pt idx="4135">
                  <c:v>0.166291257123615</c:v>
                </c:pt>
                <c:pt idx="4136">
                  <c:v>0.180700762716757</c:v>
                </c:pt>
                <c:pt idx="4137">
                  <c:v>0.166800705188964</c:v>
                </c:pt>
                <c:pt idx="4138">
                  <c:v>0.231136542413549</c:v>
                </c:pt>
                <c:pt idx="4139">
                  <c:v>0.187979600683467</c:v>
                </c:pt>
                <c:pt idx="4140">
                  <c:v>0.33682707462241701</c:v>
                </c:pt>
                <c:pt idx="4141">
                  <c:v>0.27980552277871001</c:v>
                </c:pt>
                <c:pt idx="4142">
                  <c:v>0.22701718051882699</c:v>
                </c:pt>
                <c:pt idx="4143">
                  <c:v>0.176118004993882</c:v>
                </c:pt>
                <c:pt idx="4144">
                  <c:v>0.246845527796065</c:v>
                </c:pt>
                <c:pt idx="4145">
                  <c:v>0.254368534540311</c:v>
                </c:pt>
                <c:pt idx="4146">
                  <c:v>0.13384095616793801</c:v>
                </c:pt>
                <c:pt idx="4147">
                  <c:v>0.22164239004272299</c:v>
                </c:pt>
                <c:pt idx="4148">
                  <c:v>0.26008400966721901</c:v>
                </c:pt>
                <c:pt idx="4149">
                  <c:v>0.20061670665467801</c:v>
                </c:pt>
                <c:pt idx="4150">
                  <c:v>0.22777764514841201</c:v>
                </c:pt>
                <c:pt idx="4151">
                  <c:v>0.13754509489884301</c:v>
                </c:pt>
                <c:pt idx="4152">
                  <c:v>0.117235385877226</c:v>
                </c:pt>
                <c:pt idx="4153">
                  <c:v>5.1931356016436898E-2</c:v>
                </c:pt>
                <c:pt idx="4154">
                  <c:v>2.1625782976502101E-2</c:v>
                </c:pt>
                <c:pt idx="4155">
                  <c:v>-0.161219880455099</c:v>
                </c:pt>
                <c:pt idx="4156">
                  <c:v>-0.13982159639585801</c:v>
                </c:pt>
                <c:pt idx="4157">
                  <c:v>-0.43276876968197098</c:v>
                </c:pt>
                <c:pt idx="4158">
                  <c:v>-0.52351452785540198</c:v>
                </c:pt>
                <c:pt idx="4159">
                  <c:v>-0.51115930311692304</c:v>
                </c:pt>
                <c:pt idx="4160">
                  <c:v>-0.57302898078826103</c:v>
                </c:pt>
                <c:pt idx="4161">
                  <c:v>-0.64431593363876305</c:v>
                </c:pt>
                <c:pt idx="4162">
                  <c:v>-0.69088594315724405</c:v>
                </c:pt>
                <c:pt idx="4163">
                  <c:v>-0.73745595267572495</c:v>
                </c:pt>
                <c:pt idx="4164">
                  <c:v>-0.74691090058144005</c:v>
                </c:pt>
                <c:pt idx="4165">
                  <c:v>-0.82138616856373003</c:v>
                </c:pt>
                <c:pt idx="4166">
                  <c:v>-0.94944923956441996</c:v>
                </c:pt>
                <c:pt idx="4167">
                  <c:v>-1.0363174050117401</c:v>
                </c:pt>
                <c:pt idx="4168">
                  <c:v>-0.987054590690703</c:v>
                </c:pt>
                <c:pt idx="4169">
                  <c:v>-0.98902308017143703</c:v>
                </c:pt>
                <c:pt idx="4170">
                  <c:v>-1.06324279128187</c:v>
                </c:pt>
                <c:pt idx="4171">
                  <c:v>-1.1044377263515699</c:v>
                </c:pt>
                <c:pt idx="4172">
                  <c:v>-1.1270380944080101</c:v>
                </c:pt>
                <c:pt idx="4173">
                  <c:v>-0.88473509760798097</c:v>
                </c:pt>
                <c:pt idx="4174">
                  <c:v>-0.97855815603619001</c:v>
                </c:pt>
                <c:pt idx="4175">
                  <c:v>-1.01463427427593</c:v>
                </c:pt>
                <c:pt idx="4176">
                  <c:v>-1.05887530121259</c:v>
                </c:pt>
                <c:pt idx="4177">
                  <c:v>-1.0673234507917699</c:v>
                </c:pt>
                <c:pt idx="4178">
                  <c:v>-0.96852192192039399</c:v>
                </c:pt>
                <c:pt idx="4179">
                  <c:v>-1.0573225710438701</c:v>
                </c:pt>
                <c:pt idx="4180">
                  <c:v>-1.16267003398673</c:v>
                </c:pt>
                <c:pt idx="4181">
                  <c:v>-1.1925988641387399</c:v>
                </c:pt>
                <c:pt idx="4182">
                  <c:v>-1.06175906441985</c:v>
                </c:pt>
                <c:pt idx="4183">
                  <c:v>-1.0175370645758</c:v>
                </c:pt>
                <c:pt idx="4184">
                  <c:v>-0.87021930263555802</c:v>
                </c:pt>
                <c:pt idx="4185">
                  <c:v>-0.80443765818365398</c:v>
                </c:pt>
                <c:pt idx="4186">
                  <c:v>-0.80048801867653696</c:v>
                </c:pt>
                <c:pt idx="4187">
                  <c:v>-0.74294535533530803</c:v>
                </c:pt>
                <c:pt idx="4188">
                  <c:v>-0.68124877563972097</c:v>
                </c:pt>
                <c:pt idx="4189">
                  <c:v>-0.671135878942271</c:v>
                </c:pt>
                <c:pt idx="4190">
                  <c:v>-0.62186538825389803</c:v>
                </c:pt>
                <c:pt idx="4191">
                  <c:v>-0.61591162872651894</c:v>
                </c:pt>
                <c:pt idx="4192">
                  <c:v>-0.69861298063643296</c:v>
                </c:pt>
                <c:pt idx="4193">
                  <c:v>-0.60594821517282205</c:v>
                </c:pt>
                <c:pt idx="4194">
                  <c:v>-0.50095940384222004</c:v>
                </c:pt>
                <c:pt idx="4195">
                  <c:v>-0.39181667615726201</c:v>
                </c:pt>
                <c:pt idx="4196">
                  <c:v>-0.30535358024187997</c:v>
                </c:pt>
                <c:pt idx="4197">
                  <c:v>-0.23328104427811</c:v>
                </c:pt>
                <c:pt idx="4198">
                  <c:v>-0.301345259609548</c:v>
                </c:pt>
                <c:pt idx="4199">
                  <c:v>-0.30969407478811001</c:v>
                </c:pt>
                <c:pt idx="4200">
                  <c:v>-0.32212795472299</c:v>
                </c:pt>
                <c:pt idx="4201">
                  <c:v>-0.28897678120139297</c:v>
                </c:pt>
                <c:pt idx="4202">
                  <c:v>-0.15885222190236101</c:v>
                </c:pt>
                <c:pt idx="4203">
                  <c:v>-0.104921024977551</c:v>
                </c:pt>
                <c:pt idx="4204">
                  <c:v>-0.13971901190378899</c:v>
                </c:pt>
                <c:pt idx="4205">
                  <c:v>-5.9851183276913397E-2</c:v>
                </c:pt>
                <c:pt idx="4206">
                  <c:v>2.61390216687232E-2</c:v>
                </c:pt>
                <c:pt idx="4207">
                  <c:v>0.136925463175849</c:v>
                </c:pt>
                <c:pt idx="4208">
                  <c:v>0.22298974053523901</c:v>
                </c:pt>
                <c:pt idx="4209">
                  <c:v>0.18650595766915301</c:v>
                </c:pt>
                <c:pt idx="4210">
                  <c:v>0.123188626679132</c:v>
                </c:pt>
                <c:pt idx="4211">
                  <c:v>0.16501481097918</c:v>
                </c:pt>
                <c:pt idx="4212">
                  <c:v>0.24818404566010399</c:v>
                </c:pt>
                <c:pt idx="4213">
                  <c:v>0.25457708490009101</c:v>
                </c:pt>
                <c:pt idx="4214">
                  <c:v>0.17223571947331601</c:v>
                </c:pt>
                <c:pt idx="4215">
                  <c:v>0.236306847303733</c:v>
                </c:pt>
                <c:pt idx="4216">
                  <c:v>0.25509800482446399</c:v>
                </c:pt>
                <c:pt idx="4217">
                  <c:v>0.353140191976207</c:v>
                </c:pt>
                <c:pt idx="4218">
                  <c:v>9.6297949611806904E-2</c:v>
                </c:pt>
                <c:pt idx="4219">
                  <c:v>-2.64506245466796E-2</c:v>
                </c:pt>
                <c:pt idx="4220">
                  <c:v>-4.3907538587590098E-2</c:v>
                </c:pt>
                <c:pt idx="4221">
                  <c:v>-2.8281948236474602E-2</c:v>
                </c:pt>
                <c:pt idx="4222">
                  <c:v>1.6066356973510401E-2</c:v>
                </c:pt>
                <c:pt idx="4223">
                  <c:v>0.107959382112601</c:v>
                </c:pt>
                <c:pt idx="4224">
                  <c:v>0.150344448173896</c:v>
                </c:pt>
                <c:pt idx="4225">
                  <c:v>8.5756781295956902E-2</c:v>
                </c:pt>
                <c:pt idx="4226">
                  <c:v>4.9971122506355901E-2</c:v>
                </c:pt>
                <c:pt idx="4227">
                  <c:v>-6.4050431035625299E-2</c:v>
                </c:pt>
                <c:pt idx="4228">
                  <c:v>-9.7719485033314402E-2</c:v>
                </c:pt>
                <c:pt idx="4229">
                  <c:v>-9.5013928903722303E-2</c:v>
                </c:pt>
                <c:pt idx="4230">
                  <c:v>-0.121258525689976</c:v>
                </c:pt>
                <c:pt idx="4231">
                  <c:v>-0.108197383657798</c:v>
                </c:pt>
                <c:pt idx="4232">
                  <c:v>-0.105491827528206</c:v>
                </c:pt>
                <c:pt idx="4233">
                  <c:v>-0.15950367080223199</c:v>
                </c:pt>
                <c:pt idx="4234">
                  <c:v>-0.244354833727041</c:v>
                </c:pt>
                <c:pt idx="4235">
                  <c:v>-0.16019316485455001</c:v>
                </c:pt>
                <c:pt idx="4236">
                  <c:v>-0.205743809776641</c:v>
                </c:pt>
                <c:pt idx="4237">
                  <c:v>-0.18302665572637</c:v>
                </c:pt>
                <c:pt idx="4238">
                  <c:v>-0.24262524036908301</c:v>
                </c:pt>
                <c:pt idx="4239">
                  <c:v>-0.32505160160888003</c:v>
                </c:pt>
                <c:pt idx="4240">
                  <c:v>-0.37036290123591198</c:v>
                </c:pt>
                <c:pt idx="4241">
                  <c:v>-0.29763848476452698</c:v>
                </c:pt>
                <c:pt idx="4242">
                  <c:v>-0.235195581781975</c:v>
                </c:pt>
                <c:pt idx="4243">
                  <c:v>-0.30487788704093099</c:v>
                </c:pt>
                <c:pt idx="4244">
                  <c:v>-0.221723812253207</c:v>
                </c:pt>
                <c:pt idx="4245">
                  <c:v>-0.27694357925756202</c:v>
                </c:pt>
                <c:pt idx="4246">
                  <c:v>-0.28061285480596199</c:v>
                </c:pt>
                <c:pt idx="4247">
                  <c:v>-0.27800638839238001</c:v>
                </c:pt>
                <c:pt idx="4248">
                  <c:v>-0.28568143546762997</c:v>
                </c:pt>
                <c:pt idx="4249">
                  <c:v>-0.34599103404197301</c:v>
                </c:pt>
                <c:pt idx="4250">
                  <c:v>-0.466084884367231</c:v>
                </c:pt>
                <c:pt idx="4251">
                  <c:v>-0.50976837589271995</c:v>
                </c:pt>
                <c:pt idx="4252">
                  <c:v>-0.54112782155121697</c:v>
                </c:pt>
                <c:pt idx="4253">
                  <c:v>-0.56295113688874199</c:v>
                </c:pt>
                <c:pt idx="4254">
                  <c:v>-0.56625917844247398</c:v>
                </c:pt>
                <c:pt idx="4255">
                  <c:v>-0.577800980291167</c:v>
                </c:pt>
                <c:pt idx="4256">
                  <c:v>-0.60793734915312003</c:v>
                </c:pt>
                <c:pt idx="4257">
                  <c:v>-0.650829160107817</c:v>
                </c:pt>
                <c:pt idx="4258">
                  <c:v>-0.71019893328385997</c:v>
                </c:pt>
                <c:pt idx="4259">
                  <c:v>-0.74069262595781304</c:v>
                </c:pt>
                <c:pt idx="4260">
                  <c:v>-0.73407647783471297</c:v>
                </c:pt>
                <c:pt idx="4261">
                  <c:v>-0.74448549497636796</c:v>
                </c:pt>
                <c:pt idx="4262">
                  <c:v>-0.75489451211802405</c:v>
                </c:pt>
                <c:pt idx="4263">
                  <c:v>-0.76530352925967904</c:v>
                </c:pt>
                <c:pt idx="4264">
                  <c:v>-0.77571254640133402</c:v>
                </c:pt>
                <c:pt idx="4265">
                  <c:v>-0.78628124325837401</c:v>
                </c:pt>
                <c:pt idx="4266">
                  <c:v>-0.79684994011541399</c:v>
                </c:pt>
                <c:pt idx="4267">
                  <c:v>-0.80741863697245297</c:v>
                </c:pt>
                <c:pt idx="4268">
                  <c:v>-0.81798733382949296</c:v>
                </c:pt>
                <c:pt idx="4269">
                  <c:v>-0.79151132544523095</c:v>
                </c:pt>
                <c:pt idx="4270">
                  <c:v>-0.76503531706096795</c:v>
                </c:pt>
                <c:pt idx="4271">
                  <c:v>-0.73855930867670505</c:v>
                </c:pt>
                <c:pt idx="4272">
                  <c:v>-0.71208330029244304</c:v>
                </c:pt>
                <c:pt idx="4273">
                  <c:v>-0.71999652043426998</c:v>
                </c:pt>
                <c:pt idx="4274">
                  <c:v>-0.72790974057609803</c:v>
                </c:pt>
                <c:pt idx="4275">
                  <c:v>-0.76659864958638202</c:v>
                </c:pt>
                <c:pt idx="4276">
                  <c:v>-0.80542526179274698</c:v>
                </c:pt>
                <c:pt idx="4277">
                  <c:v>-0.79703540322926802</c:v>
                </c:pt>
                <c:pt idx="4278">
                  <c:v>-0.75773215260125504</c:v>
                </c:pt>
                <c:pt idx="4279">
                  <c:v>-0.67927652879803002</c:v>
                </c:pt>
                <c:pt idx="4280">
                  <c:v>-0.71003904340976298</c:v>
                </c:pt>
                <c:pt idx="4281">
                  <c:v>-0.69270409062676597</c:v>
                </c:pt>
                <c:pt idx="4282">
                  <c:v>-0.67536913784376895</c:v>
                </c:pt>
                <c:pt idx="4283">
                  <c:v>-0.61064283077488801</c:v>
                </c:pt>
                <c:pt idx="4284">
                  <c:v>-0.53767754259533296</c:v>
                </c:pt>
                <c:pt idx="4285">
                  <c:v>-0.48092808907474099</c:v>
                </c:pt>
                <c:pt idx="4286">
                  <c:v>-0.455092027618685</c:v>
                </c:pt>
                <c:pt idx="4287">
                  <c:v>-0.39834257409809298</c:v>
                </c:pt>
                <c:pt idx="4288">
                  <c:v>-0.35807108279884797</c:v>
                </c:pt>
                <c:pt idx="4289">
                  <c:v>-0.20966119340622399</c:v>
                </c:pt>
                <c:pt idx="4290">
                  <c:v>-6.3293836391759201E-2</c:v>
                </c:pt>
                <c:pt idx="4291">
                  <c:v>5.2160128558169302E-2</c:v>
                </c:pt>
                <c:pt idx="4292">
                  <c:v>0.15113613128675099</c:v>
                </c:pt>
                <c:pt idx="4293">
                  <c:v>0.138592305553459</c:v>
                </c:pt>
                <c:pt idx="4294">
                  <c:v>9.0907098987519599E-2</c:v>
                </c:pt>
                <c:pt idx="4295">
                  <c:v>0.123717315977668</c:v>
                </c:pt>
                <c:pt idx="4296">
                  <c:v>9.6738060401186599E-2</c:v>
                </c:pt>
                <c:pt idx="4297">
                  <c:v>7.6142680059937101E-2</c:v>
                </c:pt>
                <c:pt idx="4298">
                  <c:v>5.5547299718687701E-2</c:v>
                </c:pt>
                <c:pt idx="4299">
                  <c:v>3.4951919377438301E-2</c:v>
                </c:pt>
                <c:pt idx="4300">
                  <c:v>1.43565390361888E-2</c:v>
                </c:pt>
                <c:pt idx="4301">
                  <c:v>2.06318287962758E-2</c:v>
                </c:pt>
                <c:pt idx="4302">
                  <c:v>2.69071185563628E-2</c:v>
                </c:pt>
                <c:pt idx="4303">
                  <c:v>3.31824083164498E-2</c:v>
                </c:pt>
                <c:pt idx="4304">
                  <c:v>0.72419244085893197</c:v>
                </c:pt>
                <c:pt idx="4305">
                  <c:v>0.918115364885008</c:v>
                </c:pt>
                <c:pt idx="4306">
                  <c:v>0.86856789583127902</c:v>
                </c:pt>
                <c:pt idx="4307">
                  <c:v>0.83761499379080895</c:v>
                </c:pt>
                <c:pt idx="4308">
                  <c:v>0.91596474421047802</c:v>
                </c:pt>
                <c:pt idx="4309">
                  <c:v>0.90926310918533104</c:v>
                </c:pt>
                <c:pt idx="4310">
                  <c:v>0.88820011673074795</c:v>
                </c:pt>
                <c:pt idx="4311">
                  <c:v>0.86706305186241095</c:v>
                </c:pt>
                <c:pt idx="4312">
                  <c:v>0.70774725403184402</c:v>
                </c:pt>
                <c:pt idx="4313">
                  <c:v>0.87118773945139105</c:v>
                </c:pt>
                <c:pt idx="4314">
                  <c:v>0.84489900045275301</c:v>
                </c:pt>
                <c:pt idx="4315">
                  <c:v>0.82465856535912296</c:v>
                </c:pt>
                <c:pt idx="4316">
                  <c:v>0.90570923967193195</c:v>
                </c:pt>
                <c:pt idx="4317">
                  <c:v>0.76123528450003297</c:v>
                </c:pt>
                <c:pt idx="4318">
                  <c:v>0.95706740498929599</c:v>
                </c:pt>
                <c:pt idx="4319">
                  <c:v>0.89929576373742703</c:v>
                </c:pt>
                <c:pt idx="4320">
                  <c:v>0.78974619297262905</c:v>
                </c:pt>
                <c:pt idx="4321">
                  <c:v>0.79157865187526799</c:v>
                </c:pt>
                <c:pt idx="4322">
                  <c:v>0.86968376638159794</c:v>
                </c:pt>
                <c:pt idx="4323">
                  <c:v>0.77869153504544697</c:v>
                </c:pt>
                <c:pt idx="4324">
                  <c:v>0.78256652632624502</c:v>
                </c:pt>
                <c:pt idx="4325">
                  <c:v>0.77925742497897599</c:v>
                </c:pt>
                <c:pt idx="4326">
                  <c:v>0.82137643876889899</c:v>
                </c:pt>
                <c:pt idx="4327">
                  <c:v>0.84278428075365097</c:v>
                </c:pt>
                <c:pt idx="4328">
                  <c:v>0.54051737494181196</c:v>
                </c:pt>
                <c:pt idx="4329">
                  <c:v>0.59409229229577898</c:v>
                </c:pt>
                <c:pt idx="4330">
                  <c:v>0.95917127722256701</c:v>
                </c:pt>
                <c:pt idx="4331">
                  <c:v>0.70759194137944803</c:v>
                </c:pt>
                <c:pt idx="4332">
                  <c:v>0.86631037402348299</c:v>
                </c:pt>
                <c:pt idx="4333">
                  <c:v>0.67294742153180198</c:v>
                </c:pt>
                <c:pt idx="4334">
                  <c:v>0.79297770334787998</c:v>
                </c:pt>
                <c:pt idx="4335">
                  <c:v>0.61193357590747599</c:v>
                </c:pt>
                <c:pt idx="4336">
                  <c:v>0.47669836730446102</c:v>
                </c:pt>
                <c:pt idx="4337">
                  <c:v>0.51940617771394204</c:v>
                </c:pt>
                <c:pt idx="4338">
                  <c:v>0.41758544078545601</c:v>
                </c:pt>
                <c:pt idx="4339">
                  <c:v>0.45817664640302402</c:v>
                </c:pt>
                <c:pt idx="4340">
                  <c:v>0.45764701888097697</c:v>
                </c:pt>
                <c:pt idx="4341">
                  <c:v>0.43118086948224499</c:v>
                </c:pt>
                <c:pt idx="4342">
                  <c:v>0.43759657211245301</c:v>
                </c:pt>
                <c:pt idx="4343">
                  <c:v>0.40289144160304602</c:v>
                </c:pt>
                <c:pt idx="4344">
                  <c:v>0.33719362579963502</c:v>
                </c:pt>
                <c:pt idx="4345">
                  <c:v>0.235249591203533</c:v>
                </c:pt>
                <c:pt idx="4346">
                  <c:v>8.7877441470237905E-2</c:v>
                </c:pt>
                <c:pt idx="4347">
                  <c:v>-3.2587087725370202E-2</c:v>
                </c:pt>
                <c:pt idx="4348">
                  <c:v>-0.14684994737274901</c:v>
                </c:pt>
                <c:pt idx="4349">
                  <c:v>-0.26811139772738202</c:v>
                </c:pt>
                <c:pt idx="4350">
                  <c:v>-0.34802457688542499</c:v>
                </c:pt>
                <c:pt idx="4351">
                  <c:v>-0.43005436083538001</c:v>
                </c:pt>
                <c:pt idx="4352">
                  <c:v>-0.46038550850187299</c:v>
                </c:pt>
                <c:pt idx="4353">
                  <c:v>-0.46583728292475302</c:v>
                </c:pt>
                <c:pt idx="4354">
                  <c:v>-0.48149649842271203</c:v>
                </c:pt>
                <c:pt idx="4355">
                  <c:v>-0.50130963027502695</c:v>
                </c:pt>
                <c:pt idx="4356">
                  <c:v>-0.484012921330291</c:v>
                </c:pt>
                <c:pt idx="4357">
                  <c:v>-0.49397225806223</c:v>
                </c:pt>
                <c:pt idx="4358">
                  <c:v>-0.51217057590484305</c:v>
                </c:pt>
                <c:pt idx="4359">
                  <c:v>-0.53036889374745599</c:v>
                </c:pt>
                <c:pt idx="4360">
                  <c:v>-0.54856721159006905</c:v>
                </c:pt>
                <c:pt idx="4361">
                  <c:v>-0.55647281748095401</c:v>
                </c:pt>
                <c:pt idx="4362">
                  <c:v>-0.56437842337183897</c:v>
                </c:pt>
                <c:pt idx="4363">
                  <c:v>-0.57228402926272404</c:v>
                </c:pt>
                <c:pt idx="4364">
                  <c:v>-0.580189635153609</c:v>
                </c:pt>
                <c:pt idx="4365">
                  <c:v>-0.55131951748064001</c:v>
                </c:pt>
                <c:pt idx="4366">
                  <c:v>-0.52244939980767102</c:v>
                </c:pt>
                <c:pt idx="4367">
                  <c:v>-0.49357928213470198</c:v>
                </c:pt>
                <c:pt idx="4368">
                  <c:v>-0.46470916446173299</c:v>
                </c:pt>
                <c:pt idx="4369">
                  <c:v>-0.466351595143145</c:v>
                </c:pt>
                <c:pt idx="4370">
                  <c:v>-0.46799402582455701</c:v>
                </c:pt>
                <c:pt idx="4371">
                  <c:v>-0.46963645650596902</c:v>
                </c:pt>
                <c:pt idx="4372">
                  <c:v>-0.47127888718738098</c:v>
                </c:pt>
                <c:pt idx="4373">
                  <c:v>-0.59833452303089496</c:v>
                </c:pt>
                <c:pt idx="4374">
                  <c:v>-0.56461630818778397</c:v>
                </c:pt>
                <c:pt idx="4375">
                  <c:v>-0.46907130921559798</c:v>
                </c:pt>
                <c:pt idx="4376">
                  <c:v>-0.42091766452929802</c:v>
                </c:pt>
                <c:pt idx="4377">
                  <c:v>-0.52017031719332796</c:v>
                </c:pt>
                <c:pt idx="4378">
                  <c:v>-0.53900161871502394</c:v>
                </c:pt>
                <c:pt idx="4379">
                  <c:v>-0.58050733119058295</c:v>
                </c:pt>
                <c:pt idx="4380">
                  <c:v>-0.63236862956872797</c:v>
                </c:pt>
                <c:pt idx="4381">
                  <c:v>-0.55745865299967001</c:v>
                </c:pt>
                <c:pt idx="4382">
                  <c:v>-0.54846052531600298</c:v>
                </c:pt>
                <c:pt idx="4383">
                  <c:v>-0.415808829374189</c:v>
                </c:pt>
                <c:pt idx="4384">
                  <c:v>-0.44392054248757301</c:v>
                </c:pt>
                <c:pt idx="4385">
                  <c:v>-0.40131346298420101</c:v>
                </c:pt>
                <c:pt idx="4386">
                  <c:v>-0.31954878948990401</c:v>
                </c:pt>
                <c:pt idx="4387">
                  <c:v>-0.26454359170578701</c:v>
                </c:pt>
                <c:pt idx="4388">
                  <c:v>-0.193060431700322</c:v>
                </c:pt>
                <c:pt idx="4389">
                  <c:v>-0.21410465165790599</c:v>
                </c:pt>
                <c:pt idx="4390">
                  <c:v>-0.216628377015985</c:v>
                </c:pt>
                <c:pt idx="4391">
                  <c:v>-8.5217020627084805E-2</c:v>
                </c:pt>
                <c:pt idx="4392">
                  <c:v>0.15752907896868501</c:v>
                </c:pt>
                <c:pt idx="4393">
                  <c:v>0.12564056243747301</c:v>
                </c:pt>
                <c:pt idx="4394">
                  <c:v>7.9316616063072595E-2</c:v>
                </c:pt>
                <c:pt idx="4395">
                  <c:v>3.2992669688671698E-2</c:v>
                </c:pt>
                <c:pt idx="4396">
                  <c:v>-1.33312766857292E-2</c:v>
                </c:pt>
                <c:pt idx="4397">
                  <c:v>6.54819108085819E-4</c:v>
                </c:pt>
                <c:pt idx="4398">
                  <c:v>1.46409149019008E-2</c:v>
                </c:pt>
                <c:pt idx="4399">
                  <c:v>0.49446537971853199</c:v>
                </c:pt>
                <c:pt idx="4400">
                  <c:v>0.81571189186991799</c:v>
                </c:pt>
                <c:pt idx="4401">
                  <c:v>0.80239857051216101</c:v>
                </c:pt>
                <c:pt idx="4402">
                  <c:v>0.90851604946015396</c:v>
                </c:pt>
                <c:pt idx="4403">
                  <c:v>0.98386828117111802</c:v>
                </c:pt>
                <c:pt idx="4404">
                  <c:v>1.02210545126932</c:v>
                </c:pt>
                <c:pt idx="4405">
                  <c:v>1.0426336565946299</c:v>
                </c:pt>
                <c:pt idx="4406">
                  <c:v>0.90216057317634102</c:v>
                </c:pt>
                <c:pt idx="4407">
                  <c:v>0.92473131087981297</c:v>
                </c:pt>
                <c:pt idx="4408">
                  <c:v>-4.4624258958640799E-2</c:v>
                </c:pt>
                <c:pt idx="4409">
                  <c:v>0.94463675868657004</c:v>
                </c:pt>
                <c:pt idx="4410">
                  <c:v>0.89865995844457502</c:v>
                </c:pt>
                <c:pt idx="4411">
                  <c:v>0.69576171339958204</c:v>
                </c:pt>
                <c:pt idx="4412">
                  <c:v>0.68062423280837003</c:v>
                </c:pt>
                <c:pt idx="4413">
                  <c:v>0.69185241086788096</c:v>
                </c:pt>
                <c:pt idx="4414">
                  <c:v>0.69476753540296399</c:v>
                </c:pt>
                <c:pt idx="4415">
                  <c:v>0.51195920704671205</c:v>
                </c:pt>
                <c:pt idx="4416">
                  <c:v>0.66144019048220704</c:v>
                </c:pt>
                <c:pt idx="4417">
                  <c:v>0.72183353171359399</c:v>
                </c:pt>
                <c:pt idx="4418">
                  <c:v>0.68516897312236502</c:v>
                </c:pt>
                <c:pt idx="4419">
                  <c:v>0.68781015334956797</c:v>
                </c:pt>
                <c:pt idx="4420">
                  <c:v>0.67389929894167</c:v>
                </c:pt>
                <c:pt idx="4421">
                  <c:v>0.71158814897210199</c:v>
                </c:pt>
                <c:pt idx="4422">
                  <c:v>0.871131135386639</c:v>
                </c:pt>
                <c:pt idx="4423">
                  <c:v>0.85076631394215896</c:v>
                </c:pt>
                <c:pt idx="4424">
                  <c:v>0.65526106356590397</c:v>
                </c:pt>
                <c:pt idx="4425">
                  <c:v>0.78208301419433102</c:v>
                </c:pt>
                <c:pt idx="4426">
                  <c:v>0.83467484159722805</c:v>
                </c:pt>
                <c:pt idx="4427">
                  <c:v>0.95325781111498098</c:v>
                </c:pt>
                <c:pt idx="4428">
                  <c:v>0.65458936614729202</c:v>
                </c:pt>
                <c:pt idx="4429">
                  <c:v>0.751301523652537</c:v>
                </c:pt>
                <c:pt idx="4430">
                  <c:v>0.78791747730471196</c:v>
                </c:pt>
                <c:pt idx="4431">
                  <c:v>0.77086111389330703</c:v>
                </c:pt>
                <c:pt idx="4432">
                  <c:v>0.82796080129367799</c:v>
                </c:pt>
                <c:pt idx="4433">
                  <c:v>0.72236949129952399</c:v>
                </c:pt>
                <c:pt idx="4434">
                  <c:v>0.45714152090362098</c:v>
                </c:pt>
                <c:pt idx="4435">
                  <c:v>0.44052771608034402</c:v>
                </c:pt>
                <c:pt idx="4436">
                  <c:v>0.42550156752127499</c:v>
                </c:pt>
                <c:pt idx="4437">
                  <c:v>0.38568514936667098</c:v>
                </c:pt>
                <c:pt idx="4438">
                  <c:v>0.43869342145085799</c:v>
                </c:pt>
                <c:pt idx="4439">
                  <c:v>0.37000092279416202</c:v>
                </c:pt>
                <c:pt idx="4440">
                  <c:v>0.31771231394506</c:v>
                </c:pt>
                <c:pt idx="4441">
                  <c:v>0.209642333982307</c:v>
                </c:pt>
                <c:pt idx="4442">
                  <c:v>5.0095934977352201E-2</c:v>
                </c:pt>
                <c:pt idx="4443">
                  <c:v>-8.4807593109335305E-2</c:v>
                </c:pt>
                <c:pt idx="4444">
                  <c:v>-0.153571834253656</c:v>
                </c:pt>
                <c:pt idx="4445">
                  <c:v>-0.23305115185587</c:v>
                </c:pt>
                <c:pt idx="4446">
                  <c:v>-0.30640287232360802</c:v>
                </c:pt>
                <c:pt idx="4447">
                  <c:v>-0.34257067958053999</c:v>
                </c:pt>
                <c:pt idx="4448">
                  <c:v>-0.38493493556998798</c:v>
                </c:pt>
                <c:pt idx="4449">
                  <c:v>-0.43820616415163799</c:v>
                </c:pt>
                <c:pt idx="4450">
                  <c:v>-0.50183297863587395</c:v>
                </c:pt>
                <c:pt idx="4451">
                  <c:v>-0.52834473150734396</c:v>
                </c:pt>
                <c:pt idx="4452">
                  <c:v>-0.60640697583476899</c:v>
                </c:pt>
                <c:pt idx="4453">
                  <c:v>-0.62171539370203099</c:v>
                </c:pt>
                <c:pt idx="4454">
                  <c:v>-0.61019026344535798</c:v>
                </c:pt>
                <c:pt idx="4455">
                  <c:v>-0.59866513318868597</c:v>
                </c:pt>
                <c:pt idx="4456">
                  <c:v>-0.58714000293201396</c:v>
                </c:pt>
                <c:pt idx="4457">
                  <c:v>-0.61023283092866898</c:v>
                </c:pt>
                <c:pt idx="4458">
                  <c:v>-0.633325658925324</c:v>
                </c:pt>
                <c:pt idx="4459">
                  <c:v>-0.65641848692197802</c:v>
                </c:pt>
                <c:pt idx="4460">
                  <c:v>-0.67951131491863304</c:v>
                </c:pt>
                <c:pt idx="4461">
                  <c:v>-0.636075564070816</c:v>
                </c:pt>
                <c:pt idx="4462">
                  <c:v>-0.59263981322299797</c:v>
                </c:pt>
                <c:pt idx="4463">
                  <c:v>-0.54920406237518005</c:v>
                </c:pt>
                <c:pt idx="4464">
                  <c:v>-0.50576831152736301</c:v>
                </c:pt>
                <c:pt idx="4465">
                  <c:v>-0.47367998489597102</c:v>
                </c:pt>
                <c:pt idx="4466">
                  <c:v>-0.44159165826457902</c:v>
                </c:pt>
                <c:pt idx="4467">
                  <c:v>-0.40950333163318697</c:v>
                </c:pt>
                <c:pt idx="4468">
                  <c:v>-0.37741500500179598</c:v>
                </c:pt>
                <c:pt idx="4469">
                  <c:v>-0.52877129894952701</c:v>
                </c:pt>
                <c:pt idx="4470">
                  <c:v>-0.51534797068378302</c:v>
                </c:pt>
                <c:pt idx="4471">
                  <c:v>-0.485372607782938</c:v>
                </c:pt>
                <c:pt idx="4472">
                  <c:v>-0.51526078986247503</c:v>
                </c:pt>
                <c:pt idx="4473">
                  <c:v>-0.51039381403063699</c:v>
                </c:pt>
                <c:pt idx="4474">
                  <c:v>-0.489048875977452</c:v>
                </c:pt>
                <c:pt idx="4475">
                  <c:v>-0.45326850808107799</c:v>
                </c:pt>
                <c:pt idx="4476">
                  <c:v>-0.43396610240605099</c:v>
                </c:pt>
                <c:pt idx="4477">
                  <c:v>-0.37523907911117499</c:v>
                </c:pt>
                <c:pt idx="4478">
                  <c:v>-0.30827307470562598</c:v>
                </c:pt>
                <c:pt idx="4479">
                  <c:v>-0.27426299474277099</c:v>
                </c:pt>
                <c:pt idx="4480">
                  <c:v>-0.22997140129108501</c:v>
                </c:pt>
                <c:pt idx="4481">
                  <c:v>-0.110209181335295</c:v>
                </c:pt>
                <c:pt idx="4482">
                  <c:v>-6.9249236008519502E-3</c:v>
                </c:pt>
                <c:pt idx="4483">
                  <c:v>9.6359334133591101E-2</c:v>
                </c:pt>
                <c:pt idx="4484">
                  <c:v>0.216121554089381</c:v>
                </c:pt>
                <c:pt idx="4485">
                  <c:v>0.20292145363179501</c:v>
                </c:pt>
                <c:pt idx="4486">
                  <c:v>0.18972135317420899</c:v>
                </c:pt>
                <c:pt idx="4487">
                  <c:v>0.143491255860174</c:v>
                </c:pt>
                <c:pt idx="4488">
                  <c:v>0.35281771780453303</c:v>
                </c:pt>
                <c:pt idx="4489">
                  <c:v>0.38589989488589999</c:v>
                </c:pt>
                <c:pt idx="4490">
                  <c:v>0.37786123882765199</c:v>
                </c:pt>
                <c:pt idx="4491">
                  <c:v>0.369822582769404</c:v>
                </c:pt>
                <c:pt idx="4492">
                  <c:v>0.361783926711157</c:v>
                </c:pt>
                <c:pt idx="4493">
                  <c:v>0.364311819128808</c:v>
                </c:pt>
                <c:pt idx="4494">
                  <c:v>0.366839711546459</c:v>
                </c:pt>
                <c:pt idx="4495">
                  <c:v>0.36936760396411</c:v>
                </c:pt>
                <c:pt idx="4496">
                  <c:v>1.1518678238498801</c:v>
                </c:pt>
                <c:pt idx="4497">
                  <c:v>1.1350944109707299</c:v>
                </c:pt>
                <c:pt idx="4498">
                  <c:v>1.26057957499441</c:v>
                </c:pt>
                <c:pt idx="4499">
                  <c:v>1.2706397102392</c:v>
                </c:pt>
                <c:pt idx="4500">
                  <c:v>1.26822765478949</c:v>
                </c:pt>
                <c:pt idx="4501">
                  <c:v>1.2227397670049001</c:v>
                </c:pt>
                <c:pt idx="4502">
                  <c:v>1.201820677724819</c:v>
                </c:pt>
                <c:pt idx="4503">
                  <c:v>1.2594389936678501</c:v>
                </c:pt>
                <c:pt idx="4504">
                  <c:v>1.3767727097637601</c:v>
                </c:pt>
                <c:pt idx="4505">
                  <c:v>1.1482099516083599</c:v>
                </c:pt>
                <c:pt idx="4506">
                  <c:v>1.1672026512890801</c:v>
                </c:pt>
                <c:pt idx="4507">
                  <c:v>0.99631276090840404</c:v>
                </c:pt>
                <c:pt idx="4508">
                  <c:v>0.87916926000505702</c:v>
                </c:pt>
                <c:pt idx="4509">
                  <c:v>0.90601638521252503</c:v>
                </c:pt>
                <c:pt idx="4510">
                  <c:v>0.81516851120596001</c:v>
                </c:pt>
                <c:pt idx="4511">
                  <c:v>0.84413224120534003</c:v>
                </c:pt>
                <c:pt idx="4512">
                  <c:v>0.91232763760939695</c:v>
                </c:pt>
                <c:pt idx="4513">
                  <c:v>0.87570209203961702</c:v>
                </c:pt>
                <c:pt idx="4514">
                  <c:v>0.86606346023699099</c:v>
                </c:pt>
                <c:pt idx="4515">
                  <c:v>0.84606924253177995</c:v>
                </c:pt>
                <c:pt idx="4516">
                  <c:v>0.85268113489352604</c:v>
                </c:pt>
                <c:pt idx="4517">
                  <c:v>0.97556970673286802</c:v>
                </c:pt>
                <c:pt idx="4518">
                  <c:v>1.00140037874959</c:v>
                </c:pt>
                <c:pt idx="4519">
                  <c:v>0.94703191686524701</c:v>
                </c:pt>
                <c:pt idx="4520">
                  <c:v>1.00604595138164</c:v>
                </c:pt>
                <c:pt idx="4521">
                  <c:v>0.91226217708700097</c:v>
                </c:pt>
                <c:pt idx="4522">
                  <c:v>0.91735139693615697</c:v>
                </c:pt>
                <c:pt idx="4523">
                  <c:v>1.06893240327197</c:v>
                </c:pt>
                <c:pt idx="4524">
                  <c:v>0.91331662403254099</c:v>
                </c:pt>
                <c:pt idx="4525">
                  <c:v>0.79104379000929703</c:v>
                </c:pt>
                <c:pt idx="4526">
                  <c:v>0.64805978418088095</c:v>
                </c:pt>
                <c:pt idx="4527">
                  <c:v>0.53190932647639899</c:v>
                </c:pt>
                <c:pt idx="4528">
                  <c:v>0.44675155406592099</c:v>
                </c:pt>
                <c:pt idx="4529">
                  <c:v>0.50824617171876096</c:v>
                </c:pt>
                <c:pt idx="4530">
                  <c:v>0.53277909340205598</c:v>
                </c:pt>
                <c:pt idx="4531">
                  <c:v>0.44218849677717997</c:v>
                </c:pt>
                <c:pt idx="4532">
                  <c:v>0.26217073968319099</c:v>
                </c:pt>
                <c:pt idx="4533">
                  <c:v>0.26474415147328401</c:v>
                </c:pt>
                <c:pt idx="4534">
                  <c:v>0.23443571123443499</c:v>
                </c:pt>
                <c:pt idx="4535">
                  <c:v>0.235045883875837</c:v>
                </c:pt>
                <c:pt idx="4536">
                  <c:v>0.24797488156851599</c:v>
                </c:pt>
                <c:pt idx="4537">
                  <c:v>0.12138770687037199</c:v>
                </c:pt>
                <c:pt idx="4538">
                  <c:v>9.17050663516224E-2</c:v>
                </c:pt>
                <c:pt idx="4539">
                  <c:v>-0.10086802964566501</c:v>
                </c:pt>
                <c:pt idx="4540">
                  <c:v>-0.27696316342160499</c:v>
                </c:pt>
                <c:pt idx="4541">
                  <c:v>-0.379891524780824</c:v>
                </c:pt>
                <c:pt idx="4542">
                  <c:v>-0.44745628806613402</c:v>
                </c:pt>
                <c:pt idx="4543">
                  <c:v>-0.68420714291092799</c:v>
                </c:pt>
                <c:pt idx="4544">
                  <c:v>-0.72496869382269402</c:v>
                </c:pt>
                <c:pt idx="4545">
                  <c:v>-0.77804906978573696</c:v>
                </c:pt>
                <c:pt idx="4546">
                  <c:v>-0.81669401590559099</c:v>
                </c:pt>
                <c:pt idx="4547">
                  <c:v>-0.78441228391171003</c:v>
                </c:pt>
                <c:pt idx="4548">
                  <c:v>-0.75417308429598895</c:v>
                </c:pt>
                <c:pt idx="4549">
                  <c:v>-0.77513754484919295</c:v>
                </c:pt>
                <c:pt idx="4550">
                  <c:v>-0.79610200540239695</c:v>
                </c:pt>
                <c:pt idx="4551">
                  <c:v>-0.81706646595560095</c:v>
                </c:pt>
                <c:pt idx="4552">
                  <c:v>-0.83803092650880495</c:v>
                </c:pt>
                <c:pt idx="4553">
                  <c:v>-0.80324838206992999</c:v>
                </c:pt>
                <c:pt idx="4554">
                  <c:v>-0.76846583763105403</c:v>
                </c:pt>
                <c:pt idx="4555">
                  <c:v>-0.73368329319217895</c:v>
                </c:pt>
                <c:pt idx="4556">
                  <c:v>-0.69890074875330399</c:v>
                </c:pt>
                <c:pt idx="4557">
                  <c:v>-0.66841960839979497</c:v>
                </c:pt>
                <c:pt idx="4558">
                  <c:v>-0.63793846804628596</c:v>
                </c:pt>
                <c:pt idx="4559">
                  <c:v>-0.60745732769277805</c:v>
                </c:pt>
                <c:pt idx="4560">
                  <c:v>-0.57697618733926903</c:v>
                </c:pt>
                <c:pt idx="4561">
                  <c:v>-0.76305203822233103</c:v>
                </c:pt>
                <c:pt idx="4562">
                  <c:v>-0.76786508385485697</c:v>
                </c:pt>
                <c:pt idx="4563">
                  <c:v>-0.75000371853351999</c:v>
                </c:pt>
                <c:pt idx="4564">
                  <c:v>-0.76509827765487803</c:v>
                </c:pt>
                <c:pt idx="4565">
                  <c:v>-0.80960874312940201</c:v>
                </c:pt>
                <c:pt idx="4566">
                  <c:v>-0.77996837860786306</c:v>
                </c:pt>
                <c:pt idx="4567">
                  <c:v>-0.68237363282277497</c:v>
                </c:pt>
                <c:pt idx="4568">
                  <c:v>-0.65273326830123601</c:v>
                </c:pt>
                <c:pt idx="4569">
                  <c:v>-0.60031190868068196</c:v>
                </c:pt>
                <c:pt idx="4570">
                  <c:v>-0.53141258683878001</c:v>
                </c:pt>
                <c:pt idx="4571">
                  <c:v>-0.47899122721822501</c:v>
                </c:pt>
                <c:pt idx="4572">
                  <c:v>-0.41009190537632401</c:v>
                </c:pt>
                <c:pt idx="4573">
                  <c:v>-0.29961177312881898</c:v>
                </c:pt>
                <c:pt idx="4574">
                  <c:v>-0.18913164088131401</c:v>
                </c:pt>
                <c:pt idx="4575">
                  <c:v>-9.5129470855155607E-2</c:v>
                </c:pt>
                <c:pt idx="4576">
                  <c:v>-1.7605263050345699E-2</c:v>
                </c:pt>
                <c:pt idx="4577">
                  <c:v>-1.2068357772458601E-2</c:v>
                </c:pt>
                <c:pt idx="4578">
                  <c:v>1.7075286161024601E-3</c:v>
                </c:pt>
                <c:pt idx="4579">
                  <c:v>2.1679863737178898E-2</c:v>
                </c:pt>
                <c:pt idx="4580">
                  <c:v>6.8411674568435096E-2</c:v>
                </c:pt>
                <c:pt idx="4581">
                  <c:v>4.2861039905268801E-2</c:v>
                </c:pt>
                <c:pt idx="4582">
                  <c:v>-9.4490704680771399E-3</c:v>
                </c:pt>
                <c:pt idx="4583">
                  <c:v>4.33791136329316E-2</c:v>
                </c:pt>
                <c:pt idx="4584">
                  <c:v>0.166352356203155</c:v>
                </c:pt>
                <c:pt idx="4585">
                  <c:v>0.24989591454723301</c:v>
                </c:pt>
                <c:pt idx="4586">
                  <c:v>-9.6976888090982205E-2</c:v>
                </c:pt>
                <c:pt idx="4587">
                  <c:v>-7.1397266360921793E-2</c:v>
                </c:pt>
                <c:pt idx="4588">
                  <c:v>-6.8349131572929295E-2</c:v>
                </c:pt>
                <c:pt idx="4589">
                  <c:v>-2.1648711568519701E-2</c:v>
                </c:pt>
                <c:pt idx="4590">
                  <c:v>6.6793586638924096E-3</c:v>
                </c:pt>
                <c:pt idx="4591">
                  <c:v>4.9368786325739301E-2</c:v>
                </c:pt>
                <c:pt idx="4592">
                  <c:v>9.0020902425141894E-2</c:v>
                </c:pt>
                <c:pt idx="4593">
                  <c:v>0.115333222850828</c:v>
                </c:pt>
                <c:pt idx="4594">
                  <c:v>0.13852893848460099</c:v>
                </c:pt>
                <c:pt idx="4595">
                  <c:v>0.19658018692743401</c:v>
                </c:pt>
                <c:pt idx="4596">
                  <c:v>0.21168506627804101</c:v>
                </c:pt>
                <c:pt idx="4597">
                  <c:v>0.23965398267289401</c:v>
                </c:pt>
                <c:pt idx="4598">
                  <c:v>0.25726731316515999</c:v>
                </c:pt>
                <c:pt idx="4599">
                  <c:v>0.24819524036100099</c:v>
                </c:pt>
                <c:pt idx="4600">
                  <c:v>0.41745457146417297</c:v>
                </c:pt>
                <c:pt idx="4601">
                  <c:v>0.52953246260253095</c:v>
                </c:pt>
                <c:pt idx="4602">
                  <c:v>0.34854748753810599</c:v>
                </c:pt>
                <c:pt idx="4603">
                  <c:v>0.36984322081583199</c:v>
                </c:pt>
                <c:pt idx="4604">
                  <c:v>0.33338679308937302</c:v>
                </c:pt>
                <c:pt idx="4605">
                  <c:v>0.300024334580617</c:v>
                </c:pt>
                <c:pt idx="4606">
                  <c:v>0.38254178096470998</c:v>
                </c:pt>
                <c:pt idx="4607">
                  <c:v>0.45039635944863898</c:v>
                </c:pt>
                <c:pt idx="4608">
                  <c:v>0.30372547695289398</c:v>
                </c:pt>
                <c:pt idx="4609">
                  <c:v>0.36793880060593698</c:v>
                </c:pt>
                <c:pt idx="4610">
                  <c:v>0.50653561312773099</c:v>
                </c:pt>
                <c:pt idx="4611">
                  <c:v>0.40150344611078398</c:v>
                </c:pt>
                <c:pt idx="4612">
                  <c:v>0.42436849856723702</c:v>
                </c:pt>
                <c:pt idx="4613">
                  <c:v>0.49916323171571098</c:v>
                </c:pt>
                <c:pt idx="4614">
                  <c:v>0.36532744214629798</c:v>
                </c:pt>
                <c:pt idx="4615">
                  <c:v>0.35954223769350402</c:v>
                </c:pt>
                <c:pt idx="4616">
                  <c:v>0.518922679970095</c:v>
                </c:pt>
                <c:pt idx="4617">
                  <c:v>0.308795277576909</c:v>
                </c:pt>
                <c:pt idx="4618">
                  <c:v>0.22860762703528001</c:v>
                </c:pt>
                <c:pt idx="4619">
                  <c:v>0.15265318607747499</c:v>
                </c:pt>
                <c:pt idx="4620">
                  <c:v>1.2898280210479099E-2</c:v>
                </c:pt>
                <c:pt idx="4621">
                  <c:v>-1.20629216601808E-2</c:v>
                </c:pt>
                <c:pt idx="4622">
                  <c:v>-2.6742610042008799E-2</c:v>
                </c:pt>
                <c:pt idx="4623">
                  <c:v>-7.2414983717840803E-2</c:v>
                </c:pt>
                <c:pt idx="4624">
                  <c:v>-0.468833533002599</c:v>
                </c:pt>
                <c:pt idx="4625">
                  <c:v>-0.48990003490661999</c:v>
                </c:pt>
                <c:pt idx="4626">
                  <c:v>-0.53954110684200396</c:v>
                </c:pt>
                <c:pt idx="4627">
                  <c:v>-0.53989643694085299</c:v>
                </c:pt>
                <c:pt idx="4628">
                  <c:v>-0.55264466450473304</c:v>
                </c:pt>
                <c:pt idx="4629">
                  <c:v>-0.70367962162276498</c:v>
                </c:pt>
                <c:pt idx="4630">
                  <c:v>-0.81526069509485799</c:v>
                </c:pt>
                <c:pt idx="4631">
                  <c:v>-0.95359602346141703</c:v>
                </c:pt>
                <c:pt idx="4632">
                  <c:v>-1.0651718761178</c:v>
                </c:pt>
                <c:pt idx="4633">
                  <c:v>-1.1767423647131401</c:v>
                </c:pt>
                <c:pt idx="4634">
                  <c:v>-1.2945040812252799</c:v>
                </c:pt>
                <c:pt idx="4635">
                  <c:v>-1.4227037633852599</c:v>
                </c:pt>
                <c:pt idx="4636">
                  <c:v>-1.4961945996983701</c:v>
                </c:pt>
                <c:pt idx="4637">
                  <c:v>-1.5737705007678</c:v>
                </c:pt>
                <c:pt idx="4638">
                  <c:v>-1.2988373400642601</c:v>
                </c:pt>
                <c:pt idx="4639">
                  <c:v>-1.3867636062205599</c:v>
                </c:pt>
                <c:pt idx="4640">
                  <c:v>-1.3818808081418299</c:v>
                </c:pt>
                <c:pt idx="4641">
                  <c:v>-1.3968321553163701</c:v>
                </c:pt>
                <c:pt idx="4642">
                  <c:v>-1.4352608675829099</c:v>
                </c:pt>
                <c:pt idx="4643">
                  <c:v>-1.47077970910263</c:v>
                </c:pt>
                <c:pt idx="4644">
                  <c:v>-1.6794600779583</c:v>
                </c:pt>
                <c:pt idx="4645">
                  <c:v>-1.6964636456942199</c:v>
                </c:pt>
                <c:pt idx="4646">
                  <c:v>-1.7134672134301501</c:v>
                </c:pt>
                <c:pt idx="4647">
                  <c:v>-1.7068395575762401</c:v>
                </c:pt>
                <c:pt idx="4648">
                  <c:v>-1.7002119017223301</c:v>
                </c:pt>
                <c:pt idx="4649">
                  <c:v>-1.69358424586843</c:v>
                </c:pt>
                <c:pt idx="4650">
                  <c:v>-1.68695659001452</c:v>
                </c:pt>
                <c:pt idx="4651">
                  <c:v>-0.14718052105107099</c:v>
                </c:pt>
                <c:pt idx="4652">
                  <c:v>-7.6862342548099205E-2</c:v>
                </c:pt>
                <c:pt idx="4653">
                  <c:v>-0.158897735025266</c:v>
                </c:pt>
                <c:pt idx="4654">
                  <c:v>-0.24093312750243401</c:v>
                </c:pt>
                <c:pt idx="4655">
                  <c:v>-0.32296851997960102</c:v>
                </c:pt>
                <c:pt idx="4656">
                  <c:v>-0.40500391245676798</c:v>
                </c:pt>
                <c:pt idx="4657">
                  <c:v>-0.39724618667358103</c:v>
                </c:pt>
                <c:pt idx="4658">
                  <c:v>-0.38948846089039302</c:v>
                </c:pt>
                <c:pt idx="4659">
                  <c:v>-0.38173073510720601</c:v>
                </c:pt>
                <c:pt idx="4660">
                  <c:v>-0.373973009324018</c:v>
                </c:pt>
                <c:pt idx="4661">
                  <c:v>-0.39092630687969598</c:v>
                </c:pt>
                <c:pt idx="4662">
                  <c:v>-0.40787960443537402</c:v>
                </c:pt>
                <c:pt idx="4663">
                  <c:v>-0.424832901991053</c:v>
                </c:pt>
                <c:pt idx="4664">
                  <c:v>-0.44178619954673098</c:v>
                </c:pt>
                <c:pt idx="4665">
                  <c:v>9.4860898640409405E-2</c:v>
                </c:pt>
                <c:pt idx="4666">
                  <c:v>7.8126413254843499E-2</c:v>
                </c:pt>
                <c:pt idx="4667">
                  <c:v>9.8506989482043505E-2</c:v>
                </c:pt>
                <c:pt idx="4668">
                  <c:v>0.147763646211334</c:v>
                </c:pt>
                <c:pt idx="4669">
                  <c:v>0.135495483215402</c:v>
                </c:pt>
                <c:pt idx="4670">
                  <c:v>0.110755129524972</c:v>
                </c:pt>
                <c:pt idx="4671">
                  <c:v>-7.88493604241155E-2</c:v>
                </c:pt>
                <c:pt idx="4672">
                  <c:v>-7.2597028820542198E-2</c:v>
                </c:pt>
                <c:pt idx="4673">
                  <c:v>-0.125555952966976</c:v>
                </c:pt>
                <c:pt idx="4674">
                  <c:v>9.3805463165630399E-4</c:v>
                </c:pt>
                <c:pt idx="4675">
                  <c:v>-8.0896950016869501E-2</c:v>
                </c:pt>
                <c:pt idx="4676">
                  <c:v>-0.20596939259692201</c:v>
                </c:pt>
                <c:pt idx="4677">
                  <c:v>-0.121927731858885</c:v>
                </c:pt>
                <c:pt idx="4678">
                  <c:v>-2.4206098037876699E-4</c:v>
                </c:pt>
                <c:pt idx="4679">
                  <c:v>3.2169815072235902E-2</c:v>
                </c:pt>
                <c:pt idx="4680">
                  <c:v>4.4172029790407401E-2</c:v>
                </c:pt>
                <c:pt idx="4681">
                  <c:v>5.5889441426201802E-4</c:v>
                </c:pt>
                <c:pt idx="4682">
                  <c:v>-5.1139856429336203E-2</c:v>
                </c:pt>
                <c:pt idx="4683">
                  <c:v>-0.16074413392033901</c:v>
                </c:pt>
                <c:pt idx="4684">
                  <c:v>-0.19808152733450199</c:v>
                </c:pt>
                <c:pt idx="4685">
                  <c:v>-0.14639382890726199</c:v>
                </c:pt>
                <c:pt idx="4686">
                  <c:v>-0.29698683882217303</c:v>
                </c:pt>
                <c:pt idx="4687">
                  <c:v>-0.29684963185088897</c:v>
                </c:pt>
                <c:pt idx="4688">
                  <c:v>-0.37926082244527698</c:v>
                </c:pt>
                <c:pt idx="4689">
                  <c:v>-0.38105539147564399</c:v>
                </c:pt>
                <c:pt idx="4690">
                  <c:v>-0.41784841732686401</c:v>
                </c:pt>
                <c:pt idx="4691">
                  <c:v>-0.46499702908067098</c:v>
                </c:pt>
                <c:pt idx="4692">
                  <c:v>-0.52847545822831699</c:v>
                </c:pt>
                <c:pt idx="4693">
                  <c:v>-0.53510667502057796</c:v>
                </c:pt>
                <c:pt idx="4694">
                  <c:v>-0.62624952852720395</c:v>
                </c:pt>
                <c:pt idx="4695">
                  <c:v>-0.68866444635924495</c:v>
                </c:pt>
                <c:pt idx="4696">
                  <c:v>-0.74269223825310404</c:v>
                </c:pt>
                <c:pt idx="4697">
                  <c:v>-0.80780401016918701</c:v>
                </c:pt>
                <c:pt idx="4698">
                  <c:v>-0.87495831446342898</c:v>
                </c:pt>
                <c:pt idx="4699">
                  <c:v>-0.94422922354958305</c:v>
                </c:pt>
                <c:pt idx="4700">
                  <c:v>-1.01750590416259</c:v>
                </c:pt>
                <c:pt idx="4701">
                  <c:v>-1.06392036684937</c:v>
                </c:pt>
                <c:pt idx="4702">
                  <c:v>-1.16800769731087</c:v>
                </c:pt>
                <c:pt idx="4703">
                  <c:v>-1.2391391033296699</c:v>
                </c:pt>
                <c:pt idx="4704">
                  <c:v>-1.3061165929941201</c:v>
                </c:pt>
                <c:pt idx="4705">
                  <c:v>-1.2288367076828199</c:v>
                </c:pt>
                <c:pt idx="4706">
                  <c:v>-1.22016296331638</c:v>
                </c:pt>
                <c:pt idx="4707">
                  <c:v>-1.2093726141580401</c:v>
                </c:pt>
                <c:pt idx="4708">
                  <c:v>-1.2093726141580401</c:v>
                </c:pt>
                <c:pt idx="4709">
                  <c:v>-1.2093726141580401</c:v>
                </c:pt>
                <c:pt idx="4710">
                  <c:v>-1.2093726141580401</c:v>
                </c:pt>
                <c:pt idx="4711">
                  <c:v>-1.55359756184911</c:v>
                </c:pt>
                <c:pt idx="4712">
                  <c:v>-1.5403655458849601</c:v>
                </c:pt>
                <c:pt idx="4713">
                  <c:v>-1.52713352992081</c:v>
                </c:pt>
                <c:pt idx="4714">
                  <c:v>-1.5139015139566601</c:v>
                </c:pt>
                <c:pt idx="4715">
                  <c:v>-1.5006694979925099</c:v>
                </c:pt>
                <c:pt idx="4716">
                  <c:v>-1.4984387679320801</c:v>
                </c:pt>
                <c:pt idx="4717">
                  <c:v>-1.49620803787164</c:v>
                </c:pt>
                <c:pt idx="4718">
                  <c:v>-1.49397730781121</c:v>
                </c:pt>
                <c:pt idx="4719">
                  <c:v>-0.99337044036664102</c:v>
                </c:pt>
                <c:pt idx="4720">
                  <c:v>-0.964849463851434</c:v>
                </c:pt>
                <c:pt idx="4721">
                  <c:v>-0.96709895538896995</c:v>
                </c:pt>
                <c:pt idx="4722">
                  <c:v>-0.95276968336666901</c:v>
                </c:pt>
                <c:pt idx="4723">
                  <c:v>-0.83934519995930801</c:v>
                </c:pt>
                <c:pt idx="4724">
                  <c:v>-1.0291117306003399</c:v>
                </c:pt>
                <c:pt idx="4725">
                  <c:v>-0.83110153806486298</c:v>
                </c:pt>
                <c:pt idx="4726">
                  <c:v>-0.98648832378815499</c:v>
                </c:pt>
                <c:pt idx="4727">
                  <c:v>-0.76028961425173802</c:v>
                </c:pt>
                <c:pt idx="4728">
                  <c:v>-0.87651880598410503</c:v>
                </c:pt>
                <c:pt idx="4729">
                  <c:v>-0.71434277859814099</c:v>
                </c:pt>
                <c:pt idx="4730">
                  <c:v>-0.70765180837125097</c:v>
                </c:pt>
                <c:pt idx="4731">
                  <c:v>-0.90294003601578299</c:v>
                </c:pt>
                <c:pt idx="4732">
                  <c:v>-0.75565221756402201</c:v>
                </c:pt>
                <c:pt idx="4733">
                  <c:v>-0.83770609363532</c:v>
                </c:pt>
                <c:pt idx="4734">
                  <c:v>-0.83146149673909797</c:v>
                </c:pt>
                <c:pt idx="4735">
                  <c:v>-0.73647205354468703</c:v>
                </c:pt>
                <c:pt idx="4736">
                  <c:v>-0.643673287555944</c:v>
                </c:pt>
                <c:pt idx="4737">
                  <c:v>-0.63538615828156297</c:v>
                </c:pt>
                <c:pt idx="4738">
                  <c:v>-0.81045131182760699</c:v>
                </c:pt>
                <c:pt idx="4739">
                  <c:v>-0.77710815989702497</c:v>
                </c:pt>
                <c:pt idx="4740">
                  <c:v>-0.67973710500027595</c:v>
                </c:pt>
                <c:pt idx="4741">
                  <c:v>-0.71661830476837496</c:v>
                </c:pt>
                <c:pt idx="4742">
                  <c:v>-0.746806308488149</c:v>
                </c:pt>
                <c:pt idx="4743">
                  <c:v>-0.79566295163493606</c:v>
                </c:pt>
                <c:pt idx="4744">
                  <c:v>-0.75993388565360498</c:v>
                </c:pt>
                <c:pt idx="4745">
                  <c:v>-0.65390639555983998</c:v>
                </c:pt>
                <c:pt idx="4746">
                  <c:v>-0.58870530022516399</c:v>
                </c:pt>
                <c:pt idx="4747">
                  <c:v>-0.535976395584987</c:v>
                </c:pt>
                <c:pt idx="4748">
                  <c:v>-0.30545628787770401</c:v>
                </c:pt>
                <c:pt idx="4749">
                  <c:v>-0.47360787940865101</c:v>
                </c:pt>
                <c:pt idx="4750">
                  <c:v>-0.65069610922147203</c:v>
                </c:pt>
                <c:pt idx="4751">
                  <c:v>-0.74319340909046105</c:v>
                </c:pt>
                <c:pt idx="4752">
                  <c:v>-0.82752580026253098</c:v>
                </c:pt>
                <c:pt idx="4753">
                  <c:v>-0.95086241978230401</c:v>
                </c:pt>
                <c:pt idx="4754">
                  <c:v>-1.0699023974890001</c:v>
                </c:pt>
                <c:pt idx="4755">
                  <c:v>-1.2773857110231499</c:v>
                </c:pt>
                <c:pt idx="4756">
                  <c:v>-1.4305784468377001</c:v>
                </c:pt>
                <c:pt idx="4757">
                  <c:v>-1.53363780924669</c:v>
                </c:pt>
                <c:pt idx="4758">
                  <c:v>-1.5088844662274701</c:v>
                </c:pt>
                <c:pt idx="4759">
                  <c:v>-1.4841311232082499</c:v>
                </c:pt>
                <c:pt idx="4760">
                  <c:v>-1.45937778018902</c:v>
                </c:pt>
                <c:pt idx="4761">
                  <c:v>-1.4708752604729001</c:v>
                </c:pt>
                <c:pt idx="4762">
                  <c:v>-1.4823727407567699</c:v>
                </c:pt>
                <c:pt idx="4763">
                  <c:v>-1.49387022104064</c:v>
                </c:pt>
                <c:pt idx="4764">
                  <c:v>-1.5053677013245199</c:v>
                </c:pt>
                <c:pt idx="4765">
                  <c:v>-1.49364138653172</c:v>
                </c:pt>
                <c:pt idx="4766">
                  <c:v>-1.4897326149341199</c:v>
                </c:pt>
                <c:pt idx="4767">
                  <c:v>-0.66054078673064498</c:v>
                </c:pt>
                <c:pt idx="4768">
                  <c:v>-0.58067295810376895</c:v>
                </c:pt>
                <c:pt idx="4769">
                  <c:v>0.21792741499853899</c:v>
                </c:pt>
                <c:pt idx="4770">
                  <c:v>0.171793397390299</c:v>
                </c:pt>
                <c:pt idx="4771">
                  <c:v>0.29631612408352598</c:v>
                </c:pt>
                <c:pt idx="4772">
                  <c:v>0.255366254717592</c:v>
                </c:pt>
                <c:pt idx="4773">
                  <c:v>0.32367059213183302</c:v>
                </c:pt>
                <c:pt idx="4774">
                  <c:v>0.65397103804109902</c:v>
                </c:pt>
                <c:pt idx="4775">
                  <c:v>0.53953551740704098</c:v>
                </c:pt>
                <c:pt idx="4776">
                  <c:v>0.42298339198106999</c:v>
                </c:pt>
                <c:pt idx="4777">
                  <c:v>0.31678685245768501</c:v>
                </c:pt>
                <c:pt idx="4778">
                  <c:v>0.225105036006957</c:v>
                </c:pt>
                <c:pt idx="4779">
                  <c:v>-0.15154431977818</c:v>
                </c:pt>
                <c:pt idx="4780">
                  <c:v>-0.11521277843760699</c:v>
                </c:pt>
                <c:pt idx="4781">
                  <c:v>-2.7515055051379501E-3</c:v>
                </c:pt>
                <c:pt idx="4782">
                  <c:v>-3.9735985347751003E-2</c:v>
                </c:pt>
                <c:pt idx="4783">
                  <c:v>-7.5521644137352101E-2</c:v>
                </c:pt>
                <c:pt idx="4784">
                  <c:v>-0.190511087221794</c:v>
                </c:pt>
                <c:pt idx="4785">
                  <c:v>0.283890249488643</c:v>
                </c:pt>
                <c:pt idx="4786">
                  <c:v>0.286595805618235</c:v>
                </c:pt>
                <c:pt idx="4787">
                  <c:v>0.22104547001354899</c:v>
                </c:pt>
                <c:pt idx="4788">
                  <c:v>0.244876317094601</c:v>
                </c:pt>
                <c:pt idx="4789">
                  <c:v>0.20529990366376399</c:v>
                </c:pt>
                <c:pt idx="4790">
                  <c:v>-2.3532757869875201E-2</c:v>
                </c:pt>
                <c:pt idx="4791">
                  <c:v>-0.161816892563205</c:v>
                </c:pt>
                <c:pt idx="4792">
                  <c:v>-0.31547400891251398</c:v>
                </c:pt>
                <c:pt idx="4793">
                  <c:v>-0.34177073141243602</c:v>
                </c:pt>
                <c:pt idx="4794">
                  <c:v>-0.26904631494105102</c:v>
                </c:pt>
                <c:pt idx="4795">
                  <c:v>-0.34905709769118098</c:v>
                </c:pt>
                <c:pt idx="4796">
                  <c:v>-0.36229580786548199</c:v>
                </c:pt>
                <c:pt idx="4797">
                  <c:v>-0.43814745344554201</c:v>
                </c:pt>
                <c:pt idx="4798">
                  <c:v>-0.72610371037786303</c:v>
                </c:pt>
                <c:pt idx="4799">
                  <c:v>-0.79668960162532498</c:v>
                </c:pt>
                <c:pt idx="4800">
                  <c:v>-0.94054358721778797</c:v>
                </c:pt>
                <c:pt idx="4801">
                  <c:v>-0.96236690255531299</c:v>
                </c:pt>
                <c:pt idx="4802">
                  <c:v>-0.95575075443221302</c:v>
                </c:pt>
                <c:pt idx="4803">
                  <c:v>-0.94913460630911295</c:v>
                </c:pt>
                <c:pt idx="4804">
                  <c:v>-0.94251845818601399</c:v>
                </c:pt>
                <c:pt idx="4805">
                  <c:v>-0.93590231006291402</c:v>
                </c:pt>
                <c:pt idx="4806">
                  <c:v>-0.96712936148787998</c:v>
                </c:pt>
                <c:pt idx="4807">
                  <c:v>-0.97753837862953497</c:v>
                </c:pt>
                <c:pt idx="4808">
                  <c:v>-0.98810707548657495</c:v>
                </c:pt>
                <c:pt idx="4809">
                  <c:v>-1.0092444692006499</c:v>
                </c:pt>
                <c:pt idx="4810">
                  <c:v>-1.0198131660576899</c:v>
                </c:pt>
                <c:pt idx="4811">
                  <c:v>-0.94038514090490599</c:v>
                </c:pt>
                <c:pt idx="4812">
                  <c:v>-0.89728824628750203</c:v>
                </c:pt>
                <c:pt idx="4813">
                  <c:v>-0.890045663050408</c:v>
                </c:pt>
                <c:pt idx="4814">
                  <c:v>-0.91042063225530701</c:v>
                </c:pt>
                <c:pt idx="4815">
                  <c:v>-0.88759534384864003</c:v>
                </c:pt>
                <c:pt idx="4816">
                  <c:v>-0.86477005544197305</c:v>
                </c:pt>
                <c:pt idx="4817">
                  <c:v>-0.84398729941346495</c:v>
                </c:pt>
                <c:pt idx="4818">
                  <c:v>-0.78011002946522301</c:v>
                </c:pt>
                <c:pt idx="4819">
                  <c:v>-0.88643386575608696</c:v>
                </c:pt>
                <c:pt idx="4820">
                  <c:v>-0.90620875377014198</c:v>
                </c:pt>
                <c:pt idx="4821">
                  <c:v>-0.90535176320849298</c:v>
                </c:pt>
                <c:pt idx="4822">
                  <c:v>-0.92301526724634997</c:v>
                </c:pt>
                <c:pt idx="4823">
                  <c:v>-0.88274377594710496</c:v>
                </c:pt>
                <c:pt idx="4824">
                  <c:v>-0.82395179004835395</c:v>
                </c:pt>
                <c:pt idx="4825">
                  <c:v>-0.76720233652776104</c:v>
                </c:pt>
                <c:pt idx="4826">
                  <c:v>-0.71869186411784203</c:v>
                </c:pt>
                <c:pt idx="4827">
                  <c:v>-0.59499891805724003</c:v>
                </c:pt>
                <c:pt idx="4828">
                  <c:v>-0.47954495310731199</c:v>
                </c:pt>
                <c:pt idx="4829">
                  <c:v>-0.372329969268057</c:v>
                </c:pt>
                <c:pt idx="4830">
                  <c:v>-0.180613790345866</c:v>
                </c:pt>
                <c:pt idx="4831">
                  <c:v>-0.23041838514446999</c:v>
                </c:pt>
                <c:pt idx="4832">
                  <c:v>-0.226484248656415</c:v>
                </c:pt>
                <c:pt idx="4833">
                  <c:v>-0.20395554515509901</c:v>
                </c:pt>
                <c:pt idx="4834">
                  <c:v>-0.17096312247794901</c:v>
                </c:pt>
                <c:pt idx="4835">
                  <c:v>-0.16064511075466201</c:v>
                </c:pt>
                <c:pt idx="4836">
                  <c:v>-0.12968999963995601</c:v>
                </c:pt>
                <c:pt idx="4837">
                  <c:v>-9.261251220649E-2</c:v>
                </c:pt>
                <c:pt idx="4838">
                  <c:v>-2.03513011472586E-2</c:v>
                </c:pt>
                <c:pt idx="4839">
                  <c:v>0.165292406312714</c:v>
                </c:pt>
                <c:pt idx="4840">
                  <c:v>0.25614818438520398</c:v>
                </c:pt>
                <c:pt idx="4841">
                  <c:v>0.31397396560124602</c:v>
                </c:pt>
                <c:pt idx="4842">
                  <c:v>0.61095836256329905</c:v>
                </c:pt>
                <c:pt idx="4843">
                  <c:v>0.83164076229955497</c:v>
                </c:pt>
                <c:pt idx="4844">
                  <c:v>0.89963492681663804</c:v>
                </c:pt>
                <c:pt idx="4845">
                  <c:v>1.03111202475372</c:v>
                </c:pt>
                <c:pt idx="4846">
                  <c:v>0.80311444212571204</c:v>
                </c:pt>
                <c:pt idx="4847">
                  <c:v>1.00896980811583</c:v>
                </c:pt>
                <c:pt idx="4848">
                  <c:v>0.81971132040919104</c:v>
                </c:pt>
                <c:pt idx="4849">
                  <c:v>0.74194616236835098</c:v>
                </c:pt>
                <c:pt idx="4850">
                  <c:v>0.68882387524577904</c:v>
                </c:pt>
                <c:pt idx="4851">
                  <c:v>0.72436714119192802</c:v>
                </c:pt>
                <c:pt idx="4852">
                  <c:v>0.56715459677318703</c:v>
                </c:pt>
                <c:pt idx="4853">
                  <c:v>0.58761885027369898</c:v>
                </c:pt>
                <c:pt idx="4854">
                  <c:v>0.59769029028701204</c:v>
                </c:pt>
                <c:pt idx="4855">
                  <c:v>0.667630496096422</c:v>
                </c:pt>
                <c:pt idx="4856">
                  <c:v>0.574600953197826</c:v>
                </c:pt>
                <c:pt idx="4857">
                  <c:v>0.438180606724482</c:v>
                </c:pt>
                <c:pt idx="4858">
                  <c:v>0.35663561062483201</c:v>
                </c:pt>
                <c:pt idx="4859">
                  <c:v>0.41523258663610402</c:v>
                </c:pt>
                <c:pt idx="4860">
                  <c:v>0.39340299068932799</c:v>
                </c:pt>
                <c:pt idx="4861">
                  <c:v>0.39833287045273202</c:v>
                </c:pt>
                <c:pt idx="4862">
                  <c:v>0.41078695466708398</c:v>
                </c:pt>
                <c:pt idx="4863">
                  <c:v>0.50355732546543497</c:v>
                </c:pt>
                <c:pt idx="4864">
                  <c:v>0.38646180776173</c:v>
                </c:pt>
                <c:pt idx="4865">
                  <c:v>0.17662089304870199</c:v>
                </c:pt>
                <c:pt idx="4866">
                  <c:v>-3.9123720172955997E-2</c:v>
                </c:pt>
                <c:pt idx="4867">
                  <c:v>-8.5155535245949696E-2</c:v>
                </c:pt>
                <c:pt idx="4868">
                  <c:v>-8.5230833961635305E-2</c:v>
                </c:pt>
                <c:pt idx="4869">
                  <c:v>-0.117893432092883</c:v>
                </c:pt>
                <c:pt idx="4870">
                  <c:v>-6.9762059540884894E-2</c:v>
                </c:pt>
                <c:pt idx="4871">
                  <c:v>-8.1787558280714698E-2</c:v>
                </c:pt>
                <c:pt idx="4872">
                  <c:v>-0.37703663810945998</c:v>
                </c:pt>
                <c:pt idx="4873">
                  <c:v>-0.50478743522948799</c:v>
                </c:pt>
                <c:pt idx="4874">
                  <c:v>-0.52651957462852494</c:v>
                </c:pt>
                <c:pt idx="4875">
                  <c:v>-0.53441369954522999</c:v>
                </c:pt>
                <c:pt idx="4876">
                  <c:v>-0.59964972571902497</c:v>
                </c:pt>
                <c:pt idx="4877">
                  <c:v>-0.70855793304287595</c:v>
                </c:pt>
                <c:pt idx="4878">
                  <c:v>-0.681391009699154</c:v>
                </c:pt>
                <c:pt idx="4879">
                  <c:v>-0.72541001218991097</c:v>
                </c:pt>
                <c:pt idx="4880">
                  <c:v>-0.58259150881242106</c:v>
                </c:pt>
                <c:pt idx="4881">
                  <c:v>-0.54149788202716698</c:v>
                </c:pt>
                <c:pt idx="4882">
                  <c:v>-0.45450581491526898</c:v>
                </c:pt>
                <c:pt idx="4883">
                  <c:v>-0.38163837072436901</c:v>
                </c:pt>
                <c:pt idx="4884">
                  <c:v>-0.325248888754818</c:v>
                </c:pt>
                <c:pt idx="4885">
                  <c:v>-0.25238144456391898</c:v>
                </c:pt>
                <c:pt idx="4886">
                  <c:v>0.151564600997972</c:v>
                </c:pt>
                <c:pt idx="4887">
                  <c:v>0.41888892010895601</c:v>
                </c:pt>
                <c:pt idx="4888">
                  <c:v>0.62173725699522397</c:v>
                </c:pt>
                <c:pt idx="4889">
                  <c:v>1.20533659181091</c:v>
                </c:pt>
                <c:pt idx="4890">
                  <c:v>1.10354582903697</c:v>
                </c:pt>
                <c:pt idx="4891">
                  <c:v>1.23178342941118</c:v>
                </c:pt>
                <c:pt idx="4892">
                  <c:v>0.90663724915979205</c:v>
                </c:pt>
                <c:pt idx="4893">
                  <c:v>0.70822856086883801</c:v>
                </c:pt>
                <c:pt idx="4894">
                  <c:v>0.51092870251036404</c:v>
                </c:pt>
                <c:pt idx="4895">
                  <c:v>0.38585643295863697</c:v>
                </c:pt>
                <c:pt idx="4896">
                  <c:v>0.346551679942188</c:v>
                </c:pt>
                <c:pt idx="4897">
                  <c:v>0.30054516361493699</c:v>
                </c:pt>
                <c:pt idx="4898">
                  <c:v>0.20656367099602899</c:v>
                </c:pt>
                <c:pt idx="4899">
                  <c:v>0.158514622290619</c:v>
                </c:pt>
                <c:pt idx="4900">
                  <c:v>0.19308094685452801</c:v>
                </c:pt>
                <c:pt idx="4901">
                  <c:v>0.133763873443141</c:v>
                </c:pt>
                <c:pt idx="4902">
                  <c:v>0.32419293507354302</c:v>
                </c:pt>
                <c:pt idx="4903">
                  <c:v>0.130702900226776</c:v>
                </c:pt>
                <c:pt idx="4904">
                  <c:v>0.239420800936989</c:v>
                </c:pt>
                <c:pt idx="4905">
                  <c:v>9.4233429435341701E-2</c:v>
                </c:pt>
                <c:pt idx="4906">
                  <c:v>-9.6056708697152791E-3</c:v>
                </c:pt>
                <c:pt idx="4907">
                  <c:v>-7.4287177183847905E-2</c:v>
                </c:pt>
                <c:pt idx="4908">
                  <c:v>-7.7213641856533802E-2</c:v>
                </c:pt>
                <c:pt idx="4909">
                  <c:v>-0.119144334876922</c:v>
                </c:pt>
                <c:pt idx="4910">
                  <c:v>-0.187908576021244</c:v>
                </c:pt>
                <c:pt idx="4911">
                  <c:v>-0.28758620923010297</c:v>
                </c:pt>
                <c:pt idx="4912">
                  <c:v>-0.239173528174632</c:v>
                </c:pt>
                <c:pt idx="4913">
                  <c:v>-0.25878930079646201</c:v>
                </c:pt>
                <c:pt idx="4914">
                  <c:v>-0.32791303249609</c:v>
                </c:pt>
                <c:pt idx="4915">
                  <c:v>-0.33513068683717601</c:v>
                </c:pt>
                <c:pt idx="4916">
                  <c:v>-0.36572750446496299</c:v>
                </c:pt>
                <c:pt idx="4917">
                  <c:v>-0.513860734847849</c:v>
                </c:pt>
                <c:pt idx="4918">
                  <c:v>-0.57748754933208502</c:v>
                </c:pt>
                <c:pt idx="4919">
                  <c:v>-0.61428081569238802</c:v>
                </c:pt>
                <c:pt idx="4920">
                  <c:v>-0.64606719578099603</c:v>
                </c:pt>
                <c:pt idx="4921">
                  <c:v>-0.65925900885634503</c:v>
                </c:pt>
                <c:pt idx="4922">
                  <c:v>-0.68273233542052703</c:v>
                </c:pt>
                <c:pt idx="4923">
                  <c:v>-0.67120720516385401</c:v>
                </c:pt>
                <c:pt idx="4924">
                  <c:v>-0.79936947603682396</c:v>
                </c:pt>
                <c:pt idx="4925">
                  <c:v>-0.882177704186353</c:v>
                </c:pt>
                <c:pt idx="4926">
                  <c:v>-0.92998747551502903</c:v>
                </c:pt>
                <c:pt idx="4927">
                  <c:v>-0.99843434623512295</c:v>
                </c:pt>
                <c:pt idx="4928">
                  <c:v>-0.97971553871932704</c:v>
                </c:pt>
                <c:pt idx="4929">
                  <c:v>-0.96923571231420402</c:v>
                </c:pt>
                <c:pt idx="4930">
                  <c:v>-0.99805640391179895</c:v>
                </c:pt>
                <c:pt idx="4931">
                  <c:v>-1.0246864183037301</c:v>
                </c:pt>
                <c:pt idx="4932">
                  <c:v>-1.0152725026261999</c:v>
                </c:pt>
                <c:pt idx="4933">
                  <c:v>-0.93163890535456695</c:v>
                </c:pt>
                <c:pt idx="4934">
                  <c:v>-0.91807107332268101</c:v>
                </c:pt>
                <c:pt idx="4935">
                  <c:v>-0.96231903307730604</c:v>
                </c:pt>
                <c:pt idx="4936">
                  <c:v>-1.00037212385376</c:v>
                </c:pt>
                <c:pt idx="4937">
                  <c:v>-1.0137082712982</c:v>
                </c:pt>
                <c:pt idx="4938">
                  <c:v>-1.02295935398632</c:v>
                </c:pt>
                <c:pt idx="4939">
                  <c:v>-1.01981753920941</c:v>
                </c:pt>
                <c:pt idx="4940">
                  <c:v>-1.00051513353438</c:v>
                </c:pt>
                <c:pt idx="4941">
                  <c:v>-0.99769069008069999</c:v>
                </c:pt>
                <c:pt idx="4942">
                  <c:v>-0.98458473313818895</c:v>
                </c:pt>
                <c:pt idx="4943">
                  <c:v>-1.0147162141271999</c:v>
                </c:pt>
                <c:pt idx="4944">
                  <c:v>-0.98486527133442103</c:v>
                </c:pt>
                <c:pt idx="4945">
                  <c:v>-0.78804402912249505</c:v>
                </c:pt>
                <c:pt idx="4946">
                  <c:v>-0.87769273823350102</c:v>
                </c:pt>
                <c:pt idx="4947">
                  <c:v>-0.86635706922450995</c:v>
                </c:pt>
                <c:pt idx="4948">
                  <c:v>-0.77955077371141401</c:v>
                </c:pt>
                <c:pt idx="4949">
                  <c:v>-0.68042043233132898</c:v>
                </c:pt>
                <c:pt idx="4950">
                  <c:v>-0.56065821237553803</c:v>
                </c:pt>
                <c:pt idx="4951">
                  <c:v>-0.44089599241974797</c:v>
                </c:pt>
                <c:pt idx="4952">
                  <c:v>-0.45409609287733399</c:v>
                </c:pt>
                <c:pt idx="4953">
                  <c:v>-0.450818231113573</c:v>
                </c:pt>
                <c:pt idx="4954">
                  <c:v>-0.457821882838644</c:v>
                </c:pt>
                <c:pt idx="4955">
                  <c:v>-0.27940881295882197</c:v>
                </c:pt>
                <c:pt idx="4956">
                  <c:v>-0.28744746901706902</c:v>
                </c:pt>
                <c:pt idx="4957">
                  <c:v>-0.29548612507531702</c:v>
                </c:pt>
                <c:pt idx="4958">
                  <c:v>-0.30352478113356501</c:v>
                </c:pt>
                <c:pt idx="4959">
                  <c:v>-0.31156343719181201</c:v>
                </c:pt>
                <c:pt idx="4960">
                  <c:v>-0.30903554477416101</c:v>
                </c:pt>
                <c:pt idx="4961">
                  <c:v>-0.30650765235651001</c:v>
                </c:pt>
                <c:pt idx="4962">
                  <c:v>-0.30397975993885801</c:v>
                </c:pt>
                <c:pt idx="4963">
                  <c:v>-0.30145186752120701</c:v>
                </c:pt>
                <c:pt idx="4964">
                  <c:v>-0.30386392297091902</c:v>
                </c:pt>
                <c:pt idx="4965">
                  <c:v>-0.30627597842063098</c:v>
                </c:pt>
                <c:pt idx="4966">
                  <c:v>-0.30868803387034399</c:v>
                </c:pt>
                <c:pt idx="4967">
                  <c:v>-0.31110008932005601</c:v>
                </c:pt>
                <c:pt idx="4968">
                  <c:v>-0.31130800679496201</c:v>
                </c:pt>
                <c:pt idx="4969">
                  <c:v>-0.31151592426986802</c:v>
                </c:pt>
                <c:pt idx="4970">
                  <c:v>-0.31172384174477402</c:v>
                </c:pt>
                <c:pt idx="4971">
                  <c:v>0.43725965856426402</c:v>
                </c:pt>
                <c:pt idx="4972">
                  <c:v>0.44793930472056198</c:v>
                </c:pt>
                <c:pt idx="4973">
                  <c:v>0.43382271431537101</c:v>
                </c:pt>
                <c:pt idx="4974">
                  <c:v>0.38077596797623098</c:v>
                </c:pt>
                <c:pt idx="4975">
                  <c:v>0.37286104711926998</c:v>
                </c:pt>
                <c:pt idx="4976">
                  <c:v>0.440982371109574</c:v>
                </c:pt>
                <c:pt idx="4977">
                  <c:v>0.46359628673321701</c:v>
                </c:pt>
                <c:pt idx="4978">
                  <c:v>1.03189822647483</c:v>
                </c:pt>
                <c:pt idx="4979">
                  <c:v>0.46588819051970598</c:v>
                </c:pt>
                <c:pt idx="4980">
                  <c:v>0.56940983787655997</c:v>
                </c:pt>
                <c:pt idx="4981">
                  <c:v>0.63400132929946595</c:v>
                </c:pt>
                <c:pt idx="4982">
                  <c:v>0.66987010586350104</c:v>
                </c:pt>
                <c:pt idx="4983">
                  <c:v>0.64949508445809301</c:v>
                </c:pt>
                <c:pt idx="4984">
                  <c:v>0.60155050936323795</c:v>
                </c:pt>
                <c:pt idx="4985">
                  <c:v>0.62753454702318401</c:v>
                </c:pt>
                <c:pt idx="4986">
                  <c:v>0.53385512550469305</c:v>
                </c:pt>
                <c:pt idx="4987">
                  <c:v>0.537312897038285</c:v>
                </c:pt>
                <c:pt idx="4988">
                  <c:v>0.60022835030537802</c:v>
                </c:pt>
                <c:pt idx="4989">
                  <c:v>0.64666584135112404</c:v>
                </c:pt>
                <c:pt idx="4990">
                  <c:v>0.60881913373948204</c:v>
                </c:pt>
                <c:pt idx="4991">
                  <c:v>0.62003072990740005</c:v>
                </c:pt>
                <c:pt idx="4992">
                  <c:v>0.63797916122454501</c:v>
                </c:pt>
                <c:pt idx="4993">
                  <c:v>0.53483506355797905</c:v>
                </c:pt>
                <c:pt idx="4994">
                  <c:v>0.60682176387285602</c:v>
                </c:pt>
                <c:pt idx="4995">
                  <c:v>0.453556244555608</c:v>
                </c:pt>
                <c:pt idx="4996">
                  <c:v>0.44944052379378702</c:v>
                </c:pt>
                <c:pt idx="4997">
                  <c:v>0.52960900168935299</c:v>
                </c:pt>
                <c:pt idx="4998">
                  <c:v>0.55618445575080699</c:v>
                </c:pt>
                <c:pt idx="4999">
                  <c:v>0.204344506265253</c:v>
                </c:pt>
                <c:pt idx="5000">
                  <c:v>0.36391865608781099</c:v>
                </c:pt>
                <c:pt idx="5001">
                  <c:v>0.26119518694461402</c:v>
                </c:pt>
                <c:pt idx="5002">
                  <c:v>0.35470412223856201</c:v>
                </c:pt>
                <c:pt idx="5003">
                  <c:v>0.23761929566593001</c:v>
                </c:pt>
                <c:pt idx="5004">
                  <c:v>9.6744835952104605E-2</c:v>
                </c:pt>
                <c:pt idx="5005">
                  <c:v>9.5374724861460591E-3</c:v>
                </c:pt>
                <c:pt idx="5006">
                  <c:v>-0.20564118286696301</c:v>
                </c:pt>
                <c:pt idx="5007">
                  <c:v>-0.25588162954766402</c:v>
                </c:pt>
                <c:pt idx="5008">
                  <c:v>-0.29910943952445701</c:v>
                </c:pt>
                <c:pt idx="5009">
                  <c:v>-0.40424332685978998</c:v>
                </c:pt>
                <c:pt idx="5010">
                  <c:v>-0.38352252709988399</c:v>
                </c:pt>
                <c:pt idx="5011">
                  <c:v>-0.36477018730438199</c:v>
                </c:pt>
                <c:pt idx="5012">
                  <c:v>-0.39721868469172</c:v>
                </c:pt>
                <c:pt idx="5013">
                  <c:v>-0.56171831790681404</c:v>
                </c:pt>
                <c:pt idx="5014">
                  <c:v>-0.98606612993073905</c:v>
                </c:pt>
                <c:pt idx="5015">
                  <c:v>-1.0267536084287501</c:v>
                </c:pt>
                <c:pt idx="5016">
                  <c:v>-1.02198959452348</c:v>
                </c:pt>
                <c:pt idx="5017">
                  <c:v>-1.0068699947156201</c:v>
                </c:pt>
                <c:pt idx="5018">
                  <c:v>-0.99175039490775496</c:v>
                </c:pt>
                <c:pt idx="5019">
                  <c:v>-0.97663079509989403</c:v>
                </c:pt>
                <c:pt idx="5020">
                  <c:v>-0.99759525565309803</c:v>
                </c:pt>
                <c:pt idx="5021">
                  <c:v>-1.0185597162063</c:v>
                </c:pt>
                <c:pt idx="5022">
                  <c:v>-1.03952417675951</c:v>
                </c:pt>
                <c:pt idx="5023">
                  <c:v>-1.06048863731271</c:v>
                </c:pt>
                <c:pt idx="5024">
                  <c:v>-1.02570609287384</c:v>
                </c:pt>
                <c:pt idx="5025">
                  <c:v>-0.99092354843496</c:v>
                </c:pt>
                <c:pt idx="5026">
                  <c:v>-0.95614100399608404</c:v>
                </c:pt>
                <c:pt idx="5027">
                  <c:v>-0.92135845955720896</c:v>
                </c:pt>
                <c:pt idx="5028">
                  <c:v>-0.89087731920369995</c:v>
                </c:pt>
                <c:pt idx="5029">
                  <c:v>-0.86039617885019204</c:v>
                </c:pt>
                <c:pt idx="5030">
                  <c:v>-0.82991503849668302</c:v>
                </c:pt>
                <c:pt idx="5031">
                  <c:v>-0.799433898143175</c:v>
                </c:pt>
                <c:pt idx="5032">
                  <c:v>-0.62904288406159903</c:v>
                </c:pt>
                <c:pt idx="5033">
                  <c:v>-0.56582747601682304</c:v>
                </c:pt>
                <c:pt idx="5034">
                  <c:v>-0.52324916736346305</c:v>
                </c:pt>
                <c:pt idx="5035">
                  <c:v>-0.48890983982077901</c:v>
                </c:pt>
                <c:pt idx="5036">
                  <c:v>-0.45926947529924</c:v>
                </c:pt>
                <c:pt idx="5037">
                  <c:v>-0.42139012966702699</c:v>
                </c:pt>
                <c:pt idx="5038">
                  <c:v>-0.37527180292413997</c:v>
                </c:pt>
                <c:pt idx="5039">
                  <c:v>-0.36210940062394797</c:v>
                </c:pt>
                <c:pt idx="5040">
                  <c:v>-0.252015173228677</c:v>
                </c:pt>
                <c:pt idx="5041">
                  <c:v>-0.19959381360812301</c:v>
                </c:pt>
                <c:pt idx="5042">
                  <c:v>-0.130694491766221</c:v>
                </c:pt>
                <c:pt idx="5043">
                  <c:v>-7.8273132145666599E-2</c:v>
                </c:pt>
                <c:pt idx="5044">
                  <c:v>4.8684962323185199E-2</c:v>
                </c:pt>
                <c:pt idx="5045">
                  <c:v>0.15916509457069</c:v>
                </c:pt>
                <c:pt idx="5046">
                  <c:v>0.28204334509894002</c:v>
                </c:pt>
                <c:pt idx="5047">
                  <c:v>0.36568992922251198</c:v>
                </c:pt>
                <c:pt idx="5048">
                  <c:v>0.362987853389726</c:v>
                </c:pt>
                <c:pt idx="5049">
                  <c:v>0.35204679644626502</c:v>
                </c:pt>
                <c:pt idx="5050">
                  <c:v>0.36975960276363501</c:v>
                </c:pt>
                <c:pt idx="5051">
                  <c:v>0.38557802153035498</c:v>
                </c:pt>
                <c:pt idx="5052">
                  <c:v>0.32707146242449298</c:v>
                </c:pt>
                <c:pt idx="5053">
                  <c:v>0.26856490331863198</c:v>
                </c:pt>
                <c:pt idx="5054">
                  <c:v>0.210058344212771</c:v>
                </c:pt>
                <c:pt idx="5055">
                  <c:v>0.15155178510691</c:v>
                </c:pt>
                <c:pt idx="5056">
                  <c:v>0.15656837985930599</c:v>
                </c:pt>
                <c:pt idx="5057">
                  <c:v>0.16158497461170299</c:v>
                </c:pt>
                <c:pt idx="5058">
                  <c:v>0.16660156936409901</c:v>
                </c:pt>
                <c:pt idx="5059">
                  <c:v>0.171618164116496</c:v>
                </c:pt>
                <c:pt idx="5060">
                  <c:v>0.18332012730005201</c:v>
                </c:pt>
                <c:pt idx="5061">
                  <c:v>0.195022090483609</c:v>
                </c:pt>
                <c:pt idx="5062">
                  <c:v>0.20672405366716601</c:v>
                </c:pt>
                <c:pt idx="5063">
                  <c:v>0.21842601685072199</c:v>
                </c:pt>
                <c:pt idx="5064">
                  <c:v>0.18999716861478699</c:v>
                </c:pt>
                <c:pt idx="5065">
                  <c:v>0.16156832037885199</c:v>
                </c:pt>
                <c:pt idx="5066">
                  <c:v>0.13313947214291699</c:v>
                </c:pt>
                <c:pt idx="5067">
                  <c:v>0.10471062390698201</c:v>
                </c:pt>
                <c:pt idx="5068">
                  <c:v>0.29781908295265203</c:v>
                </c:pt>
                <c:pt idx="5069">
                  <c:v>0.30930481631044299</c:v>
                </c:pt>
                <c:pt idx="5070">
                  <c:v>0.14958704066526901</c:v>
                </c:pt>
                <c:pt idx="5071">
                  <c:v>0.13825021824168901</c:v>
                </c:pt>
                <c:pt idx="5072">
                  <c:v>0.19657649908699901</c:v>
                </c:pt>
                <c:pt idx="5073">
                  <c:v>0.139408899555369</c:v>
                </c:pt>
                <c:pt idx="5074">
                  <c:v>2.45684322490228E-2</c:v>
                </c:pt>
                <c:pt idx="5075">
                  <c:v>2.7264377697775E-2</c:v>
                </c:pt>
                <c:pt idx="5076">
                  <c:v>-4.9256225513041901E-2</c:v>
                </c:pt>
                <c:pt idx="5077">
                  <c:v>-1.44368647012747E-2</c:v>
                </c:pt>
                <c:pt idx="5078">
                  <c:v>7.3975519944604898E-2</c:v>
                </c:pt>
                <c:pt idx="5079">
                  <c:v>1.6049483747048201E-2</c:v>
                </c:pt>
                <c:pt idx="5080">
                  <c:v>-8.47681808238397E-3</c:v>
                </c:pt>
                <c:pt idx="5081">
                  <c:v>-7.2160713902740495E-2</c:v>
                </c:pt>
                <c:pt idx="5082">
                  <c:v>8.8877850700228495E-2</c:v>
                </c:pt>
                <c:pt idx="5083">
                  <c:v>7.2664602395223502E-2</c:v>
                </c:pt>
                <c:pt idx="5084">
                  <c:v>0.116313284606473</c:v>
                </c:pt>
                <c:pt idx="5085">
                  <c:v>0.21786227264941199</c:v>
                </c:pt>
                <c:pt idx="5086">
                  <c:v>0.21207706819661901</c:v>
                </c:pt>
                <c:pt idx="5087">
                  <c:v>0.42700855264030002</c:v>
                </c:pt>
                <c:pt idx="5088">
                  <c:v>0.24379399160051499</c:v>
                </c:pt>
                <c:pt idx="5089">
                  <c:v>8.0989091895173906E-2</c:v>
                </c:pt>
                <c:pt idx="5090">
                  <c:v>0.11637461495995299</c:v>
                </c:pt>
                <c:pt idx="5091">
                  <c:v>6.5137117334169506E-2</c:v>
                </c:pt>
                <c:pt idx="5092">
                  <c:v>-0.197991039601145</c:v>
                </c:pt>
                <c:pt idx="5093">
                  <c:v>-0.14216535155474699</c:v>
                </c:pt>
                <c:pt idx="5094">
                  <c:v>-0.23109564890329001</c:v>
                </c:pt>
                <c:pt idx="5095">
                  <c:v>-0.16309928063312201</c:v>
                </c:pt>
                <c:pt idx="5096">
                  <c:v>-0.18846702127539</c:v>
                </c:pt>
                <c:pt idx="5097">
                  <c:v>-0.139604638692127</c:v>
                </c:pt>
                <c:pt idx="5098">
                  <c:v>-4.7578890591090099E-2</c:v>
                </c:pt>
                <c:pt idx="5099">
                  <c:v>-0.13697453419952499</c:v>
                </c:pt>
                <c:pt idx="5100">
                  <c:v>-0.22303418179767201</c:v>
                </c:pt>
                <c:pt idx="5101">
                  <c:v>-0.21022083525202101</c:v>
                </c:pt>
                <c:pt idx="5102">
                  <c:v>-0.16195415577156599</c:v>
                </c:pt>
                <c:pt idx="5103">
                  <c:v>-0.21913772286762101</c:v>
                </c:pt>
                <c:pt idx="5104">
                  <c:v>-0.13450386557579699</c:v>
                </c:pt>
                <c:pt idx="5105">
                  <c:v>-0.101499792969396</c:v>
                </c:pt>
                <c:pt idx="5106">
                  <c:v>-0.262310009537496</c:v>
                </c:pt>
                <c:pt idx="5107">
                  <c:v>-0.210785442331588</c:v>
                </c:pt>
                <c:pt idx="5108">
                  <c:v>-0.17744229040100601</c:v>
                </c:pt>
                <c:pt idx="5109">
                  <c:v>-0.23707719435243599</c:v>
                </c:pt>
                <c:pt idx="5110">
                  <c:v>-0.199500832838029</c:v>
                </c:pt>
                <c:pt idx="5111">
                  <c:v>-0.19503376140953799</c:v>
                </c:pt>
                <c:pt idx="5112">
                  <c:v>-0.28093139375533699</c:v>
                </c:pt>
                <c:pt idx="5113">
                  <c:v>-0.168855599756564</c:v>
                </c:pt>
                <c:pt idx="5114">
                  <c:v>-0.19700107109817899</c:v>
                </c:pt>
                <c:pt idx="5115">
                  <c:v>-0.11357391954452201</c:v>
                </c:pt>
                <c:pt idx="5116">
                  <c:v>-0.124872917870511</c:v>
                </c:pt>
                <c:pt idx="5117">
                  <c:v>-8.4542131511077395E-2</c:v>
                </c:pt>
                <c:pt idx="5118">
                  <c:v>-8.7374710669417793E-2</c:v>
                </c:pt>
                <c:pt idx="5119">
                  <c:v>-0.203669079457967</c:v>
                </c:pt>
                <c:pt idx="5120">
                  <c:v>-0.25897724530043698</c:v>
                </c:pt>
                <c:pt idx="5121">
                  <c:v>-0.30415726329729698</c:v>
                </c:pt>
                <c:pt idx="5122">
                  <c:v>-0.33058934863767497</c:v>
                </c:pt>
                <c:pt idx="5123">
                  <c:v>-0.39617902796897803</c:v>
                </c:pt>
                <c:pt idx="5124">
                  <c:v>-0.47599256008670898</c:v>
                </c:pt>
                <c:pt idx="5125">
                  <c:v>-0.61975470194113902</c:v>
                </c:pt>
                <c:pt idx="5126">
                  <c:v>-0.75716702941983305</c:v>
                </c:pt>
                <c:pt idx="5127">
                  <c:v>-0.87613293471277598</c:v>
                </c:pt>
                <c:pt idx="5128">
                  <c:v>-1.01018498241577</c:v>
                </c:pt>
                <c:pt idx="5129">
                  <c:v>-1.10092551977349</c:v>
                </c:pt>
                <c:pt idx="5130">
                  <c:v>-1.1957459010718099</c:v>
                </c:pt>
                <c:pt idx="5131">
                  <c:v>-1.2802847688812999</c:v>
                </c:pt>
                <c:pt idx="5132">
                  <c:v>-1.3577681704643201</c:v>
                </c:pt>
                <c:pt idx="5133">
                  <c:v>-1.4620058269417999</c:v>
                </c:pt>
                <c:pt idx="5134">
                  <c:v>-1.1373876936288601</c:v>
                </c:pt>
                <c:pt idx="5135">
                  <c:v>-1.167479740926</c:v>
                </c:pt>
                <c:pt idx="5136">
                  <c:v>-1.2789907772915901</c:v>
                </c:pt>
                <c:pt idx="5137">
                  <c:v>-1.27923592204835</c:v>
                </c:pt>
                <c:pt idx="5138">
                  <c:v>-1.3062405425152801</c:v>
                </c:pt>
                <c:pt idx="5139">
                  <c:v>-1.42394802761339</c:v>
                </c:pt>
                <c:pt idx="5140">
                  <c:v>-1.4033109577383001</c:v>
                </c:pt>
                <c:pt idx="5141">
                  <c:v>-1.4485857367485999</c:v>
                </c:pt>
                <c:pt idx="5142">
                  <c:v>-1.3990778071871299</c:v>
                </c:pt>
                <c:pt idx="5143">
                  <c:v>-1.4999881424097099</c:v>
                </c:pt>
                <c:pt idx="5144">
                  <c:v>-1.5772539453871</c:v>
                </c:pt>
                <c:pt idx="5145">
                  <c:v>-1.55564153340498</c:v>
                </c:pt>
                <c:pt idx="5146">
                  <c:v>-1.52573173034558</c:v>
                </c:pt>
                <c:pt idx="5147">
                  <c:v>-1.4958219272861699</c:v>
                </c:pt>
                <c:pt idx="5148">
                  <c:v>-1.5001161605109901</c:v>
                </c:pt>
                <c:pt idx="5149">
                  <c:v>-0.59017602210474596</c:v>
                </c:pt>
                <c:pt idx="5150">
                  <c:v>-0.51030819347787104</c:v>
                </c:pt>
                <c:pt idx="5151">
                  <c:v>-0.43044036485099602</c:v>
                </c:pt>
                <c:pt idx="5152">
                  <c:v>-0.51023565806236304</c:v>
                </c:pt>
                <c:pt idx="5153">
                  <c:v>-0.59003095127373095</c:v>
                </c:pt>
                <c:pt idx="5154">
                  <c:v>-0.66982624448509898</c:v>
                </c:pt>
                <c:pt idx="5155">
                  <c:v>-0.749621537696467</c:v>
                </c:pt>
                <c:pt idx="5156">
                  <c:v>-0.75562139592151101</c:v>
                </c:pt>
                <c:pt idx="5157">
                  <c:v>-0.76162125414655502</c:v>
                </c:pt>
                <c:pt idx="5158">
                  <c:v>-0.76762111237159902</c:v>
                </c:pt>
                <c:pt idx="5159">
                  <c:v>0.48758809711627499</c:v>
                </c:pt>
                <c:pt idx="5160">
                  <c:v>0.47436961347490297</c:v>
                </c:pt>
                <c:pt idx="5161">
                  <c:v>0.46742687179551301</c:v>
                </c:pt>
                <c:pt idx="5162">
                  <c:v>0.48278295818550299</c:v>
                </c:pt>
                <c:pt idx="5163">
                  <c:v>0.424136359406937</c:v>
                </c:pt>
                <c:pt idx="5164">
                  <c:v>0.51210290624864596</c:v>
                </c:pt>
                <c:pt idx="5165">
                  <c:v>0.54632306361301997</c:v>
                </c:pt>
                <c:pt idx="5166">
                  <c:v>0.57018763507480896</c:v>
                </c:pt>
                <c:pt idx="5167">
                  <c:v>1.32320937555791</c:v>
                </c:pt>
                <c:pt idx="5168">
                  <c:v>1.20102291331901</c:v>
                </c:pt>
                <c:pt idx="5169">
                  <c:v>1.17112697197549</c:v>
                </c:pt>
                <c:pt idx="5170">
                  <c:v>0.93759532489828601</c:v>
                </c:pt>
                <c:pt idx="5171">
                  <c:v>1.0917715493995599</c:v>
                </c:pt>
                <c:pt idx="5172">
                  <c:v>0.63768207253687303</c:v>
                </c:pt>
                <c:pt idx="5173">
                  <c:v>0.52268740863671803</c:v>
                </c:pt>
                <c:pt idx="5174">
                  <c:v>0.51927058844754903</c:v>
                </c:pt>
                <c:pt idx="5175">
                  <c:v>0.60664114693472604</c:v>
                </c:pt>
                <c:pt idx="5176">
                  <c:v>0.38465429633705001</c:v>
                </c:pt>
                <c:pt idx="5177">
                  <c:v>0.36578905471138501</c:v>
                </c:pt>
                <c:pt idx="5178">
                  <c:v>0.39643699297923002</c:v>
                </c:pt>
                <c:pt idx="5179">
                  <c:v>0.40433122706374502</c:v>
                </c:pt>
                <c:pt idx="5180">
                  <c:v>0.68043514642959801</c:v>
                </c:pt>
                <c:pt idx="5181">
                  <c:v>0.60012538998171305</c:v>
                </c:pt>
                <c:pt idx="5182">
                  <c:v>0.589812547175535</c:v>
                </c:pt>
                <c:pt idx="5183">
                  <c:v>0.49725803809012598</c:v>
                </c:pt>
                <c:pt idx="5184">
                  <c:v>0.51026705440863696</c:v>
                </c:pt>
                <c:pt idx="5185">
                  <c:v>0.39083891038348101</c:v>
                </c:pt>
                <c:pt idx="5186">
                  <c:v>0.52562799067234101</c:v>
                </c:pt>
                <c:pt idx="5187">
                  <c:v>0.31556583361406099</c:v>
                </c:pt>
                <c:pt idx="5188">
                  <c:v>0.31174319242243997</c:v>
                </c:pt>
                <c:pt idx="5189">
                  <c:v>0.239812804324048</c:v>
                </c:pt>
                <c:pt idx="5190">
                  <c:v>0.14127630615869799</c:v>
                </c:pt>
                <c:pt idx="5191">
                  <c:v>-2.7183033234603901E-2</c:v>
                </c:pt>
                <c:pt idx="5192">
                  <c:v>-0.14342447767623401</c:v>
                </c:pt>
                <c:pt idx="5193">
                  <c:v>-0.32535555376199299</c:v>
                </c:pt>
                <c:pt idx="5194">
                  <c:v>-0.49088274004015803</c:v>
                </c:pt>
                <c:pt idx="5195">
                  <c:v>-0.68513264117719397</c:v>
                </c:pt>
                <c:pt idx="5196">
                  <c:v>-0.78745660088651903</c:v>
                </c:pt>
                <c:pt idx="5197">
                  <c:v>-0.893860404536447</c:v>
                </c:pt>
                <c:pt idx="5198">
                  <c:v>-0.99610507101630597</c:v>
                </c:pt>
                <c:pt idx="5199">
                  <c:v>-1.0550434479666</c:v>
                </c:pt>
                <c:pt idx="5200">
                  <c:v>-0.66687312947806798</c:v>
                </c:pt>
                <c:pt idx="5201">
                  <c:v>-0.76547456905878997</c:v>
                </c:pt>
                <c:pt idx="5202">
                  <c:v>-0.84336483683434005</c:v>
                </c:pt>
                <c:pt idx="5203">
                  <c:v>-0.92132395620793095</c:v>
                </c:pt>
                <c:pt idx="5204">
                  <c:v>-0.92969044097142695</c:v>
                </c:pt>
                <c:pt idx="5205">
                  <c:v>-1.00608537941223</c:v>
                </c:pt>
                <c:pt idx="5206">
                  <c:v>-1.04945032099658</c:v>
                </c:pt>
                <c:pt idx="5207">
                  <c:v>-1.05985933813823</c:v>
                </c:pt>
                <c:pt idx="5208">
                  <c:v>-1.15704583487012</c:v>
                </c:pt>
                <c:pt idx="5209">
                  <c:v>-1.16761453172716</c:v>
                </c:pt>
                <c:pt idx="5210">
                  <c:v>-1.1781832285842</c:v>
                </c:pt>
                <c:pt idx="5211">
                  <c:v>-1.18875192544124</c:v>
                </c:pt>
                <c:pt idx="5212">
                  <c:v>-1.1622759170569801</c:v>
                </c:pt>
                <c:pt idx="5213">
                  <c:v>-1.13579990867271</c:v>
                </c:pt>
                <c:pt idx="5214">
                  <c:v>-1.1093239002884501</c:v>
                </c:pt>
                <c:pt idx="5215">
                  <c:v>-1.08284789190419</c:v>
                </c:pt>
                <c:pt idx="5216">
                  <c:v>-1.0907611120460201</c:v>
                </c:pt>
                <c:pt idx="5217">
                  <c:v>-1.3769000815843899</c:v>
                </c:pt>
                <c:pt idx="5218">
                  <c:v>-1.3436183961728501</c:v>
                </c:pt>
                <c:pt idx="5219">
                  <c:v>-1.3700521109141801</c:v>
                </c:pt>
                <c:pt idx="5220">
                  <c:v>-1.4213776525035799</c:v>
                </c:pt>
                <c:pt idx="5221">
                  <c:v>-1.39855236409691</c:v>
                </c:pt>
                <c:pt idx="5222">
                  <c:v>-1.3901625055334299</c:v>
                </c:pt>
                <c:pt idx="5223">
                  <c:v>-1.34881672252726</c:v>
                </c:pt>
                <c:pt idx="5224">
                  <c:v>-1.3747192076757899</c:v>
                </c:pt>
                <c:pt idx="5225">
                  <c:v>-1.3573842548927899</c:v>
                </c:pt>
                <c:pt idx="5226">
                  <c:v>-1.34209183448796</c:v>
                </c:pt>
                <c:pt idx="5227">
                  <c:v>-1.3597553385258101</c:v>
                </c:pt>
                <c:pt idx="5228">
                  <c:v>-0.15233205723023399</c:v>
                </c:pt>
                <c:pt idx="5229">
                  <c:v>1.2632208045203999E-2</c:v>
                </c:pt>
                <c:pt idx="5230">
                  <c:v>0.24155030387305401</c:v>
                </c:pt>
                <c:pt idx="5231">
                  <c:v>0.64609560590831905</c:v>
                </c:pt>
                <c:pt idx="5232">
                  <c:v>0.48320469822788598</c:v>
                </c:pt>
                <c:pt idx="5233">
                  <c:v>0.81972676740156103</c:v>
                </c:pt>
                <c:pt idx="5234">
                  <c:v>0.27562594734590101</c:v>
                </c:pt>
                <c:pt idx="5235">
                  <c:v>0.40144634528092099</c:v>
                </c:pt>
                <c:pt idx="5236">
                  <c:v>0.50443896661885701</c:v>
                </c:pt>
                <c:pt idx="5237">
                  <c:v>0.56237905570408298</c:v>
                </c:pt>
                <c:pt idx="5238">
                  <c:v>0.67172149141775594</c:v>
                </c:pt>
                <c:pt idx="5239">
                  <c:v>0.68391593387659799</c:v>
                </c:pt>
                <c:pt idx="5240">
                  <c:v>0.701936462999184</c:v>
                </c:pt>
                <c:pt idx="5241">
                  <c:v>0.707558873841028</c:v>
                </c:pt>
                <c:pt idx="5242">
                  <c:v>0.67848433833274602</c:v>
                </c:pt>
                <c:pt idx="5243">
                  <c:v>0.74275553995347898</c:v>
                </c:pt>
                <c:pt idx="5244">
                  <c:v>0.78465384109107805</c:v>
                </c:pt>
                <c:pt idx="5245">
                  <c:v>0.76275167731948501</c:v>
                </c:pt>
                <c:pt idx="5246">
                  <c:v>0.79414102691127697</c:v>
                </c:pt>
                <c:pt idx="5247">
                  <c:v>0.84779386372717302</c:v>
                </c:pt>
                <c:pt idx="5248">
                  <c:v>0.83749286999065597</c:v>
                </c:pt>
                <c:pt idx="5249">
                  <c:v>0.84798234128877803</c:v>
                </c:pt>
                <c:pt idx="5250">
                  <c:v>0.88923705982392898</c:v>
                </c:pt>
                <c:pt idx="5251">
                  <c:v>0.89311205110472802</c:v>
                </c:pt>
                <c:pt idx="5252">
                  <c:v>0.83734571464640495</c:v>
                </c:pt>
                <c:pt idx="5253">
                  <c:v>0.84326323830536198</c:v>
                </c:pt>
                <c:pt idx="5254">
                  <c:v>0.86392292309395002</c:v>
                </c:pt>
                <c:pt idx="5255">
                  <c:v>0.93900308214228201</c:v>
                </c:pt>
                <c:pt idx="5256">
                  <c:v>0.99148290265050498</c:v>
                </c:pt>
                <c:pt idx="5257">
                  <c:v>1.0067683683165001</c:v>
                </c:pt>
                <c:pt idx="5258">
                  <c:v>1.00973500893121</c:v>
                </c:pt>
                <c:pt idx="5259">
                  <c:v>1.05930415475833</c:v>
                </c:pt>
                <c:pt idx="5260">
                  <c:v>1.0675991018026101</c:v>
                </c:pt>
                <c:pt idx="5261">
                  <c:v>1.1313762394159399</c:v>
                </c:pt>
                <c:pt idx="5262">
                  <c:v>1.2367343070985499</c:v>
                </c:pt>
                <c:pt idx="5263">
                  <c:v>1.16104106042343</c:v>
                </c:pt>
                <c:pt idx="5264">
                  <c:v>1.0792507308270201</c:v>
                </c:pt>
                <c:pt idx="5265">
                  <c:v>0.91453119996474297</c:v>
                </c:pt>
                <c:pt idx="5266">
                  <c:v>0.818072781652456</c:v>
                </c:pt>
                <c:pt idx="5267">
                  <c:v>0.71655355519469899</c:v>
                </c:pt>
                <c:pt idx="5268">
                  <c:v>0.76569047320938299</c:v>
                </c:pt>
                <c:pt idx="5269">
                  <c:v>0.89495245271138502</c:v>
                </c:pt>
                <c:pt idx="5270">
                  <c:v>0.737263500697939</c:v>
                </c:pt>
                <c:pt idx="5271">
                  <c:v>0.62401574414970995</c:v>
                </c:pt>
                <c:pt idx="5272">
                  <c:v>0.47788613557253801</c:v>
                </c:pt>
                <c:pt idx="5273">
                  <c:v>0.46343730075435302</c:v>
                </c:pt>
                <c:pt idx="5274">
                  <c:v>0.333790875214243</c:v>
                </c:pt>
                <c:pt idx="5275">
                  <c:v>0.14310199431995299</c:v>
                </c:pt>
                <c:pt idx="5276">
                  <c:v>-2.6949787182918201E-2</c:v>
                </c:pt>
                <c:pt idx="5277">
                  <c:v>-0.230031565542239</c:v>
                </c:pt>
                <c:pt idx="5278">
                  <c:v>-0.40212065860755503</c:v>
                </c:pt>
                <c:pt idx="5279">
                  <c:v>-0.51302652305960195</c:v>
                </c:pt>
                <c:pt idx="5280">
                  <c:v>-0.62604377148784796</c:v>
                </c:pt>
                <c:pt idx="5281">
                  <c:v>-0.74095540746674404</c:v>
                </c:pt>
                <c:pt idx="5282">
                  <c:v>-0.83333555650357205</c:v>
                </c:pt>
                <c:pt idx="5283">
                  <c:v>-0.914980693300674</c:v>
                </c:pt>
                <c:pt idx="5284">
                  <c:v>-0.56133571188644105</c:v>
                </c:pt>
                <c:pt idx="5285">
                  <c:v>-0.64925136982981302</c:v>
                </c:pt>
                <c:pt idx="5286">
                  <c:v>-0.65674567663085104</c:v>
                </c:pt>
                <c:pt idx="5287">
                  <c:v>-0.728537018307577</c:v>
                </c:pt>
                <c:pt idx="5288">
                  <c:v>-0.81272125744933399</c:v>
                </c:pt>
                <c:pt idx="5289">
                  <c:v>-0.89894802896924897</c:v>
                </c:pt>
                <c:pt idx="5290">
                  <c:v>-0.96461177351150096</c:v>
                </c:pt>
                <c:pt idx="5291">
                  <c:v>-0.97251737940238603</c:v>
                </c:pt>
                <c:pt idx="5292">
                  <c:v>-0.98042298529327099</c:v>
                </c:pt>
                <c:pt idx="5293">
                  <c:v>-0.905864707663664</c:v>
                </c:pt>
                <c:pt idx="5294">
                  <c:v>-1.05813505361787</c:v>
                </c:pt>
                <c:pt idx="5295">
                  <c:v>-1.17158714363006</c:v>
                </c:pt>
                <c:pt idx="5296">
                  <c:v>-1.14271702595709</c:v>
                </c:pt>
                <c:pt idx="5297">
                  <c:v>-1.11384690828412</c:v>
                </c:pt>
                <c:pt idx="5298">
                  <c:v>-1.08497679061115</c:v>
                </c:pt>
                <c:pt idx="5299">
                  <c:v>-1.0866192212925601</c:v>
                </c:pt>
                <c:pt idx="5300">
                  <c:v>-1.0882616519739801</c:v>
                </c:pt>
                <c:pt idx="5301">
                  <c:v>-1.0899040826553901</c:v>
                </c:pt>
                <c:pt idx="5302">
                  <c:v>-1.0915465133368001</c:v>
                </c:pt>
                <c:pt idx="5303">
                  <c:v>-1.2061299584858201</c:v>
                </c:pt>
                <c:pt idx="5304">
                  <c:v>-1.1559337814213599</c:v>
                </c:pt>
                <c:pt idx="5305">
                  <c:v>-0.97793011974439403</c:v>
                </c:pt>
                <c:pt idx="5306">
                  <c:v>-1.06166902442691</c:v>
                </c:pt>
                <c:pt idx="5307">
                  <c:v>-1.11557285518322</c:v>
                </c:pt>
                <c:pt idx="5308">
                  <c:v>-1.11588366210541</c:v>
                </c:pt>
                <c:pt idx="5309">
                  <c:v>-1.14091141235962</c:v>
                </c:pt>
                <c:pt idx="5310">
                  <c:v>-1.1597427138813201</c:v>
                </c:pt>
                <c:pt idx="5311">
                  <c:v>-1.0848327373122599</c:v>
                </c:pt>
                <c:pt idx="5312">
                  <c:v>-1.0284432553427101</c:v>
                </c:pt>
                <c:pt idx="5313">
                  <c:v>-0.95557581115180801</c:v>
                </c:pt>
                <c:pt idx="5314">
                  <c:v>-0.91566429140360395</c:v>
                </c:pt>
                <c:pt idx="5315">
                  <c:v>-0.77003030140207496</c:v>
                </c:pt>
                <c:pt idx="5316">
                  <c:v>-0.71502510361795801</c:v>
                </c:pt>
                <c:pt idx="5317">
                  <c:v>-0.58586907583777703</c:v>
                </c:pt>
                <c:pt idx="5318">
                  <c:v>-0.473191010278944</c:v>
                </c:pt>
                <c:pt idx="5319">
                  <c:v>-0.46332183817199102</c:v>
                </c:pt>
                <c:pt idx="5320">
                  <c:v>-0.34219199527192301</c:v>
                </c:pt>
                <c:pt idx="5321">
                  <c:v>-0.227184528690617</c:v>
                </c:pt>
                <c:pt idx="5322">
                  <c:v>5.4788016494117998E-2</c:v>
                </c:pt>
                <c:pt idx="5323">
                  <c:v>0.276492820072609</c:v>
                </c:pt>
                <c:pt idx="5324">
                  <c:v>0.275522916421648</c:v>
                </c:pt>
                <c:pt idx="5325">
                  <c:v>0.57583919763700198</c:v>
                </c:pt>
                <c:pt idx="5326">
                  <c:v>0.78750036741506502</c:v>
                </c:pt>
                <c:pt idx="5327">
                  <c:v>0.80148646320887995</c:v>
                </c:pt>
                <c:pt idx="5328">
                  <c:v>0.94132724609793395</c:v>
                </c:pt>
                <c:pt idx="5329">
                  <c:v>1.17588710677643</c:v>
                </c:pt>
                <c:pt idx="5330">
                  <c:v>0.33237437959300897</c:v>
                </c:pt>
                <c:pt idx="5331">
                  <c:v>0.47772352494567899</c:v>
                </c:pt>
                <c:pt idx="5332">
                  <c:v>0.62737995229592802</c:v>
                </c:pt>
                <c:pt idx="5333">
                  <c:v>0.79147703030507899</c:v>
                </c:pt>
                <c:pt idx="5334">
                  <c:v>0.93501108133656696</c:v>
                </c:pt>
                <c:pt idx="5335">
                  <c:v>0.95773518468326002</c:v>
                </c:pt>
                <c:pt idx="5336">
                  <c:v>0.95150913511410695</c:v>
                </c:pt>
                <c:pt idx="5337">
                  <c:v>0.953522066655627</c:v>
                </c:pt>
                <c:pt idx="5338">
                  <c:v>0.96369990689406904</c:v>
                </c:pt>
                <c:pt idx="5339">
                  <c:v>1.14971116517584</c:v>
                </c:pt>
                <c:pt idx="5340">
                  <c:v>1.1428919589247699</c:v>
                </c:pt>
                <c:pt idx="5341">
                  <c:v>1.2082603435210799</c:v>
                </c:pt>
                <c:pt idx="5342">
                  <c:v>1.1706018176192201</c:v>
                </c:pt>
                <c:pt idx="5343">
                  <c:v>1.0249033300600201</c:v>
                </c:pt>
                <c:pt idx="5344">
                  <c:v>1.20719731392642</c:v>
                </c:pt>
                <c:pt idx="5345">
                  <c:v>1.0079058025331</c:v>
                </c:pt>
                <c:pt idx="5346">
                  <c:v>1.15308472478673</c:v>
                </c:pt>
                <c:pt idx="5347">
                  <c:v>0.97219312932826796</c:v>
                </c:pt>
                <c:pt idx="5348">
                  <c:v>1.0943444030906899</c:v>
                </c:pt>
                <c:pt idx="5349">
                  <c:v>0.99168870238460205</c:v>
                </c:pt>
                <c:pt idx="5350">
                  <c:v>1.02932833943266</c:v>
                </c:pt>
                <c:pt idx="5351">
                  <c:v>1.0483485500360801</c:v>
                </c:pt>
                <c:pt idx="5352">
                  <c:v>0.98897950024389403</c:v>
                </c:pt>
                <c:pt idx="5353">
                  <c:v>0.92961045045171098</c:v>
                </c:pt>
                <c:pt idx="5354">
                  <c:v>0.87440053782959903</c:v>
                </c:pt>
                <c:pt idx="5355">
                  <c:v>0.98474452623667796</c:v>
                </c:pt>
                <c:pt idx="5356">
                  <c:v>0.97338774390287497</c:v>
                </c:pt>
                <c:pt idx="5357">
                  <c:v>0.89815642424612796</c:v>
                </c:pt>
                <c:pt idx="5358">
                  <c:v>0.95294414967040397</c:v>
                </c:pt>
                <c:pt idx="5359">
                  <c:v>0.98108846333921595</c:v>
                </c:pt>
                <c:pt idx="5360">
                  <c:v>0.79470731602835498</c:v>
                </c:pt>
                <c:pt idx="5361">
                  <c:v>0.86639579891513696</c:v>
                </c:pt>
                <c:pt idx="5362">
                  <c:v>0.77283934184306602</c:v>
                </c:pt>
                <c:pt idx="5363">
                  <c:v>0.56490865633739595</c:v>
                </c:pt>
                <c:pt idx="5364">
                  <c:v>0.40860775551714801</c:v>
                </c:pt>
                <c:pt idx="5365">
                  <c:v>0.45647672977398801</c:v>
                </c:pt>
                <c:pt idx="5366">
                  <c:v>0.432232185597208</c:v>
                </c:pt>
                <c:pt idx="5367">
                  <c:v>0.412973573604555</c:v>
                </c:pt>
                <c:pt idx="5368">
                  <c:v>0.43710576518665001</c:v>
                </c:pt>
                <c:pt idx="5369">
                  <c:v>0.385118666808277</c:v>
                </c:pt>
                <c:pt idx="5370">
                  <c:v>0.42572882061171902</c:v>
                </c:pt>
                <c:pt idx="5371">
                  <c:v>0.28462362297680399</c:v>
                </c:pt>
                <c:pt idx="5372">
                  <c:v>0.147751634925712</c:v>
                </c:pt>
                <c:pt idx="5373">
                  <c:v>1.9118627985293499E-2</c:v>
                </c:pt>
                <c:pt idx="5374">
                  <c:v>-0.14451283577597701</c:v>
                </c:pt>
                <c:pt idx="5375">
                  <c:v>-0.21779570464567599</c:v>
                </c:pt>
                <c:pt idx="5376">
                  <c:v>-0.32615110274997999</c:v>
                </c:pt>
                <c:pt idx="5377">
                  <c:v>-0.36231891000691302</c:v>
                </c:pt>
                <c:pt idx="5378">
                  <c:v>-0.42532026538777801</c:v>
                </c:pt>
                <c:pt idx="5379">
                  <c:v>-0.435354056037901</c:v>
                </c:pt>
                <c:pt idx="5380">
                  <c:v>-0.52173457470546702</c:v>
                </c:pt>
                <c:pt idx="5381">
                  <c:v>-0.60810987255731996</c:v>
                </c:pt>
                <c:pt idx="5382">
                  <c:v>-0.67173668704155598</c:v>
                </c:pt>
                <c:pt idx="5383">
                  <c:v>-0.75303102620796103</c:v>
                </c:pt>
                <c:pt idx="5384">
                  <c:v>-0.79305638740724405</c:v>
                </c:pt>
                <c:pt idx="5385">
                  <c:v>-0.80420566810443495</c:v>
                </c:pt>
                <c:pt idx="5386">
                  <c:v>-0.79268053784776205</c:v>
                </c:pt>
                <c:pt idx="5387">
                  <c:v>-0.90859283526749401</c:v>
                </c:pt>
                <c:pt idx="5388">
                  <c:v>-0.95647667900992495</c:v>
                </c:pt>
                <c:pt idx="5389">
                  <c:v>-1.0351998424031399</c:v>
                </c:pt>
                <c:pt idx="5390">
                  <c:v>-1.1263211240770901</c:v>
                </c:pt>
                <c:pt idx="5391">
                  <c:v>-1.1220377464044899</c:v>
                </c:pt>
                <c:pt idx="5392">
                  <c:v>-1.0909948930216999</c:v>
                </c:pt>
                <c:pt idx="5393">
                  <c:v>-1.09910963362984</c:v>
                </c:pt>
                <c:pt idx="5394">
                  <c:v>-1.0515888180257</c:v>
                </c:pt>
                <c:pt idx="5395">
                  <c:v>-0.99682608044044796</c:v>
                </c:pt>
                <c:pt idx="5396">
                  <c:v>-0.97909911123849203</c:v>
                </c:pt>
                <c:pt idx="5397">
                  <c:v>-1.00680025717373</c:v>
                </c:pt>
                <c:pt idx="5398">
                  <c:v>-0.93767094134332496</c:v>
                </c:pt>
                <c:pt idx="5399">
                  <c:v>-0.96544251863094999</c:v>
                </c:pt>
                <c:pt idx="5400">
                  <c:v>-1.0179310392506</c:v>
                </c:pt>
                <c:pt idx="5401">
                  <c:v>-1.02718212193872</c:v>
                </c:pt>
                <c:pt idx="5402">
                  <c:v>-0.96847882336328595</c:v>
                </c:pt>
                <c:pt idx="5403">
                  <c:v>-0.949176417688259</c:v>
                </c:pt>
                <c:pt idx="5404">
                  <c:v>-0.92987401201323205</c:v>
                </c:pt>
                <c:pt idx="5405">
                  <c:v>-0.94352753078090001</c:v>
                </c:pt>
                <c:pt idx="5406">
                  <c:v>-0.94070308732722097</c:v>
                </c:pt>
                <c:pt idx="5407">
                  <c:v>-0.89021504514301897</c:v>
                </c:pt>
                <c:pt idx="5408">
                  <c:v>-0.82529157311562795</c:v>
                </c:pt>
                <c:pt idx="5409">
                  <c:v>-0.77684606330958395</c:v>
                </c:pt>
                <c:pt idx="5410">
                  <c:v>-0.74903243207924497</c:v>
                </c:pt>
                <c:pt idx="5411">
                  <c:v>1.24972266480182</c:v>
                </c:pt>
                <c:pt idx="5412">
                  <c:v>1.31062586605315</c:v>
                </c:pt>
                <c:pt idx="5413">
                  <c:v>1.3202060139055101</c:v>
                </c:pt>
                <c:pt idx="5414">
                  <c:v>1.31713032505774</c:v>
                </c:pt>
                <c:pt idx="5415">
                  <c:v>1.22946892708186</c:v>
                </c:pt>
                <c:pt idx="5416">
                  <c:v>1.1975171577320101</c:v>
                </c:pt>
                <c:pt idx="5417">
                  <c:v>1.1119723645480399</c:v>
                </c:pt>
                <c:pt idx="5418">
                  <c:v>0.95870684523079097</c:v>
                </c:pt>
                <c:pt idx="5419">
                  <c:v>0.88178805393098703</c:v>
                </c:pt>
                <c:pt idx="5420">
                  <c:v>0.74288389204317395</c:v>
                </c:pt>
                <c:pt idx="5421">
                  <c:v>0.70935590431811801</c:v>
                </c:pt>
                <c:pt idx="5422">
                  <c:v>0.70077953591549702</c:v>
                </c:pt>
                <c:pt idx="5423">
                  <c:v>0.60134171642277601</c:v>
                </c:pt>
                <c:pt idx="5424">
                  <c:v>0.56177266272615101</c:v>
                </c:pt>
                <c:pt idx="5425">
                  <c:v>0.43338469031758298</c:v>
                </c:pt>
                <c:pt idx="5426">
                  <c:v>0.421670817091995</c:v>
                </c:pt>
                <c:pt idx="5427">
                  <c:v>0.38758404338327201</c:v>
                </c:pt>
                <c:pt idx="5428">
                  <c:v>0.36339797946318497</c:v>
                </c:pt>
                <c:pt idx="5429">
                  <c:v>0.30421345872224498</c:v>
                </c:pt>
                <c:pt idx="5430">
                  <c:v>0.20030069497796399</c:v>
                </c:pt>
                <c:pt idx="5431">
                  <c:v>9.42713264417714E-2</c:v>
                </c:pt>
                <c:pt idx="5432">
                  <c:v>-6.7388377490979604E-2</c:v>
                </c:pt>
                <c:pt idx="5433">
                  <c:v>-0.245600116058832</c:v>
                </c:pt>
                <c:pt idx="5434">
                  <c:v>-0.35073400339416499</c:v>
                </c:pt>
                <c:pt idx="5435">
                  <c:v>-0.44551230482691301</c:v>
                </c:pt>
                <c:pt idx="5436">
                  <c:v>-0.53620554150334299</c:v>
                </c:pt>
                <c:pt idx="5437">
                  <c:v>-0.160383315801746</c:v>
                </c:pt>
                <c:pt idx="5438">
                  <c:v>-0.30009193327106498</c:v>
                </c:pt>
                <c:pt idx="5439">
                  <c:v>-0.363533115952407</c:v>
                </c:pt>
                <c:pt idx="5440">
                  <c:v>-0.43929312368502599</c:v>
                </c:pt>
                <c:pt idx="5441">
                  <c:v>-0.47385822586427701</c:v>
                </c:pt>
                <c:pt idx="5442">
                  <c:v>-0.48141303701027899</c:v>
                </c:pt>
                <c:pt idx="5443">
                  <c:v>-0.50960494754770003</c:v>
                </c:pt>
                <c:pt idx="5444">
                  <c:v>-0.494559420153593</c:v>
                </c:pt>
                <c:pt idx="5445">
                  <c:v>-0.50627336846966497</c:v>
                </c:pt>
                <c:pt idx="5446">
                  <c:v>-0.49012276741010402</c:v>
                </c:pt>
                <c:pt idx="5447">
                  <c:v>-0.49460926574196001</c:v>
                </c:pt>
                <c:pt idx="5448">
                  <c:v>-0.56712421775111899</c:v>
                </c:pt>
                <c:pt idx="5449">
                  <c:v>-0.62316120753893001</c:v>
                </c:pt>
                <c:pt idx="5450">
                  <c:v>-0.58837866310005404</c:v>
                </c:pt>
                <c:pt idx="5451">
                  <c:v>-0.67120660383003194</c:v>
                </c:pt>
                <c:pt idx="5452">
                  <c:v>-0.642620508123672</c:v>
                </c:pt>
                <c:pt idx="5453">
                  <c:v>-0.50677951315104497</c:v>
                </c:pt>
                <c:pt idx="5454">
                  <c:v>-0.57735682333128802</c:v>
                </c:pt>
                <c:pt idx="5455">
                  <c:v>-0.73659446576453702</c:v>
                </c:pt>
                <c:pt idx="5456">
                  <c:v>-0.706113325411029</c:v>
                </c:pt>
                <c:pt idx="5457">
                  <c:v>-0.67563218505751998</c:v>
                </c:pt>
                <c:pt idx="5458">
                  <c:v>-0.65777081973618301</c:v>
                </c:pt>
                <c:pt idx="5459">
                  <c:v>-0.44202576293116802</c:v>
                </c:pt>
                <c:pt idx="5460">
                  <c:v>-0.48191133779830098</c:v>
                </c:pt>
                <c:pt idx="5461">
                  <c:v>-0.50115981327401604</c:v>
                </c:pt>
                <c:pt idx="5462">
                  <c:v>-0.514830959097757</c:v>
                </c:pt>
                <c:pt idx="5463">
                  <c:v>-0.54082092997277598</c:v>
                </c:pt>
                <c:pt idx="5464">
                  <c:v>-0.54209395751577305</c:v>
                </c:pt>
                <c:pt idx="5465">
                  <c:v>-0.56400408445018901</c:v>
                </c:pt>
                <c:pt idx="5466">
                  <c:v>-0.52601815467282398</c:v>
                </c:pt>
                <c:pt idx="5467">
                  <c:v>-0.49007475727361699</c:v>
                </c:pt>
                <c:pt idx="5468">
                  <c:v>-0.46032780860692601</c:v>
                </c:pt>
                <c:pt idx="5469">
                  <c:v>-0.44086237342906598</c:v>
                </c:pt>
                <c:pt idx="5470">
                  <c:v>-0.34481767102475003</c:v>
                </c:pt>
                <c:pt idx="5471">
                  <c:v>-8.1807890017006599E-2</c:v>
                </c:pt>
                <c:pt idx="5472">
                  <c:v>-7.0269603511340206E-2</c:v>
                </c:pt>
                <c:pt idx="5473">
                  <c:v>1.9578650160459801E-2</c:v>
                </c:pt>
                <c:pt idx="5474">
                  <c:v>3.3354536549020798E-2</c:v>
                </c:pt>
                <c:pt idx="5475">
                  <c:v>4.4944966547630097E-2</c:v>
                </c:pt>
                <c:pt idx="5476">
                  <c:v>0.12878661817593801</c:v>
                </c:pt>
                <c:pt idx="5477">
                  <c:v>0.26417876126020101</c:v>
                </c:pt>
                <c:pt idx="5478">
                  <c:v>0.22215016437568699</c:v>
                </c:pt>
                <c:pt idx="5479">
                  <c:v>0.16364360526982499</c:v>
                </c:pt>
                <c:pt idx="5480">
                  <c:v>0.10513704616396401</c:v>
                </c:pt>
                <c:pt idx="5481">
                  <c:v>4.6630487058102701E-2</c:v>
                </c:pt>
                <c:pt idx="5482">
                  <c:v>5.16470818104992E-2</c:v>
                </c:pt>
                <c:pt idx="5483">
                  <c:v>5.6663676562895803E-2</c:v>
                </c:pt>
                <c:pt idx="5484">
                  <c:v>6.1680271315292398E-2</c:v>
                </c:pt>
                <c:pt idx="5485">
                  <c:v>6.6696866067689001E-2</c:v>
                </c:pt>
                <c:pt idx="5486">
                  <c:v>0.71678445235602495</c:v>
                </c:pt>
                <c:pt idx="5487">
                  <c:v>0.75962724566109197</c:v>
                </c:pt>
                <c:pt idx="5488">
                  <c:v>0.81879985636000097</c:v>
                </c:pt>
                <c:pt idx="5489">
                  <c:v>0.90261533797717597</c:v>
                </c:pt>
                <c:pt idx="5490">
                  <c:v>0.91364559420289404</c:v>
                </c:pt>
                <c:pt idx="5491">
                  <c:v>0.981973135318846</c:v>
                </c:pt>
                <c:pt idx="5492">
                  <c:v>1.04236320579485</c:v>
                </c:pt>
                <c:pt idx="5493">
                  <c:v>-2.10674141824407E-4</c:v>
                </c:pt>
                <c:pt idx="5494">
                  <c:v>1.00683074471916</c:v>
                </c:pt>
                <c:pt idx="5495">
                  <c:v>1.0289047228522299</c:v>
                </c:pt>
                <c:pt idx="5496">
                  <c:v>1.1847760795361899</c:v>
                </c:pt>
                <c:pt idx="5497">
                  <c:v>1.16383042684438</c:v>
                </c:pt>
                <c:pt idx="5498">
                  <c:v>1.02207711818463</c:v>
                </c:pt>
                <c:pt idx="5499">
                  <c:v>1.1940237751190801</c:v>
                </c:pt>
                <c:pt idx="5500">
                  <c:v>1.0562762379861801</c:v>
                </c:pt>
                <c:pt idx="5501">
                  <c:v>0.999108638454554</c:v>
                </c:pt>
                <c:pt idx="5502">
                  <c:v>1.0009720748236299</c:v>
                </c:pt>
                <c:pt idx="5503">
                  <c:v>1.1926440288403499</c:v>
                </c:pt>
                <c:pt idx="5504">
                  <c:v>1.1945074652094201</c:v>
                </c:pt>
                <c:pt idx="5505">
                  <c:v>1.19637090157849</c:v>
                </c:pt>
                <c:pt idx="5506">
                  <c:v>0.77559623658918697</c:v>
                </c:pt>
                <c:pt idx="5507">
                  <c:v>0.81085940732638395</c:v>
                </c:pt>
                <c:pt idx="5508">
                  <c:v>0.86275390592814805</c:v>
                </c:pt>
                <c:pt idx="5509">
                  <c:v>0.84442405283123101</c:v>
                </c:pt>
                <c:pt idx="5510">
                  <c:v>1.0036511294646</c:v>
                </c:pt>
                <c:pt idx="5511">
                  <c:v>0.98962694390113404</c:v>
                </c:pt>
                <c:pt idx="5512">
                  <c:v>0.98384173944833997</c:v>
                </c:pt>
                <c:pt idx="5513">
                  <c:v>0.97805653499554601</c:v>
                </c:pt>
                <c:pt idx="5514">
                  <c:v>0.76997166498051905</c:v>
                </c:pt>
                <c:pt idx="5515">
                  <c:v>0.68978401443889004</c:v>
                </c:pt>
                <c:pt idx="5516">
                  <c:v>0.59107586929775502</c:v>
                </c:pt>
                <c:pt idx="5517">
                  <c:v>0.32146050480867</c:v>
                </c:pt>
                <c:pt idx="5518">
                  <c:v>0.195282265945323</c:v>
                </c:pt>
                <c:pt idx="5519">
                  <c:v>0.126856188086161</c:v>
                </c:pt>
                <c:pt idx="5520">
                  <c:v>3.1670634516819E-2</c:v>
                </c:pt>
                <c:pt idx="5521">
                  <c:v>-1.81608763290831E-2</c:v>
                </c:pt>
                <c:pt idx="5522">
                  <c:v>9.5019655616031096E-2</c:v>
                </c:pt>
                <c:pt idx="5523">
                  <c:v>0.17736086791036201</c:v>
                </c:pt>
                <c:pt idx="5524">
                  <c:v>0.18328127977349601</c:v>
                </c:pt>
                <c:pt idx="5525">
                  <c:v>0.19116493078532101</c:v>
                </c:pt>
                <c:pt idx="5526">
                  <c:v>0.143453173820459</c:v>
                </c:pt>
                <c:pt idx="5527">
                  <c:v>5.2429906510317002E-2</c:v>
                </c:pt>
                <c:pt idx="5528">
                  <c:v>1.7190340239953601E-2</c:v>
                </c:pt>
                <c:pt idx="5529">
                  <c:v>-3.4675333079265E-2</c:v>
                </c:pt>
                <c:pt idx="5530">
                  <c:v>-9.2658018656206403E-2</c:v>
                </c:pt>
                <c:pt idx="5531">
                  <c:v>-0.179511563919526</c:v>
                </c:pt>
                <c:pt idx="5532">
                  <c:v>-0.23552578953206199</c:v>
                </c:pt>
                <c:pt idx="5533">
                  <c:v>-0.29751424663585202</c:v>
                </c:pt>
                <c:pt idx="5534">
                  <c:v>-0.32361894947879599</c:v>
                </c:pt>
                <c:pt idx="5535">
                  <c:v>-0.38267957676443498</c:v>
                </c:pt>
                <c:pt idx="5536">
                  <c:v>-0.42941615818308299</c:v>
                </c:pt>
                <c:pt idx="5537">
                  <c:v>-0.47199882324737402</c:v>
                </c:pt>
                <c:pt idx="5538">
                  <c:v>-0.48571059218189599</c:v>
                </c:pt>
                <c:pt idx="5539">
                  <c:v>-0.482870326481316</c:v>
                </c:pt>
                <c:pt idx="5540">
                  <c:v>-0.50686360890466997</c:v>
                </c:pt>
                <c:pt idx="5541">
                  <c:v>-0.54937216511181497</c:v>
                </c:pt>
                <c:pt idx="5542">
                  <c:v>-0.62616520541437204</c:v>
                </c:pt>
                <c:pt idx="5543">
                  <c:v>-0.28610932887563101</c:v>
                </c:pt>
                <c:pt idx="5544">
                  <c:v>-0.40833048431537999</c:v>
                </c:pt>
                <c:pt idx="5545">
                  <c:v>-0.47484201112910401</c:v>
                </c:pt>
                <c:pt idx="5546">
                  <c:v>-0.51772231435299199</c:v>
                </c:pt>
                <c:pt idx="5547">
                  <c:v>-0.548283792525604</c:v>
                </c:pt>
                <c:pt idx="5548">
                  <c:v>-0.58080850984690602</c:v>
                </c:pt>
                <c:pt idx="5549">
                  <c:v>-0.60925338322760503</c:v>
                </c:pt>
                <c:pt idx="5550">
                  <c:v>-0.64244926245659595</c:v>
                </c:pt>
                <c:pt idx="5551">
                  <c:v>-0.67586213811113505</c:v>
                </c:pt>
                <c:pt idx="5552">
                  <c:v>-0.67610209289743195</c:v>
                </c:pt>
                <c:pt idx="5553">
                  <c:v>-0.67634204768372796</c:v>
                </c:pt>
                <c:pt idx="5554">
                  <c:v>-0.67792346906980805</c:v>
                </c:pt>
                <c:pt idx="5555">
                  <c:v>-0.67950489045588802</c:v>
                </c:pt>
                <c:pt idx="5556">
                  <c:v>-0.681086311841968</c:v>
                </c:pt>
                <c:pt idx="5557">
                  <c:v>-0.68266773322804797</c:v>
                </c:pt>
                <c:pt idx="5558">
                  <c:v>-0.668594406305553</c:v>
                </c:pt>
                <c:pt idx="5559">
                  <c:v>-0.642054109504274</c:v>
                </c:pt>
                <c:pt idx="5560">
                  <c:v>-0.49600893998349099</c:v>
                </c:pt>
                <c:pt idx="5561">
                  <c:v>-0.57263847769216103</c:v>
                </c:pt>
                <c:pt idx="5562">
                  <c:v>-0.59814758586961503</c:v>
                </c:pt>
                <c:pt idx="5563">
                  <c:v>-0.60506212703380902</c:v>
                </c:pt>
                <c:pt idx="5564">
                  <c:v>-0.59965784314672499</c:v>
                </c:pt>
                <c:pt idx="5565">
                  <c:v>-0.59833340320024497</c:v>
                </c:pt>
                <c:pt idx="5566">
                  <c:v>-0.54865404289563502</c:v>
                </c:pt>
                <c:pt idx="5567">
                  <c:v>-0.46601875814832999</c:v>
                </c:pt>
                <c:pt idx="5568">
                  <c:v>-0.38338347340102502</c:v>
                </c:pt>
                <c:pt idx="5569">
                  <c:v>-0.183211775898621</c:v>
                </c:pt>
                <c:pt idx="5570">
                  <c:v>-0.29428200758610901</c:v>
                </c:pt>
                <c:pt idx="5571">
                  <c:v>-0.35175921543948402</c:v>
                </c:pt>
                <c:pt idx="5572">
                  <c:v>-0.39480099344967001</c:v>
                </c:pt>
                <c:pt idx="5573">
                  <c:v>-0.40481277460340698</c:v>
                </c:pt>
                <c:pt idx="5574">
                  <c:v>-0.37887327297638101</c:v>
                </c:pt>
                <c:pt idx="5575">
                  <c:v>-0.425116141381014</c:v>
                </c:pt>
                <c:pt idx="5576">
                  <c:v>-0.42185105070785001</c:v>
                </c:pt>
                <c:pt idx="5577">
                  <c:v>-0.36499293620057299</c:v>
                </c:pt>
                <c:pt idx="5578">
                  <c:v>-0.15013167678481101</c:v>
                </c:pt>
                <c:pt idx="5579">
                  <c:v>-5.5145234582684704E-3</c:v>
                </c:pt>
                <c:pt idx="5580">
                  <c:v>0.1143116141225</c:v>
                </c:pt>
                <c:pt idx="5581">
                  <c:v>7.7778409196279902E-2</c:v>
                </c:pt>
                <c:pt idx="5582">
                  <c:v>0.10919958553360801</c:v>
                </c:pt>
                <c:pt idx="5583">
                  <c:v>0.134498385552175</c:v>
                </c:pt>
                <c:pt idx="5584">
                  <c:v>-1.1485616661692E-2</c:v>
                </c:pt>
                <c:pt idx="5585">
                  <c:v>-3.72789087850441E-3</c:v>
                </c:pt>
                <c:pt idx="5586">
                  <c:v>4.0298349046831404E-3</c:v>
                </c:pt>
                <c:pt idx="5587">
                  <c:v>1.17875606878707E-2</c:v>
                </c:pt>
                <c:pt idx="5588">
                  <c:v>1.9545286471058201E-2</c:v>
                </c:pt>
                <c:pt idx="5589">
                  <c:v>2.5919889153800699E-3</c:v>
                </c:pt>
                <c:pt idx="5590">
                  <c:v>-1.4361308640298101E-2</c:v>
                </c:pt>
                <c:pt idx="5591">
                  <c:v>-3.1314606195976202E-2</c:v>
                </c:pt>
                <c:pt idx="5592">
                  <c:v>-4.8267903751654399E-2</c:v>
                </c:pt>
                <c:pt idx="5593">
                  <c:v>-6.5002389137220201E-2</c:v>
                </c:pt>
                <c:pt idx="5594">
                  <c:v>-8.1736874522786093E-2</c:v>
                </c:pt>
                <c:pt idx="5595">
                  <c:v>-9.8471359908351999E-2</c:v>
                </c:pt>
                <c:pt idx="5596">
                  <c:v>-0.115205845293918</c:v>
                </c:pt>
                <c:pt idx="5597">
                  <c:v>3.34532080399969E-2</c:v>
                </c:pt>
                <c:pt idx="5598">
                  <c:v>-1.60040889824552E-2</c:v>
                </c:pt>
                <c:pt idx="5599">
                  <c:v>7.5197335121179897E-4</c:v>
                </c:pt>
                <c:pt idx="5600">
                  <c:v>-9.0053594867830405E-2</c:v>
                </c:pt>
                <c:pt idx="5601">
                  <c:v>-9.7584403877071096E-2</c:v>
                </c:pt>
                <c:pt idx="5602">
                  <c:v>-0.14850079564534599</c:v>
                </c:pt>
                <c:pt idx="5603">
                  <c:v>-7.7494199431477104E-2</c:v>
                </c:pt>
                <c:pt idx="5604">
                  <c:v>0.102740976828776</c:v>
                </c:pt>
                <c:pt idx="5605">
                  <c:v>-6.0624675441801702E-2</c:v>
                </c:pt>
                <c:pt idx="5606">
                  <c:v>1.52520765993144E-2</c:v>
                </c:pt>
                <c:pt idx="5607">
                  <c:v>6.4141914873276903E-2</c:v>
                </c:pt>
                <c:pt idx="5608">
                  <c:v>0.31765650433827702</c:v>
                </c:pt>
                <c:pt idx="5609">
                  <c:v>0.220450345128018</c:v>
                </c:pt>
                <c:pt idx="5610">
                  <c:v>0.28856319829036597</c:v>
                </c:pt>
                <c:pt idx="5611">
                  <c:v>0.129371668492099</c:v>
                </c:pt>
                <c:pt idx="5612">
                  <c:v>0.17261421267920499</c:v>
                </c:pt>
                <c:pt idx="5613">
                  <c:v>6.3369473960883202E-2</c:v>
                </c:pt>
                <c:pt idx="5614">
                  <c:v>-4.1943565644342401E-2</c:v>
                </c:pt>
                <c:pt idx="5615">
                  <c:v>-1.49728105491249E-2</c:v>
                </c:pt>
                <c:pt idx="5616">
                  <c:v>6.56650407939606E-2</c:v>
                </c:pt>
                <c:pt idx="5617">
                  <c:v>0.16054756788601299</c:v>
                </c:pt>
                <c:pt idx="5618">
                  <c:v>8.8682012800185006E-2</c:v>
                </c:pt>
                <c:pt idx="5619">
                  <c:v>0.10548201078307699</c:v>
                </c:pt>
                <c:pt idx="5620">
                  <c:v>3.3616455697249997E-2</c:v>
                </c:pt>
                <c:pt idx="5621">
                  <c:v>-4.1196580415534798E-2</c:v>
                </c:pt>
                <c:pt idx="5622">
                  <c:v>-0.109733874566338</c:v>
                </c:pt>
                <c:pt idx="5623">
                  <c:v>-0.17834524113089401</c:v>
                </c:pt>
                <c:pt idx="5624">
                  <c:v>-0.226319508304032</c:v>
                </c:pt>
                <c:pt idx="5625">
                  <c:v>-0.32446127707656403</c:v>
                </c:pt>
                <c:pt idx="5626">
                  <c:v>-0.41013085515459802</c:v>
                </c:pt>
                <c:pt idx="5627">
                  <c:v>-0.44228670262798703</c:v>
                </c:pt>
                <c:pt idx="5628">
                  <c:v>-0.46816680813939299</c:v>
                </c:pt>
                <c:pt idx="5629">
                  <c:v>-0.54549466289071002</c:v>
                </c:pt>
                <c:pt idx="5630">
                  <c:v>-0.61662606890951399</c:v>
                </c:pt>
                <c:pt idx="5631">
                  <c:v>-0.70831528109026698</c:v>
                </c:pt>
                <c:pt idx="5632">
                  <c:v>-0.77528754993899995</c:v>
                </c:pt>
                <c:pt idx="5633">
                  <c:v>-0.72738735998359905</c:v>
                </c:pt>
                <c:pt idx="5634">
                  <c:v>-0.64441464079359101</c:v>
                </c:pt>
                <c:pt idx="5635">
                  <c:v>-0.54496395938223596</c:v>
                </c:pt>
                <c:pt idx="5636">
                  <c:v>-0.44551327797088103</c:v>
                </c:pt>
                <c:pt idx="5637">
                  <c:v>-0.44551327797088103</c:v>
                </c:pt>
                <c:pt idx="5638">
                  <c:v>-0.44551327797088103</c:v>
                </c:pt>
                <c:pt idx="5639">
                  <c:v>-0.44551327797088103</c:v>
                </c:pt>
                <c:pt idx="5640">
                  <c:v>-0.78973822566195195</c:v>
                </c:pt>
                <c:pt idx="5641">
                  <c:v>-0.77650620969780304</c:v>
                </c:pt>
                <c:pt idx="5642">
                  <c:v>-0.76327419373365402</c:v>
                </c:pt>
                <c:pt idx="5643">
                  <c:v>-0.75004217776950399</c:v>
                </c:pt>
                <c:pt idx="5644">
                  <c:v>-0.73681016180535497</c:v>
                </c:pt>
                <c:pt idx="5645">
                  <c:v>-0.73457943174492202</c:v>
                </c:pt>
                <c:pt idx="5646">
                  <c:v>-0.73234870168448896</c:v>
                </c:pt>
                <c:pt idx="5647">
                  <c:v>-0.73011797162405701</c:v>
                </c:pt>
                <c:pt idx="5648">
                  <c:v>-0.72788724156362405</c:v>
                </c:pt>
                <c:pt idx="5649">
                  <c:v>-0.72461036224222697</c:v>
                </c:pt>
                <c:pt idx="5650">
                  <c:v>-0.90463359973381097</c:v>
                </c:pt>
                <c:pt idx="5651">
                  <c:v>-0.92403113136627701</c:v>
                </c:pt>
                <c:pt idx="5652">
                  <c:v>-0.93723221426622705</c:v>
                </c:pt>
                <c:pt idx="5653">
                  <c:v>-0.94383938920324295</c:v>
                </c:pt>
                <c:pt idx="5654">
                  <c:v>-0.93192606954075197</c:v>
                </c:pt>
                <c:pt idx="5655">
                  <c:v>-0.92205528225641897</c:v>
                </c:pt>
                <c:pt idx="5656">
                  <c:v>-0.945140419414783</c:v>
                </c:pt>
                <c:pt idx="5657">
                  <c:v>-0.91078409048870901</c:v>
                </c:pt>
                <c:pt idx="5658">
                  <c:v>-0.853753350608773</c:v>
                </c:pt>
                <c:pt idx="5659">
                  <c:v>-0.80693005180391497</c:v>
                </c:pt>
                <c:pt idx="5660">
                  <c:v>-0.87975454973035505</c:v>
                </c:pt>
                <c:pt idx="5661">
                  <c:v>-0.84536179697381797</c:v>
                </c:pt>
                <c:pt idx="5662">
                  <c:v>-0.802730063106606</c:v>
                </c:pt>
                <c:pt idx="5663">
                  <c:v>-0.75390188050688001</c:v>
                </c:pt>
                <c:pt idx="5664">
                  <c:v>-0.68247335936704401</c:v>
                </c:pt>
                <c:pt idx="5665">
                  <c:v>-0.70385308345044995</c:v>
                </c:pt>
                <c:pt idx="5666">
                  <c:v>-0.883884832612856</c:v>
                </c:pt>
                <c:pt idx="5667">
                  <c:v>-0.88054761336424103</c:v>
                </c:pt>
                <c:pt idx="5668">
                  <c:v>-0.54765114968867501</c:v>
                </c:pt>
                <c:pt idx="5669">
                  <c:v>-0.47647187411299402</c:v>
                </c:pt>
                <c:pt idx="5670">
                  <c:v>-0.56402391684578002</c:v>
                </c:pt>
                <c:pt idx="5671">
                  <c:v>-0.63298139256530594</c:v>
                </c:pt>
                <c:pt idx="5672">
                  <c:v>-0.72672988403060701</c:v>
                </c:pt>
                <c:pt idx="5673">
                  <c:v>-0.693662717105482</c:v>
                </c:pt>
                <c:pt idx="5674">
                  <c:v>-0.66059555018035598</c:v>
                </c:pt>
                <c:pt idx="5675">
                  <c:v>-0.62752838325522997</c:v>
                </c:pt>
                <c:pt idx="5676">
                  <c:v>-0.59446121633010396</c:v>
                </c:pt>
                <c:pt idx="5677">
                  <c:v>-0.56456729167529296</c:v>
                </c:pt>
                <c:pt idx="5678">
                  <c:v>0.330117328448439</c:v>
                </c:pt>
                <c:pt idx="5679">
                  <c:v>0.46954134362036398</c:v>
                </c:pt>
                <c:pt idx="5680">
                  <c:v>0.53020051551220504</c:v>
                </c:pt>
                <c:pt idx="5681">
                  <c:v>0.64360871162625699</c:v>
                </c:pt>
                <c:pt idx="5682">
                  <c:v>0.68679255604162903</c:v>
                </c:pt>
                <c:pt idx="5683">
                  <c:v>0.74834352941328497</c:v>
                </c:pt>
                <c:pt idx="5684">
                  <c:v>0.73793434999454199</c:v>
                </c:pt>
                <c:pt idx="5685">
                  <c:v>0.80820068869984396</c:v>
                </c:pt>
                <c:pt idx="5686">
                  <c:v>0.72985341531086101</c:v>
                </c:pt>
                <c:pt idx="5687">
                  <c:v>0.59737894874434705</c:v>
                </c:pt>
                <c:pt idx="5688">
                  <c:v>0.601654145334792</c:v>
                </c:pt>
                <c:pt idx="5689">
                  <c:v>0.73926137421624305</c:v>
                </c:pt>
                <c:pt idx="5690">
                  <c:v>0.53421326377193301</c:v>
                </c:pt>
                <c:pt idx="5691">
                  <c:v>0.75028382546273997</c:v>
                </c:pt>
                <c:pt idx="5692">
                  <c:v>0.59882873885254395</c:v>
                </c:pt>
                <c:pt idx="5693">
                  <c:v>0.415631898202313</c:v>
                </c:pt>
                <c:pt idx="5694">
                  <c:v>0.546521047662195</c:v>
                </c:pt>
                <c:pt idx="5695">
                  <c:v>0.60907501215833104</c:v>
                </c:pt>
                <c:pt idx="5696">
                  <c:v>0.54349909830837995</c:v>
                </c:pt>
                <c:pt idx="5697">
                  <c:v>0.48579508546790401</c:v>
                </c:pt>
                <c:pt idx="5698">
                  <c:v>0.60754400437249301</c:v>
                </c:pt>
                <c:pt idx="5699">
                  <c:v>0.70018940471801605</c:v>
                </c:pt>
                <c:pt idx="5700">
                  <c:v>0.72102801791636095</c:v>
                </c:pt>
                <c:pt idx="5701">
                  <c:v>0.61822974844715795</c:v>
                </c:pt>
                <c:pt idx="5702">
                  <c:v>0.63509493815639295</c:v>
                </c:pt>
                <c:pt idx="5703">
                  <c:v>0.66200898248177098</c:v>
                </c:pt>
                <c:pt idx="5704">
                  <c:v>0.461999447546732</c:v>
                </c:pt>
                <c:pt idx="5705">
                  <c:v>0.4007446861192</c:v>
                </c:pt>
                <c:pt idx="5706">
                  <c:v>0.39935869048776501</c:v>
                </c:pt>
                <c:pt idx="5707">
                  <c:v>0.58589204576904497</c:v>
                </c:pt>
                <c:pt idx="5708">
                  <c:v>0.51239253170399002</c:v>
                </c:pt>
                <c:pt idx="5709">
                  <c:v>0.57358785551181701</c:v>
                </c:pt>
                <c:pt idx="5710">
                  <c:v>0.56039969045089</c:v>
                </c:pt>
                <c:pt idx="5711">
                  <c:v>0.66483245219024401</c:v>
                </c:pt>
                <c:pt idx="5712">
                  <c:v>0.56902181714989097</c:v>
                </c:pt>
                <c:pt idx="5713">
                  <c:v>0.52565167265850199</c:v>
                </c:pt>
                <c:pt idx="5714">
                  <c:v>0.54669023483347501</c:v>
                </c:pt>
                <c:pt idx="5715">
                  <c:v>0.52849713060377101</c:v>
                </c:pt>
                <c:pt idx="5716">
                  <c:v>0.47530556955321202</c:v>
                </c:pt>
                <c:pt idx="5717">
                  <c:v>0.471833544637211</c:v>
                </c:pt>
                <c:pt idx="5718">
                  <c:v>0.371456985541815</c:v>
                </c:pt>
                <c:pt idx="5719">
                  <c:v>0.2338912924199</c:v>
                </c:pt>
                <c:pt idx="5720">
                  <c:v>0.121195908273228</c:v>
                </c:pt>
                <c:pt idx="5721">
                  <c:v>1.1781510672783499E-2</c:v>
                </c:pt>
                <c:pt idx="5722">
                  <c:v>-6.8682734011814697E-2</c:v>
                </c:pt>
                <c:pt idx="5723">
                  <c:v>-0.14090799758573999</c:v>
                </c:pt>
                <c:pt idx="5724">
                  <c:v>-0.18214057586565999</c:v>
                </c:pt>
                <c:pt idx="5725">
                  <c:v>-0.286457525572611</c:v>
                </c:pt>
                <c:pt idx="5726">
                  <c:v>-0.34746296493428103</c:v>
                </c:pt>
                <c:pt idx="5727">
                  <c:v>-0.42698889889545699</c:v>
                </c:pt>
                <c:pt idx="5728">
                  <c:v>-0.51890773032166304</c:v>
                </c:pt>
                <c:pt idx="5729">
                  <c:v>-0.51499895872406498</c:v>
                </c:pt>
                <c:pt idx="5730">
                  <c:v>-0.51109018712646703</c:v>
                </c:pt>
                <c:pt idx="5731">
                  <c:v>-0.50718141552886797</c:v>
                </c:pt>
                <c:pt idx="5732">
                  <c:v>-0.50327264393127003</c:v>
                </c:pt>
                <c:pt idx="5733">
                  <c:v>-0.50115606865568796</c:v>
                </c:pt>
                <c:pt idx="5734">
                  <c:v>-0.499039493380105</c:v>
                </c:pt>
                <c:pt idx="5735">
                  <c:v>-0.49692291810452199</c:v>
                </c:pt>
                <c:pt idx="5736">
                  <c:v>-0.49480634282893998</c:v>
                </c:pt>
                <c:pt idx="5737">
                  <c:v>-0.46489653976953399</c:v>
                </c:pt>
                <c:pt idx="5738">
                  <c:v>-0.434986736710129</c:v>
                </c:pt>
                <c:pt idx="5739">
                  <c:v>-0.405076933650724</c:v>
                </c:pt>
                <c:pt idx="5740">
                  <c:v>-0.37516713059131801</c:v>
                </c:pt>
                <c:pt idx="5741">
                  <c:v>-0.37946136381614098</c:v>
                </c:pt>
                <c:pt idx="5742">
                  <c:v>-0.38375559704096401</c:v>
                </c:pt>
                <c:pt idx="5743">
                  <c:v>-0.38804983026578699</c:v>
                </c:pt>
                <c:pt idx="5744">
                  <c:v>-0.46226690471856302</c:v>
                </c:pt>
                <c:pt idx="5745">
                  <c:v>-0.52114066697071204</c:v>
                </c:pt>
                <c:pt idx="5746">
                  <c:v>-0.538750672071452</c:v>
                </c:pt>
                <c:pt idx="5747">
                  <c:v>-0.55015900762396197</c:v>
                </c:pt>
                <c:pt idx="5748">
                  <c:v>-0.55537089444395804</c:v>
                </c:pt>
                <c:pt idx="5749">
                  <c:v>-0.43395891459549701</c:v>
                </c:pt>
                <c:pt idx="5750">
                  <c:v>-0.36394928137548199</c:v>
                </c:pt>
                <c:pt idx="5751">
                  <c:v>-0.39302441790909998</c:v>
                </c:pt>
                <c:pt idx="5752">
                  <c:v>-0.34991718441105901</c:v>
                </c:pt>
                <c:pt idx="5753">
                  <c:v>-0.33980428771360999</c:v>
                </c:pt>
                <c:pt idx="5754">
                  <c:v>-0.34412682085934998</c:v>
                </c:pt>
                <c:pt idx="5755">
                  <c:v>-0.317535961940553</c:v>
                </c:pt>
                <c:pt idx="5756">
                  <c:v>-0.31566204635377698</c:v>
                </c:pt>
                <c:pt idx="5757">
                  <c:v>-0.20032286993630299</c:v>
                </c:pt>
                <c:pt idx="5758">
                  <c:v>-9.7381811799573101E-2</c:v>
                </c:pt>
                <c:pt idx="5759">
                  <c:v>3.6477859217406802E-2</c:v>
                </c:pt>
                <c:pt idx="5760">
                  <c:v>0.14357805452420699</c:v>
                </c:pt>
                <c:pt idx="5761">
                  <c:v>0.13114417458932701</c:v>
                </c:pt>
                <c:pt idx="5762">
                  <c:v>0.20110010576118501</c:v>
                </c:pt>
                <c:pt idx="5763">
                  <c:v>0.35359399286728799</c:v>
                </c:pt>
                <c:pt idx="5764">
                  <c:v>0.64826716364675696</c:v>
                </c:pt>
                <c:pt idx="5765">
                  <c:v>0.90024063851418001</c:v>
                </c:pt>
                <c:pt idx="5766">
                  <c:v>0.13987292368952001</c:v>
                </c:pt>
                <c:pt idx="5767">
                  <c:v>1.1295179550810901</c:v>
                </c:pt>
                <c:pt idx="5768">
                  <c:v>1.1980483891237399</c:v>
                </c:pt>
                <c:pt idx="5769">
                  <c:v>1.4389967997236801</c:v>
                </c:pt>
                <c:pt idx="5770">
                  <c:v>1.81820323651533</c:v>
                </c:pt>
                <c:pt idx="5771">
                  <c:v>2.0779048005874601</c:v>
                </c:pt>
                <c:pt idx="5772">
                  <c:v>1.71805939006596</c:v>
                </c:pt>
                <c:pt idx="5773">
                  <c:v>1.6093880163525001</c:v>
                </c:pt>
                <c:pt idx="5774">
                  <c:v>1.6348155316606701</c:v>
                </c:pt>
                <c:pt idx="5775">
                  <c:v>1.6396059475774201</c:v>
                </c:pt>
                <c:pt idx="5776">
                  <c:v>1.4691025689191699</c:v>
                </c:pt>
                <c:pt idx="5777">
                  <c:v>1.5291679252227399</c:v>
                </c:pt>
                <c:pt idx="5778">
                  <c:v>1.5397993948622699</c:v>
                </c:pt>
                <c:pt idx="5779">
                  <c:v>1.57703697456875</c:v>
                </c:pt>
                <c:pt idx="5780">
                  <c:v>1.7116391853842901</c:v>
                </c:pt>
                <c:pt idx="5781">
                  <c:v>1.6715871536189799</c:v>
                </c:pt>
                <c:pt idx="5782">
                  <c:v>1.48261477847295</c:v>
                </c:pt>
                <c:pt idx="5783">
                  <c:v>1.2363503392524</c:v>
                </c:pt>
                <c:pt idx="5784">
                  <c:v>1.35542087112718</c:v>
                </c:pt>
                <c:pt idx="5785">
                  <c:v>1.39976917633717</c:v>
                </c:pt>
                <c:pt idx="5786">
                  <c:v>1.4297561241177199</c:v>
                </c:pt>
                <c:pt idx="5787">
                  <c:v>1.45974307189827</c:v>
                </c:pt>
                <c:pt idx="5788">
                  <c:v>1.4897300196788199</c:v>
                </c:pt>
                <c:pt idx="5789">
                  <c:v>1.4457794521922991</c:v>
                </c:pt>
                <c:pt idx="5790">
                  <c:v>1.40182888470578</c:v>
                </c:pt>
                <c:pt idx="5791">
                  <c:v>1.3578783172192599</c:v>
                </c:pt>
                <c:pt idx="5792">
                  <c:v>1.31392774973274</c:v>
                </c:pt>
                <c:pt idx="5793">
                  <c:v>1.3166333058623301</c:v>
                </c:pt>
                <c:pt idx="5794">
                  <c:v>1.31933886199192</c:v>
                </c:pt>
                <c:pt idx="5795">
                  <c:v>1.2017727171859001</c:v>
                </c:pt>
                <c:pt idx="5796">
                  <c:v>0.42635334605660902</c:v>
                </c:pt>
                <c:pt idx="5797">
                  <c:v>0.40068863475697097</c:v>
                </c:pt>
                <c:pt idx="5798">
                  <c:v>0.580770202486105</c:v>
                </c:pt>
                <c:pt idx="5799">
                  <c:v>0.90682504980562095</c:v>
                </c:pt>
                <c:pt idx="5800">
                  <c:v>1.1516176453529401</c:v>
                </c:pt>
                <c:pt idx="5801">
                  <c:v>1.02210144029799</c:v>
                </c:pt>
                <c:pt idx="5802">
                  <c:v>1.10265004858191</c:v>
                </c:pt>
                <c:pt idx="5803">
                  <c:v>0.99762334880200598</c:v>
                </c:pt>
                <c:pt idx="5804">
                  <c:v>0.97702899250699604</c:v>
                </c:pt>
                <c:pt idx="5805">
                  <c:v>0.85586504739012503</c:v>
                </c:pt>
                <c:pt idx="5806">
                  <c:v>0.97402279981441597</c:v>
                </c:pt>
                <c:pt idx="5807">
                  <c:v>1.205795707512139</c:v>
                </c:pt>
                <c:pt idx="5808">
                  <c:v>0.99573355045385803</c:v>
                </c:pt>
                <c:pt idx="5809">
                  <c:v>0.90936251169656401</c:v>
                </c:pt>
                <c:pt idx="5810">
                  <c:v>0.84975094864945</c:v>
                </c:pt>
                <c:pt idx="5811">
                  <c:v>0.72634414150885696</c:v>
                </c:pt>
                <c:pt idx="5812">
                  <c:v>0.62145782896777102</c:v>
                </c:pt>
                <c:pt idx="5813">
                  <c:v>0.50150690265430697</c:v>
                </c:pt>
                <c:pt idx="5814">
                  <c:v>0.36689310844067802</c:v>
                </c:pt>
                <c:pt idx="5815">
                  <c:v>0.195243545843752</c:v>
                </c:pt>
                <c:pt idx="5816">
                  <c:v>4.41517894087761E-2</c:v>
                </c:pt>
                <c:pt idx="5817">
                  <c:v>-6.6337078997468907E-2</c:v>
                </c:pt>
                <c:pt idx="5818">
                  <c:v>-0.15218307648544699</c:v>
                </c:pt>
                <c:pt idx="5819">
                  <c:v>-0.25239043140285999</c:v>
                </c:pt>
                <c:pt idx="5820">
                  <c:v>-0.31132880835315102</c:v>
                </c:pt>
                <c:pt idx="5821">
                  <c:v>-0.37069858152919499</c:v>
                </c:pt>
                <c:pt idx="5822">
                  <c:v>-0.41563292486205</c:v>
                </c:pt>
                <c:pt idx="5823">
                  <c:v>-0.44612661753600202</c:v>
                </c:pt>
                <c:pt idx="5824">
                  <c:v>-0.19408727881583299</c:v>
                </c:pt>
                <c:pt idx="5825">
                  <c:v>-0.253930182621531</c:v>
                </c:pt>
                <c:pt idx="5826">
                  <c:v>-0.31588969121914001</c:v>
                </c:pt>
                <c:pt idx="5827">
                  <c:v>-0.19636417732495301</c:v>
                </c:pt>
                <c:pt idx="5828">
                  <c:v>-0.48843824015853798</c:v>
                </c:pt>
                <c:pt idx="5829">
                  <c:v>-0.40305490258355597</c:v>
                </c:pt>
                <c:pt idx="5830">
                  <c:v>-0.43017563407569698</c:v>
                </c:pt>
                <c:pt idx="5831">
                  <c:v>-0.49017821759677999</c:v>
                </c:pt>
                <c:pt idx="5832">
                  <c:v>-0.52750639016400003</c:v>
                </c:pt>
                <c:pt idx="5833">
                  <c:v>-0.606242748667845</c:v>
                </c:pt>
                <c:pt idx="5834">
                  <c:v>-0.57976674028358299</c:v>
                </c:pt>
                <c:pt idx="5835">
                  <c:v>-0.55329073189931999</c:v>
                </c:pt>
                <c:pt idx="5836">
                  <c:v>-0.52681472351505698</c:v>
                </c:pt>
                <c:pt idx="5837">
                  <c:v>-0.53472794365688503</c:v>
                </c:pt>
                <c:pt idx="5838">
                  <c:v>-0.54264116379871297</c:v>
                </c:pt>
                <c:pt idx="5839">
                  <c:v>-0.55055438394054002</c:v>
                </c:pt>
                <c:pt idx="5840">
                  <c:v>-0.55846760408236795</c:v>
                </c:pt>
                <c:pt idx="5841">
                  <c:v>-0.53564231567570098</c:v>
                </c:pt>
                <c:pt idx="5842">
                  <c:v>-0.61161072818336504</c:v>
                </c:pt>
                <c:pt idx="5843">
                  <c:v>-0.64033593123265398</c:v>
                </c:pt>
                <c:pt idx="5844">
                  <c:v>-0.61546811044782901</c:v>
                </c:pt>
                <c:pt idx="5845">
                  <c:v>-0.61665365226433799</c:v>
                </c:pt>
                <c:pt idx="5846">
                  <c:v>-0.64255613741286799</c:v>
                </c:pt>
                <c:pt idx="5847">
                  <c:v>-0.59226526018717696</c:v>
                </c:pt>
                <c:pt idx="5848">
                  <c:v>-0.60992876422503295</c:v>
                </c:pt>
                <c:pt idx="5849">
                  <c:v>-0.56965727292578805</c:v>
                </c:pt>
                <c:pt idx="5850">
                  <c:v>-0.52938578162654304</c:v>
                </c:pt>
                <c:pt idx="5851">
                  <c:v>-0.46651395178718902</c:v>
                </c:pt>
                <c:pt idx="5852">
                  <c:v>-0.397366379985852</c:v>
                </c:pt>
                <c:pt idx="5853">
                  <c:v>-0.30254951442734201</c:v>
                </c:pt>
                <c:pt idx="5854">
                  <c:v>-0.22005147392010799</c:v>
                </c:pt>
                <c:pt idx="5855">
                  <c:v>-8.81195467488326E-2</c:v>
                </c:pt>
                <c:pt idx="5856">
                  <c:v>5.20513615331177E-2</c:v>
                </c:pt>
                <c:pt idx="5857">
                  <c:v>0.15901240851932899</c:v>
                </c:pt>
                <c:pt idx="5858">
                  <c:v>0.25138988083484398</c:v>
                </c:pt>
                <c:pt idx="5859">
                  <c:v>0.52531600642448295</c:v>
                </c:pt>
                <c:pt idx="5860">
                  <c:v>0.73567432597761895</c:v>
                </c:pt>
                <c:pt idx="5861">
                  <c:v>0.71507894563636998</c:v>
                </c:pt>
                <c:pt idx="5862">
                  <c:v>0.69448356529512001</c:v>
                </c:pt>
                <c:pt idx="5863">
                  <c:v>0.67388818495387104</c:v>
                </c:pt>
                <c:pt idx="5864">
                  <c:v>0.65329280461262196</c:v>
                </c:pt>
                <c:pt idx="5865">
                  <c:v>0.65956809437270902</c:v>
                </c:pt>
                <c:pt idx="5866">
                  <c:v>0.66584338413279598</c:v>
                </c:pt>
                <c:pt idx="5867">
                  <c:v>0.67211867389288205</c:v>
                </c:pt>
                <c:pt idx="5868">
                  <c:v>0.67839396365297</c:v>
                </c:pt>
                <c:pt idx="5869">
                  <c:v>0.69279510433593905</c:v>
                </c:pt>
                <c:pt idx="5870">
                  <c:v>0.70719624501890899</c:v>
                </c:pt>
                <c:pt idx="5871">
                  <c:v>0.72159738570187804</c:v>
                </c:pt>
                <c:pt idx="5872">
                  <c:v>0.73599852638484797</c:v>
                </c:pt>
                <c:pt idx="5873">
                  <c:v>0.68598538101441997</c:v>
                </c:pt>
                <c:pt idx="5874">
                  <c:v>0.63597223564399097</c:v>
                </c:pt>
                <c:pt idx="5875">
                  <c:v>0.58595909027356297</c:v>
                </c:pt>
                <c:pt idx="5876">
                  <c:v>1.24769289485016</c:v>
                </c:pt>
                <c:pt idx="5877">
                  <c:v>1.2462003924130101</c:v>
                </c:pt>
                <c:pt idx="5878">
                  <c:v>1.2775897420047999</c:v>
                </c:pt>
                <c:pt idx="5879">
                  <c:v>1.6457987133082701</c:v>
                </c:pt>
                <c:pt idx="5880">
                  <c:v>1.4544976932234699</c:v>
                </c:pt>
                <c:pt idx="5881">
                  <c:v>1.34698543402112</c:v>
                </c:pt>
                <c:pt idx="5882">
                  <c:v>1.4564219718767899</c:v>
                </c:pt>
                <c:pt idx="5883">
                  <c:v>1.80110036333303</c:v>
                </c:pt>
                <c:pt idx="5884">
                  <c:v>1.6381059135616201</c:v>
                </c:pt>
                <c:pt idx="5885">
                  <c:v>1.53275232479604</c:v>
                </c:pt>
                <c:pt idx="5886">
                  <c:v>1.8998456823802601</c:v>
                </c:pt>
                <c:pt idx="5887">
                  <c:v>1.6397561052016301</c:v>
                </c:pt>
                <c:pt idx="5888">
                  <c:v>1.6147550159803301</c:v>
                </c:pt>
                <c:pt idx="5889">
                  <c:v>1.7560537552005</c:v>
                </c:pt>
                <c:pt idx="5890">
                  <c:v>1.47607523582661</c:v>
                </c:pt>
                <c:pt idx="5891">
                  <c:v>1.4934773062845099</c:v>
                </c:pt>
                <c:pt idx="5892">
                  <c:v>1.65957228206617</c:v>
                </c:pt>
                <c:pt idx="5893">
                  <c:v>1.97741849916601</c:v>
                </c:pt>
                <c:pt idx="5894">
                  <c:v>1.4634771028937099</c:v>
                </c:pt>
                <c:pt idx="5895">
                  <c:v>1.28262055306379</c:v>
                </c:pt>
                <c:pt idx="5896">
                  <c:v>1.0365449101508399</c:v>
                </c:pt>
                <c:pt idx="5897">
                  <c:v>0.72170340415953704</c:v>
                </c:pt>
                <c:pt idx="5898">
                  <c:v>0.56741875242931195</c:v>
                </c:pt>
                <c:pt idx="5899">
                  <c:v>0.42968613533418998</c:v>
                </c:pt>
                <c:pt idx="5900">
                  <c:v>0.29422348867419901</c:v>
                </c:pt>
                <c:pt idx="5901">
                  <c:v>0.33269808949985502</c:v>
                </c:pt>
                <c:pt idx="5902">
                  <c:v>0.49000046968980399</c:v>
                </c:pt>
                <c:pt idx="5903">
                  <c:v>0.43587781833364397</c:v>
                </c:pt>
                <c:pt idx="5904">
                  <c:v>0.44540226624345403</c:v>
                </c:pt>
                <c:pt idx="5905">
                  <c:v>0.42505849316348299</c:v>
                </c:pt>
                <c:pt idx="5906">
                  <c:v>0.37160542999759499</c:v>
                </c:pt>
                <c:pt idx="5907">
                  <c:v>0.38013773741971502</c:v>
                </c:pt>
                <c:pt idx="5908">
                  <c:v>0.38043106373116198</c:v>
                </c:pt>
                <c:pt idx="5909">
                  <c:v>0.24137196752229401</c:v>
                </c:pt>
                <c:pt idx="5910">
                  <c:v>0.16837808584203801</c:v>
                </c:pt>
                <c:pt idx="5911">
                  <c:v>1.2766954998068901E-2</c:v>
                </c:pt>
                <c:pt idx="5912">
                  <c:v>-9.5299455916794396E-2</c:v>
                </c:pt>
                <c:pt idx="5913">
                  <c:v>-0.195849734466256</c:v>
                </c:pt>
                <c:pt idx="5914">
                  <c:v>-0.246966126351674</c:v>
                </c:pt>
                <c:pt idx="5915">
                  <c:v>-0.30216236217769599</c:v>
                </c:pt>
                <c:pt idx="5916">
                  <c:v>-0.39235705482457101</c:v>
                </c:pt>
                <c:pt idx="5917">
                  <c:v>-0.41640339626071099</c:v>
                </c:pt>
                <c:pt idx="5918">
                  <c:v>-0.45481109512628598</c:v>
                </c:pt>
                <c:pt idx="5919">
                  <c:v>-0.47666675935676001</c:v>
                </c:pt>
                <c:pt idx="5920">
                  <c:v>-0.46359803918013398</c:v>
                </c:pt>
                <c:pt idx="5921">
                  <c:v>-0.48179635702274698</c:v>
                </c:pt>
                <c:pt idx="5922">
                  <c:v>-0.49999467486535998</c:v>
                </c:pt>
                <c:pt idx="5923">
                  <c:v>-0.51819299270797203</c:v>
                </c:pt>
                <c:pt idx="5924">
                  <c:v>-0.53639131055058498</c:v>
                </c:pt>
                <c:pt idx="5925">
                  <c:v>-0.54429691644147005</c:v>
                </c:pt>
                <c:pt idx="5926">
                  <c:v>-0.55220252233235501</c:v>
                </c:pt>
                <c:pt idx="5927">
                  <c:v>-0.56010812822323996</c:v>
                </c:pt>
                <c:pt idx="5928">
                  <c:v>-0.56801373411412504</c:v>
                </c:pt>
                <c:pt idx="5929">
                  <c:v>-0.53914361644115605</c:v>
                </c:pt>
                <c:pt idx="5930">
                  <c:v>-0.51027349876818695</c:v>
                </c:pt>
                <c:pt idx="5931">
                  <c:v>-0.48140338109521802</c:v>
                </c:pt>
                <c:pt idx="5932">
                  <c:v>-0.45253326342224898</c:v>
                </c:pt>
                <c:pt idx="5933">
                  <c:v>-0.45417569410366099</c:v>
                </c:pt>
                <c:pt idx="5934">
                  <c:v>-0.455818124785073</c:v>
                </c:pt>
                <c:pt idx="5935">
                  <c:v>-0.45746055546648501</c:v>
                </c:pt>
                <c:pt idx="5936">
                  <c:v>-0.69599612679499201</c:v>
                </c:pt>
                <c:pt idx="5937">
                  <c:v>-0.66227791195188002</c:v>
                </c:pt>
                <c:pt idx="5938">
                  <c:v>-0.64708019170827502</c:v>
                </c:pt>
                <c:pt idx="5939">
                  <c:v>-0.59688401464381602</c:v>
                </c:pt>
                <c:pt idx="5940">
                  <c:v>-0.58992527551088403</c:v>
                </c:pt>
                <c:pt idx="5941">
                  <c:v>-0.58411370611431301</c:v>
                </c:pt>
                <c:pt idx="5942">
                  <c:v>-0.602945007636009</c:v>
                </c:pt>
                <c:pt idx="5943">
                  <c:v>-0.627972757890221</c:v>
                </c:pt>
                <c:pt idx="5944">
                  <c:v>-0.63032609719056998</c:v>
                </c:pt>
                <c:pt idx="5945">
                  <c:v>-0.59041457744236603</c:v>
                </c:pt>
                <c:pt idx="5946">
                  <c:v>-0.47839476007625598</c:v>
                </c:pt>
                <c:pt idx="5947">
                  <c:v>-0.44467968906056698</c:v>
                </c:pt>
                <c:pt idx="5948">
                  <c:v>-0.40476816931236298</c:v>
                </c:pt>
                <c:pt idx="5949">
                  <c:v>-0.33124247692873998</c:v>
                </c:pt>
                <c:pt idx="5950">
                  <c:v>-0.21856441136990601</c:v>
                </c:pt>
                <c:pt idx="5951">
                  <c:v>-0.118284464091817</c:v>
                </c:pt>
                <c:pt idx="5952">
                  <c:v>5.4109001619890899E-2</c:v>
                </c:pt>
                <c:pt idx="5953">
                  <c:v>9.2854254228935104E-2</c:v>
                </c:pt>
                <c:pt idx="5954">
                  <c:v>0.19335221855329901</c:v>
                </c:pt>
                <c:pt idx="5955">
                  <c:v>0.41138137481704701</c:v>
                </c:pt>
                <c:pt idx="5956">
                  <c:v>0.54301494844720899</c:v>
                </c:pt>
                <c:pt idx="5957">
                  <c:v>0.77916040268460296</c:v>
                </c:pt>
                <c:pt idx="5958">
                  <c:v>0.96617348072868403</c:v>
                </c:pt>
                <c:pt idx="5959">
                  <c:v>0.45042894502428599</c:v>
                </c:pt>
                <c:pt idx="5960">
                  <c:v>0.50516866999934995</c:v>
                </c:pt>
                <c:pt idx="5961">
                  <c:v>0.56065118181726203</c:v>
                </c:pt>
                <c:pt idx="5962">
                  <c:v>0.64675079604469599</c:v>
                </c:pt>
                <c:pt idx="5963">
                  <c:v>0.71039821655952895</c:v>
                </c:pt>
                <c:pt idx="5964">
                  <c:v>0.79868850799262903</c:v>
                </c:pt>
                <c:pt idx="5965">
                  <c:v>0.92143731480519098</c:v>
                </c:pt>
                <c:pt idx="5966">
                  <c:v>1.0234749498125799</c:v>
                </c:pt>
                <c:pt idx="5967">
                  <c:v>1.11545850938811</c:v>
                </c:pt>
                <c:pt idx="5968">
                  <c:v>1.25249460121636</c:v>
                </c:pt>
                <c:pt idx="5969">
                  <c:v>1.24014617532844</c:v>
                </c:pt>
                <c:pt idx="5970">
                  <c:v>1.25440385950749</c:v>
                </c:pt>
                <c:pt idx="5971">
                  <c:v>1.2664708664808599</c:v>
                </c:pt>
                <c:pt idx="5972">
                  <c:v>1.24822750233116</c:v>
                </c:pt>
                <c:pt idx="5973">
                  <c:v>1.30127706187619</c:v>
                </c:pt>
                <c:pt idx="5974">
                  <c:v>1.35009341183739</c:v>
                </c:pt>
                <c:pt idx="5975">
                  <c:v>1.3617947001858199</c:v>
                </c:pt>
                <c:pt idx="5976">
                  <c:v>1.4106110501470199</c:v>
                </c:pt>
                <c:pt idx="5977">
                  <c:v>1.42812019098423</c:v>
                </c:pt>
                <c:pt idx="5978">
                  <c:v>1.3858346384391</c:v>
                </c:pt>
                <c:pt idx="5979">
                  <c:v>1.3206420160674099</c:v>
                </c:pt>
                <c:pt idx="5980">
                  <c:v>1.2742766195816699</c:v>
                </c:pt>
                <c:pt idx="5981">
                  <c:v>1.6525089909955699</c:v>
                </c:pt>
                <c:pt idx="5982">
                  <c:v>1.3889949255576799</c:v>
                </c:pt>
                <c:pt idx="5983">
                  <c:v>1.5937686692995301</c:v>
                </c:pt>
                <c:pt idx="5984">
                  <c:v>1.53858361610879</c:v>
                </c:pt>
                <c:pt idx="5985">
                  <c:v>1.3368766961843099</c:v>
                </c:pt>
                <c:pt idx="5986">
                  <c:v>1.38900619687364</c:v>
                </c:pt>
                <c:pt idx="5987">
                  <c:v>1.4493746786736501</c:v>
                </c:pt>
                <c:pt idx="5988">
                  <c:v>1.19815457885566</c:v>
                </c:pt>
                <c:pt idx="5989">
                  <c:v>1.43851761234376</c:v>
                </c:pt>
                <c:pt idx="5990">
                  <c:v>1.2377331160625</c:v>
                </c:pt>
                <c:pt idx="5991">
                  <c:v>1.19523028279147</c:v>
                </c:pt>
                <c:pt idx="5992">
                  <c:v>1.11191334766727</c:v>
                </c:pt>
                <c:pt idx="5993">
                  <c:v>1.03672401955149</c:v>
                </c:pt>
                <c:pt idx="5994">
                  <c:v>0.98043598973540402</c:v>
                </c:pt>
                <c:pt idx="5995">
                  <c:v>0.91386644643048798</c:v>
                </c:pt>
                <c:pt idx="5996">
                  <c:v>0.84306369354174804</c:v>
                </c:pt>
                <c:pt idx="5997">
                  <c:v>0.77747087816837801</c:v>
                </c:pt>
                <c:pt idx="5998">
                  <c:v>0.71611127237883299</c:v>
                </c:pt>
                <c:pt idx="5999">
                  <c:v>0.64023694351663196</c:v>
                </c:pt>
                <c:pt idx="6000">
                  <c:v>0.59739783232659305</c:v>
                </c:pt>
                <c:pt idx="6001">
                  <c:v>0.65236934355947096</c:v>
                </c:pt>
                <c:pt idx="6002">
                  <c:v>0.62063854087231896</c:v>
                </c:pt>
                <c:pt idx="6003">
                  <c:v>0.61166144236849895</c:v>
                </c:pt>
                <c:pt idx="6004">
                  <c:v>0.60480094865658895</c:v>
                </c:pt>
                <c:pt idx="6005">
                  <c:v>0.52552775596646095</c:v>
                </c:pt>
                <c:pt idx="6006">
                  <c:v>0.42153761994430999</c:v>
                </c:pt>
                <c:pt idx="6007">
                  <c:v>0.27030427446378302</c:v>
                </c:pt>
                <c:pt idx="6008">
                  <c:v>0.22209783948141201</c:v>
                </c:pt>
                <c:pt idx="6009">
                  <c:v>0.165218860419308</c:v>
                </c:pt>
                <c:pt idx="6010">
                  <c:v>5.8905994693161101E-2</c:v>
                </c:pt>
                <c:pt idx="6011">
                  <c:v>-1.65675513822021E-2</c:v>
                </c:pt>
                <c:pt idx="6012">
                  <c:v>-8.56912830818298E-2</c:v>
                </c:pt>
                <c:pt idx="6013">
                  <c:v>-0.16798673699307901</c:v>
                </c:pt>
                <c:pt idx="6014">
                  <c:v>-0.248091513698663</c:v>
                </c:pt>
                <c:pt idx="6015">
                  <c:v>-0.30559595186413702</c:v>
                </c:pt>
                <c:pt idx="6016">
                  <c:v>-0.38365819619156299</c:v>
                </c:pt>
                <c:pt idx="6017">
                  <c:v>-0.42988000612336102</c:v>
                </c:pt>
                <c:pt idx="6018">
                  <c:v>-0.41835487586668801</c:v>
                </c:pt>
                <c:pt idx="6019">
                  <c:v>-0.406829745610016</c:v>
                </c:pt>
                <c:pt idx="6020">
                  <c:v>-0.39530461535334399</c:v>
                </c:pt>
                <c:pt idx="6021">
                  <c:v>-0.41839744334999901</c:v>
                </c:pt>
                <c:pt idx="6022">
                  <c:v>-0.44149027134665397</c:v>
                </c:pt>
                <c:pt idx="6023">
                  <c:v>-0.46458309934330799</c:v>
                </c:pt>
                <c:pt idx="6024">
                  <c:v>-0.48767592733996301</c:v>
                </c:pt>
                <c:pt idx="6025">
                  <c:v>-0.44424017649214598</c:v>
                </c:pt>
                <c:pt idx="6026">
                  <c:v>-0.400804425644328</c:v>
                </c:pt>
                <c:pt idx="6027">
                  <c:v>-0.35736867479651002</c:v>
                </c:pt>
                <c:pt idx="6028">
                  <c:v>-0.31393292394869299</c:v>
                </c:pt>
                <c:pt idx="6029">
                  <c:v>-0.28184459731730099</c:v>
                </c:pt>
                <c:pt idx="6030">
                  <c:v>-0.249756270685909</c:v>
                </c:pt>
                <c:pt idx="6031">
                  <c:v>-0.217667944054517</c:v>
                </c:pt>
                <c:pt idx="6032">
                  <c:v>-0.18557961742312601</c:v>
                </c:pt>
                <c:pt idx="6033">
                  <c:v>-0.29588915064499599</c:v>
                </c:pt>
                <c:pt idx="6034">
                  <c:v>-0.144297531048448</c:v>
                </c:pt>
                <c:pt idx="6035">
                  <c:v>-0.28960552109117199</c:v>
                </c:pt>
                <c:pt idx="6036">
                  <c:v>-0.34005150933265998</c:v>
                </c:pt>
                <c:pt idx="6037">
                  <c:v>-0.34554011940340801</c:v>
                </c:pt>
                <c:pt idx="6038">
                  <c:v>-0.309759751507034</c:v>
                </c:pt>
                <c:pt idx="6039">
                  <c:v>-0.25750142138931198</c:v>
                </c:pt>
                <c:pt idx="6040">
                  <c:v>-0.15566105978004</c:v>
                </c:pt>
                <c:pt idx="6041">
                  <c:v>-0.17115893889498199</c:v>
                </c:pt>
                <c:pt idx="6042">
                  <c:v>-0.12067089671078</c:v>
                </c:pt>
                <c:pt idx="6043">
                  <c:v>-8.87774215398376E-2</c:v>
                </c:pt>
                <c:pt idx="6044">
                  <c:v>-8.5680733641519902E-2</c:v>
                </c:pt>
                <c:pt idx="6045">
                  <c:v>2.5842505203596499E-2</c:v>
                </c:pt>
                <c:pt idx="6046">
                  <c:v>0.17863472201583599</c:v>
                </c:pt>
                <c:pt idx="6047">
                  <c:v>0.24888898289382899</c:v>
                </c:pt>
                <c:pt idx="6048">
                  <c:v>0.35217324062827299</c:v>
                </c:pt>
                <c:pt idx="6049">
                  <c:v>0.35749363477019203</c:v>
                </c:pt>
                <c:pt idx="6050">
                  <c:v>0.230842186313824</c:v>
                </c:pt>
                <c:pt idx="6051">
                  <c:v>0.40524426385108298</c:v>
                </c:pt>
                <c:pt idx="6052">
                  <c:v>0.49922499024601003</c:v>
                </c:pt>
                <c:pt idx="6053">
                  <c:v>0.57160768533009498</c:v>
                </c:pt>
                <c:pt idx="6054">
                  <c:v>0.69146102792953201</c:v>
                </c:pt>
                <c:pt idx="6055">
                  <c:v>0.77624184129436102</c:v>
                </c:pt>
                <c:pt idx="6056">
                  <c:v>0.840390776083487</c:v>
                </c:pt>
                <c:pt idx="6057">
                  <c:v>0.90890458980028199</c:v>
                </c:pt>
                <c:pt idx="6058">
                  <c:v>0.91143248221793305</c:v>
                </c:pt>
                <c:pt idx="6059">
                  <c:v>1.09348215797869</c:v>
                </c:pt>
                <c:pt idx="6060">
                  <c:v>1.1372049559497099</c:v>
                </c:pt>
                <c:pt idx="6061">
                  <c:v>1.3227070305969999</c:v>
                </c:pt>
                <c:pt idx="6062">
                  <c:v>1.47714234753653</c:v>
                </c:pt>
                <c:pt idx="6063">
                  <c:v>1.5966585008846801</c:v>
                </c:pt>
                <c:pt idx="6064">
                  <c:v>1.5362668463738101</c:v>
                </c:pt>
                <c:pt idx="6065">
                  <c:v>1.3710466478127401</c:v>
                </c:pt>
                <c:pt idx="6066">
                  <c:v>1.4719024016872999</c:v>
                </c:pt>
                <c:pt idx="6067">
                  <c:v>1.52952071763033</c:v>
                </c:pt>
                <c:pt idx="6068">
                  <c:v>0.36141560468328898</c:v>
                </c:pt>
                <c:pt idx="6069">
                  <c:v>1.61641324674292</c:v>
                </c:pt>
                <c:pt idx="6070">
                  <c:v>1.4394009800434699</c:v>
                </c:pt>
                <c:pt idx="6071">
                  <c:v>1.49755127371512</c:v>
                </c:pt>
                <c:pt idx="6072">
                  <c:v>1.2791907358190899</c:v>
                </c:pt>
                <c:pt idx="6073">
                  <c:v>1.50809113131173</c:v>
                </c:pt>
                <c:pt idx="6074">
                  <c:v>1.5204235334465499</c:v>
                </c:pt>
                <c:pt idx="6075">
                  <c:v>1.1793842792345699</c:v>
                </c:pt>
                <c:pt idx="6076">
                  <c:v>1.3096443394561099</c:v>
                </c:pt>
                <c:pt idx="6077">
                  <c:v>1.3988787017972799</c:v>
                </c:pt>
                <c:pt idx="6078">
                  <c:v>1.38712346520274</c:v>
                </c:pt>
                <c:pt idx="6079">
                  <c:v>1.2987147693043199</c:v>
                </c:pt>
                <c:pt idx="6080">
                  <c:v>1.1731910117931299</c:v>
                </c:pt>
                <c:pt idx="6081">
                  <c:v>1.0549480125858399</c:v>
                </c:pt>
                <c:pt idx="6082">
                  <c:v>0.95075963952153897</c:v>
                </c:pt>
                <c:pt idx="6083">
                  <c:v>1.2624676835511599</c:v>
                </c:pt>
                <c:pt idx="6084">
                  <c:v>1.00181274179782</c:v>
                </c:pt>
                <c:pt idx="6085">
                  <c:v>0.88096798132226695</c:v>
                </c:pt>
                <c:pt idx="6086">
                  <c:v>0.90260923580652497</c:v>
                </c:pt>
                <c:pt idx="6087">
                  <c:v>1.1326535749516899</c:v>
                </c:pt>
                <c:pt idx="6088">
                  <c:v>0.78927181044277195</c:v>
                </c:pt>
                <c:pt idx="6089">
                  <c:v>0.96195100935724798</c:v>
                </c:pt>
                <c:pt idx="6090">
                  <c:v>0.790090923026741</c:v>
                </c:pt>
                <c:pt idx="6091">
                  <c:v>0.99587941202713304</c:v>
                </c:pt>
                <c:pt idx="6092">
                  <c:v>0.78267105450003605</c:v>
                </c:pt>
                <c:pt idx="6093">
                  <c:v>1.06096110356768</c:v>
                </c:pt>
                <c:pt idx="6094">
                  <c:v>0.72205344170629104</c:v>
                </c:pt>
                <c:pt idx="6095">
                  <c:v>0.70426389850167304</c:v>
                </c:pt>
                <c:pt idx="6096">
                  <c:v>0.55947203628551201</c:v>
                </c:pt>
                <c:pt idx="6097">
                  <c:v>0.54760479741670198</c:v>
                </c:pt>
                <c:pt idx="6098">
                  <c:v>0.56642873337116795</c:v>
                </c:pt>
                <c:pt idx="6099">
                  <c:v>0.42870680740711797</c:v>
                </c:pt>
                <c:pt idx="6100">
                  <c:v>0.37980380015500997</c:v>
                </c:pt>
                <c:pt idx="6101">
                  <c:v>0.25321662545686502</c:v>
                </c:pt>
                <c:pt idx="6102">
                  <c:v>0.12662945075872201</c:v>
                </c:pt>
                <c:pt idx="6103">
                  <c:v>1.8710915487592399E-2</c:v>
                </c:pt>
                <c:pt idx="6104">
                  <c:v>-9.3435608551649105E-2</c:v>
                </c:pt>
                <c:pt idx="6105">
                  <c:v>-0.16145443427421699</c:v>
                </c:pt>
                <c:pt idx="6106">
                  <c:v>-0.227356655204873</c:v>
                </c:pt>
                <c:pt idx="6107">
                  <c:v>-0.251989898168405</c:v>
                </c:pt>
                <c:pt idx="6108">
                  <c:v>-0.30761060561022902</c:v>
                </c:pt>
                <c:pt idx="6109">
                  <c:v>-0.35041468890015298</c:v>
                </c:pt>
                <c:pt idx="6110">
                  <c:v>-0.41589318314394003</c:v>
                </c:pt>
                <c:pt idx="6111">
                  <c:v>-0.462777110374468</c:v>
                </c:pt>
                <c:pt idx="6112">
                  <c:v>-0.50346458887248002</c:v>
                </c:pt>
                <c:pt idx="6113">
                  <c:v>-0.48834498906461898</c:v>
                </c:pt>
                <c:pt idx="6114">
                  <c:v>-0.473225389256759</c:v>
                </c:pt>
                <c:pt idx="6115">
                  <c:v>-0.45810578944889802</c:v>
                </c:pt>
                <c:pt idx="6116">
                  <c:v>-0.44298618964103698</c:v>
                </c:pt>
                <c:pt idx="6117">
                  <c:v>-0.46395065019424098</c:v>
                </c:pt>
                <c:pt idx="6118">
                  <c:v>-0.48491511074744498</c:v>
                </c:pt>
                <c:pt idx="6119">
                  <c:v>-0.50587957130064898</c:v>
                </c:pt>
                <c:pt idx="6120">
                  <c:v>-0.52684403185385298</c:v>
                </c:pt>
                <c:pt idx="6121">
                  <c:v>-0.49206148741497802</c:v>
                </c:pt>
                <c:pt idx="6122">
                  <c:v>-0.457278942976102</c:v>
                </c:pt>
                <c:pt idx="6123">
                  <c:v>-0.42249639853722698</c:v>
                </c:pt>
                <c:pt idx="6124">
                  <c:v>-0.38771385409835202</c:v>
                </c:pt>
                <c:pt idx="6125">
                  <c:v>-0.357232713744843</c:v>
                </c:pt>
                <c:pt idx="6126">
                  <c:v>-0.32675157339133398</c:v>
                </c:pt>
                <c:pt idx="6127">
                  <c:v>-0.29627043303782602</c:v>
                </c:pt>
                <c:pt idx="6128">
                  <c:v>-0.24114642176605</c:v>
                </c:pt>
                <c:pt idx="6129">
                  <c:v>-0.272718943108755</c:v>
                </c:pt>
                <c:pt idx="6130">
                  <c:v>-0.26309655889809203</c:v>
                </c:pt>
                <c:pt idx="6131">
                  <c:v>-0.25967062341994401</c:v>
                </c:pt>
                <c:pt idx="6132">
                  <c:v>-0.25828722031995399</c:v>
                </c:pt>
                <c:pt idx="6133">
                  <c:v>-0.25752293630050699</c:v>
                </c:pt>
                <c:pt idx="6134">
                  <c:v>-0.24436053400031499</c:v>
                </c:pt>
                <c:pt idx="6135">
                  <c:v>-0.18781254894108801</c:v>
                </c:pt>
                <c:pt idx="6136">
                  <c:v>-0.24063606794004</c:v>
                </c:pt>
                <c:pt idx="6137">
                  <c:v>-0.190331313111398</c:v>
                </c:pt>
                <c:pt idx="6138">
                  <c:v>-0.170865877933539</c:v>
                </c:pt>
                <c:pt idx="6139">
                  <c:v>-0.15140044275567899</c:v>
                </c:pt>
                <c:pt idx="6140">
                  <c:v>-0.105175531867641</c:v>
                </c:pt>
                <c:pt idx="6141">
                  <c:v>-2.7651324062830902E-2</c:v>
                </c:pt>
                <c:pt idx="6142">
                  <c:v>0.20240253250221801</c:v>
                </c:pt>
                <c:pt idx="6143">
                  <c:v>0.17274591345451501</c:v>
                </c:pt>
                <c:pt idx="6144">
                  <c:v>0.24407367252681</c:v>
                </c:pt>
                <c:pt idx="6145">
                  <c:v>0.25784955891537098</c:v>
                </c:pt>
                <c:pt idx="6146">
                  <c:v>0.26739745653582098</c:v>
                </c:pt>
                <c:pt idx="6147">
                  <c:v>0.45025502631972197</c:v>
                </c:pt>
                <c:pt idx="6148">
                  <c:v>0.52994276159367304</c:v>
                </c:pt>
                <c:pt idx="6149">
                  <c:v>0.47143620248781198</c:v>
                </c:pt>
                <c:pt idx="6150">
                  <c:v>0.41292964338195098</c:v>
                </c:pt>
                <c:pt idx="6151">
                  <c:v>0.35442308427608898</c:v>
                </c:pt>
                <c:pt idx="6152">
                  <c:v>0.29591652517022798</c:v>
                </c:pt>
                <c:pt idx="6153">
                  <c:v>0.300933119922625</c:v>
                </c:pt>
                <c:pt idx="6154">
                  <c:v>0.30594971467502102</c:v>
                </c:pt>
                <c:pt idx="6155">
                  <c:v>0.31096630942741799</c:v>
                </c:pt>
                <c:pt idx="6156">
                  <c:v>0.31598290417981401</c:v>
                </c:pt>
                <c:pt idx="6157">
                  <c:v>0.32768486736337099</c:v>
                </c:pt>
                <c:pt idx="6158">
                  <c:v>0.33938683054692698</c:v>
                </c:pt>
                <c:pt idx="6159">
                  <c:v>0.35108879373048402</c:v>
                </c:pt>
                <c:pt idx="6160">
                  <c:v>0.362790756914041</c:v>
                </c:pt>
                <c:pt idx="6161">
                  <c:v>0.334361908678106</c:v>
                </c:pt>
                <c:pt idx="6162">
                  <c:v>0.305933060442171</c:v>
                </c:pt>
                <c:pt idx="6163">
                  <c:v>0.277504212206236</c:v>
                </c:pt>
                <c:pt idx="6164">
                  <c:v>1.19542982168214</c:v>
                </c:pt>
                <c:pt idx="6165">
                  <c:v>1.2296744800389801</c:v>
                </c:pt>
                <c:pt idx="6166">
                  <c:v>1.3011875656517999</c:v>
                </c:pt>
                <c:pt idx="6167">
                  <c:v>1.30670950914976</c:v>
                </c:pt>
                <c:pt idx="6168">
                  <c:v>1.2853778319420399</c:v>
                </c:pt>
                <c:pt idx="6169">
                  <c:v>1.2178546465078199</c:v>
                </c:pt>
                <c:pt idx="6170">
                  <c:v>1.3794457175396899</c:v>
                </c:pt>
                <c:pt idx="6171">
                  <c:v>1.4464022248273001</c:v>
                </c:pt>
                <c:pt idx="6172">
                  <c:v>1.26526388411965</c:v>
                </c:pt>
                <c:pt idx="6173">
                  <c:v>1.36834435748141</c:v>
                </c:pt>
                <c:pt idx="6174">
                  <c:v>1.421684212892679</c:v>
                </c:pt>
                <c:pt idx="6175">
                  <c:v>1.36594885390079</c:v>
                </c:pt>
                <c:pt idx="6176">
                  <c:v>1.4070439566745401</c:v>
                </c:pt>
                <c:pt idx="6177">
                  <c:v>1.5868408955654201</c:v>
                </c:pt>
                <c:pt idx="6178">
                  <c:v>1.3703842504807</c:v>
                </c:pt>
                <c:pt idx="6179">
                  <c:v>1.4779143052947401</c:v>
                </c:pt>
                <c:pt idx="6180">
                  <c:v>1.39374667572619</c:v>
                </c:pt>
                <c:pt idx="6181">
                  <c:v>1.4084452050215901</c:v>
                </c:pt>
                <c:pt idx="6182">
                  <c:v>1.3160317590625199</c:v>
                </c:pt>
                <c:pt idx="6183">
                  <c:v>1.3701153204058201</c:v>
                </c:pt>
                <c:pt idx="6184">
                  <c:v>1.23423699845825</c:v>
                </c:pt>
                <c:pt idx="6185">
                  <c:v>1.1540493479166201</c:v>
                </c:pt>
                <c:pt idx="6186">
                  <c:v>1.2534679947632801</c:v>
                </c:pt>
                <c:pt idx="6187">
                  <c:v>1.11341157842556</c:v>
                </c:pt>
                <c:pt idx="6188">
                  <c:v>0.90994072169455098</c:v>
                </c:pt>
                <c:pt idx="6189">
                  <c:v>0.86222581564056</c:v>
                </c:pt>
                <c:pt idx="6190">
                  <c:v>0.82282918392671101</c:v>
                </c:pt>
                <c:pt idx="6191">
                  <c:v>0.83914218083888703</c:v>
                </c:pt>
                <c:pt idx="6192">
                  <c:v>0.562307797503099</c:v>
                </c:pt>
                <c:pt idx="6193">
                  <c:v>0.50215777402190798</c:v>
                </c:pt>
                <c:pt idx="6194">
                  <c:v>0.52039701093631896</c:v>
                </c:pt>
                <c:pt idx="6195">
                  <c:v>0.57756118296896597</c:v>
                </c:pt>
                <c:pt idx="6196">
                  <c:v>0.57720585287011605</c:v>
                </c:pt>
                <c:pt idx="6197">
                  <c:v>0.51082023566252799</c:v>
                </c:pt>
                <c:pt idx="6198">
                  <c:v>0.378522769569549</c:v>
                </c:pt>
                <c:pt idx="6199">
                  <c:v>0.26481987048983002</c:v>
                </c:pt>
                <c:pt idx="6200">
                  <c:v>0.128442560456248</c:v>
                </c:pt>
                <c:pt idx="6201">
                  <c:v>2.7074292120272399E-2</c:v>
                </c:pt>
                <c:pt idx="6202">
                  <c:v>-6.5980922691276395E-2</c:v>
                </c:pt>
                <c:pt idx="6203">
                  <c:v>-0.14671209163583401</c:v>
                </c:pt>
                <c:pt idx="6204">
                  <c:v>-0.22948579295855001</c:v>
                </c:pt>
                <c:pt idx="6205">
                  <c:v>-0.28854642024418897</c:v>
                </c:pt>
                <c:pt idx="6206">
                  <c:v>-0.37239806327560299</c:v>
                </c:pt>
                <c:pt idx="6207">
                  <c:v>-0.39850276611854701</c:v>
                </c:pt>
                <c:pt idx="6208">
                  <c:v>-0.436926294012767</c:v>
                </c:pt>
                <c:pt idx="6209">
                  <c:v>-0.41141161735832399</c:v>
                </c:pt>
                <c:pt idx="6210">
                  <c:v>-0.38385440832572298</c:v>
                </c:pt>
                <c:pt idx="6211">
                  <c:v>-0.35629719929312098</c:v>
                </c:pt>
                <c:pt idx="6212">
                  <c:v>-0.32873999026051998</c:v>
                </c:pt>
                <c:pt idx="6213">
                  <c:v>-0.34574355799644801</c:v>
                </c:pt>
                <c:pt idx="6214">
                  <c:v>-0.121250413432688</c:v>
                </c:pt>
                <c:pt idx="6215">
                  <c:v>-6.83311399406627E-2</c:v>
                </c:pt>
                <c:pt idx="6216">
                  <c:v>4.6790500564919103E-2</c:v>
                </c:pt>
                <c:pt idx="6217">
                  <c:v>-2.4965883161061301E-2</c:v>
                </c:pt>
                <c:pt idx="6218">
                  <c:v>-0.100881404057111</c:v>
                </c:pt>
                <c:pt idx="6219">
                  <c:v>-0.197502875942621</c:v>
                </c:pt>
                <c:pt idx="6220">
                  <c:v>-0.24030910675275499</c:v>
                </c:pt>
                <c:pt idx="6221">
                  <c:v>-0.269499214454897</c:v>
                </c:pt>
                <c:pt idx="6222">
                  <c:v>-0.31100814720831599</c:v>
                </c:pt>
                <c:pt idx="6223">
                  <c:v>-0.35040047516982298</c:v>
                </c:pt>
                <c:pt idx="6224">
                  <c:v>-0.37120345693378298</c:v>
                </c:pt>
                <c:pt idx="6225">
                  <c:v>-0.22025000874391101</c:v>
                </c:pt>
                <c:pt idx="6226">
                  <c:v>-0.20535346790864401</c:v>
                </c:pt>
                <c:pt idx="6227">
                  <c:v>-0.30587673503656299</c:v>
                </c:pt>
                <c:pt idx="6228">
                  <c:v>-0.25590766496668799</c:v>
                </c:pt>
                <c:pt idx="6229">
                  <c:v>-0.26247143743561102</c:v>
                </c:pt>
                <c:pt idx="6230">
                  <c:v>-0.26487607273446401</c:v>
                </c:pt>
                <c:pt idx="6231">
                  <c:v>-0.28383274266841801</c:v>
                </c:pt>
                <c:pt idx="6232">
                  <c:v>-0.31307092609120402</c:v>
                </c:pt>
                <c:pt idx="6233">
                  <c:v>-0.319985467255398</c:v>
                </c:pt>
                <c:pt idx="6234">
                  <c:v>-0.30218306508756998</c:v>
                </c:pt>
                <c:pt idx="6235">
                  <c:v>-0.31325674342183402</c:v>
                </c:pt>
                <c:pt idx="6236">
                  <c:v>-0.25425943570063803</c:v>
                </c:pt>
                <c:pt idx="6237">
                  <c:v>-0.17366668333149099</c:v>
                </c:pt>
                <c:pt idx="6238">
                  <c:v>-0.15701731988333001</c:v>
                </c:pt>
                <c:pt idx="6239">
                  <c:v>-0.13001237053258299</c:v>
                </c:pt>
                <c:pt idx="6240">
                  <c:v>-7.4210633909211399E-2</c:v>
                </c:pt>
                <c:pt idx="6241">
                  <c:v>-0.148165803983934</c:v>
                </c:pt>
                <c:pt idx="6242">
                  <c:v>-0.19120758199412</c:v>
                </c:pt>
                <c:pt idx="6243">
                  <c:v>-0.25072732222565303</c:v>
                </c:pt>
                <c:pt idx="6244">
                  <c:v>-7.5174236946989006E-2</c:v>
                </c:pt>
                <c:pt idx="6245">
                  <c:v>-7.19091462738254E-2</c:v>
                </c:pt>
                <c:pt idx="6246">
                  <c:v>-5.8584759353091098E-2</c:v>
                </c:pt>
                <c:pt idx="6247">
                  <c:v>-4.0884238836739403E-2</c:v>
                </c:pt>
                <c:pt idx="6248">
                  <c:v>-3.5502543371663899E-2</c:v>
                </c:pt>
                <c:pt idx="6249">
                  <c:v>8.4249521795351501E-2</c:v>
                </c:pt>
                <c:pt idx="6250">
                  <c:v>0.220553621597467</c:v>
                </c:pt>
                <c:pt idx="6251">
                  <c:v>0.35277787745897998</c:v>
                </c:pt>
                <c:pt idx="6252">
                  <c:v>0.47260401503974803</c:v>
                </c:pt>
                <c:pt idx="6253">
                  <c:v>0.47719164325314301</c:v>
                </c:pt>
                <c:pt idx="6254">
                  <c:v>0.46537538165894399</c:v>
                </c:pt>
                <c:pt idx="6255">
                  <c:v>0.32566712140706</c:v>
                </c:pt>
                <c:pt idx="6256">
                  <c:v>0.24363172892989299</c:v>
                </c:pt>
                <c:pt idx="6257">
                  <c:v>0.251389454713081</c:v>
                </c:pt>
                <c:pt idx="6258">
                  <c:v>0.259147180496268</c:v>
                </c:pt>
                <c:pt idx="6259">
                  <c:v>0.26690490627945601</c:v>
                </c:pt>
                <c:pt idx="6260">
                  <c:v>0.27466263206264302</c:v>
                </c:pt>
                <c:pt idx="6261">
                  <c:v>0.25770933450696498</c:v>
                </c:pt>
                <c:pt idx="6262">
                  <c:v>0.240756036951287</c:v>
                </c:pt>
                <c:pt idx="6263">
                  <c:v>0.22380273939560899</c:v>
                </c:pt>
                <c:pt idx="6264">
                  <c:v>0.20684944183993101</c:v>
                </c:pt>
                <c:pt idx="6265">
                  <c:v>0.19011495645436499</c:v>
                </c:pt>
                <c:pt idx="6266">
                  <c:v>0.173380471068799</c:v>
                </c:pt>
                <c:pt idx="6267">
                  <c:v>0.15664598568323301</c:v>
                </c:pt>
                <c:pt idx="6268">
                  <c:v>0.83994345681596605</c:v>
                </c:pt>
                <c:pt idx="6269">
                  <c:v>0.67309267105020898</c:v>
                </c:pt>
                <c:pt idx="6270">
                  <c:v>0.69370636008321696</c:v>
                </c:pt>
                <c:pt idx="6271">
                  <c:v>0.47303511242637297</c:v>
                </c:pt>
                <c:pt idx="6272">
                  <c:v>0.41541290670700098</c:v>
                </c:pt>
                <c:pt idx="6273">
                  <c:v>0.32110571136397698</c:v>
                </c:pt>
                <c:pt idx="6274">
                  <c:v>0.26391357763371898</c:v>
                </c:pt>
                <c:pt idx="6275">
                  <c:v>0.20483227716852301</c:v>
                </c:pt>
                <c:pt idx="6276">
                  <c:v>8.3691533701566498E-2</c:v>
                </c:pt>
                <c:pt idx="6277">
                  <c:v>0.206885567614813</c:v>
                </c:pt>
                <c:pt idx="6278">
                  <c:v>0.17958204351455401</c:v>
                </c:pt>
                <c:pt idx="6279">
                  <c:v>0.29257385716843598</c:v>
                </c:pt>
                <c:pt idx="6280">
                  <c:v>0.30457607188660701</c:v>
                </c:pt>
                <c:pt idx="6281">
                  <c:v>0.21364565463833199</c:v>
                </c:pt>
                <c:pt idx="6282">
                  <c:v>0.16806928011349501</c:v>
                </c:pt>
                <c:pt idx="6283">
                  <c:v>0.31645533959066802</c:v>
                </c:pt>
                <c:pt idx="6284">
                  <c:v>0.27911794617650598</c:v>
                </c:pt>
                <c:pt idx="6285">
                  <c:v>0.28545160188030599</c:v>
                </c:pt>
                <c:pt idx="6286">
                  <c:v>0.29178525758410601</c:v>
                </c:pt>
                <c:pt idx="6287">
                  <c:v>0.29811891328790602</c:v>
                </c:pt>
                <c:pt idx="6288">
                  <c:v>-0.14537837637085399</c:v>
                </c:pt>
                <c:pt idx="6289">
                  <c:v>-0.273027632496461</c:v>
                </c:pt>
                <c:pt idx="6290">
                  <c:v>-0.32425608819086998</c:v>
                </c:pt>
                <c:pt idx="6291">
                  <c:v>-0.34048608706442701</c:v>
                </c:pt>
                <c:pt idx="6292">
                  <c:v>-0.43079284352029301</c:v>
                </c:pt>
                <c:pt idx="6293">
                  <c:v>-0.451859490155744</c:v>
                </c:pt>
                <c:pt idx="6294">
                  <c:v>-0.464761228094275</c:v>
                </c:pt>
                <c:pt idx="6295">
                  <c:v>-0.48582787472972599</c:v>
                </c:pt>
                <c:pt idx="6296">
                  <c:v>-0.51731895886580204</c:v>
                </c:pt>
                <c:pt idx="6297">
                  <c:v>-0.52052465342334497</c:v>
                </c:pt>
                <c:pt idx="6298">
                  <c:v>-0.52373034798088802</c:v>
                </c:pt>
                <c:pt idx="6299">
                  <c:v>-0.50433570399832195</c:v>
                </c:pt>
                <c:pt idx="6300">
                  <c:v>-0.515780379666538</c:v>
                </c:pt>
                <c:pt idx="6301">
                  <c:v>-0.54979672407257496</c:v>
                </c:pt>
                <c:pt idx="6302">
                  <c:v>-0.58585560085677102</c:v>
                </c:pt>
                <c:pt idx="6303">
                  <c:v>-0.61987194526280798</c:v>
                </c:pt>
                <c:pt idx="6304">
                  <c:v>-0.65593082204700404</c:v>
                </c:pt>
                <c:pt idx="6305">
                  <c:v>-0.572958102856997</c:v>
                </c:pt>
                <c:pt idx="6306">
                  <c:v>-0.50646334588833697</c:v>
                </c:pt>
                <c:pt idx="6307">
                  <c:v>-0.43172960780900299</c:v>
                </c:pt>
                <c:pt idx="6308">
                  <c:v>-0.332278926397648</c:v>
                </c:pt>
                <c:pt idx="6309">
                  <c:v>-0.332278926397648</c:v>
                </c:pt>
                <c:pt idx="6310">
                  <c:v>-0.332278926397648</c:v>
                </c:pt>
                <c:pt idx="6311">
                  <c:v>-0.332278926397648</c:v>
                </c:pt>
                <c:pt idx="6312">
                  <c:v>-0.67650387408871904</c:v>
                </c:pt>
                <c:pt idx="6313">
                  <c:v>-0.66327185812456901</c:v>
                </c:pt>
                <c:pt idx="6314">
                  <c:v>-0.65003984216041999</c:v>
                </c:pt>
                <c:pt idx="6315">
                  <c:v>-0.63680782619627097</c:v>
                </c:pt>
                <c:pt idx="6316">
                  <c:v>-0.62357581023212105</c:v>
                </c:pt>
                <c:pt idx="6317">
                  <c:v>-0.62134508017168899</c:v>
                </c:pt>
                <c:pt idx="6318">
                  <c:v>-0.61911435011125604</c:v>
                </c:pt>
                <c:pt idx="6319">
                  <c:v>-0.61688362005082298</c:v>
                </c:pt>
                <c:pt idx="6320">
                  <c:v>-0.61465288999039003</c:v>
                </c:pt>
                <c:pt idx="6321">
                  <c:v>-0.61137601066899305</c:v>
                </c:pt>
                <c:pt idx="6322">
                  <c:v>-0.60809913134759597</c:v>
                </c:pt>
                <c:pt idx="6323">
                  <c:v>-0.60482225202619899</c:v>
                </c:pt>
                <c:pt idx="6324">
                  <c:v>-0.58091349412909699</c:v>
                </c:pt>
                <c:pt idx="6325">
                  <c:v>-0.587520669066113</c:v>
                </c:pt>
                <c:pt idx="6326">
                  <c:v>-0.57764988178178001</c:v>
                </c:pt>
                <c:pt idx="6327">
                  <c:v>-0.53270656526284099</c:v>
                </c:pt>
                <c:pt idx="6328">
                  <c:v>-0.56403068353187702</c:v>
                </c:pt>
                <c:pt idx="6329">
                  <c:v>-0.56263027904849905</c:v>
                </c:pt>
                <c:pt idx="6330">
                  <c:v>-0.47264361472586802</c:v>
                </c:pt>
                <c:pt idx="6331">
                  <c:v>-0.50215660230702697</c:v>
                </c:pt>
                <c:pt idx="6332">
                  <c:v>-0.48427823560230099</c:v>
                </c:pt>
                <c:pt idx="6333">
                  <c:v>-0.41897209078122699</c:v>
                </c:pt>
                <c:pt idx="6334">
                  <c:v>-0.35366594596015299</c:v>
                </c:pt>
                <c:pt idx="6335">
                  <c:v>-0.27188183891773099</c:v>
                </c:pt>
                <c:pt idx="6336">
                  <c:v>-0.15714180743261399</c:v>
                </c:pt>
                <c:pt idx="6337">
                  <c:v>-0.211477455958715</c:v>
                </c:pt>
                <c:pt idx="6338">
                  <c:v>-0.24933514226346801</c:v>
                </c:pt>
                <c:pt idx="6339">
                  <c:v>-0.27071486634687503</c:v>
                </c:pt>
                <c:pt idx="6340">
                  <c:v>-0.30033357154095502</c:v>
                </c:pt>
                <c:pt idx="6341">
                  <c:v>-0.37760410078490803</c:v>
                </c:pt>
                <c:pt idx="6342">
                  <c:v>-0.42206685041367498</c:v>
                </c:pt>
                <c:pt idx="6343">
                  <c:v>-0.48074281264436902</c:v>
                </c:pt>
                <c:pt idx="6344">
                  <c:v>-0.52702587741003304</c:v>
                </c:pt>
                <c:pt idx="6345">
                  <c:v>-0.43416923791827899</c:v>
                </c:pt>
                <c:pt idx="6346">
                  <c:v>-0.41962256559265798</c:v>
                </c:pt>
                <c:pt idx="6347">
                  <c:v>-0.351482869432926</c:v>
                </c:pt>
                <c:pt idx="6348">
                  <c:v>-0.246307404889894</c:v>
                </c:pt>
                <c:pt idx="6349">
                  <c:v>-0.104999443798746</c:v>
                </c:pt>
                <c:pt idx="6350">
                  <c:v>-0.110178048378541</c:v>
                </c:pt>
                <c:pt idx="6351">
                  <c:v>-0.121479029277098</c:v>
                </c:pt>
                <c:pt idx="6352">
                  <c:v>-7.5033069987184203E-2</c:v>
                </c:pt>
                <c:pt idx="6353">
                  <c:v>-3.8199039947550299E-2</c:v>
                </c:pt>
                <c:pt idx="6354">
                  <c:v>-3.3334698723203699E-3</c:v>
                </c:pt>
                <c:pt idx="6355">
                  <c:v>5.6174971121176802E-2</c:v>
                </c:pt>
                <c:pt idx="6356">
                  <c:v>0.130118841957864</c:v>
                </c:pt>
                <c:pt idx="6357">
                  <c:v>9.9168143670478104E-2</c:v>
                </c:pt>
                <c:pt idx="6358">
                  <c:v>0.105327286180146</c:v>
                </c:pt>
                <c:pt idx="6359">
                  <c:v>0.16311621337523499</c:v>
                </c:pt>
                <c:pt idx="6360">
                  <c:v>4.9696410751645798E-2</c:v>
                </c:pt>
                <c:pt idx="6361">
                  <c:v>0.125313048229375</c:v>
                </c:pt>
                <c:pt idx="6362">
                  <c:v>8.7399044478855201E-2</c:v>
                </c:pt>
                <c:pt idx="6363">
                  <c:v>0.113655867706296</c:v>
                </c:pt>
                <c:pt idx="6364">
                  <c:v>0.29237870891164802</c:v>
                </c:pt>
                <c:pt idx="6365">
                  <c:v>0.23942835139941701</c:v>
                </c:pt>
                <c:pt idx="6366">
                  <c:v>0.17619648039835401</c:v>
                </c:pt>
                <c:pt idx="6367">
                  <c:v>0.12513528962105999</c:v>
                </c:pt>
                <c:pt idx="6368">
                  <c:v>0.12154474635911799</c:v>
                </c:pt>
                <c:pt idx="6369">
                  <c:v>0.144420671119909</c:v>
                </c:pt>
                <c:pt idx="6370">
                  <c:v>6.1698204476681603E-2</c:v>
                </c:pt>
                <c:pt idx="6371">
                  <c:v>0.21647712023771901</c:v>
                </c:pt>
                <c:pt idx="6372">
                  <c:v>0.119467368578811</c:v>
                </c:pt>
                <c:pt idx="6373">
                  <c:v>7.8506324870108293E-2</c:v>
                </c:pt>
                <c:pt idx="6374">
                  <c:v>0.19235012117249101</c:v>
                </c:pt>
                <c:pt idx="6375">
                  <c:v>0.155622287047612</c:v>
                </c:pt>
                <c:pt idx="6376">
                  <c:v>0.19516188771071</c:v>
                </c:pt>
                <c:pt idx="6377">
                  <c:v>0.218720273468271</c:v>
                </c:pt>
                <c:pt idx="6378">
                  <c:v>0.29390844391125398</c:v>
                </c:pt>
                <c:pt idx="6379">
                  <c:v>0.26341892972075198</c:v>
                </c:pt>
                <c:pt idx="6380">
                  <c:v>0.33021475340984002</c:v>
                </c:pt>
                <c:pt idx="6381">
                  <c:v>0.18277955449977901</c:v>
                </c:pt>
                <c:pt idx="6382">
                  <c:v>0.30988672719299498</c:v>
                </c:pt>
                <c:pt idx="6383">
                  <c:v>0.412276956554191</c:v>
                </c:pt>
                <c:pt idx="6384">
                  <c:v>0.229843300823277</c:v>
                </c:pt>
                <c:pt idx="6385">
                  <c:v>0.195172234372224</c:v>
                </c:pt>
                <c:pt idx="6386">
                  <c:v>0.22233317286595899</c:v>
                </c:pt>
                <c:pt idx="6387">
                  <c:v>0.21661225933075301</c:v>
                </c:pt>
                <c:pt idx="6388">
                  <c:v>0.22117285928437799</c:v>
                </c:pt>
                <c:pt idx="6389">
                  <c:v>0.17862253360691999</c:v>
                </c:pt>
                <c:pt idx="6390">
                  <c:v>0.14627964900453999</c:v>
                </c:pt>
                <c:pt idx="6391">
                  <c:v>3.1467660065955597E-2</c:v>
                </c:pt>
                <c:pt idx="6392">
                  <c:v>-5.8548092311140901E-2</c:v>
                </c:pt>
                <c:pt idx="6393">
                  <c:v>-7.9222864429111195E-2</c:v>
                </c:pt>
                <c:pt idx="6394">
                  <c:v>-0.114258993976516</c:v>
                </c:pt>
                <c:pt idx="6395">
                  <c:v>-0.16373055336711101</c:v>
                </c:pt>
                <c:pt idx="6396">
                  <c:v>-0.207005664025189</c:v>
                </c:pt>
                <c:pt idx="6397">
                  <c:v>-0.29484465151079298</c:v>
                </c:pt>
                <c:pt idx="6398">
                  <c:v>-0.35373348608055</c:v>
                </c:pt>
                <c:pt idx="6399">
                  <c:v>-0.406425871917793</c:v>
                </c:pt>
                <c:pt idx="6400">
                  <c:v>-0.44271436794744101</c:v>
                </c:pt>
                <c:pt idx="6401">
                  <c:v>-0.47795796952505398</c:v>
                </c:pt>
                <c:pt idx="6402">
                  <c:v>-0.46792682160869298</c:v>
                </c:pt>
                <c:pt idx="6403">
                  <c:v>-0.46401805001109497</c:v>
                </c:pt>
                <c:pt idx="6404">
                  <c:v>-0.46010927841349702</c:v>
                </c:pt>
                <c:pt idx="6405">
                  <c:v>-0.45799270313791401</c:v>
                </c:pt>
                <c:pt idx="6406">
                  <c:v>-0.455876127862332</c:v>
                </c:pt>
                <c:pt idx="6407">
                  <c:v>-0.45375955258674899</c:v>
                </c:pt>
                <c:pt idx="6408">
                  <c:v>-0.45164297731116598</c:v>
                </c:pt>
                <c:pt idx="6409">
                  <c:v>-0.42173317425176099</c:v>
                </c:pt>
                <c:pt idx="6410">
                  <c:v>-0.391823371192356</c:v>
                </c:pt>
                <c:pt idx="6411">
                  <c:v>-0.36191356813295</c:v>
                </c:pt>
                <c:pt idx="6412">
                  <c:v>-0.33200376507354501</c:v>
                </c:pt>
                <c:pt idx="6413">
                  <c:v>-0.33629799829836798</c:v>
                </c:pt>
                <c:pt idx="6414">
                  <c:v>-0.34059223152319101</c:v>
                </c:pt>
                <c:pt idx="6415">
                  <c:v>-0.34488646474801399</c:v>
                </c:pt>
                <c:pt idx="6416">
                  <c:v>-0.34918069797283702</c:v>
                </c:pt>
                <c:pt idx="6417">
                  <c:v>-0.32967564146081102</c:v>
                </c:pt>
                <c:pt idx="6418">
                  <c:v>-0.41931987176570201</c:v>
                </c:pt>
                <c:pt idx="6419">
                  <c:v>-0.35038092858963399</c:v>
                </c:pt>
                <c:pt idx="6420">
                  <c:v>-0.33087587207760799</c:v>
                </c:pt>
                <c:pt idx="6421">
                  <c:v>-0.24657373302619801</c:v>
                </c:pt>
                <c:pt idx="6422">
                  <c:v>-0.18079208857429499</c:v>
                </c:pt>
                <c:pt idx="6423">
                  <c:v>-0.115010444122391</c:v>
                </c:pt>
                <c:pt idx="6424">
                  <c:v>-6.5706761891834803E-2</c:v>
                </c:pt>
                <c:pt idx="6425">
                  <c:v>-7.2071827415732703E-2</c:v>
                </c:pt>
                <c:pt idx="6426">
                  <c:v>-7.0197911828956794E-2</c:v>
                </c:pt>
                <c:pt idx="6427">
                  <c:v>-4.3607052910159802E-2</c:v>
                </c:pt>
                <c:pt idx="6428">
                  <c:v>-4.9972118434058299E-2</c:v>
                </c:pt>
                <c:pt idx="6429">
                  <c:v>8.1845020204763197E-2</c:v>
                </c:pt>
                <c:pt idx="6430">
                  <c:v>0.19718419662223699</c:v>
                </c:pt>
                <c:pt idx="6431">
                  <c:v>0.31252337303971101</c:v>
                </c:pt>
                <c:pt idx="6432">
                  <c:v>0.444340511678533</c:v>
                </c:pt>
                <c:pt idx="6433">
                  <c:v>0.48134051840769598</c:v>
                </c:pt>
                <c:pt idx="6434">
                  <c:v>0.49362358180483701</c:v>
                </c:pt>
                <c:pt idx="6435">
                  <c:v>0.53062358853400005</c:v>
                </c:pt>
                <c:pt idx="6436">
                  <c:v>0.617057481927206</c:v>
                </c:pt>
                <c:pt idx="6437">
                  <c:v>0.66887729487581604</c:v>
                </c:pt>
                <c:pt idx="6438">
                  <c:v>0.84851503406835904</c:v>
                </c:pt>
                <c:pt idx="6439">
                  <c:v>0.84682111641232405</c:v>
                </c:pt>
                <c:pt idx="6440">
                  <c:v>0.84505312634253504</c:v>
                </c:pt>
                <c:pt idx="6441">
                  <c:v>0.92492095496940996</c:v>
                </c:pt>
                <c:pt idx="6442">
                  <c:v>1.2688910552518</c:v>
                </c:pt>
                <c:pt idx="6443">
                  <c:v>0.89612298805646395</c:v>
                </c:pt>
                <c:pt idx="6444">
                  <c:v>1.0812876976166299</c:v>
                </c:pt>
                <c:pt idx="6445">
                  <c:v>1.02620934773728</c:v>
                </c:pt>
                <c:pt idx="6446">
                  <c:v>1.0166384062246001</c:v>
                </c:pt>
                <c:pt idx="6447">
                  <c:v>1.04826237026528</c:v>
                </c:pt>
                <c:pt idx="6448">
                  <c:v>1.01586365215551</c:v>
                </c:pt>
                <c:pt idx="6449">
                  <c:v>0.97063212752578598</c:v>
                </c:pt>
                <c:pt idx="6450">
                  <c:v>0.92328399810415296</c:v>
                </c:pt>
                <c:pt idx="6451">
                  <c:v>0.87404670194758105</c:v>
                </c:pt>
                <c:pt idx="6452">
                  <c:v>0.91770816844355396</c:v>
                </c:pt>
                <c:pt idx="6453">
                  <c:v>0.90214564195329505</c:v>
                </c:pt>
                <c:pt idx="6454">
                  <c:v>0.767226387571039</c:v>
                </c:pt>
                <c:pt idx="6455">
                  <c:v>0.68786339617158798</c:v>
                </c:pt>
                <c:pt idx="6456">
                  <c:v>0.873444387738602</c:v>
                </c:pt>
                <c:pt idx="6457">
                  <c:v>1.0026058401336799</c:v>
                </c:pt>
                <c:pt idx="6458">
                  <c:v>0.927295906980941</c:v>
                </c:pt>
                <c:pt idx="6459">
                  <c:v>1.05222414979219</c:v>
                </c:pt>
                <c:pt idx="6460">
                  <c:v>1.4433817106822999</c:v>
                </c:pt>
                <c:pt idx="6461">
                  <c:v>0.90522475893571896</c:v>
                </c:pt>
                <c:pt idx="6462">
                  <c:v>0.768449501210407</c:v>
                </c:pt>
                <c:pt idx="6463">
                  <c:v>0.67921896341419996</c:v>
                </c:pt>
                <c:pt idx="6464">
                  <c:v>0.67865919950242803</c:v>
                </c:pt>
                <c:pt idx="6465">
                  <c:v>0.76995623628698595</c:v>
                </c:pt>
                <c:pt idx="6466">
                  <c:v>0.83268392385589496</c:v>
                </c:pt>
                <c:pt idx="6467">
                  <c:v>0.86638216527949197</c:v>
                </c:pt>
                <c:pt idx="6468">
                  <c:v>0.87906250361147398</c:v>
                </c:pt>
                <c:pt idx="6469">
                  <c:v>0.67840028739185498</c:v>
                </c:pt>
                <c:pt idx="6470">
                  <c:v>0.48643192839686</c:v>
                </c:pt>
                <c:pt idx="6471">
                  <c:v>0.55018915675062097</c:v>
                </c:pt>
                <c:pt idx="6472">
                  <c:v>0.58915014854289405</c:v>
                </c:pt>
                <c:pt idx="6473">
                  <c:v>0.51473533035679497</c:v>
                </c:pt>
                <c:pt idx="6474">
                  <c:v>0.39700900182541599</c:v>
                </c:pt>
                <c:pt idx="6475">
                  <c:v>0.258873011959593</c:v>
                </c:pt>
                <c:pt idx="6476">
                  <c:v>0.112498040983097</c:v>
                </c:pt>
                <c:pt idx="6477">
                  <c:v>2.3020347643678201E-2</c:v>
                </c:pt>
                <c:pt idx="6478">
                  <c:v>5.4623930975447897E-2</c:v>
                </c:pt>
                <c:pt idx="6479">
                  <c:v>-2.3149210566674999E-2</c:v>
                </c:pt>
                <c:pt idx="6480">
                  <c:v>7.4366221650484496E-2</c:v>
                </c:pt>
                <c:pt idx="6481">
                  <c:v>9.7604566639772003E-2</c:v>
                </c:pt>
                <c:pt idx="6482">
                  <c:v>0.143448470984881</c:v>
                </c:pt>
                <c:pt idx="6483">
                  <c:v>0.166612743560415</c:v>
                </c:pt>
                <c:pt idx="6484">
                  <c:v>0.177606335912178</c:v>
                </c:pt>
                <c:pt idx="6485">
                  <c:v>8.4266740481385993E-2</c:v>
                </c:pt>
                <c:pt idx="6486">
                  <c:v>-2.9556588697602498E-2</c:v>
                </c:pt>
                <c:pt idx="6487">
                  <c:v>-0.153735503779177</c:v>
                </c:pt>
                <c:pt idx="6488">
                  <c:v>-0.209811892769696</c:v>
                </c:pt>
                <c:pt idx="6489">
                  <c:v>-0.25846875623115501</c:v>
                </c:pt>
                <c:pt idx="6490">
                  <c:v>-0.30092917096009703</c:v>
                </c:pt>
                <c:pt idx="6491">
                  <c:v>-0.31655603756510697</c:v>
                </c:pt>
                <c:pt idx="6492">
                  <c:v>-0.31577901436252298</c:v>
                </c:pt>
                <c:pt idx="6493">
                  <c:v>-0.30712033386126503</c:v>
                </c:pt>
                <c:pt idx="6494">
                  <c:v>-0.31698214795951302</c:v>
                </c:pt>
                <c:pt idx="6495">
                  <c:v>-0.30832346745825501</c:v>
                </c:pt>
                <c:pt idx="6496">
                  <c:v>-0.30170731933515499</c:v>
                </c:pt>
                <c:pt idx="6497">
                  <c:v>-0.31211633647680997</c:v>
                </c:pt>
                <c:pt idx="6498">
                  <c:v>-0.32252535361846502</c:v>
                </c:pt>
                <c:pt idx="6499">
                  <c:v>-0.332934370760121</c:v>
                </c:pt>
                <c:pt idx="6500">
                  <c:v>-0.34334338790177599</c:v>
                </c:pt>
                <c:pt idx="6501">
                  <c:v>-0.35391208475881503</c:v>
                </c:pt>
                <c:pt idx="6502">
                  <c:v>-0.36448078161585501</c:v>
                </c:pt>
                <c:pt idx="6503">
                  <c:v>-0.37504947847289499</c:v>
                </c:pt>
                <c:pt idx="6504">
                  <c:v>-0.38561817532993498</c:v>
                </c:pt>
                <c:pt idx="6505">
                  <c:v>-0.35914216694567203</c:v>
                </c:pt>
                <c:pt idx="6506">
                  <c:v>-0.33266615856141002</c:v>
                </c:pt>
                <c:pt idx="6507">
                  <c:v>-0.30619015017714701</c:v>
                </c:pt>
                <c:pt idx="6508">
                  <c:v>-0.27971414179288501</c:v>
                </c:pt>
                <c:pt idx="6509">
                  <c:v>-0.287627361934712</c:v>
                </c:pt>
                <c:pt idx="6510">
                  <c:v>-0.29554058207653999</c:v>
                </c:pt>
                <c:pt idx="6511">
                  <c:v>-0.47436102156631799</c:v>
                </c:pt>
                <c:pt idx="6512">
                  <c:v>-0.48227424170814598</c:v>
                </c:pt>
                <c:pt idx="6513">
                  <c:v>-0.50064385885484797</c:v>
                </c:pt>
                <c:pt idx="6514">
                  <c:v>-0.49225400029137101</c:v>
                </c:pt>
                <c:pt idx="6515">
                  <c:v>-0.38084245204545097</c:v>
                </c:pt>
                <c:pt idx="6516">
                  <c:v>-0.43421052601300603</c:v>
                </c:pt>
                <c:pt idx="6517">
                  <c:v>-0.47454844100472499</c:v>
                </c:pt>
                <c:pt idx="6518">
                  <c:v>-0.47573398282123502</c:v>
                </c:pt>
                <c:pt idx="6519">
                  <c:v>-0.45839903003823801</c:v>
                </c:pt>
                <c:pt idx="6520">
                  <c:v>-0.50077947740811601</c:v>
                </c:pt>
                <c:pt idx="6521">
                  <c:v>-0.460507986108871</c:v>
                </c:pt>
                <c:pt idx="6522">
                  <c:v>-0.37904158925625703</c:v>
                </c:pt>
                <c:pt idx="6523">
                  <c:v>-0.32024960335750602</c:v>
                </c:pt>
                <c:pt idx="6524">
                  <c:v>-0.28821709316893501</c:v>
                </c:pt>
                <c:pt idx="6525">
                  <c:v>-0.15628516599765899</c:v>
                </c:pt>
                <c:pt idx="6526">
                  <c:v>-4.0831201047730498E-2</c:v>
                </c:pt>
                <c:pt idx="6527">
                  <c:v>5.8144801680850899E-2</c:v>
                </c:pt>
                <c:pt idx="6528">
                  <c:v>0.17359876663078</c:v>
                </c:pt>
                <c:pt idx="6529">
                  <c:v>0.163097473275646</c:v>
                </c:pt>
                <c:pt idx="6530">
                  <c:v>0.33377969194158102</c:v>
                </c:pt>
                <c:pt idx="6531">
                  <c:v>0.46334107746790199</c:v>
                </c:pt>
                <c:pt idx="6532">
                  <c:v>0.64875501563204196</c:v>
                </c:pt>
                <c:pt idx="6533">
                  <c:v>0.62815963529079299</c:v>
                </c:pt>
                <c:pt idx="6534">
                  <c:v>0.60756425494954303</c:v>
                </c:pt>
                <c:pt idx="6535">
                  <c:v>0.58696887460829394</c:v>
                </c:pt>
                <c:pt idx="6536">
                  <c:v>0.56637349426704497</c:v>
                </c:pt>
                <c:pt idx="6537">
                  <c:v>0.57264878402713104</c:v>
                </c:pt>
                <c:pt idx="6538">
                  <c:v>0.578924073787219</c:v>
                </c:pt>
                <c:pt idx="6539">
                  <c:v>0.58519936354730495</c:v>
                </c:pt>
                <c:pt idx="6540">
                  <c:v>0.59147465330739202</c:v>
                </c:pt>
                <c:pt idx="6541">
                  <c:v>0.60587579399036195</c:v>
                </c:pt>
                <c:pt idx="6542">
                  <c:v>0.620276934673332</c:v>
                </c:pt>
                <c:pt idx="6543">
                  <c:v>0.63467807535630205</c:v>
                </c:pt>
                <c:pt idx="6544">
                  <c:v>0.64907921603927099</c:v>
                </c:pt>
                <c:pt idx="6545">
                  <c:v>0.59906607066884299</c:v>
                </c:pt>
                <c:pt idx="6546">
                  <c:v>0.54905292529841399</c:v>
                </c:pt>
                <c:pt idx="6547">
                  <c:v>0.49903977992798598</c:v>
                </c:pt>
                <c:pt idx="6548">
                  <c:v>0.90125400123880695</c:v>
                </c:pt>
                <c:pt idx="6549">
                  <c:v>0.94504146911134301</c:v>
                </c:pt>
                <c:pt idx="6550">
                  <c:v>0.96614930521430298</c:v>
                </c:pt>
                <c:pt idx="6551">
                  <c:v>0.97093254473913604</c:v>
                </c:pt>
                <c:pt idx="6552">
                  <c:v>1.4961526957064999</c:v>
                </c:pt>
                <c:pt idx="6553">
                  <c:v>1.5786023197950201</c:v>
                </c:pt>
                <c:pt idx="6554">
                  <c:v>1.4609619127470601</c:v>
                </c:pt>
                <c:pt idx="6555">
                  <c:v>1.0477708619545301</c:v>
                </c:pt>
                <c:pt idx="6556">
                  <c:v>1.0043605781320999</c:v>
                </c:pt>
                <c:pt idx="6557">
                  <c:v>0.98986844045661404</c:v>
                </c:pt>
                <c:pt idx="6558">
                  <c:v>1.00417831086947</c:v>
                </c:pt>
                <c:pt idx="6559">
                  <c:v>0.948411974411143</c:v>
                </c:pt>
                <c:pt idx="6560">
                  <c:v>0.90504375623356503</c:v>
                </c:pt>
                <c:pt idx="6561">
                  <c:v>0.97400153896313602</c:v>
                </c:pt>
                <c:pt idx="6562">
                  <c:v>1.34424631724012</c:v>
                </c:pt>
                <c:pt idx="6563">
                  <c:v>1.32241672129334</c:v>
                </c:pt>
                <c:pt idx="6564">
                  <c:v>1.1850828033381999</c:v>
                </c:pt>
                <c:pt idx="6565">
                  <c:v>1.35612528184923</c:v>
                </c:pt>
                <c:pt idx="6566">
                  <c:v>1.33758668076957</c:v>
                </c:pt>
                <c:pt idx="6567">
                  <c:v>1.3334094371193601</c:v>
                </c:pt>
                <c:pt idx="6568">
                  <c:v>1.42009364455924</c:v>
                </c:pt>
                <c:pt idx="6569">
                  <c:v>1.49273257208943</c:v>
                </c:pt>
                <c:pt idx="6570">
                  <c:v>1.2105454800701001</c:v>
                </c:pt>
                <c:pt idx="6571">
                  <c:v>1.16783345123514</c:v>
                </c:pt>
                <c:pt idx="6572">
                  <c:v>1.07137503292286</c:v>
                </c:pt>
                <c:pt idx="6573">
                  <c:v>1.3024675119904301</c:v>
                </c:pt>
                <c:pt idx="6574">
                  <c:v>1.2914289329225801</c:v>
                </c:pt>
                <c:pt idx="6575">
                  <c:v>1.0824169275101501</c:v>
                </c:pt>
                <c:pt idx="6576">
                  <c:v>0.90228100259981703</c:v>
                </c:pt>
                <c:pt idx="6577">
                  <c:v>0.852981855788286</c:v>
                </c:pt>
                <c:pt idx="6578">
                  <c:v>0.82847894553824397</c:v>
                </c:pt>
                <c:pt idx="6579">
                  <c:v>0.80412940093142304</c:v>
                </c:pt>
                <c:pt idx="6580">
                  <c:v>0.76722837240063702</c:v>
                </c:pt>
                <c:pt idx="6581">
                  <c:v>0.68168300679641503</c:v>
                </c:pt>
                <c:pt idx="6582">
                  <c:v>0.53808396971728101</c:v>
                </c:pt>
                <c:pt idx="6583">
                  <c:v>0.35767660231182302</c:v>
                </c:pt>
                <c:pt idx="6584">
                  <c:v>0.17734330732011899</c:v>
                </c:pt>
                <c:pt idx="6585">
                  <c:v>1.6924262974561802E-2</c:v>
                </c:pt>
                <c:pt idx="6586">
                  <c:v>-9.8140738647555903E-2</c:v>
                </c:pt>
                <c:pt idx="6587">
                  <c:v>-0.20080762198892901</c:v>
                </c:pt>
                <c:pt idx="6588">
                  <c:v>-0.31171348644097602</c:v>
                </c:pt>
                <c:pt idx="6589">
                  <c:v>-0.37483812863857302</c:v>
                </c:pt>
                <c:pt idx="6590">
                  <c:v>-0.43388292689556601</c:v>
                </c:pt>
                <c:pt idx="6591">
                  <c:v>-0.49912417388507502</c:v>
                </c:pt>
                <c:pt idx="6592">
                  <c:v>-0.54992477021567998</c:v>
                </c:pt>
                <c:pt idx="6593">
                  <c:v>-0.56812308805829304</c:v>
                </c:pt>
                <c:pt idx="6594">
                  <c:v>-0.58632140590090598</c:v>
                </c:pt>
                <c:pt idx="6595">
                  <c:v>-0.60451972374351903</c:v>
                </c:pt>
                <c:pt idx="6596">
                  <c:v>-0.63062364747701705</c:v>
                </c:pt>
                <c:pt idx="6597">
                  <c:v>-0.63852925336790201</c:v>
                </c:pt>
                <c:pt idx="6598">
                  <c:v>-0.64643485925878696</c:v>
                </c:pt>
                <c:pt idx="6599">
                  <c:v>-0.65434046514967203</c:v>
                </c:pt>
                <c:pt idx="6600">
                  <c:v>-0.62547034747670305</c:v>
                </c:pt>
                <c:pt idx="6601">
                  <c:v>-0.59660022980373395</c:v>
                </c:pt>
                <c:pt idx="6602">
                  <c:v>-0.56773011213076496</c:v>
                </c:pt>
                <c:pt idx="6603">
                  <c:v>-0.53885999445779598</c:v>
                </c:pt>
                <c:pt idx="6604">
                  <c:v>-0.54050242513920799</c:v>
                </c:pt>
                <c:pt idx="6605">
                  <c:v>-0.54214485582062</c:v>
                </c:pt>
                <c:pt idx="6606">
                  <c:v>-0.54378728650203201</c:v>
                </c:pt>
                <c:pt idx="6607">
                  <c:v>-0.54542971718344402</c:v>
                </c:pt>
                <c:pt idx="6608">
                  <c:v>-0.72812090923923001</c:v>
                </c:pt>
                <c:pt idx="6609">
                  <c:v>-0.67792473217477101</c:v>
                </c:pt>
                <c:pt idx="6610">
                  <c:v>-0.69983685272821805</c:v>
                </c:pt>
                <c:pt idx="6611">
                  <c:v>-0.68055928854400904</c:v>
                </c:pt>
                <c:pt idx="6612">
                  <c:v>-0.66016414447674099</c:v>
                </c:pt>
                <c:pt idx="6613">
                  <c:v>-0.68103797837659596</c:v>
                </c:pt>
                <c:pt idx="6614">
                  <c:v>-0.71430470974148097</c:v>
                </c:pt>
                <c:pt idx="6615">
                  <c:v>-0.75377311065459596</c:v>
                </c:pt>
                <c:pt idx="6616">
                  <c:v>-0.71801550726074903</c:v>
                </c:pt>
                <c:pt idx="6617">
                  <c:v>-0.709017379577081</c:v>
                </c:pt>
                <c:pt idx="6618">
                  <c:v>-0.65678703477760003</c:v>
                </c:pt>
                <c:pt idx="6619">
                  <c:v>-0.6375073936051</c:v>
                </c:pt>
                <c:pt idx="6620">
                  <c:v>-0.58869864455349896</c:v>
                </c:pt>
                <c:pt idx="6621">
                  <c:v>-0.44714971930828601</c:v>
                </c:pt>
                <c:pt idx="6622">
                  <c:v>-0.367427578192148</c:v>
                </c:pt>
                <c:pt idx="6623">
                  <c:v>-0.26298849374398803</c:v>
                </c:pt>
                <c:pt idx="6624">
                  <c:v>-0.251076789258878</c:v>
                </c:pt>
                <c:pt idx="6625">
                  <c:v>-2.8893716640772098E-2</c:v>
                </c:pt>
                <c:pt idx="6626">
                  <c:v>0.30675114560754302</c:v>
                </c:pt>
                <c:pt idx="6627">
                  <c:v>0.48774975430370698</c:v>
                </c:pt>
                <c:pt idx="6628">
                  <c:v>-0.193012283302569</c:v>
                </c:pt>
                <c:pt idx="6629">
                  <c:v>-0.185743205842856</c:v>
                </c:pt>
                <c:pt idx="6630">
                  <c:v>-0.157694104979932</c:v>
                </c:pt>
                <c:pt idx="6631">
                  <c:v>-8.0279969051005706E-2</c:v>
                </c:pt>
                <c:pt idx="6632">
                  <c:v>6.9842327326881601E-2</c:v>
                </c:pt>
                <c:pt idx="6633">
                  <c:v>0.19962381396836601</c:v>
                </c:pt>
                <c:pt idx="6634">
                  <c:v>0.32707169939239</c:v>
                </c:pt>
                <c:pt idx="6635">
                  <c:v>0.38860251511531102</c:v>
                </c:pt>
                <c:pt idx="6636">
                  <c:v>0.49487335970652402</c:v>
                </c:pt>
                <c:pt idx="6637">
                  <c:v>0.58058117732007397</c:v>
                </c:pt>
                <c:pt idx="6638">
                  <c:v>0.67445390363054403</c:v>
                </c:pt>
                <c:pt idx="6639">
                  <c:v>0.77460237190299597</c:v>
                </c:pt>
                <c:pt idx="6640">
                  <c:v>0.75386159926118701</c:v>
                </c:pt>
                <c:pt idx="6641">
                  <c:v>0.71875946918994205</c:v>
                </c:pt>
                <c:pt idx="6642">
                  <c:v>0.67118514842419996</c:v>
                </c:pt>
                <c:pt idx="6643">
                  <c:v>0.63615709076670901</c:v>
                </c:pt>
                <c:pt idx="6644">
                  <c:v>0.662447174601554</c:v>
                </c:pt>
                <c:pt idx="6645">
                  <c:v>0.67619099532814697</c:v>
                </c:pt>
                <c:pt idx="6646">
                  <c:v>0.63014012267239805</c:v>
                </c:pt>
                <c:pt idx="6647">
                  <c:v>0.64388394339899102</c:v>
                </c:pt>
                <c:pt idx="6648">
                  <c:v>0.62215619701580704</c:v>
                </c:pt>
                <c:pt idx="6649">
                  <c:v>0.61653082996948705</c:v>
                </c:pt>
                <c:pt idx="6650">
                  <c:v>0.56396376393551995</c:v>
                </c:pt>
                <c:pt idx="6651">
                  <c:v>1.01536086793845</c:v>
                </c:pt>
                <c:pt idx="6652">
                  <c:v>1.0777967415480001</c:v>
                </c:pt>
                <c:pt idx="6653">
                  <c:v>1.2452279856201001</c:v>
                </c:pt>
                <c:pt idx="6654">
                  <c:v>1.21891901293146</c:v>
                </c:pt>
                <c:pt idx="6655">
                  <c:v>0.57745405101084302</c:v>
                </c:pt>
                <c:pt idx="6656">
                  <c:v>0.60275000357624497</c:v>
                </c:pt>
                <c:pt idx="6657">
                  <c:v>0.62388681897157605</c:v>
                </c:pt>
                <c:pt idx="6658">
                  <c:v>0.70905153733307302</c:v>
                </c:pt>
                <c:pt idx="6659">
                  <c:v>0.76534017519247899</c:v>
                </c:pt>
                <c:pt idx="6660">
                  <c:v>0.71883157039460199</c:v>
                </c:pt>
                <c:pt idx="6661">
                  <c:v>0.668317194069875</c:v>
                </c:pt>
                <c:pt idx="6662">
                  <c:v>0.731269828191071</c:v>
                </c:pt>
                <c:pt idx="6663">
                  <c:v>0.76942622575077801</c:v>
                </c:pt>
                <c:pt idx="6664">
                  <c:v>0.68637872022451496</c:v>
                </c:pt>
                <c:pt idx="6665">
                  <c:v>0.66720575202119703</c:v>
                </c:pt>
                <c:pt idx="6666">
                  <c:v>0.71410321916220398</c:v>
                </c:pt>
                <c:pt idx="6667">
                  <c:v>0.63301895278463205</c:v>
                </c:pt>
                <c:pt idx="6668">
                  <c:v>0.81792424890311299</c:v>
                </c:pt>
                <c:pt idx="6669">
                  <c:v>0.80819442779898998</c:v>
                </c:pt>
                <c:pt idx="6670">
                  <c:v>0.79634800190295496</c:v>
                </c:pt>
                <c:pt idx="6671">
                  <c:v>0.56565839139824103</c:v>
                </c:pt>
                <c:pt idx="6672">
                  <c:v>0.48214443838244597</c:v>
                </c:pt>
                <c:pt idx="6673">
                  <c:v>0.37013520856475501</c:v>
                </c:pt>
                <c:pt idx="6674">
                  <c:v>0.26205767786016099</c:v>
                </c:pt>
                <c:pt idx="6675">
                  <c:v>0.188978603976419</c:v>
                </c:pt>
                <c:pt idx="6676">
                  <c:v>1.8997325839411099E-2</c:v>
                </c:pt>
                <c:pt idx="6677">
                  <c:v>-0.14281904360067699</c:v>
                </c:pt>
                <c:pt idx="6678">
                  <c:v>-0.256937327468438</c:v>
                </c:pt>
                <c:pt idx="6679">
                  <c:v>-0.37536289333377798</c:v>
                </c:pt>
                <c:pt idx="6680">
                  <c:v>-0.51047776714826198</c:v>
                </c:pt>
                <c:pt idx="6681">
                  <c:v>-0.63538519988766895</c:v>
                </c:pt>
                <c:pt idx="6682">
                  <c:v>-0.71282198511172301</c:v>
                </c:pt>
                <c:pt idx="6683">
                  <c:v>-0.41693313944959598</c:v>
                </c:pt>
                <c:pt idx="6684">
                  <c:v>-0.52803060144918401</c:v>
                </c:pt>
                <c:pt idx="6685">
                  <c:v>-0.60201300183600603</c:v>
                </c:pt>
                <c:pt idx="6686">
                  <c:v>-0.68416031091974805</c:v>
                </c:pt>
                <c:pt idx="6687">
                  <c:v>-0.78074304984667897</c:v>
                </c:pt>
                <c:pt idx="6688">
                  <c:v>-0.75273995736865895</c:v>
                </c:pt>
                <c:pt idx="6689">
                  <c:v>-0.79480785094609996</c:v>
                </c:pt>
                <c:pt idx="6690">
                  <c:v>-0.82659423103470897</c:v>
                </c:pt>
                <c:pt idx="6691">
                  <c:v>-0.86661959223399099</c:v>
                </c:pt>
                <c:pt idx="6692">
                  <c:v>-0.87119192563114101</c:v>
                </c:pt>
                <c:pt idx="6693">
                  <c:v>-0.94583524508375005</c:v>
                </c:pt>
                <c:pt idx="6694">
                  <c:v>-1.0184360321582</c:v>
                </c:pt>
                <c:pt idx="6695">
                  <c:v>-0.96730395774503897</c:v>
                </c:pt>
                <c:pt idx="6696">
                  <c:v>-1.14872837051663</c:v>
                </c:pt>
                <c:pt idx="6697">
                  <c:v>-1.10529261966881</c:v>
                </c:pt>
                <c:pt idx="6698">
                  <c:v>-1.06185686882099</c:v>
                </c:pt>
                <c:pt idx="6699">
                  <c:v>-1.0184211179731699</c:v>
                </c:pt>
                <c:pt idx="6700">
                  <c:v>-0.98633279134178198</c:v>
                </c:pt>
                <c:pt idx="6701">
                  <c:v>-0.95424446471039004</c:v>
                </c:pt>
                <c:pt idx="6702">
                  <c:v>-0.92215613807899799</c:v>
                </c:pt>
                <c:pt idx="6703">
                  <c:v>-0.89006781144760705</c:v>
                </c:pt>
                <c:pt idx="6704">
                  <c:v>-1.1342435748184201</c:v>
                </c:pt>
                <c:pt idx="6705">
                  <c:v>-1.1558875549715699</c:v>
                </c:pt>
                <c:pt idx="6706">
                  <c:v>-1.1486606754383399</c:v>
                </c:pt>
                <c:pt idx="6707">
                  <c:v>-1.21558462590117</c:v>
                </c:pt>
                <c:pt idx="6708">
                  <c:v>-1.2539550880008601</c:v>
                </c:pt>
                <c:pt idx="6709">
                  <c:v>-1.2655660743903701</c:v>
                </c:pt>
                <c:pt idx="6710">
                  <c:v>-1.28541604189055</c:v>
                </c:pt>
                <c:pt idx="6711">
                  <c:v>-1.28054906605872</c:v>
                </c:pt>
                <c:pt idx="6712">
                  <c:v>-1.23006102387452</c:v>
                </c:pt>
                <c:pt idx="6713">
                  <c:v>-1.19605094391166</c:v>
                </c:pt>
                <c:pt idx="6714">
                  <c:v>-1.17027984505948</c:v>
                </c:pt>
                <c:pt idx="6715">
                  <c:v>-1.1095102893864499</c:v>
                </c:pt>
                <c:pt idx="6716">
                  <c:v>-1.03094297498402</c:v>
                </c:pt>
                <c:pt idx="6717">
                  <c:v>-0.94413667947092905</c:v>
                </c:pt>
                <c:pt idx="6718">
                  <c:v>-0.75022362951907495</c:v>
                </c:pt>
                <c:pt idx="6719">
                  <c:v>-0.56039564432353695</c:v>
                </c:pt>
                <c:pt idx="6720">
                  <c:v>-0.50148744716321803</c:v>
                </c:pt>
                <c:pt idx="6721">
                  <c:v>-0.61777286808557297</c:v>
                </c:pt>
                <c:pt idx="6722">
                  <c:v>-0.27669678078418802</c:v>
                </c:pt>
                <c:pt idx="6723">
                  <c:v>-7.4431430771200197E-3</c:v>
                </c:pt>
                <c:pt idx="6724">
                  <c:v>-1.54817991353676E-2</c:v>
                </c:pt>
                <c:pt idx="6725">
                  <c:v>-2.35204551936153E-2</c:v>
                </c:pt>
                <c:pt idx="6726">
                  <c:v>-3.1559111251862899E-2</c:v>
                </c:pt>
                <c:pt idx="6727">
                  <c:v>-3.9597767310110603E-2</c:v>
                </c:pt>
                <c:pt idx="6728">
                  <c:v>-3.7069874892459297E-2</c:v>
                </c:pt>
                <c:pt idx="6729">
                  <c:v>-3.4541982474808101E-2</c:v>
                </c:pt>
                <c:pt idx="6730">
                  <c:v>-3.2014090057156802E-2</c:v>
                </c:pt>
                <c:pt idx="6731">
                  <c:v>-2.94861976395056E-2</c:v>
                </c:pt>
                <c:pt idx="6732">
                  <c:v>-3.1898253089217801E-2</c:v>
                </c:pt>
                <c:pt idx="6733">
                  <c:v>-3.4310308538929898E-2</c:v>
                </c:pt>
                <c:pt idx="6734">
                  <c:v>-3.6722363988642003E-2</c:v>
                </c:pt>
                <c:pt idx="6735">
                  <c:v>-3.9134419438354301E-2</c:v>
                </c:pt>
                <c:pt idx="6736">
                  <c:v>-3.9342336913260299E-2</c:v>
                </c:pt>
                <c:pt idx="6737">
                  <c:v>-3.9550254388166402E-2</c:v>
                </c:pt>
                <c:pt idx="6738">
                  <c:v>-3.9758171863072497E-2</c:v>
                </c:pt>
                <c:pt idx="6739">
                  <c:v>0.88150239695148003</c:v>
                </c:pt>
                <c:pt idx="6740">
                  <c:v>0.84471139559242603</c:v>
                </c:pt>
                <c:pt idx="6741">
                  <c:v>0.78985477574781704</c:v>
                </c:pt>
                <c:pt idx="6742">
                  <c:v>0.83561217195443505</c:v>
                </c:pt>
                <c:pt idx="6743">
                  <c:v>0.89399512449877405</c:v>
                </c:pt>
                <c:pt idx="6744">
                  <c:v>0.94563848626772995</c:v>
                </c:pt>
                <c:pt idx="6745">
                  <c:v>0.92675076505156195</c:v>
                </c:pt>
                <c:pt idx="6746">
                  <c:v>0.87339875635795805</c:v>
                </c:pt>
                <c:pt idx="6747">
                  <c:v>0.86728995712273105</c:v>
                </c:pt>
                <c:pt idx="6748">
                  <c:v>0.87201268274954102</c:v>
                </c:pt>
                <c:pt idx="6749">
                  <c:v>1.4922722013085199</c:v>
                </c:pt>
                <c:pt idx="6750">
                  <c:v>0.91668924969670296</c:v>
                </c:pt>
                <c:pt idx="6751">
                  <c:v>0.99360478698659904</c:v>
                </c:pt>
                <c:pt idx="6752">
                  <c:v>1.10024805547728</c:v>
                </c:pt>
                <c:pt idx="6753">
                  <c:v>1.1591139451661701</c:v>
                </c:pt>
                <c:pt idx="6754">
                  <c:v>0.98099695934706799</c:v>
                </c:pt>
                <c:pt idx="6755">
                  <c:v>0.87491941954783203</c:v>
                </c:pt>
                <c:pt idx="6756">
                  <c:v>1.0122976549131499</c:v>
                </c:pt>
                <c:pt idx="6757">
                  <c:v>1.13916693873265</c:v>
                </c:pt>
                <c:pt idx="6758">
                  <c:v>1.17540220951903</c:v>
                </c:pt>
                <c:pt idx="6759">
                  <c:v>1.1017161444566801</c:v>
                </c:pt>
                <c:pt idx="6760">
                  <c:v>0.91367960637555201</c:v>
                </c:pt>
                <c:pt idx="6761">
                  <c:v>0.93382393571407696</c:v>
                </c:pt>
                <c:pt idx="6762">
                  <c:v>0.88170138097576101</c:v>
                </c:pt>
                <c:pt idx="6763">
                  <c:v>0.71011751171851001</c:v>
                </c:pt>
                <c:pt idx="6764">
                  <c:v>0.62557521899864299</c:v>
                </c:pt>
                <c:pt idx="6765">
                  <c:v>0.57738638049114699</c:v>
                </c:pt>
                <c:pt idx="6766">
                  <c:v>0.47567859056329298</c:v>
                </c:pt>
                <c:pt idx="6767">
                  <c:v>0.36588518516798502</c:v>
                </c:pt>
                <c:pt idx="6768">
                  <c:v>0.43051803995984</c:v>
                </c:pt>
                <c:pt idx="6769">
                  <c:v>0.51767716087805005</c:v>
                </c:pt>
                <c:pt idx="6770">
                  <c:v>0.54708412079207602</c:v>
                </c:pt>
                <c:pt idx="6771">
                  <c:v>0.54338179062018599</c:v>
                </c:pt>
                <c:pt idx="6772">
                  <c:v>0.34452773184520202</c:v>
                </c:pt>
                <c:pt idx="6773">
                  <c:v>0.20138330169624299</c:v>
                </c:pt>
                <c:pt idx="6774">
                  <c:v>4.5920046496007901E-2</c:v>
                </c:pt>
                <c:pt idx="6775">
                  <c:v>-9.5102558045324997E-2</c:v>
                </c:pt>
                <c:pt idx="6776">
                  <c:v>-0.21263456366140299</c:v>
                </c:pt>
                <c:pt idx="6777">
                  <c:v>-0.307412865094149</c:v>
                </c:pt>
                <c:pt idx="6778">
                  <c:v>-0.375357618402964</c:v>
                </c:pt>
                <c:pt idx="6779">
                  <c:v>-0.44949882044429301</c:v>
                </c:pt>
                <c:pt idx="6780">
                  <c:v>-6.3119499394502801E-2</c:v>
                </c:pt>
                <c:pt idx="6781">
                  <c:v>-0.15951660651854099</c:v>
                </c:pt>
                <c:pt idx="6782">
                  <c:v>-0.25168050405875397</c:v>
                </c:pt>
                <c:pt idx="6783">
                  <c:v>-0.41202622091948998</c:v>
                </c:pt>
                <c:pt idx="6784">
                  <c:v>-0.454727633713854</c:v>
                </c:pt>
                <c:pt idx="6785">
                  <c:v>-0.43960803390599301</c:v>
                </c:pt>
                <c:pt idx="6786">
                  <c:v>-0.467799944443413</c:v>
                </c:pt>
                <c:pt idx="6787">
                  <c:v>-0.45268034463555201</c:v>
                </c:pt>
                <c:pt idx="6788">
                  <c:v>-0.57485140055001505</c:v>
                </c:pt>
                <c:pt idx="6789">
                  <c:v>-0.59581586110321905</c:v>
                </c:pt>
                <c:pt idx="6790">
                  <c:v>-0.61678032165642305</c:v>
                </c:pt>
                <c:pt idx="6791">
                  <c:v>-0.63774478220962705</c:v>
                </c:pt>
                <c:pt idx="6792">
                  <c:v>-0.60296223777075197</c:v>
                </c:pt>
                <c:pt idx="6793">
                  <c:v>-0.56817969333187601</c:v>
                </c:pt>
                <c:pt idx="6794">
                  <c:v>-0.53339714889300105</c:v>
                </c:pt>
                <c:pt idx="6795">
                  <c:v>-0.49861460445412498</c:v>
                </c:pt>
                <c:pt idx="6796">
                  <c:v>-0.71137119830773399</c:v>
                </c:pt>
                <c:pt idx="6797">
                  <c:v>-0.711803450018762</c:v>
                </c:pt>
                <c:pt idx="6798">
                  <c:v>-0.78238076019900504</c:v>
                </c:pt>
                <c:pt idx="6799">
                  <c:v>-0.82400791746340196</c:v>
                </c:pt>
                <c:pt idx="6800">
                  <c:v>-0.85149537404979003</c:v>
                </c:pt>
                <c:pt idx="6801">
                  <c:v>-0.86870653796305997</c:v>
                </c:pt>
                <c:pt idx="6802">
                  <c:v>-0.867323134863071</c:v>
                </c:pt>
                <c:pt idx="6803">
                  <c:v>-0.88861414271694406</c:v>
                </c:pt>
                <c:pt idx="6804">
                  <c:v>-0.87340920803859401</c:v>
                </c:pt>
                <c:pt idx="6805">
                  <c:v>-0.90968069240244498</c:v>
                </c:pt>
                <c:pt idx="6806">
                  <c:v>-0.89447575772409404</c:v>
                </c:pt>
                <c:pt idx="6807">
                  <c:v>-0.763782163484517</c:v>
                </c:pt>
                <c:pt idx="6808">
                  <c:v>-0.83297706055966503</c:v>
                </c:pt>
                <c:pt idx="6809">
                  <c:v>-0.81970807411432101</c:v>
                </c:pt>
                <c:pt idx="6810">
                  <c:v>-0.80024263893646197</c:v>
                </c:pt>
                <c:pt idx="6811">
                  <c:v>-0.78697365249111795</c:v>
                </c:pt>
                <c:pt idx="6812">
                  <c:v>-0.67649352024361298</c:v>
                </c:pt>
                <c:pt idx="6813">
                  <c:v>-0.45883778195930902</c:v>
                </c:pt>
                <c:pt idx="6814">
                  <c:v>-0.38751002288701403</c:v>
                </c:pt>
                <c:pt idx="6815">
                  <c:v>-0.33266022603606699</c:v>
                </c:pt>
                <c:pt idx="6816">
                  <c:v>-0.30860282615867402</c:v>
                </c:pt>
                <c:pt idx="6817">
                  <c:v>-0.22271864215220699</c:v>
                </c:pt>
                <c:pt idx="6818">
                  <c:v>-2.8253039850081301E-3</c:v>
                </c:pt>
                <c:pt idx="6819">
                  <c:v>7.8979036080855505E-2</c:v>
                </c:pt>
                <c:pt idx="6820">
                  <c:v>9.46233069710576E-2</c:v>
                </c:pt>
                <c:pt idx="6821">
                  <c:v>0.15984960935281101</c:v>
                </c:pt>
                <c:pt idx="6822">
                  <c:v>0.25380384740914802</c:v>
                </c:pt>
                <c:pt idx="6823">
                  <c:v>0.44079977212982402</c:v>
                </c:pt>
                <c:pt idx="6824">
                  <c:v>0.83395823131178703</c:v>
                </c:pt>
                <c:pt idx="6825">
                  <c:v>1.1339268590019</c:v>
                </c:pt>
                <c:pt idx="6826">
                  <c:v>1.2356998431061901</c:v>
                </c:pt>
                <c:pt idx="6827">
                  <c:v>0.30097594860211602</c:v>
                </c:pt>
                <c:pt idx="6828">
                  <c:v>0.49643290471260398</c:v>
                </c:pt>
                <c:pt idx="6829">
                  <c:v>0.68532305002180705</c:v>
                </c:pt>
                <c:pt idx="6830">
                  <c:v>0.74668633792638195</c:v>
                </c:pt>
                <c:pt idx="6831">
                  <c:v>0.84720721982187996</c:v>
                </c:pt>
                <c:pt idx="6832">
                  <c:v>0.96928115041516605</c:v>
                </c:pt>
                <c:pt idx="6833">
                  <c:v>1.0195430730455599</c:v>
                </c:pt>
                <c:pt idx="6834">
                  <c:v>1.1108517564018201</c:v>
                </c:pt>
                <c:pt idx="6835">
                  <c:v>1.18379331080179</c:v>
                </c:pt>
                <c:pt idx="6836">
                  <c:v>1.2160747300099299</c:v>
                </c:pt>
                <c:pt idx="6837">
                  <c:v>1.2525893588018999</c:v>
                </c:pt>
                <c:pt idx="6838">
                  <c:v>1.2767851625426001</c:v>
                </c:pt>
                <c:pt idx="6839">
                  <c:v>1.3173848560908801</c:v>
                </c:pt>
                <c:pt idx="6840">
                  <c:v>1.30973043645276</c:v>
                </c:pt>
                <c:pt idx="6841">
                  <c:v>1.2298091327378</c:v>
                </c:pt>
                <c:pt idx="6842">
                  <c:v>1.16236001971734</c:v>
                </c:pt>
                <c:pt idx="6843">
                  <c:v>1.16710371835996</c:v>
                </c:pt>
                <c:pt idx="6844">
                  <c:v>1.1689671547290299</c:v>
                </c:pt>
                <c:pt idx="6845">
                  <c:v>1.2099881850890299</c:v>
                </c:pt>
                <c:pt idx="6846">
                  <c:v>1.9199011525269101</c:v>
                </c:pt>
                <c:pt idx="6847">
                  <c:v>1.4843108785513099</c:v>
                </c:pt>
                <c:pt idx="6848">
                  <c:v>1.4659810254543899</c:v>
                </c:pt>
                <c:pt idx="6849">
                  <c:v>1.66861096175807</c:v>
                </c:pt>
                <c:pt idx="6850">
                  <c:v>1.5365866601582501</c:v>
                </c:pt>
                <c:pt idx="6851">
                  <c:v>1.7040647739978501</c:v>
                </c:pt>
                <c:pt idx="6852">
                  <c:v>1.7933001578052301</c:v>
                </c:pt>
                <c:pt idx="6853">
                  <c:v>1.5896948926510801</c:v>
                </c:pt>
                <c:pt idx="6854">
                  <c:v>1.62730049177304</c:v>
                </c:pt>
                <c:pt idx="6855">
                  <c:v>1.7989309075028701</c:v>
                </c:pt>
                <c:pt idx="6856">
                  <c:v>1.7413435955013501</c:v>
                </c:pt>
                <c:pt idx="6857">
                  <c:v>1.1738823234350999</c:v>
                </c:pt>
                <c:pt idx="6858">
                  <c:v>1.03163000907599</c:v>
                </c:pt>
                <c:pt idx="6859">
                  <c:v>0.94124013827499697</c:v>
                </c:pt>
                <c:pt idx="6860">
                  <c:v>0.85625680496501999</c:v>
                </c:pt>
                <c:pt idx="6861">
                  <c:v>0.71798717910737198</c:v>
                </c:pt>
                <c:pt idx="6862">
                  <c:v>0.78812585872634999</c:v>
                </c:pt>
                <c:pt idx="6863">
                  <c:v>0.605851966721068</c:v>
                </c:pt>
                <c:pt idx="6864">
                  <c:v>0.50843351598388997</c:v>
                </c:pt>
                <c:pt idx="6865">
                  <c:v>0.51412126897433597</c:v>
                </c:pt>
                <c:pt idx="6866">
                  <c:v>0.41473957908846698</c:v>
                </c:pt>
                <c:pt idx="6867">
                  <c:v>0.379385792168765</c:v>
                </c:pt>
                <c:pt idx="6868">
                  <c:v>0.26968866461589502</c:v>
                </c:pt>
                <c:pt idx="6869">
                  <c:v>0.13134289461790899</c:v>
                </c:pt>
                <c:pt idx="6870">
                  <c:v>3.6086417723942402E-2</c:v>
                </c:pt>
                <c:pt idx="6871">
                  <c:v>-6.5292435488786202E-2</c:v>
                </c:pt>
                <c:pt idx="6872">
                  <c:v>-0.15018274160341499</c:v>
                </c:pt>
                <c:pt idx="6873">
                  <c:v>-0.249434405147479</c:v>
                </c:pt>
                <c:pt idx="6874">
                  <c:v>6.8104438183141505E-2</c:v>
                </c:pt>
                <c:pt idx="6875">
                  <c:v>-6.3562096151471596E-3</c:v>
                </c:pt>
                <c:pt idx="6876">
                  <c:v>-8.60539362922043E-2</c:v>
                </c:pt>
                <c:pt idx="6877">
                  <c:v>-0.153353544688517</c:v>
                </c:pt>
                <c:pt idx="6878">
                  <c:v>-0.127907756075506</c:v>
                </c:pt>
                <c:pt idx="6879">
                  <c:v>-0.24056140719525701</c:v>
                </c:pt>
                <c:pt idx="6880">
                  <c:v>-0.32842922694155602</c:v>
                </c:pt>
                <c:pt idx="6881">
                  <c:v>-0.33594454714356198</c:v>
                </c:pt>
                <c:pt idx="6882">
                  <c:v>-0.27331480887635301</c:v>
                </c:pt>
                <c:pt idx="6883">
                  <c:v>-0.33033808815615601</c:v>
                </c:pt>
                <c:pt idx="6884">
                  <c:v>-0.386573322296761</c:v>
                </c:pt>
                <c:pt idx="6885">
                  <c:v>-0.43660688688913801</c:v>
                </c:pt>
                <c:pt idx="6886">
                  <c:v>-0.470088416846413</c:v>
                </c:pt>
                <c:pt idx="6887">
                  <c:v>-0.45413606013964603</c:v>
                </c:pt>
                <c:pt idx="6888">
                  <c:v>-0.51349432558488095</c:v>
                </c:pt>
                <c:pt idx="6889">
                  <c:v>-0.54813564769809597</c:v>
                </c:pt>
                <c:pt idx="6890">
                  <c:v>-0.57658052107879498</c:v>
                </c:pt>
                <c:pt idx="6891">
                  <c:v>-0.613264375570168</c:v>
                </c:pt>
                <c:pt idx="6892">
                  <c:v>-0.64871978360286497</c:v>
                </c:pt>
                <c:pt idx="6893">
                  <c:v>-0.64895973838916199</c:v>
                </c:pt>
                <c:pt idx="6894">
                  <c:v>-0.649199693175458</c:v>
                </c:pt>
                <c:pt idx="6895">
                  <c:v>-0.64943964796175402</c:v>
                </c:pt>
                <c:pt idx="6896">
                  <c:v>-0.65102106934783399</c:v>
                </c:pt>
                <c:pt idx="6897">
                  <c:v>-0.64837450196580304</c:v>
                </c:pt>
                <c:pt idx="6898">
                  <c:v>-0.66439135319507203</c:v>
                </c:pt>
                <c:pt idx="6899">
                  <c:v>-0.68040820442434202</c:v>
                </c:pt>
                <c:pt idx="6900">
                  <c:v>-0.66633487750184694</c:v>
                </c:pt>
                <c:pt idx="6901">
                  <c:v>-0.65226155057935198</c:v>
                </c:pt>
                <c:pt idx="6902">
                  <c:v>-0.65882532304827501</c:v>
                </c:pt>
                <c:pt idx="6903">
                  <c:v>-0.64270946374762195</c:v>
                </c:pt>
                <c:pt idx="6904">
                  <c:v>-0.57335657012384</c:v>
                </c:pt>
                <c:pt idx="6905">
                  <c:v>-0.55759670033417097</c:v>
                </c:pt>
                <c:pt idx="6906">
                  <c:v>-0.55423494882524504</c:v>
                </c:pt>
                <c:pt idx="6907">
                  <c:v>-0.51995458443607001</c:v>
                </c:pt>
                <c:pt idx="6908">
                  <c:v>-0.47027522413146</c:v>
                </c:pt>
                <c:pt idx="6909">
                  <c:v>-0.40207536922734399</c:v>
                </c:pt>
                <c:pt idx="6910">
                  <c:v>-0.30500465463685</c:v>
                </c:pt>
                <c:pt idx="6911">
                  <c:v>-0.20581733525444401</c:v>
                </c:pt>
                <c:pt idx="6912">
                  <c:v>-0.238503527362044</c:v>
                </c:pt>
                <c:pt idx="6913">
                  <c:v>-0.207320402962412</c:v>
                </c:pt>
                <c:pt idx="6914">
                  <c:v>-0.17197814139271</c:v>
                </c:pt>
                <c:pt idx="6915">
                  <c:v>-4.1699805608017601E-2</c:v>
                </c:pt>
                <c:pt idx="6916">
                  <c:v>0.24373839602192601</c:v>
                </c:pt>
                <c:pt idx="6917">
                  <c:v>0.40399900391184101</c:v>
                </c:pt>
                <c:pt idx="6918">
                  <c:v>0.47756251869743999</c:v>
                </c:pt>
                <c:pt idx="6919">
                  <c:v>0.56140754697187101</c:v>
                </c:pt>
                <c:pt idx="6920">
                  <c:v>0.724624488127389</c:v>
                </c:pt>
                <c:pt idx="6921">
                  <c:v>0.951869332249071</c:v>
                </c:pt>
                <c:pt idx="6922">
                  <c:v>1.15424386739551</c:v>
                </c:pt>
                <c:pt idx="6923">
                  <c:v>1.501226243109389</c:v>
                </c:pt>
                <c:pt idx="6924">
                  <c:v>0.98348338301069305</c:v>
                </c:pt>
                <c:pt idx="6925">
                  <c:v>0.91180357643611298</c:v>
                </c:pt>
                <c:pt idx="6926">
                  <c:v>0.81941259805635902</c:v>
                </c:pt>
                <c:pt idx="6927">
                  <c:v>0.73737720557919195</c:v>
                </c:pt>
                <c:pt idx="6928">
                  <c:v>0.74513493136237896</c:v>
                </c:pt>
                <c:pt idx="6929">
                  <c:v>0.75289265714556697</c:v>
                </c:pt>
                <c:pt idx="6930">
                  <c:v>0.76065038292875398</c:v>
                </c:pt>
                <c:pt idx="6931">
                  <c:v>0.76840810871194198</c:v>
                </c:pt>
                <c:pt idx="6932">
                  <c:v>0.751454811156264</c:v>
                </c:pt>
                <c:pt idx="6933">
                  <c:v>0.73450151360058502</c:v>
                </c:pt>
                <c:pt idx="6934">
                  <c:v>0.71754821604490704</c:v>
                </c:pt>
                <c:pt idx="6935">
                  <c:v>0.70059491848922895</c:v>
                </c:pt>
                <c:pt idx="6936">
                  <c:v>0.68386043310366296</c:v>
                </c:pt>
                <c:pt idx="6937">
                  <c:v>0.66712594771809697</c:v>
                </c:pt>
                <c:pt idx="6938">
                  <c:v>0.65039146233253198</c:v>
                </c:pt>
                <c:pt idx="6939">
                  <c:v>1.0961239202786699</c:v>
                </c:pt>
                <c:pt idx="6940">
                  <c:v>1.2243837539095701</c:v>
                </c:pt>
                <c:pt idx="6941">
                  <c:v>1.1459710831555601</c:v>
                </c:pt>
                <c:pt idx="6942">
                  <c:v>0.90262020372913798</c:v>
                </c:pt>
                <c:pt idx="6943">
                  <c:v>1.0081263331767101</c:v>
                </c:pt>
                <c:pt idx="6944">
                  <c:v>0.87450817819953697</c:v>
                </c:pt>
                <c:pt idx="6945">
                  <c:v>0.81346363858565096</c:v>
                </c:pt>
                <c:pt idx="6946">
                  <c:v>0.68188801598663995</c:v>
                </c:pt>
                <c:pt idx="6947">
                  <c:v>0.56890696040088895</c:v>
                </c:pt>
                <c:pt idx="6948">
                  <c:v>0.55754722917855903</c:v>
                </c:pt>
                <c:pt idx="6949">
                  <c:v>0.73691098864749505</c:v>
                </c:pt>
                <c:pt idx="6950">
                  <c:v>0.85005616794459904</c:v>
                </c:pt>
                <c:pt idx="6951">
                  <c:v>0.85797853872216701</c:v>
                </c:pt>
                <c:pt idx="6952">
                  <c:v>0.89925784376058204</c:v>
                </c:pt>
                <c:pt idx="6953">
                  <c:v>0.82260949071227396</c:v>
                </c:pt>
                <c:pt idx="6954">
                  <c:v>0.70476623211059797</c:v>
                </c:pt>
                <c:pt idx="6955">
                  <c:v>0.64679173930501699</c:v>
                </c:pt>
                <c:pt idx="6956">
                  <c:v>0.57254545740754903</c:v>
                </c:pt>
                <c:pt idx="6957">
                  <c:v>0.58500148943011099</c:v>
                </c:pt>
                <c:pt idx="6958">
                  <c:v>0.50047369404381004</c:v>
                </c:pt>
                <c:pt idx="6959">
                  <c:v>0.52744444913902799</c:v>
                </c:pt>
                <c:pt idx="6960">
                  <c:v>0.46389194757762803</c:v>
                </c:pt>
                <c:pt idx="6961">
                  <c:v>0.375469137040986</c:v>
                </c:pt>
                <c:pt idx="6962">
                  <c:v>0.30156104957699997</c:v>
                </c:pt>
                <c:pt idx="6963">
                  <c:v>0.13687080425238099</c:v>
                </c:pt>
                <c:pt idx="6964">
                  <c:v>0.13023958746011899</c:v>
                </c:pt>
                <c:pt idx="6965">
                  <c:v>7.8254327944418001E-2</c:v>
                </c:pt>
                <c:pt idx="6966">
                  <c:v>9.62659820704235E-2</c:v>
                </c:pt>
                <c:pt idx="6967">
                  <c:v>5.0403098873484299E-2</c:v>
                </c:pt>
                <c:pt idx="6968">
                  <c:v>3.0645369680840299E-2</c:v>
                </c:pt>
                <c:pt idx="6969">
                  <c:v>-1.5104777925479501E-3</c:v>
                </c:pt>
                <c:pt idx="6970">
                  <c:v>-2.7469876533420801E-2</c:v>
                </c:pt>
                <c:pt idx="6971">
                  <c:v>-3.2792175882875599E-2</c:v>
                </c:pt>
                <c:pt idx="6972">
                  <c:v>-7.7164106191499104E-2</c:v>
                </c:pt>
                <c:pt idx="6973">
                  <c:v>-0.175129060334236</c:v>
                </c:pt>
                <c:pt idx="6974">
                  <c:v>-0.28957197669831902</c:v>
                </c:pt>
                <c:pt idx="6975">
                  <c:v>-0.38549439846289801</c:v>
                </c:pt>
                <c:pt idx="6976">
                  <c:v>-0.36442775663143101</c:v>
                </c:pt>
                <c:pt idx="6977">
                  <c:v>-0.314485034297872</c:v>
                </c:pt>
                <c:pt idx="6978">
                  <c:v>-0.188200804762583</c:v>
                </c:pt>
                <c:pt idx="6979">
                  <c:v>-6.6075712397365594E-2</c:v>
                </c:pt>
                <c:pt idx="6980">
                  <c:v>4.5264251625218001E-2</c:v>
                </c:pt>
                <c:pt idx="6981">
                  <c:v>2.8786289403870201E-2</c:v>
                </c:pt>
                <c:pt idx="6982">
                  <c:v>5.3503232735891297E-2</c:v>
                </c:pt>
                <c:pt idx="6983">
                  <c:v>-0.29072171495518001</c:v>
                </c:pt>
                <c:pt idx="6984">
                  <c:v>-0.27748969899102999</c:v>
                </c:pt>
                <c:pt idx="6985">
                  <c:v>-0.26425768302688102</c:v>
                </c:pt>
                <c:pt idx="6986">
                  <c:v>-0.25102566706273199</c:v>
                </c:pt>
                <c:pt idx="6987">
                  <c:v>-0.237793651098583</c:v>
                </c:pt>
                <c:pt idx="6988">
                  <c:v>-0.23556292103814999</c:v>
                </c:pt>
                <c:pt idx="6989">
                  <c:v>-0.23333219097771701</c:v>
                </c:pt>
                <c:pt idx="6990">
                  <c:v>-0.23110146091728401</c:v>
                </c:pt>
                <c:pt idx="6991">
                  <c:v>-0.228870730856851</c:v>
                </c:pt>
                <c:pt idx="6992">
                  <c:v>-0.225593851535454</c:v>
                </c:pt>
                <c:pt idx="6993">
                  <c:v>-0.222316972214057</c:v>
                </c:pt>
                <c:pt idx="6994">
                  <c:v>-0.21904009289265999</c:v>
                </c:pt>
                <c:pt idx="6995">
                  <c:v>-0.21576321357126299</c:v>
                </c:pt>
                <c:pt idx="6996">
                  <c:v>-0.22237038850827801</c:v>
                </c:pt>
                <c:pt idx="6997">
                  <c:v>-0.36503447079989798</c:v>
                </c:pt>
                <c:pt idx="6998">
                  <c:v>-0.44586654814672999</c:v>
                </c:pt>
                <c:pt idx="6999">
                  <c:v>-0.52881523028547595</c:v>
                </c:pt>
                <c:pt idx="7000">
                  <c:v>-0.560444822658546</c:v>
                </c:pt>
                <c:pt idx="7001">
                  <c:v>-0.57347984801835805</c:v>
                </c:pt>
                <c:pt idx="7002">
                  <c:v>-0.42362963871534498</c:v>
                </c:pt>
                <c:pt idx="7003">
                  <c:v>-0.50885225492252795</c:v>
                </c:pt>
                <c:pt idx="7004">
                  <c:v>-0.505372894230527</c:v>
                </c:pt>
                <c:pt idx="7005">
                  <c:v>-0.47309674626590198</c:v>
                </c:pt>
                <c:pt idx="7006">
                  <c:v>-0.440746525887522</c:v>
                </c:pt>
                <c:pt idx="7007">
                  <c:v>-0.375440381066448</c:v>
                </c:pt>
                <c:pt idx="7008">
                  <c:v>-0.39477757277169601</c:v>
                </c:pt>
                <c:pt idx="7009">
                  <c:v>-0.35848442908038602</c:v>
                </c:pt>
                <c:pt idx="7010">
                  <c:v>-0.23345688072231499</c:v>
                </c:pt>
                <c:pt idx="7011">
                  <c:v>-0.44185664512196399</c:v>
                </c:pt>
                <c:pt idx="7012">
                  <c:v>-0.52065119984779895</c:v>
                </c:pt>
                <c:pt idx="7013">
                  <c:v>0.100078947360911</c:v>
                </c:pt>
                <c:pt idx="7014">
                  <c:v>-0.53081707664096101</c:v>
                </c:pt>
                <c:pt idx="7015">
                  <c:v>-0.49871088101102201</c:v>
                </c:pt>
                <c:pt idx="7016">
                  <c:v>-0.34401701575876698</c:v>
                </c:pt>
                <c:pt idx="7017">
                  <c:v>-0.277993924390947</c:v>
                </c:pt>
                <c:pt idx="7018">
                  <c:v>-0.215976604549975</c:v>
                </c:pt>
                <c:pt idx="7019">
                  <c:v>0.31303796854263799</c:v>
                </c:pt>
                <c:pt idx="7020">
                  <c:v>0.25207566292306399</c:v>
                </c:pt>
                <c:pt idx="7021">
                  <c:v>0.38711310286794398</c:v>
                </c:pt>
                <c:pt idx="7022">
                  <c:v>0.65851418145387097</c:v>
                </c:pt>
                <c:pt idx="7023">
                  <c:v>0.87413155900001704</c:v>
                </c:pt>
                <c:pt idx="7024">
                  <c:v>0.82849648470344694</c:v>
                </c:pt>
                <c:pt idx="7025">
                  <c:v>0.71467959108635304</c:v>
                </c:pt>
                <c:pt idx="7026">
                  <c:v>0.80110087343325098</c:v>
                </c:pt>
                <c:pt idx="7027">
                  <c:v>0.84624795699731303</c:v>
                </c:pt>
                <c:pt idx="7028">
                  <c:v>0.95174019058044301</c:v>
                </c:pt>
                <c:pt idx="7029">
                  <c:v>0.90823800836909296</c:v>
                </c:pt>
                <c:pt idx="7030">
                  <c:v>1.0177360134790701</c:v>
                </c:pt>
                <c:pt idx="7031">
                  <c:v>0.92275741222551999</c:v>
                </c:pt>
                <c:pt idx="7032">
                  <c:v>0.955295198230658</c:v>
                </c:pt>
                <c:pt idx="7033">
                  <c:v>0.88630921595666601</c:v>
                </c:pt>
                <c:pt idx="7034">
                  <c:v>0.99746370041438004</c:v>
                </c:pt>
                <c:pt idx="7035">
                  <c:v>0.66413234598076198</c:v>
                </c:pt>
                <c:pt idx="7036">
                  <c:v>0.83213655705340905</c:v>
                </c:pt>
                <c:pt idx="7037">
                  <c:v>0.72543981006384395</c:v>
                </c:pt>
                <c:pt idx="7038">
                  <c:v>0.773172320200881</c:v>
                </c:pt>
                <c:pt idx="7039">
                  <c:v>0.60252696347461598</c:v>
                </c:pt>
                <c:pt idx="7040">
                  <c:v>0.86049137619274596</c:v>
                </c:pt>
                <c:pt idx="7041">
                  <c:v>0.86862513982390399</c:v>
                </c:pt>
                <c:pt idx="7042">
                  <c:v>0.85204196012304201</c:v>
                </c:pt>
                <c:pt idx="7043">
                  <c:v>0.90371989297217103</c:v>
                </c:pt>
                <c:pt idx="7044">
                  <c:v>1.2076841590243601</c:v>
                </c:pt>
                <c:pt idx="7045">
                  <c:v>0.57576034170371504</c:v>
                </c:pt>
                <c:pt idx="7046">
                  <c:v>0.59262553141294905</c:v>
                </c:pt>
                <c:pt idx="7047">
                  <c:v>0.95304096090980095</c:v>
                </c:pt>
                <c:pt idx="7048">
                  <c:v>0.89601940906609401</c:v>
                </c:pt>
                <c:pt idx="7049">
                  <c:v>0.92758933787735298</c:v>
                </c:pt>
                <c:pt idx="7050">
                  <c:v>0.87056778603364704</c:v>
                </c:pt>
                <c:pt idx="7051">
                  <c:v>0.879537376304797</c:v>
                </c:pt>
                <c:pt idx="7052">
                  <c:v>0.90974001481861899</c:v>
                </c:pt>
                <c:pt idx="7053">
                  <c:v>1.03496324159261</c:v>
                </c:pt>
                <c:pt idx="7054">
                  <c:v>0.96999192620304298</c:v>
                </c:pt>
                <c:pt idx="7055">
                  <c:v>0.82867388279603005</c:v>
                </c:pt>
                <c:pt idx="7056">
                  <c:v>0.76920657978348905</c:v>
                </c:pt>
                <c:pt idx="7057">
                  <c:v>0.69179426968157698</c:v>
                </c:pt>
                <c:pt idx="7058">
                  <c:v>0.67796665886298901</c:v>
                </c:pt>
                <c:pt idx="7059">
                  <c:v>0.62490738163972404</c:v>
                </c:pt>
                <c:pt idx="7060">
                  <c:v>0.53692894082507303</c:v>
                </c:pt>
                <c:pt idx="7061">
                  <c:v>0.46542846223176898</c:v>
                </c:pt>
                <c:pt idx="7062">
                  <c:v>0.31897307543231301</c:v>
                </c:pt>
                <c:pt idx="7063">
                  <c:v>0.30442067963310399</c:v>
                </c:pt>
                <c:pt idx="7064">
                  <c:v>0.27762353119637401</c:v>
                </c:pt>
                <c:pt idx="7065">
                  <c:v>0.26518774018907698</c:v>
                </c:pt>
                <c:pt idx="7066">
                  <c:v>0.20826214476801</c:v>
                </c:pt>
                <c:pt idx="7067">
                  <c:v>0.12873621080683501</c:v>
                </c:pt>
                <c:pt idx="7068">
                  <c:v>8.8288577607115504E-2</c:v>
                </c:pt>
                <c:pt idx="7069">
                  <c:v>2.5240605867287502E-2</c:v>
                </c:pt>
                <c:pt idx="7070">
                  <c:v>2.9149377464885801E-2</c:v>
                </c:pt>
                <c:pt idx="7071">
                  <c:v>3.30581490624842E-2</c:v>
                </c:pt>
                <c:pt idx="7072">
                  <c:v>3.6966920660082503E-2</c:v>
                </c:pt>
                <c:pt idx="7073">
                  <c:v>4.0875692257680903E-2</c:v>
                </c:pt>
                <c:pt idx="7074">
                  <c:v>4.2992267533263399E-2</c:v>
                </c:pt>
                <c:pt idx="7075">
                  <c:v>4.5108842808846E-2</c:v>
                </c:pt>
                <c:pt idx="7076">
                  <c:v>4.7225418084428497E-2</c:v>
                </c:pt>
                <c:pt idx="7077">
                  <c:v>4.9341993360011098E-2</c:v>
                </c:pt>
                <c:pt idx="7078">
                  <c:v>7.9251796419416598E-2</c:v>
                </c:pt>
                <c:pt idx="7079">
                  <c:v>0.10916159947882199</c:v>
                </c:pt>
                <c:pt idx="7080">
                  <c:v>0.139071402538227</c:v>
                </c:pt>
                <c:pt idx="7081">
                  <c:v>0.16898120559763299</c:v>
                </c:pt>
                <c:pt idx="7082">
                  <c:v>0.16468697237280999</c:v>
                </c:pt>
                <c:pt idx="7083">
                  <c:v>0.16039273914798699</c:v>
                </c:pt>
                <c:pt idx="7084">
                  <c:v>0.15609850592316399</c:v>
                </c:pt>
                <c:pt idx="7085">
                  <c:v>-3.3834666147814101E-2</c:v>
                </c:pt>
                <c:pt idx="7086">
                  <c:v>0.103280875533063</c:v>
                </c:pt>
                <c:pt idx="7087">
                  <c:v>0.12482846442324801</c:v>
                </c:pt>
                <c:pt idx="7088">
                  <c:v>4.9471519134038099E-2</c:v>
                </c:pt>
                <c:pt idx="7089">
                  <c:v>2.9824202470853801E-2</c:v>
                </c:pt>
                <c:pt idx="7090">
                  <c:v>5.0251804199318399E-2</c:v>
                </c:pt>
                <c:pt idx="7091">
                  <c:v>8.5045984172931799E-2</c:v>
                </c:pt>
                <c:pt idx="7092">
                  <c:v>0.31787200045773101</c:v>
                </c:pt>
                <c:pt idx="7093">
                  <c:v>0.27443028567896299</c:v>
                </c:pt>
                <c:pt idx="7094">
                  <c:v>0.23503522329861601</c:v>
                </c:pt>
                <c:pt idx="7095">
                  <c:v>0.25127049631482701</c:v>
                </c:pt>
                <c:pt idx="7096">
                  <c:v>0.395397767988723</c:v>
                </c:pt>
                <c:pt idx="7097">
                  <c:v>0.353960173230218</c:v>
                </c:pt>
                <c:pt idx="7098">
                  <c:v>0.41979139056989501</c:v>
                </c:pt>
                <c:pt idx="7099">
                  <c:v>0.52893411825485404</c:v>
                </c:pt>
                <c:pt idx="7100">
                  <c:v>0.66899023800434898</c:v>
                </c:pt>
                <c:pt idx="7101">
                  <c:v>0.79256839553249703</c:v>
                </c:pt>
                <c:pt idx="7102">
                  <c:v>0.81316451245406596</c:v>
                </c:pt>
                <c:pt idx="7103">
                  <c:v>0.96565839956016897</c:v>
                </c:pt>
                <c:pt idx="7104">
                  <c:v>0.93878908978209996</c:v>
                </c:pt>
                <c:pt idx="7105">
                  <c:v>1.1222756621822101</c:v>
                </c:pt>
                <c:pt idx="7106">
                  <c:v>1.28150896085602</c:v>
                </c:pt>
                <c:pt idx="7107">
                  <c:v>0.61878128353258</c:v>
                </c:pt>
                <c:pt idx="7108">
                  <c:v>0.63969292523236798</c:v>
                </c:pt>
                <c:pt idx="7109">
                  <c:v>0.63172848643006296</c:v>
                </c:pt>
                <c:pt idx="7110">
                  <c:v>0.79814526333374702</c:v>
                </c:pt>
                <c:pt idx="7111">
                  <c:v>0.95443389239181897</c:v>
                </c:pt>
                <c:pt idx="7112">
                  <c:v>1.13748199716007</c:v>
                </c:pt>
                <c:pt idx="7113">
                  <c:v>1.2958131585963</c:v>
                </c:pt>
                <c:pt idx="7114">
                  <c:v>1.27996647512163</c:v>
                </c:pt>
                <c:pt idx="7115">
                  <c:v>1.2868734958303001</c:v>
                </c:pt>
                <c:pt idx="7116">
                  <c:v>1.28546746301453</c:v>
                </c:pt>
                <c:pt idx="7117">
                  <c:v>1.2799763654424501</c:v>
                </c:pt>
                <c:pt idx="7118">
                  <c:v>1.9145265331366099</c:v>
                </c:pt>
                <c:pt idx="7119">
                  <c:v>1.97247528464827</c:v>
                </c:pt>
                <c:pt idx="7120">
                  <c:v>1.81778774191518</c:v>
                </c:pt>
                <c:pt idx="7121">
                  <c:v>1.83650482702216</c:v>
                </c:pt>
                <c:pt idx="7122">
                  <c:v>1.63136122094122</c:v>
                </c:pt>
                <c:pt idx="7123">
                  <c:v>1.6076337857540399</c:v>
                </c:pt>
                <c:pt idx="7124">
                  <c:v>1.6231380169715399</c:v>
                </c:pt>
                <c:pt idx="7125">
                  <c:v>1.5685712621335799</c:v>
                </c:pt>
                <c:pt idx="7126">
                  <c:v>1.66878256161281</c:v>
                </c:pt>
                <c:pt idx="7127">
                  <c:v>1.5977058380439</c:v>
                </c:pt>
                <c:pt idx="7128">
                  <c:v>1.8010233412507499</c:v>
                </c:pt>
                <c:pt idx="7129">
                  <c:v>1.80213420852921</c:v>
                </c:pt>
                <c:pt idx="7130">
                  <c:v>1.78093734522602</c:v>
                </c:pt>
                <c:pt idx="7131">
                  <c:v>1.7618570867147401</c:v>
                </c:pt>
                <c:pt idx="7132">
                  <c:v>1.6478355331727601</c:v>
                </c:pt>
                <c:pt idx="7133">
                  <c:v>1.76897654000187</c:v>
                </c:pt>
                <c:pt idx="7134">
                  <c:v>1.6890596261520401</c:v>
                </c:pt>
                <c:pt idx="7135">
                  <c:v>1.6030203359834401</c:v>
                </c:pt>
                <c:pt idx="7136">
                  <c:v>1.4777493794101699</c:v>
                </c:pt>
                <c:pt idx="7137">
                  <c:v>1.6249094104639701</c:v>
                </c:pt>
                <c:pt idx="7138">
                  <c:v>1.50725046792398</c:v>
                </c:pt>
                <c:pt idx="7139">
                  <c:v>1.57070096499129</c:v>
                </c:pt>
                <c:pt idx="7140">
                  <c:v>1.3783518022961001</c:v>
                </c:pt>
                <c:pt idx="7141">
                  <c:v>1.35963992631366</c:v>
                </c:pt>
                <c:pt idx="7142">
                  <c:v>1.44442174418141</c:v>
                </c:pt>
                <c:pt idx="7143">
                  <c:v>1.4400779120507701</c:v>
                </c:pt>
                <c:pt idx="7144">
                  <c:v>1.4194835557557599</c:v>
                </c:pt>
                <c:pt idx="7145">
                  <c:v>0.62884988766931404</c:v>
                </c:pt>
                <c:pt idx="7146">
                  <c:v>0.90469069229699595</c:v>
                </c:pt>
                <c:pt idx="7147">
                  <c:v>0.75865643820488304</c:v>
                </c:pt>
                <c:pt idx="7148">
                  <c:v>0.74483190639945895</c:v>
                </c:pt>
                <c:pt idx="7149">
                  <c:v>0.61134913623131104</c:v>
                </c:pt>
                <c:pt idx="7150">
                  <c:v>0.63436004316362304</c:v>
                </c:pt>
                <c:pt idx="7151">
                  <c:v>0.61005366822380402</c:v>
                </c:pt>
                <c:pt idx="7152">
                  <c:v>0.560876984308743</c:v>
                </c:pt>
                <c:pt idx="7153">
                  <c:v>0.57791888056551499</c:v>
                </c:pt>
                <c:pt idx="7154">
                  <c:v>0.52584826310184496</c:v>
                </c:pt>
                <c:pt idx="7155">
                  <c:v>0.51519998924851995</c:v>
                </c:pt>
                <c:pt idx="7156">
                  <c:v>0.46312937178484997</c:v>
                </c:pt>
                <c:pt idx="7157">
                  <c:v>0.35126928175455202</c:v>
                </c:pt>
                <c:pt idx="7158">
                  <c:v>0.31288871096621201</c:v>
                </c:pt>
                <c:pt idx="7159">
                  <c:v>0.377762488733003</c:v>
                </c:pt>
                <c:pt idx="7160">
                  <c:v>0.376496979557429</c:v>
                </c:pt>
                <c:pt idx="7161">
                  <c:v>0.27643776946752302</c:v>
                </c:pt>
                <c:pt idx="7162">
                  <c:v>0.245938855977858</c:v>
                </c:pt>
                <c:pt idx="7163">
                  <c:v>0.25255500410095799</c:v>
                </c:pt>
                <c:pt idx="7164">
                  <c:v>0.25917115222405701</c:v>
                </c:pt>
                <c:pt idx="7165">
                  <c:v>0.26578730034715697</c:v>
                </c:pt>
                <c:pt idx="7166">
                  <c:v>0.25537828320550199</c:v>
                </c:pt>
                <c:pt idx="7167">
                  <c:v>0.244969266063847</c:v>
                </c:pt>
                <c:pt idx="7168">
                  <c:v>0.23456024892219099</c:v>
                </c:pt>
                <c:pt idx="7169">
                  <c:v>-0.218356516196061</c:v>
                </c:pt>
                <c:pt idx="7170">
                  <c:v>0.21358253492349599</c:v>
                </c:pt>
                <c:pt idx="7171">
                  <c:v>0.20301383806645701</c:v>
                </c:pt>
                <c:pt idx="7172">
                  <c:v>0.192445141209417</c:v>
                </c:pt>
                <c:pt idx="7173">
                  <c:v>0.18187644435237699</c:v>
                </c:pt>
                <c:pt idx="7174">
                  <c:v>0.20835245273663999</c:v>
                </c:pt>
                <c:pt idx="7175">
                  <c:v>0.234828461120902</c:v>
                </c:pt>
                <c:pt idx="7176">
                  <c:v>0.261304469505165</c:v>
                </c:pt>
                <c:pt idx="7177">
                  <c:v>0.28778047788942701</c:v>
                </c:pt>
                <c:pt idx="7178">
                  <c:v>-0.184383455011009</c:v>
                </c:pt>
                <c:pt idx="7179">
                  <c:v>-0.202652261055423</c:v>
                </c:pt>
                <c:pt idx="7180">
                  <c:v>-0.21056548119724999</c:v>
                </c:pt>
                <c:pt idx="7181">
                  <c:v>-6.3753154557459904E-2</c:v>
                </c:pt>
                <c:pt idx="7182">
                  <c:v>-0.19565341293241101</c:v>
                </c:pt>
                <c:pt idx="7183">
                  <c:v>-0.195502535479607</c:v>
                </c:pt>
                <c:pt idx="7184">
                  <c:v>-0.189155209294288</c:v>
                </c:pt>
                <c:pt idx="7185">
                  <c:v>-0.166329920887621</c:v>
                </c:pt>
                <c:pt idx="7186">
                  <c:v>-0.14899496810462401</c:v>
                </c:pt>
                <c:pt idx="7187">
                  <c:v>3.7421668073712402E-2</c:v>
                </c:pt>
                <c:pt idx="7188">
                  <c:v>-6.27797918983896E-2</c:v>
                </c:pt>
                <c:pt idx="7189">
                  <c:v>-9.6995330571347904E-2</c:v>
                </c:pt>
                <c:pt idx="7190">
                  <c:v>-2.9890291148169702E-2</c:v>
                </c:pt>
                <c:pt idx="7191">
                  <c:v>4.9533573326286003E-2</c:v>
                </c:pt>
                <c:pt idx="7192">
                  <c:v>4.0297105547734698E-2</c:v>
                </c:pt>
                <c:pt idx="7193">
                  <c:v>0.115567053667833</c:v>
                </c:pt>
                <c:pt idx="7194">
                  <c:v>0.26397694306045599</c:v>
                </c:pt>
                <c:pt idx="7195">
                  <c:v>0.30323754563616301</c:v>
                </c:pt>
                <c:pt idx="7196">
                  <c:v>0.38777811852155503</c:v>
                </c:pt>
                <c:pt idx="7197">
                  <c:v>0.50323208347148296</c:v>
                </c:pt>
                <c:pt idx="7198">
                  <c:v>0.50920875233769802</c:v>
                </c:pt>
                <c:pt idx="7199">
                  <c:v>0.50482983530132597</c:v>
                </c:pt>
                <c:pt idx="7200">
                  <c:v>0.51080650416754003</c:v>
                </c:pt>
                <c:pt idx="7201">
                  <c:v>0.50030521081240698</c:v>
                </c:pt>
                <c:pt idx="7202">
                  <c:v>0.54569575177030105</c:v>
                </c:pt>
                <c:pt idx="7203">
                  <c:v>0.54157833365039898</c:v>
                </c:pt>
                <c:pt idx="7204">
                  <c:v>0.52098295330915001</c:v>
                </c:pt>
                <c:pt idx="7205">
                  <c:v>0.57461247537771798</c:v>
                </c:pt>
                <c:pt idx="7206">
                  <c:v>0.66539418103645498</c:v>
                </c:pt>
                <c:pt idx="7207">
                  <c:v>0.73969792447384397</c:v>
                </c:pt>
                <c:pt idx="7208">
                  <c:v>0.79752370568988595</c:v>
                </c:pt>
                <c:pt idx="7209">
                  <c:v>0.90493151839747799</c:v>
                </c:pt>
                <c:pt idx="7210">
                  <c:v>1.0224336419923601</c:v>
                </c:pt>
                <c:pt idx="7211">
                  <c:v>1.0926184837151101</c:v>
                </c:pt>
                <c:pt idx="7212">
                  <c:v>1.0100410178049299</c:v>
                </c:pt>
                <c:pt idx="7213">
                  <c:v>1.1236114422867101</c:v>
                </c:pt>
                <c:pt idx="7214">
                  <c:v>1.1147191300559001</c:v>
                </c:pt>
                <c:pt idx="7215">
                  <c:v>1.3103670549709401</c:v>
                </c:pt>
                <c:pt idx="7216">
                  <c:v>1.1552103943104499</c:v>
                </c:pt>
                <c:pt idx="7217">
                  <c:v>1.3259932310659599</c:v>
                </c:pt>
                <c:pt idx="7218">
                  <c:v>1.44823881093214</c:v>
                </c:pt>
                <c:pt idx="7219">
                  <c:v>1.5705636840277799</c:v>
                </c:pt>
                <c:pt idx="7220">
                  <c:v>1.28628460806097</c:v>
                </c:pt>
                <c:pt idx="7221">
                  <c:v>1.2847921056238201</c:v>
                </c:pt>
                <c:pt idx="7222">
                  <c:v>1.34660463032092</c:v>
                </c:pt>
                <c:pt idx="7223">
                  <c:v>1.3898966604185199</c:v>
                </c:pt>
                <c:pt idx="7224">
                  <c:v>1.27029301422186</c:v>
                </c:pt>
                <c:pt idx="7225">
                  <c:v>1.34419692591327</c:v>
                </c:pt>
                <c:pt idx="7226">
                  <c:v>1.53175805852296</c:v>
                </c:pt>
                <c:pt idx="7227">
                  <c:v>1.3065928657514201</c:v>
                </c:pt>
                <c:pt idx="7228">
                  <c:v>1.3621717141314</c:v>
                </c:pt>
                <c:pt idx="7229">
                  <c:v>1.35591855756658</c:v>
                </c:pt>
                <c:pt idx="7230">
                  <c:v>1.3444445475224001</c:v>
                </c:pt>
                <c:pt idx="7231">
                  <c:v>1.30598362371105</c:v>
                </c:pt>
                <c:pt idx="7232">
                  <c:v>1.2202054180275801</c:v>
                </c:pt>
                <c:pt idx="7233">
                  <c:v>1.2479630743880601</c:v>
                </c:pt>
                <c:pt idx="7234">
                  <c:v>1.2870232686693699</c:v>
                </c:pt>
                <c:pt idx="7235">
                  <c:v>1.31588124269132</c:v>
                </c:pt>
                <c:pt idx="7236">
                  <c:v>1.3654503885184399</c:v>
                </c:pt>
                <c:pt idx="7237">
                  <c:v>1.4437422492044301</c:v>
                </c:pt>
                <c:pt idx="7238">
                  <c:v>1.2998131833767901</c:v>
                </c:pt>
                <c:pt idx="7239">
                  <c:v>1.3436501028186401</c:v>
                </c:pt>
                <c:pt idx="7240">
                  <c:v>1.2697920230464701</c:v>
                </c:pt>
                <c:pt idx="7241">
                  <c:v>1.17333360473418</c:v>
                </c:pt>
                <c:pt idx="7242">
                  <c:v>0.41751204736604502</c:v>
                </c:pt>
                <c:pt idx="7243">
                  <c:v>0.21025150549247501</c:v>
                </c:pt>
                <c:pt idx="7244">
                  <c:v>0.21161104470536499</c:v>
                </c:pt>
                <c:pt idx="7245">
                  <c:v>0.16565330204612499</c:v>
                </c:pt>
                <c:pt idx="7246">
                  <c:v>0.19693931365157599</c:v>
                </c:pt>
                <c:pt idx="7247">
                  <c:v>0.182871282533587</c:v>
                </c:pt>
                <c:pt idx="7248">
                  <c:v>0.19352019474762</c:v>
                </c:pt>
                <c:pt idx="7249">
                  <c:v>0.22276367397491201</c:v>
                </c:pt>
                <c:pt idx="7250">
                  <c:v>0.193081302639937</c:v>
                </c:pt>
                <c:pt idx="7251">
                  <c:v>0.14692096908361499</c:v>
                </c:pt>
                <c:pt idx="7252">
                  <c:v>5.5332520390097797E-2</c:v>
                </c:pt>
                <c:pt idx="7253">
                  <c:v>-1.55447564982463E-2</c:v>
                </c:pt>
                <c:pt idx="7254">
                  <c:v>-6.4544543591752199E-2</c:v>
                </c:pt>
                <c:pt idx="7255">
                  <c:v>-0.119740779417774</c:v>
                </c:pt>
                <c:pt idx="7256">
                  <c:v>-0.125429056165999</c:v>
                </c:pt>
                <c:pt idx="7257">
                  <c:v>-0.16407325735691899</c:v>
                </c:pt>
                <c:pt idx="7258">
                  <c:v>-0.16945095936604601</c:v>
                </c:pt>
                <c:pt idx="7259">
                  <c:v>-0.16454714788634001</c:v>
                </c:pt>
                <c:pt idx="7260">
                  <c:v>-0.19464179322748701</c:v>
                </c:pt>
                <c:pt idx="7261">
                  <c:v>-0.202136100028526</c:v>
                </c:pt>
                <c:pt idx="7262">
                  <c:v>-0.220334417871139</c:v>
                </c:pt>
                <c:pt idx="7263">
                  <c:v>-0.238532735713752</c:v>
                </c:pt>
                <c:pt idx="7264">
                  <c:v>-0.256731053556365</c:v>
                </c:pt>
                <c:pt idx="7265">
                  <c:v>-0.274929371398978</c:v>
                </c:pt>
                <c:pt idx="7266">
                  <c:v>-0.28283497728986301</c:v>
                </c:pt>
                <c:pt idx="7267">
                  <c:v>-0.29074058318074802</c:v>
                </c:pt>
                <c:pt idx="7268">
                  <c:v>-0.29864618907163298</c:v>
                </c:pt>
                <c:pt idx="7269">
                  <c:v>-0.306551794962518</c:v>
                </c:pt>
                <c:pt idx="7270">
                  <c:v>-0.27768167728954901</c:v>
                </c:pt>
                <c:pt idx="7271">
                  <c:v>-0.24881155961658</c:v>
                </c:pt>
                <c:pt idx="7272">
                  <c:v>-0.21994144194361101</c:v>
                </c:pt>
                <c:pt idx="7273">
                  <c:v>-0.191071324270642</c:v>
                </c:pt>
                <c:pt idx="7274">
                  <c:v>-0.19271375495205401</c:v>
                </c:pt>
                <c:pt idx="7275">
                  <c:v>-0.19435618563346599</c:v>
                </c:pt>
                <c:pt idx="7276">
                  <c:v>-0.195998616314878</c:v>
                </c:pt>
                <c:pt idx="7277">
                  <c:v>-0.18932799347186199</c:v>
                </c:pt>
                <c:pt idx="7278">
                  <c:v>-0.17208774085009801</c:v>
                </c:pt>
                <c:pt idx="7279">
                  <c:v>-0.126050700955709</c:v>
                </c:pt>
                <c:pt idx="7280">
                  <c:v>-4.2824527034801399E-2</c:v>
                </c:pt>
                <c:pt idx="7281">
                  <c:v>3.2865852733406599E-3</c:v>
                </c:pt>
                <c:pt idx="7282">
                  <c:v>2.97577835115028E-3</c:v>
                </c:pt>
                <c:pt idx="7283">
                  <c:v>6.2243905080136997E-4</c:v>
                </c:pt>
                <c:pt idx="7284">
                  <c:v>-1.8208862470895301E-2</c:v>
                </c:pt>
                <c:pt idx="7285">
                  <c:v>4.5423719527898997E-2</c:v>
                </c:pt>
                <c:pt idx="7286">
                  <c:v>3.5827280198307297E-2</c:v>
                </c:pt>
                <c:pt idx="7287">
                  <c:v>9.0100157375946996E-2</c:v>
                </c:pt>
                <c:pt idx="7288">
                  <c:v>0.14853217172365701</c:v>
                </c:pt>
                <c:pt idx="7289">
                  <c:v>0.262594521467925</c:v>
                </c:pt>
                <c:pt idx="7290">
                  <c:v>0.33407768147339001</c:v>
                </c:pt>
                <c:pt idx="7291">
                  <c:v>0.44675574703222298</c:v>
                </c:pt>
                <c:pt idx="7292">
                  <c:v>0.55943381259105696</c:v>
                </c:pt>
                <c:pt idx="7293">
                  <c:v>0.67211187814989004</c:v>
                </c:pt>
                <c:pt idx="7294">
                  <c:v>0.69845901247818998</c:v>
                </c:pt>
                <c:pt idx="7295">
                  <c:v>0.73297105550341002</c:v>
                </c:pt>
                <c:pt idx="7296">
                  <c:v>0.74903667634287696</c:v>
                </c:pt>
                <c:pt idx="7297">
                  <c:v>0.758905848449829</c:v>
                </c:pt>
                <c:pt idx="7298">
                  <c:v>0.71258190207542804</c:v>
                </c:pt>
                <c:pt idx="7299">
                  <c:v>0.66625795570102797</c:v>
                </c:pt>
                <c:pt idx="7300">
                  <c:v>0.61993400932662701</c:v>
                </c:pt>
                <c:pt idx="7301">
                  <c:v>0.57361006295222605</c:v>
                </c:pt>
                <c:pt idx="7302">
                  <c:v>0.58759615874604099</c:v>
                </c:pt>
                <c:pt idx="7303">
                  <c:v>0.60158225453985603</c:v>
                </c:pt>
                <c:pt idx="7304">
                  <c:v>0.61556835033367097</c:v>
                </c:pt>
                <c:pt idx="7305">
                  <c:v>0.62955444612748601</c:v>
                </c:pt>
                <c:pt idx="7306">
                  <c:v>0.67595652492260405</c:v>
                </c:pt>
                <c:pt idx="7307">
                  <c:v>0.72235860371772198</c:v>
                </c:pt>
                <c:pt idx="7308">
                  <c:v>0.76876068251284002</c:v>
                </c:pt>
                <c:pt idx="7309">
                  <c:v>0.81516276130795795</c:v>
                </c:pt>
                <c:pt idx="7310">
                  <c:v>0.74695134115079698</c:v>
                </c:pt>
                <c:pt idx="7311">
                  <c:v>0.678739920993636</c:v>
                </c:pt>
                <c:pt idx="7312">
                  <c:v>0.61052850083647503</c:v>
                </c:pt>
                <c:pt idx="7313">
                  <c:v>0.54231708067931395</c:v>
                </c:pt>
                <c:pt idx="7314">
                  <c:v>0.82219004299243603</c:v>
                </c:pt>
                <c:pt idx="7315">
                  <c:v>0.82353052462257004</c:v>
                </c:pt>
                <c:pt idx="7316">
                  <c:v>0.756842552575403</c:v>
                </c:pt>
                <c:pt idx="7317">
                  <c:v>0.59529257872700103</c:v>
                </c:pt>
                <c:pt idx="7318">
                  <c:v>0.60440415199459896</c:v>
                </c:pt>
                <c:pt idx="7319">
                  <c:v>0.50005915644770305</c:v>
                </c:pt>
                <c:pt idx="7320">
                  <c:v>0.47810397200754401</c:v>
                </c:pt>
                <c:pt idx="7321">
                  <c:v>0.46854690584812902</c:v>
                </c:pt>
                <c:pt idx="7322">
                  <c:v>0.47526793001593498</c:v>
                </c:pt>
                <c:pt idx="7323">
                  <c:v>0.44895895732729302</c:v>
                </c:pt>
                <c:pt idx="7324">
                  <c:v>0.42469251701680799</c:v>
                </c:pt>
                <c:pt idx="7325">
                  <c:v>0.544796037585356</c:v>
                </c:pt>
                <c:pt idx="7326">
                  <c:v>0.54529575358926896</c:v>
                </c:pt>
                <c:pt idx="7327">
                  <c:v>0.53967309327442103</c:v>
                </c:pt>
                <c:pt idx="7328">
                  <c:v>0.540172809278333</c:v>
                </c:pt>
                <c:pt idx="7329">
                  <c:v>0.50559999604763906</c:v>
                </c:pt>
                <c:pt idx="7330">
                  <c:v>0.45705407968731698</c:v>
                </c:pt>
                <c:pt idx="7331">
                  <c:v>0.49513118401755601</c:v>
                </c:pt>
                <c:pt idx="7332">
                  <c:v>0.45965111118563401</c:v>
                </c:pt>
                <c:pt idx="7333">
                  <c:v>0.47554432165705501</c:v>
                </c:pt>
                <c:pt idx="7334">
                  <c:v>0.34487400315419198</c:v>
                </c:pt>
                <c:pt idx="7335">
                  <c:v>0.27610976200986997</c:v>
                </c:pt>
                <c:pt idx="7336">
                  <c:v>0.19698993496296199</c:v>
                </c:pt>
                <c:pt idx="7337">
                  <c:v>0.12414584987803701</c:v>
                </c:pt>
                <c:pt idx="7338">
                  <c:v>7.9739061510431003E-2</c:v>
                </c:pt>
                <c:pt idx="7339">
                  <c:v>2.7093292032151599E-2</c:v>
                </c:pt>
                <c:pt idx="7340">
                  <c:v>-8.3553411410724999E-4</c:v>
                </c:pt>
                <c:pt idx="7341">
                  <c:v>-8.12726086894691E-3</c:v>
                </c:pt>
                <c:pt idx="7342">
                  <c:v>-5.3159508339923799E-2</c:v>
                </c:pt>
                <c:pt idx="7343">
                  <c:v>-8.1713793589552303E-2</c:v>
                </c:pt>
                <c:pt idx="7344">
                  <c:v>-9.3790116617833694E-2</c:v>
                </c:pt>
                <c:pt idx="7345">
                  <c:v>-0.105866439646115</c:v>
                </c:pt>
                <c:pt idx="7346">
                  <c:v>-9.4341309389442796E-2</c:v>
                </c:pt>
                <c:pt idx="7347">
                  <c:v>-8.2816179132770507E-2</c:v>
                </c:pt>
                <c:pt idx="7348">
                  <c:v>-7.1291048876098204E-2</c:v>
                </c:pt>
                <c:pt idx="7349">
                  <c:v>-5.9765918619425901E-2</c:v>
                </c:pt>
                <c:pt idx="7350">
                  <c:v>-8.2858746616080795E-2</c:v>
                </c:pt>
                <c:pt idx="7351">
                  <c:v>-0.10595157461273599</c:v>
                </c:pt>
                <c:pt idx="7352">
                  <c:v>-0.12904440260939101</c:v>
                </c:pt>
                <c:pt idx="7353">
                  <c:v>-0.152137230606045</c:v>
                </c:pt>
                <c:pt idx="7354">
                  <c:v>-0.108701479758228</c:v>
                </c:pt>
                <c:pt idx="7355">
                  <c:v>-6.5265728910410006E-2</c:v>
                </c:pt>
                <c:pt idx="7356">
                  <c:v>-2.1829978062592299E-2</c:v>
                </c:pt>
                <c:pt idx="7357">
                  <c:v>2.1605772785225401E-2</c:v>
                </c:pt>
                <c:pt idx="7358">
                  <c:v>5.3694099416617097E-2</c:v>
                </c:pt>
                <c:pt idx="7359">
                  <c:v>-0.29109932106678499</c:v>
                </c:pt>
                <c:pt idx="7360">
                  <c:v>-0.34147487795588499</c:v>
                </c:pt>
                <c:pt idx="7361">
                  <c:v>-0.36093704278044902</c:v>
                </c:pt>
                <c:pt idx="7362">
                  <c:v>-0.35371016324721999</c:v>
                </c:pt>
                <c:pt idx="7363">
                  <c:v>-0.34852581609215</c:v>
                </c:pt>
                <c:pt idx="7364">
                  <c:v>-0.34334146893708001</c:v>
                </c:pt>
                <c:pt idx="7365">
                  <c:v>-0.28048425400729299</c:v>
                </c:pt>
                <c:pt idx="7366">
                  <c:v>-0.26934675702918598</c:v>
                </c:pt>
                <c:pt idx="7367">
                  <c:v>-0.31807280503146201</c:v>
                </c:pt>
                <c:pt idx="7368">
                  <c:v>-0.26989431885434301</c:v>
                </c:pt>
                <c:pt idx="7369">
                  <c:v>-0.25059191317931701</c:v>
                </c:pt>
                <c:pt idx="7370">
                  <c:v>-0.183625908773767</c:v>
                </c:pt>
                <c:pt idx="7371">
                  <c:v>-0.15997141471349799</c:v>
                </c:pt>
                <c:pt idx="7372">
                  <c:v>-0.125961334750643</c:v>
                </c:pt>
                <c:pt idx="7373">
                  <c:v>9.0331233322079908E-3</c:v>
                </c:pt>
                <c:pt idx="7374">
                  <c:v>0.12879534328799799</c:v>
                </c:pt>
                <c:pt idx="7375">
                  <c:v>0.157854698612623</c:v>
                </c:pt>
                <c:pt idx="7376">
                  <c:v>0.26113895634706602</c:v>
                </c:pt>
                <c:pt idx="7377">
                  <c:v>0.38090117630285703</c:v>
                </c:pt>
                <c:pt idx="7378">
                  <c:v>0.36770107584527001</c:v>
                </c:pt>
                <c:pt idx="7379">
                  <c:v>0.40386078963797301</c:v>
                </c:pt>
                <c:pt idx="7380">
                  <c:v>0.44009457584442901</c:v>
                </c:pt>
                <c:pt idx="7381">
                  <c:v>0.47435990208648099</c:v>
                </c:pt>
                <c:pt idx="7382">
                  <c:v>0.50955868395976101</c:v>
                </c:pt>
                <c:pt idx="7383">
                  <c:v>0.50152002790151295</c:v>
                </c:pt>
                <c:pt idx="7384">
                  <c:v>0.49348137184326502</c:v>
                </c:pt>
                <c:pt idx="7385">
                  <c:v>0.48544271578501802</c:v>
                </c:pt>
                <c:pt idx="7386">
                  <c:v>0.48797060820266902</c:v>
                </c:pt>
                <c:pt idx="7387">
                  <c:v>0.49049850062032002</c:v>
                </c:pt>
                <c:pt idx="7388">
                  <c:v>0.49302639303797102</c:v>
                </c:pt>
                <c:pt idx="7389">
                  <c:v>0.49555428545562302</c:v>
                </c:pt>
                <c:pt idx="7390">
                  <c:v>0.49314223000591001</c:v>
                </c:pt>
                <c:pt idx="7391">
                  <c:v>0.490730174556198</c:v>
                </c:pt>
                <c:pt idx="7392">
                  <c:v>0.48831811910648598</c:v>
                </c:pt>
                <c:pt idx="7393">
                  <c:v>0.48590606365677402</c:v>
                </c:pt>
                <c:pt idx="7394">
                  <c:v>0.48569814618186802</c:v>
                </c:pt>
                <c:pt idx="7395">
                  <c:v>0.48549022870696201</c:v>
                </c:pt>
                <c:pt idx="7396">
                  <c:v>0.48528231123205601</c:v>
                </c:pt>
                <c:pt idx="7397">
                  <c:v>0.48507439375715</c:v>
                </c:pt>
                <c:pt idx="7398">
                  <c:v>1.2128408755159801</c:v>
                </c:pt>
                <c:pt idx="7399">
                  <c:v>1.18663289811649</c:v>
                </c:pt>
                <c:pt idx="7400">
                  <c:v>1.1764480068244001</c:v>
                </c:pt>
                <c:pt idx="7401">
                  <c:v>1.4209944366079801</c:v>
                </c:pt>
                <c:pt idx="7402">
                  <c:v>1.40037091430009</c:v>
                </c:pt>
                <c:pt idx="7403">
                  <c:v>1.4624439343853901</c:v>
                </c:pt>
                <c:pt idx="7404">
                  <c:v>1.34302671116317</c:v>
                </c:pt>
                <c:pt idx="7405">
                  <c:v>1.5162915504435399</c:v>
                </c:pt>
                <c:pt idx="7406">
                  <c:v>1.58700541818521</c:v>
                </c:pt>
                <c:pt idx="7407">
                  <c:v>1.4679107682792301</c:v>
                </c:pt>
                <c:pt idx="7408">
                  <c:v>1.4230462415987699</c:v>
                </c:pt>
                <c:pt idx="7409">
                  <c:v>1.4750121766839599</c:v>
                </c:pt>
                <c:pt idx="7410">
                  <c:v>1.4535996392423101</c:v>
                </c:pt>
                <c:pt idx="7411">
                  <c:v>1.4962890771805799</c:v>
                </c:pt>
                <c:pt idx="7412">
                  <c:v>1.5119916013516901</c:v>
                </c:pt>
                <c:pt idx="7413">
                  <c:v>1.39586520693631</c:v>
                </c:pt>
                <c:pt idx="7414">
                  <c:v>1.44426593713075</c:v>
                </c:pt>
                <c:pt idx="7415">
                  <c:v>1.53189833372986</c:v>
                </c:pt>
                <c:pt idx="7416">
                  <c:v>1.4815053630099699</c:v>
                </c:pt>
                <c:pt idx="7417">
                  <c:v>1.5854623561872101</c:v>
                </c:pt>
                <c:pt idx="7418">
                  <c:v>1.421994616610599</c:v>
                </c:pt>
                <c:pt idx="7419">
                  <c:v>1.49761591570246</c:v>
                </c:pt>
                <c:pt idx="7420">
                  <c:v>1.2289253676063101</c:v>
                </c:pt>
                <c:pt idx="7421">
                  <c:v>1.2514137397937199</c:v>
                </c:pt>
                <c:pt idx="7422">
                  <c:v>1.12294647415569</c:v>
                </c:pt>
                <c:pt idx="7423">
                  <c:v>1.39935257730411</c:v>
                </c:pt>
                <c:pt idx="7424">
                  <c:v>1.1430621646064401</c:v>
                </c:pt>
                <c:pt idx="7425">
                  <c:v>0.94437054726971903</c:v>
                </c:pt>
                <c:pt idx="7426">
                  <c:v>0.20079554173658401</c:v>
                </c:pt>
                <c:pt idx="7427">
                  <c:v>-0.30654775405752599</c:v>
                </c:pt>
                <c:pt idx="7428">
                  <c:v>-0.42967044290373801</c:v>
                </c:pt>
                <c:pt idx="7429">
                  <c:v>-0.36511166052563798</c:v>
                </c:pt>
                <c:pt idx="7430">
                  <c:v>-0.32268078261076799</c:v>
                </c:pt>
                <c:pt idx="7431">
                  <c:v>-0.29242058491966799</c:v>
                </c:pt>
                <c:pt idx="7432">
                  <c:v>-0.293153072522572</c:v>
                </c:pt>
                <c:pt idx="7433">
                  <c:v>-0.34120284199760598</c:v>
                </c:pt>
                <c:pt idx="7434">
                  <c:v>-0.39055302829316102</c:v>
                </c:pt>
                <c:pt idx="7435">
                  <c:v>-0.43786068221055602</c:v>
                </c:pt>
                <c:pt idx="7436">
                  <c:v>-0.43959729697896399</c:v>
                </c:pt>
                <c:pt idx="7437">
                  <c:v>-0.44986396169734899</c:v>
                </c:pt>
                <c:pt idx="7438">
                  <c:v>-0.51534245594113604</c:v>
                </c:pt>
                <c:pt idx="7439">
                  <c:v>-0.54786502574222795</c:v>
                </c:pt>
                <c:pt idx="7440">
                  <c:v>-0.60495639404783397</c:v>
                </c:pt>
                <c:pt idx="7441">
                  <c:v>-0.61064541572499298</c:v>
                </c:pt>
                <c:pt idx="7442">
                  <c:v>-0.59552581591713205</c:v>
                </c:pt>
                <c:pt idx="7443">
                  <c:v>-0.58040621610927101</c:v>
                </c:pt>
                <c:pt idx="7444">
                  <c:v>-0.56528661630140997</c:v>
                </c:pt>
                <c:pt idx="7445">
                  <c:v>-0.55016701649355004</c:v>
                </c:pt>
                <c:pt idx="7446">
                  <c:v>-0.57113147704675404</c:v>
                </c:pt>
                <c:pt idx="7447">
                  <c:v>-0.59209593759995804</c:v>
                </c:pt>
                <c:pt idx="7448">
                  <c:v>-0.61306039815316204</c:v>
                </c:pt>
                <c:pt idx="7449">
                  <c:v>-0.63402485870636605</c:v>
                </c:pt>
                <c:pt idx="7450">
                  <c:v>-0.59924231426748997</c:v>
                </c:pt>
                <c:pt idx="7451">
                  <c:v>-0.56445976982861501</c:v>
                </c:pt>
                <c:pt idx="7452">
                  <c:v>-0.52967722538974005</c:v>
                </c:pt>
                <c:pt idx="7453">
                  <c:v>-0.49489468095086397</c:v>
                </c:pt>
                <c:pt idx="7454">
                  <c:v>-0.46441354059735601</c:v>
                </c:pt>
                <c:pt idx="7455">
                  <c:v>-0.43393240024384699</c:v>
                </c:pt>
                <c:pt idx="7456">
                  <c:v>-0.40345125989033798</c:v>
                </c:pt>
                <c:pt idx="7457">
                  <c:v>-0.375012651914988</c:v>
                </c:pt>
                <c:pt idx="7458">
                  <c:v>-0.388064678658188</c:v>
                </c:pt>
                <c:pt idx="7459">
                  <c:v>-0.36408093701808902</c:v>
                </c:pt>
                <c:pt idx="7460">
                  <c:v>-0.352341948015513</c:v>
                </c:pt>
                <c:pt idx="7461">
                  <c:v>-0.35095854491552397</c:v>
                </c:pt>
                <c:pt idx="7462">
                  <c:v>-0.27385275369434697</c:v>
                </c:pt>
                <c:pt idx="7463">
                  <c:v>-0.32667627269329902</c:v>
                </c:pt>
                <c:pt idx="7464">
                  <c:v>-0.33618828134696899</c:v>
                </c:pt>
                <c:pt idx="7465">
                  <c:v>-0.33542399732752198</c:v>
                </c:pt>
                <c:pt idx="7466">
                  <c:v>-0.315958562149663</c:v>
                </c:pt>
                <c:pt idx="7467">
                  <c:v>-0.247059240307761</c:v>
                </c:pt>
                <c:pt idx="7468">
                  <c:v>-0.20907331053039599</c:v>
                </c:pt>
                <c:pt idx="7469">
                  <c:v>-0.15665195090984199</c:v>
                </c:pt>
                <c:pt idx="7470">
                  <c:v>5.3786727936179796E-3</c:v>
                </c:pt>
                <c:pt idx="7471">
                  <c:v>0.27874403970394801</c:v>
                </c:pt>
                <c:pt idx="7472">
                  <c:v>0.26964522681819503</c:v>
                </c:pt>
                <c:pt idx="7473">
                  <c:v>0.32858008842545999</c:v>
                </c:pt>
                <c:pt idx="7474">
                  <c:v>0.34235597481402102</c:v>
                </c:pt>
                <c:pt idx="7475">
                  <c:v>0.44464404862808099</c:v>
                </c:pt>
                <c:pt idx="7476">
                  <c:v>0.51828347999702495</c:v>
                </c:pt>
                <c:pt idx="7477">
                  <c:v>0.78149354932521797</c:v>
                </c:pt>
                <c:pt idx="7478">
                  <c:v>0.90242948033299597</c:v>
                </c:pt>
                <c:pt idx="7479">
                  <c:v>1.05224149184287</c:v>
                </c:pt>
                <c:pt idx="7480">
                  <c:v>1.1730292780231399</c:v>
                </c:pt>
                <c:pt idx="7481">
                  <c:v>0.57875106703507895</c:v>
                </c:pt>
                <c:pt idx="7482">
                  <c:v>0.61951206356158095</c:v>
                </c:pt>
                <c:pt idx="7483">
                  <c:v>0.72347572487153</c:v>
                </c:pt>
                <c:pt idx="7484">
                  <c:v>0.80279651526321105</c:v>
                </c:pt>
                <c:pt idx="7485">
                  <c:v>0.88612307718174199</c:v>
                </c:pt>
                <c:pt idx="7486">
                  <c:v>0.955651273783236</c:v>
                </c:pt>
                <c:pt idx="7487">
                  <c:v>1.04777980892484</c:v>
                </c:pt>
                <c:pt idx="7488">
                  <c:v>1.1523064623471899</c:v>
                </c:pt>
                <c:pt idx="7489">
                  <c:v>1.2548698766208399</c:v>
                </c:pt>
                <c:pt idx="7490">
                  <c:v>1.68700395321563</c:v>
                </c:pt>
                <c:pt idx="7491">
                  <c:v>1.5885041189242399</c:v>
                </c:pt>
                <c:pt idx="7492">
                  <c:v>1.66537215162159</c:v>
                </c:pt>
                <c:pt idx="7493">
                  <c:v>1.6472988892882401</c:v>
                </c:pt>
                <c:pt idx="7494">
                  <c:v>1.6506249347648301</c:v>
                </c:pt>
                <c:pt idx="7495">
                  <c:v>1.67247147484092</c:v>
                </c:pt>
                <c:pt idx="7496">
                  <c:v>1.60761570099698</c:v>
                </c:pt>
                <c:pt idx="7497">
                  <c:v>1.6459402032944199</c:v>
                </c:pt>
                <c:pt idx="7498">
                  <c:v>1.4257235618253199</c:v>
                </c:pt>
                <c:pt idx="7499">
                  <c:v>1.6328220412238399</c:v>
                </c:pt>
                <c:pt idx="7500">
                  <c:v>1.64603215903412</c:v>
                </c:pt>
                <c:pt idx="7501">
                  <c:v>1.61358150283451</c:v>
                </c:pt>
                <c:pt idx="7502">
                  <c:v>1.4378811741934501</c:v>
                </c:pt>
                <c:pt idx="7503">
                  <c:v>1.6749071709336101</c:v>
                </c:pt>
                <c:pt idx="7504">
                  <c:v>1.49520107076571</c:v>
                </c:pt>
                <c:pt idx="7505">
                  <c:v>1.6497579631696699</c:v>
                </c:pt>
                <c:pt idx="7506">
                  <c:v>1.65402844861286</c:v>
                </c:pt>
                <c:pt idx="7507">
                  <c:v>1.4768827631622901</c:v>
                </c:pt>
                <c:pt idx="7508">
                  <c:v>1.3037428492385801</c:v>
                </c:pt>
                <c:pt idx="7509">
                  <c:v>1.3121724718518399</c:v>
                </c:pt>
                <c:pt idx="7510">
                  <c:v>1.2053235960495801</c:v>
                </c:pt>
                <c:pt idx="7511">
                  <c:v>0.70661815313020804</c:v>
                </c:pt>
                <c:pt idx="7512">
                  <c:v>-1.11954391585783E-2</c:v>
                </c:pt>
                <c:pt idx="7513">
                  <c:v>0.71175314450294302</c:v>
                </c:pt>
                <c:pt idx="7514">
                  <c:v>-0.2241025722476</c:v>
                </c:pt>
                <c:pt idx="7515">
                  <c:v>-0.51683678217307105</c:v>
                </c:pt>
                <c:pt idx="7516">
                  <c:v>-0.60533748623912798</c:v>
                </c:pt>
                <c:pt idx="7517">
                  <c:v>-0.691647513099518</c:v>
                </c:pt>
                <c:pt idx="7518">
                  <c:v>-0.77035510444751298</c:v>
                </c:pt>
                <c:pt idx="7519">
                  <c:v>-0.87152011032382204</c:v>
                </c:pt>
                <c:pt idx="7520">
                  <c:v>-0.95839261036873702</c:v>
                </c:pt>
                <c:pt idx="7521">
                  <c:v>-1.0295915031121701</c:v>
                </c:pt>
                <c:pt idx="7522">
                  <c:v>-0.93908538212091697</c:v>
                </c:pt>
                <c:pt idx="7523">
                  <c:v>-0.85062179350782496</c:v>
                </c:pt>
                <c:pt idx="7524">
                  <c:v>-0.73744126156271095</c:v>
                </c:pt>
                <c:pt idx="7525">
                  <c:v>-0.63249971072827005</c:v>
                </c:pt>
                <c:pt idx="7526">
                  <c:v>-0.56259576170856596</c:v>
                </c:pt>
                <c:pt idx="7527">
                  <c:v>-0.53388671824223</c:v>
                </c:pt>
                <c:pt idx="7528">
                  <c:v>-0.50517767477589404</c:v>
                </c:pt>
                <c:pt idx="7529">
                  <c:v>-0.48470761242023203</c:v>
                </c:pt>
                <c:pt idx="7530">
                  <c:v>-0.45198221255029403</c:v>
                </c:pt>
                <c:pt idx="7531">
                  <c:v>-0.47073323172255799</c:v>
                </c:pt>
                <c:pt idx="7532">
                  <c:v>-0.51420119422684196</c:v>
                </c:pt>
                <c:pt idx="7533">
                  <c:v>-0.53295221339910603</c:v>
                </c:pt>
                <c:pt idx="7534">
                  <c:v>-0.556940311450137</c:v>
                </c:pt>
                <c:pt idx="7535">
                  <c:v>-0.56445044727982097</c:v>
                </c:pt>
                <c:pt idx="7536">
                  <c:v>-0.53076567755613602</c:v>
                </c:pt>
                <c:pt idx="7537">
                  <c:v>-0.53827581338581998</c:v>
                </c:pt>
                <c:pt idx="7538">
                  <c:v>-0.49424064213187202</c:v>
                </c:pt>
                <c:pt idx="7539">
                  <c:v>-0.48316139532061803</c:v>
                </c:pt>
                <c:pt idx="7540">
                  <c:v>-0.47208214850936298</c:v>
                </c:pt>
                <c:pt idx="7541">
                  <c:v>-0.45276392058743598</c:v>
                </c:pt>
                <c:pt idx="7542">
                  <c:v>-0.48624545054471102</c:v>
                </c:pt>
                <c:pt idx="7543">
                  <c:v>-0.53620494272333397</c:v>
                </c:pt>
                <c:pt idx="7544">
                  <c:v>-0.57792545379128302</c:v>
                </c:pt>
                <c:pt idx="7545">
                  <c:v>-0.55373411597384203</c:v>
                </c:pt>
                <c:pt idx="7546">
                  <c:v>-0.53062849789858602</c:v>
                </c:pt>
                <c:pt idx="7547">
                  <c:v>-0.55695676648737302</c:v>
                </c:pt>
                <c:pt idx="7548">
                  <c:v>-0.57504605396548603</c:v>
                </c:pt>
                <c:pt idx="7549">
                  <c:v>-0.56841839811157802</c:v>
                </c:pt>
                <c:pt idx="7550">
                  <c:v>-0.58513631511922204</c:v>
                </c:pt>
                <c:pt idx="7551">
                  <c:v>-0.60185423212686595</c:v>
                </c:pt>
                <c:pt idx="7552">
                  <c:v>-0.61857214913450997</c:v>
                </c:pt>
                <c:pt idx="7553">
                  <c:v>-0.635290066142153</c:v>
                </c:pt>
                <c:pt idx="7554">
                  <c:v>-0.63898809232014597</c:v>
                </c:pt>
                <c:pt idx="7555">
                  <c:v>-0.61585257037420404</c:v>
                </c:pt>
                <c:pt idx="7556">
                  <c:v>-0.63391195398163203</c:v>
                </c:pt>
                <c:pt idx="7557">
                  <c:v>-0.643732356478385</c:v>
                </c:pt>
                <c:pt idx="7558">
                  <c:v>-0.64613699177723805</c:v>
                </c:pt>
                <c:pt idx="7559">
                  <c:v>-0.64854162707609098</c:v>
                </c:pt>
                <c:pt idx="7560">
                  <c:v>-0.65094626237494302</c:v>
                </c:pt>
                <c:pt idx="7561">
                  <c:v>-0.65335089767379595</c:v>
                </c:pt>
                <c:pt idx="7562">
                  <c:v>-0.64583000899480103</c:v>
                </c:pt>
                <c:pt idx="7563">
                  <c:v>-0.646548101426479</c:v>
                </c:pt>
                <c:pt idx="7564">
                  <c:v>-0.61431026941546196</c:v>
                </c:pt>
                <c:pt idx="7565">
                  <c:v>-0.59031141851511904</c:v>
                </c:pt>
                <c:pt idx="7566">
                  <c:v>-0.54887103932118297</c:v>
                </c:pt>
                <c:pt idx="7567">
                  <c:v>-0.49919167901657302</c:v>
                </c:pt>
                <c:pt idx="7568">
                  <c:v>-0.41655639426926699</c:v>
                </c:pt>
                <c:pt idx="7569">
                  <c:v>-0.30920416618994101</c:v>
                </c:pt>
                <c:pt idx="7570">
                  <c:v>-0.36872390642147501</c:v>
                </c:pt>
                <c:pt idx="7571">
                  <c:v>-0.41176568443166101</c:v>
                </c:pt>
                <c:pt idx="7572">
                  <c:v>-0.36825851416503802</c:v>
                </c:pt>
                <c:pt idx="7573">
                  <c:v>-0.221803726629727</c:v>
                </c:pt>
                <c:pt idx="7574">
                  <c:v>-7.8401884661355906E-2</c:v>
                </c:pt>
                <c:pt idx="7575">
                  <c:v>-0.327994610776072</c:v>
                </c:pt>
                <c:pt idx="7576">
                  <c:v>-0.27113649626879499</c:v>
                </c:pt>
                <c:pt idx="7577">
                  <c:v>-0.226676500042263</c:v>
                </c:pt>
                <c:pt idx="7578">
                  <c:v>-9.6642921386415795E-2</c:v>
                </c:pt>
                <c:pt idx="7579">
                  <c:v>1.9029299839995299E-2</c:v>
                </c:pt>
                <c:pt idx="7580">
                  <c:v>0.13258491627449501</c:v>
                </c:pt>
                <c:pt idx="7581">
                  <c:v>0.2297366429014</c:v>
                </c:pt>
                <c:pt idx="7582">
                  <c:v>0.145658718046074</c:v>
                </c:pt>
                <c:pt idx="7583">
                  <c:v>-2.0364583433466001E-2</c:v>
                </c:pt>
                <c:pt idx="7584">
                  <c:v>-0.12281485806079</c:v>
                </c:pt>
                <c:pt idx="7585">
                  <c:v>-0.159422135400764</c:v>
                </c:pt>
                <c:pt idx="7586">
                  <c:v>-9.6102925819058604E-2</c:v>
                </c:pt>
                <c:pt idx="7587">
                  <c:v>0.14583875650928099</c:v>
                </c:pt>
                <c:pt idx="7588">
                  <c:v>0.17219104930572801</c:v>
                </c:pt>
                <c:pt idx="7589">
                  <c:v>0.20630698787851801</c:v>
                </c:pt>
                <c:pt idx="7590">
                  <c:v>0.240904181778795</c:v>
                </c:pt>
                <c:pt idx="7591">
                  <c:v>0.23430647012570199</c:v>
                </c:pt>
                <c:pt idx="7592">
                  <c:v>0.221255786575876</c:v>
                </c:pt>
                <c:pt idx="7593">
                  <c:v>0.13445031513485001</c:v>
                </c:pt>
                <c:pt idx="7594">
                  <c:v>0.115673297371125</c:v>
                </c:pt>
                <c:pt idx="7595">
                  <c:v>0.22479349908080001</c:v>
                </c:pt>
                <c:pt idx="7596">
                  <c:v>6.8150154390121606E-2</c:v>
                </c:pt>
                <c:pt idx="7597">
                  <c:v>0.109549087642056</c:v>
                </c:pt>
                <c:pt idx="7598">
                  <c:v>3.3332314909423601E-2</c:v>
                </c:pt>
                <c:pt idx="7599">
                  <c:v>-0.152335255110854</c:v>
                </c:pt>
                <c:pt idx="7600">
                  <c:v>-0.133032515996161</c:v>
                </c:pt>
                <c:pt idx="7601">
                  <c:v>-0.177752459031921</c:v>
                </c:pt>
                <c:pt idx="7602">
                  <c:v>-0.23071138317835499</c:v>
                </c:pt>
                <c:pt idx="7603">
                  <c:v>-0.16605460134022201</c:v>
                </c:pt>
                <c:pt idx="7604">
                  <c:v>-0.18919898827041201</c:v>
                </c:pt>
                <c:pt idx="7605">
                  <c:v>-0.17319100202539101</c:v>
                </c:pt>
                <c:pt idx="7606">
                  <c:v>-3.7524777417645601E-2</c:v>
                </c:pt>
                <c:pt idx="7607">
                  <c:v>6.5259595161158507E-2</c:v>
                </c:pt>
                <c:pt idx="7608">
                  <c:v>-0.17631652492813299</c:v>
                </c:pt>
                <c:pt idx="7609">
                  <c:v>-0.141540514468812</c:v>
                </c:pt>
                <c:pt idx="7610">
                  <c:v>-0.22211534581450099</c:v>
                </c:pt>
                <c:pt idx="7611">
                  <c:v>-0.24261523823463499</c:v>
                </c:pt>
                <c:pt idx="7612">
                  <c:v>-0.19311821701306101</c:v>
                </c:pt>
                <c:pt idx="7613">
                  <c:v>-0.18882709368741901</c:v>
                </c:pt>
                <c:pt idx="7614">
                  <c:v>-0.19284902388620601</c:v>
                </c:pt>
                <c:pt idx="7615">
                  <c:v>-0.22759951735926801</c:v>
                </c:pt>
                <c:pt idx="7616">
                  <c:v>-0.26235001083233001</c:v>
                </c:pt>
                <c:pt idx="7617">
                  <c:v>-0.27843186487837801</c:v>
                </c:pt>
                <c:pt idx="7618">
                  <c:v>-0.28423220543559502</c:v>
                </c:pt>
                <c:pt idx="7619">
                  <c:v>-0.26410394651767699</c:v>
                </c:pt>
                <c:pt idx="7620">
                  <c:v>-0.188774899447234</c:v>
                </c:pt>
                <c:pt idx="7621">
                  <c:v>-0.16441343094549199</c:v>
                </c:pt>
                <c:pt idx="7622">
                  <c:v>-0.16761912550303401</c:v>
                </c:pt>
                <c:pt idx="7623">
                  <c:v>-0.16674497611997299</c:v>
                </c:pt>
                <c:pt idx="7624">
                  <c:v>-0.17818965178818899</c:v>
                </c:pt>
                <c:pt idx="7625">
                  <c:v>-0.19175093224831899</c:v>
                </c:pt>
                <c:pt idx="7626">
                  <c:v>-0.27936030048846899</c:v>
                </c:pt>
                <c:pt idx="7627">
                  <c:v>-0.35457155044787497</c:v>
                </c:pt>
                <c:pt idx="7628">
                  <c:v>-0.39063042723207098</c:v>
                </c:pt>
                <c:pt idx="7629">
                  <c:v>-0.32723862260491199</c:v>
                </c:pt>
                <c:pt idx="7630">
                  <c:v>-0.227787941193557</c:v>
                </c:pt>
                <c:pt idx="7631">
                  <c:v>-0.12833725978220101</c:v>
                </c:pt>
                <c:pt idx="7632">
                  <c:v>-2.8886578370846301E-2</c:v>
                </c:pt>
                <c:pt idx="7633">
                  <c:v>-2.8886578370846301E-2</c:v>
                </c:pt>
                <c:pt idx="7634">
                  <c:v>-2.8886578370846301E-2</c:v>
                </c:pt>
                <c:pt idx="7635">
                  <c:v>-0.373111526061917</c:v>
                </c:pt>
                <c:pt idx="7636">
                  <c:v>-0.35987951009776797</c:v>
                </c:pt>
                <c:pt idx="7637">
                  <c:v>-0.34664749413361901</c:v>
                </c:pt>
                <c:pt idx="7638">
                  <c:v>-0.33341547816946898</c:v>
                </c:pt>
                <c:pt idx="7639">
                  <c:v>-0.32018346220532001</c:v>
                </c:pt>
                <c:pt idx="7640">
                  <c:v>-0.31795273214488701</c:v>
                </c:pt>
                <c:pt idx="7641">
                  <c:v>-0.59614887031809105</c:v>
                </c:pt>
                <c:pt idx="7642">
                  <c:v>-0.60835357010084701</c:v>
                </c:pt>
                <c:pt idx="7643">
                  <c:v>-0.58964487781906705</c:v>
                </c:pt>
                <c:pt idx="7644">
                  <c:v>-0.58636799849766996</c:v>
                </c:pt>
                <c:pt idx="7645">
                  <c:v>-0.58309111917627299</c:v>
                </c:pt>
                <c:pt idx="7646">
                  <c:v>-0.499392888712543</c:v>
                </c:pt>
                <c:pt idx="7647">
                  <c:v>-0.54350736367703001</c:v>
                </c:pt>
                <c:pt idx="7648">
                  <c:v>-0.55011453861404502</c:v>
                </c:pt>
                <c:pt idx="7649">
                  <c:v>-0.52376578910836502</c:v>
                </c:pt>
                <c:pt idx="7650">
                  <c:v>-0.50565602071335902</c:v>
                </c:pt>
                <c:pt idx="7651">
                  <c:v>-0.46755128082171599</c:v>
                </c:pt>
                <c:pt idx="7652">
                  <c:v>-0.400881155347728</c:v>
                </c:pt>
                <c:pt idx="7653">
                  <c:v>-0.37476380753232902</c:v>
                </c:pt>
                <c:pt idx="7654">
                  <c:v>-0.29910207680866802</c:v>
                </c:pt>
                <c:pt idx="7655">
                  <c:v>-0.21731796976624601</c:v>
                </c:pt>
                <c:pt idx="7656">
                  <c:v>-7.2270250280907999E-2</c:v>
                </c:pt>
                <c:pt idx="7657">
                  <c:v>-0.12456336642885101</c:v>
                </c:pt>
                <c:pt idx="7658">
                  <c:v>-0.18721206847937999</c:v>
                </c:pt>
                <c:pt idx="7659">
                  <c:v>-0.20859179256278601</c:v>
                </c:pt>
                <c:pt idx="7660">
                  <c:v>-0.28864747887688702</c:v>
                </c:pt>
                <c:pt idx="7661">
                  <c:v>-0.33908445999690701</c:v>
                </c:pt>
                <c:pt idx="7662">
                  <c:v>-0.28234061426441498</c:v>
                </c:pt>
                <c:pt idx="7663">
                  <c:v>-0.33066099059252302</c:v>
                </c:pt>
                <c:pt idx="7664">
                  <c:v>-0.281115861446049</c:v>
                </c:pt>
                <c:pt idx="7665">
                  <c:v>-0.153260765133442</c:v>
                </c:pt>
                <c:pt idx="7666">
                  <c:v>-0.163431036139843</c:v>
                </c:pt>
                <c:pt idx="7667">
                  <c:v>3.8876400639557399E-2</c:v>
                </c:pt>
                <c:pt idx="7668">
                  <c:v>6.6881158559431997E-2</c:v>
                </c:pt>
                <c:pt idx="7669">
                  <c:v>0.11536965022750301</c:v>
                </c:pt>
                <c:pt idx="7670">
                  <c:v>0.22364761446220299</c:v>
                </c:pt>
                <c:pt idx="7671">
                  <c:v>0.222702219466233</c:v>
                </c:pt>
                <c:pt idx="7672">
                  <c:v>0.29468285115422799</c:v>
                </c:pt>
                <c:pt idx="7673">
                  <c:v>0.37286515239045198</c:v>
                </c:pt>
                <c:pt idx="7674">
                  <c:v>0.36842498364725101</c:v>
                </c:pt>
                <c:pt idx="7675">
                  <c:v>0.38878105146553699</c:v>
                </c:pt>
                <c:pt idx="7676">
                  <c:v>0.38262136892392801</c:v>
                </c:pt>
                <c:pt idx="7677">
                  <c:v>0.46497909462353099</c:v>
                </c:pt>
                <c:pt idx="7678">
                  <c:v>0.34762759288684503</c:v>
                </c:pt>
                <c:pt idx="7679">
                  <c:v>0.388864485446834</c:v>
                </c:pt>
                <c:pt idx="7680">
                  <c:v>0.330387454718649</c:v>
                </c:pt>
                <c:pt idx="7681">
                  <c:v>0.288314313798059</c:v>
                </c:pt>
                <c:pt idx="7682">
                  <c:v>0.28766351648781202</c:v>
                </c:pt>
                <c:pt idx="7683">
                  <c:v>0.10529503781308</c:v>
                </c:pt>
                <c:pt idx="7684">
                  <c:v>0.114176685245635</c:v>
                </c:pt>
                <c:pt idx="7685">
                  <c:v>7.53602471058641E-2</c:v>
                </c:pt>
                <c:pt idx="7686">
                  <c:v>0.13806235642950801</c:v>
                </c:pt>
                <c:pt idx="7687">
                  <c:v>4.58062600988451E-2</c:v>
                </c:pt>
                <c:pt idx="7688">
                  <c:v>0.15311452834453201</c:v>
                </c:pt>
                <c:pt idx="7689">
                  <c:v>0.120206752065544</c:v>
                </c:pt>
                <c:pt idx="7690">
                  <c:v>0.22532434310556501</c:v>
                </c:pt>
                <c:pt idx="7691">
                  <c:v>0.26656739682264002</c:v>
                </c:pt>
                <c:pt idx="7692">
                  <c:v>0.19279857349874999</c:v>
                </c:pt>
                <c:pt idx="7693">
                  <c:v>0.24050308285876801</c:v>
                </c:pt>
                <c:pt idx="7694">
                  <c:v>0.29236672938885599</c:v>
                </c:pt>
                <c:pt idx="7695">
                  <c:v>0.237192473078226</c:v>
                </c:pt>
                <c:pt idx="7696">
                  <c:v>0.26468255794888201</c:v>
                </c:pt>
                <c:pt idx="7697">
                  <c:v>0.244776067717941</c:v>
                </c:pt>
                <c:pt idx="7698">
                  <c:v>0.292977324393768</c:v>
                </c:pt>
                <c:pt idx="7699">
                  <c:v>0.27496000089776501</c:v>
                </c:pt>
                <c:pt idx="7700">
                  <c:v>0.284525540020169</c:v>
                </c:pt>
                <c:pt idx="7701">
                  <c:v>0.31873395006083999</c:v>
                </c:pt>
                <c:pt idx="7702">
                  <c:v>0.34054424182076798</c:v>
                </c:pt>
                <c:pt idx="7703">
                  <c:v>0.20777191081087101</c:v>
                </c:pt>
                <c:pt idx="7704">
                  <c:v>0.23304368256966901</c:v>
                </c:pt>
                <c:pt idx="7705">
                  <c:v>0.19821925047539499</c:v>
                </c:pt>
                <c:pt idx="7706">
                  <c:v>0.16967056034310499</c:v>
                </c:pt>
                <c:pt idx="7707">
                  <c:v>0.13288288910014001</c:v>
                </c:pt>
                <c:pt idx="7708">
                  <c:v>7.1663923995668496E-2</c:v>
                </c:pt>
                <c:pt idx="7709">
                  <c:v>8.3283540992847207E-3</c:v>
                </c:pt>
                <c:pt idx="7710">
                  <c:v>-9.6128048936713895E-2</c:v>
                </c:pt>
                <c:pt idx="7711">
                  <c:v>-0.18621787372756399</c:v>
                </c:pt>
                <c:pt idx="7712">
                  <c:v>-0.26660804599840798</c:v>
                </c:pt>
                <c:pt idx="7713">
                  <c:v>-0.342913153512936</c:v>
                </c:pt>
                <c:pt idx="7714">
                  <c:v>-0.394501317695443</c:v>
                </c:pt>
                <c:pt idx="7715">
                  <c:v>-0.441856272294125</c:v>
                </c:pt>
                <c:pt idx="7716">
                  <c:v>-0.20354920756959699</c:v>
                </c:pt>
                <c:pt idx="7717">
                  <c:v>-0.239837703599245</c:v>
                </c:pt>
                <c:pt idx="7718">
                  <c:v>-0.21633672706226501</c:v>
                </c:pt>
                <c:pt idx="7719">
                  <c:v>-0.308260779304185</c:v>
                </c:pt>
                <c:pt idx="7720">
                  <c:v>-0.37033792900573198</c:v>
                </c:pt>
                <c:pt idx="7721">
                  <c:v>-0.42629270238851502</c:v>
                </c:pt>
                <c:pt idx="7722">
                  <c:v>-0.48836985209006101</c:v>
                </c:pt>
                <c:pt idx="7723">
                  <c:v>-0.53396903957025899</c:v>
                </c:pt>
                <c:pt idx="7724">
                  <c:v>-0.60600329429073996</c:v>
                </c:pt>
                <c:pt idx="7725">
                  <c:v>-0.65551128288486604</c:v>
                </c:pt>
                <c:pt idx="7726">
                  <c:v>-0.63676860056042905</c:v>
                </c:pt>
                <c:pt idx="7727">
                  <c:v>-0.66563948976313703</c:v>
                </c:pt>
                <c:pt idx="7728">
                  <c:v>-0.68939156213588404</c:v>
                </c:pt>
                <c:pt idx="7729">
                  <c:v>-0.65948175907647899</c:v>
                </c:pt>
                <c:pt idx="7730">
                  <c:v>-0.62957195601707305</c:v>
                </c:pt>
                <c:pt idx="7731">
                  <c:v>-0.599662152957668</c:v>
                </c:pt>
                <c:pt idx="7732">
                  <c:v>-0.60395638618249103</c:v>
                </c:pt>
                <c:pt idx="7733">
                  <c:v>-0.60825061940731395</c:v>
                </c:pt>
                <c:pt idx="7734">
                  <c:v>-0.61254485263213698</c:v>
                </c:pt>
                <c:pt idx="7735">
                  <c:v>-0.61683908585696001</c:v>
                </c:pt>
                <c:pt idx="7736">
                  <c:v>-0.81366414301436396</c:v>
                </c:pt>
                <c:pt idx="7737">
                  <c:v>-0.83127414811510403</c:v>
                </c:pt>
                <c:pt idx="7738">
                  <c:v>-0.80972655922491998</c:v>
                </c:pt>
                <c:pt idx="7739">
                  <c:v>-0.77374354049154603</c:v>
                </c:pt>
                <c:pt idx="7740">
                  <c:v>-0.70796189603964199</c:v>
                </c:pt>
                <c:pt idx="7741">
                  <c:v>-0.67513617603043397</c:v>
                </c:pt>
                <c:pt idx="7742">
                  <c:v>-0.65054943713189906</c:v>
                </c:pt>
                <c:pt idx="7743">
                  <c:v>-0.61772371712269003</c:v>
                </c:pt>
                <c:pt idx="7744">
                  <c:v>-0.57465489598254504</c:v>
                </c:pt>
                <c:pt idx="7745">
                  <c:v>-0.54806403706374895</c:v>
                </c:pt>
                <c:pt idx="7746">
                  <c:v>-0.55442910258764699</c:v>
                </c:pt>
                <c:pt idx="7747">
                  <c:v>-0.56903314922221804</c:v>
                </c:pt>
                <c:pt idx="7748">
                  <c:v>-0.40221755376254398</c:v>
                </c:pt>
                <c:pt idx="7749">
                  <c:v>-0.34455124511978602</c:v>
                </c:pt>
                <c:pt idx="7750">
                  <c:v>-0.18801716314894301</c:v>
                </c:pt>
                <c:pt idx="7751">
                  <c:v>-8.0916967842143001E-2</c:v>
                </c:pt>
                <c:pt idx="7752">
                  <c:v>-3.5677980002306597E-2</c:v>
                </c:pt>
                <c:pt idx="7753">
                  <c:v>7.5404005124879894E-2</c:v>
                </c:pt>
                <c:pt idx="7754">
                  <c:v>0.170076879628759</c:v>
                </c:pt>
                <c:pt idx="7755">
                  <c:v>0.37207350499694503</c:v>
                </c:pt>
                <c:pt idx="7756">
                  <c:v>0.34966841553573902</c:v>
                </c:pt>
                <c:pt idx="7757">
                  <c:v>0.27775536699673598</c:v>
                </c:pt>
                <c:pt idx="7758">
                  <c:v>0.20584231845773299</c:v>
                </c:pt>
                <c:pt idx="7759">
                  <c:v>0.13392926991873</c:v>
                </c:pt>
                <c:pt idx="7760">
                  <c:v>0.213797098545605</c:v>
                </c:pt>
                <c:pt idx="7761">
                  <c:v>0.29366492717247999</c:v>
                </c:pt>
                <c:pt idx="7762">
                  <c:v>0.37353275579935502</c:v>
                </c:pt>
                <c:pt idx="7763">
                  <c:v>0.45340058442622999</c:v>
                </c:pt>
                <c:pt idx="7764">
                  <c:v>0.37360529121486202</c:v>
                </c:pt>
                <c:pt idx="7765">
                  <c:v>0.293809998003495</c:v>
                </c:pt>
                <c:pt idx="7766">
                  <c:v>0.214014704792127</c:v>
                </c:pt>
                <c:pt idx="7767">
                  <c:v>0.13421941158075901</c:v>
                </c:pt>
                <c:pt idx="7768">
                  <c:v>0.128219553355715</c:v>
                </c:pt>
                <c:pt idx="7769">
                  <c:v>0.122219695130671</c:v>
                </c:pt>
                <c:pt idx="7770">
                  <c:v>0.116219836905626</c:v>
                </c:pt>
                <c:pt idx="7771">
                  <c:v>0.110219978680582</c:v>
                </c:pt>
                <c:pt idx="7772">
                  <c:v>1.5225927378245001</c:v>
                </c:pt>
                <c:pt idx="7773">
                  <c:v>1.28245067492271</c:v>
                </c:pt>
                <c:pt idx="7774">
                  <c:v>1.35170129561754</c:v>
                </c:pt>
                <c:pt idx="7775">
                  <c:v>1.1712746328686301</c:v>
                </c:pt>
                <c:pt idx="7776">
                  <c:v>1.3643899158161199</c:v>
                </c:pt>
                <c:pt idx="7777">
                  <c:v>1.21265396141647</c:v>
                </c:pt>
                <c:pt idx="7778">
                  <c:v>1.6100924850842699</c:v>
                </c:pt>
                <c:pt idx="7779">
                  <c:v>1.3860896466077799</c:v>
                </c:pt>
                <c:pt idx="7780">
                  <c:v>1.5096539895152401</c:v>
                </c:pt>
                <c:pt idx="7781">
                  <c:v>0.85213508906095503</c:v>
                </c:pt>
                <c:pt idx="7782">
                  <c:v>0.89897190025078</c:v>
                </c:pt>
                <c:pt idx="7783">
                  <c:v>0.89785423792265096</c:v>
                </c:pt>
                <c:pt idx="7784">
                  <c:v>0.92536757605256403</c:v>
                </c:pt>
                <c:pt idx="7785">
                  <c:v>1.3153974588324799</c:v>
                </c:pt>
                <c:pt idx="7786">
                  <c:v>0.86153855011703795</c:v>
                </c:pt>
                <c:pt idx="7787">
                  <c:v>-0.66068095366399604</c:v>
                </c:pt>
                <c:pt idx="7788">
                  <c:v>-0.66859417380582298</c:v>
                </c:pt>
                <c:pt idx="7789">
                  <c:v>-0.67650739394765103</c:v>
                </c:pt>
                <c:pt idx="7790">
                  <c:v>-0.68442061408947896</c:v>
                </c:pt>
                <c:pt idx="7791">
                  <c:v>-0.79739805629190696</c:v>
                </c:pt>
                <c:pt idx="7792">
                  <c:v>-0.780769216617756</c:v>
                </c:pt>
                <c:pt idx="7793">
                  <c:v>-0.79089985265378404</c:v>
                </c:pt>
                <c:pt idx="7794">
                  <c:v>-0.78047268252786095</c:v>
                </c:pt>
                <c:pt idx="7795">
                  <c:v>-0.78236433745321599</c:v>
                </c:pt>
                <c:pt idx="7796">
                  <c:v>-0.76707191704837796</c:v>
                </c:pt>
                <c:pt idx="7797">
                  <c:v>-0.71466443503077304</c:v>
                </c:pt>
                <c:pt idx="7798">
                  <c:v>-0.72824809512802702</c:v>
                </c:pt>
                <c:pt idx="7799">
                  <c:v>-0.77062854249790502</c:v>
                </c:pt>
                <c:pt idx="7800">
                  <c:v>-0.73035705119866001</c:v>
                </c:pt>
                <c:pt idx="7801">
                  <c:v>-0.69628200863193102</c:v>
                </c:pt>
                <c:pt idx="7802">
                  <c:v>-0.61481561177931698</c:v>
                </c:pt>
                <c:pt idx="7803">
                  <c:v>-0.58278310159074598</c:v>
                </c:pt>
                <c:pt idx="7804">
                  <c:v>-0.465286604262659</c:v>
                </c:pt>
                <c:pt idx="7805">
                  <c:v>-0.34983263931273001</c:v>
                </c:pt>
                <c:pt idx="7806">
                  <c:v>-0.28381256102684399</c:v>
                </c:pt>
                <c:pt idx="7807">
                  <c:v>-0.15188063385556799</c:v>
                </c:pt>
                <c:pt idx="7808">
                  <c:v>-0.10470905943598501</c:v>
                </c:pt>
                <c:pt idx="7809">
                  <c:v>-4.9298503905728402E-2</c:v>
                </c:pt>
                <c:pt idx="7810">
                  <c:v>8.6533402766861306E-2</c:v>
                </c:pt>
                <c:pt idx="7811">
                  <c:v>0.32138122759504401</c:v>
                </c:pt>
                <c:pt idx="7812">
                  <c:v>-7.2021276736110404E-2</c:v>
                </c:pt>
                <c:pt idx="7813">
                  <c:v>-5.3464283902149197E-2</c:v>
                </c:pt>
                <c:pt idx="7814">
                  <c:v>-1.7995335995744401E-2</c:v>
                </c:pt>
                <c:pt idx="7815">
                  <c:v>6.4658411402423094E-2</c:v>
                </c:pt>
                <c:pt idx="7816">
                  <c:v>0.178267893658244</c:v>
                </c:pt>
                <c:pt idx="7817">
                  <c:v>0.30208481698914302</c:v>
                </c:pt>
                <c:pt idx="7818">
                  <c:v>0.42597581273379598</c:v>
                </c:pt>
                <c:pt idx="7819">
                  <c:v>0.54162782736777504</c:v>
                </c:pt>
                <c:pt idx="7820">
                  <c:v>1.2028599567476499</c:v>
                </c:pt>
                <c:pt idx="7821">
                  <c:v>1.25845600298399</c:v>
                </c:pt>
                <c:pt idx="7822">
                  <c:v>1.3863930057109199</c:v>
                </c:pt>
                <c:pt idx="7823">
                  <c:v>1.45053476434438</c:v>
                </c:pt>
                <c:pt idx="7824">
                  <c:v>1.4169995811953</c:v>
                </c:pt>
                <c:pt idx="7825">
                  <c:v>1.39964084979683</c:v>
                </c:pt>
                <c:pt idx="7826">
                  <c:v>1.60761804139458</c:v>
                </c:pt>
                <c:pt idx="7827">
                  <c:v>1.5637272723429101</c:v>
                </c:pt>
                <c:pt idx="7828">
                  <c:v>0.94481403105436801</c:v>
                </c:pt>
                <c:pt idx="7829">
                  <c:v>1.0095401087890501</c:v>
                </c:pt>
                <c:pt idx="7830">
                  <c:v>1.0615665577722599</c:v>
                </c:pt>
                <c:pt idx="7831">
                  <c:v>0.996199518012167</c:v>
                </c:pt>
                <c:pt idx="7832">
                  <c:v>0.95082599504104104</c:v>
                </c:pt>
                <c:pt idx="7833">
                  <c:v>0.95889213026080899</c:v>
                </c:pt>
                <c:pt idx="7834">
                  <c:v>1.01223823579026</c:v>
                </c:pt>
                <c:pt idx="7835">
                  <c:v>0.99400499222951499</c:v>
                </c:pt>
                <c:pt idx="7836">
                  <c:v>1.6294294209184601</c:v>
                </c:pt>
                <c:pt idx="7837">
                  <c:v>1.92229265527715</c:v>
                </c:pt>
                <c:pt idx="7838">
                  <c:v>1.13996151396623</c:v>
                </c:pt>
                <c:pt idx="7839">
                  <c:v>1.0035359466771701</c:v>
                </c:pt>
                <c:pt idx="7840">
                  <c:v>0.82092205841233901</c:v>
                </c:pt>
                <c:pt idx="7841">
                  <c:v>0.935233883865349</c:v>
                </c:pt>
                <c:pt idx="7842">
                  <c:v>1.0844700937254601</c:v>
                </c:pt>
                <c:pt idx="7843">
                  <c:v>0.99090778304526095</c:v>
                </c:pt>
                <c:pt idx="7844">
                  <c:v>1.1315710388351701</c:v>
                </c:pt>
                <c:pt idx="7845">
                  <c:v>1.26723425682514</c:v>
                </c:pt>
                <c:pt idx="7846">
                  <c:v>1.2635911825183399</c:v>
                </c:pt>
                <c:pt idx="7847">
                  <c:v>1.5433768507486201</c:v>
                </c:pt>
                <c:pt idx="7848">
                  <c:v>1.32733426648736</c:v>
                </c:pt>
                <c:pt idx="7849">
                  <c:v>1.15452912015763</c:v>
                </c:pt>
                <c:pt idx="7850">
                  <c:v>1.0951857634581099</c:v>
                </c:pt>
                <c:pt idx="7851">
                  <c:v>0.97809024575440295</c:v>
                </c:pt>
                <c:pt idx="7852">
                  <c:v>0.97998395431071095</c:v>
                </c:pt>
                <c:pt idx="7853">
                  <c:v>0.95874315498349305</c:v>
                </c:pt>
                <c:pt idx="7854">
                  <c:v>0.99109537949038695</c:v>
                </c:pt>
                <c:pt idx="7855">
                  <c:v>0.91822479547774705</c:v>
                </c:pt>
                <c:pt idx="7856">
                  <c:v>0.77610095842742499</c:v>
                </c:pt>
                <c:pt idx="7857">
                  <c:v>0.74948144338546996</c:v>
                </c:pt>
                <c:pt idx="7858">
                  <c:v>0.71477631287606402</c:v>
                </c:pt>
                <c:pt idx="7859">
                  <c:v>0.71091050201743999</c:v>
                </c:pt>
                <c:pt idx="7860">
                  <c:v>0.60465396460804599</c:v>
                </c:pt>
                <c:pt idx="7861">
                  <c:v>0.48396199735546303</c:v>
                </c:pt>
                <c:pt idx="7862">
                  <c:v>0.33666392003592099</c:v>
                </c:pt>
                <c:pt idx="7863">
                  <c:v>0.19337161424322899</c:v>
                </c:pt>
                <c:pt idx="7864">
                  <c:v>7.8306612621112201E-2</c:v>
                </c:pt>
                <c:pt idx="7865">
                  <c:v>-1.1888080025763199E-2</c:v>
                </c:pt>
                <c:pt idx="7866">
                  <c:v>-6.9126848229943E-2</c:v>
                </c:pt>
                <c:pt idx="7867">
                  <c:v>-0.13672120233670901</c:v>
                </c:pt>
                <c:pt idx="7868">
                  <c:v>-0.21844041154756599</c:v>
                </c:pt>
                <c:pt idx="7869">
                  <c:v>-0.29396317202590599</c:v>
                </c:pt>
                <c:pt idx="7870">
                  <c:v>-0.357087814223503</c:v>
                </c:pt>
                <c:pt idx="7871">
                  <c:v>-0.432610574701843</c:v>
                </c:pt>
                <c:pt idx="7872">
                  <c:v>-0.450808892544456</c:v>
                </c:pt>
                <c:pt idx="7873">
                  <c:v>-0.469007210387069</c:v>
                </c:pt>
                <c:pt idx="7874">
                  <c:v>-0.48720552822968199</c:v>
                </c:pt>
                <c:pt idx="7875">
                  <c:v>-0.50540384607229505</c:v>
                </c:pt>
                <c:pt idx="7876">
                  <c:v>-0.51330945196318001</c:v>
                </c:pt>
                <c:pt idx="7877">
                  <c:v>-0.52121505785406497</c:v>
                </c:pt>
                <c:pt idx="7878">
                  <c:v>-0.52912066374495004</c:v>
                </c:pt>
                <c:pt idx="7879">
                  <c:v>-0.537026269635835</c:v>
                </c:pt>
                <c:pt idx="7880">
                  <c:v>-0.50815615196286601</c:v>
                </c:pt>
                <c:pt idx="7881">
                  <c:v>-0.47928603428989702</c:v>
                </c:pt>
                <c:pt idx="7882">
                  <c:v>-0.45041591661692798</c:v>
                </c:pt>
                <c:pt idx="7883">
                  <c:v>-0.42154579894395899</c:v>
                </c:pt>
                <c:pt idx="7884">
                  <c:v>-0.423188229625371</c:v>
                </c:pt>
                <c:pt idx="7885">
                  <c:v>-0.42483066030678301</c:v>
                </c:pt>
                <c:pt idx="7886">
                  <c:v>-0.42647309098819502</c:v>
                </c:pt>
                <c:pt idx="7887">
                  <c:v>-0.37656503021365201</c:v>
                </c:pt>
                <c:pt idx="7888">
                  <c:v>-0.328411385527352</c:v>
                </c:pt>
                <c:pt idx="7889">
                  <c:v>-0.422437024514418</c:v>
                </c:pt>
                <c:pt idx="7890">
                  <c:v>-0.40731337668456602</c:v>
                </c:pt>
                <c:pt idx="7891">
                  <c:v>-0.342681769776918</c:v>
                </c:pt>
                <c:pt idx="7892">
                  <c:v>-0.256226631996752</c:v>
                </c:pt>
                <c:pt idx="7893">
                  <c:v>-0.35963842183085198</c:v>
                </c:pt>
                <c:pt idx="7894">
                  <c:v>-0.419738701319671</c:v>
                </c:pt>
                <c:pt idx="7895">
                  <c:v>-0.46124441379523001</c:v>
                </c:pt>
                <c:pt idx="7896">
                  <c:v>-0.41316798535010602</c:v>
                </c:pt>
                <c:pt idx="7897">
                  <c:v>-0.25783665763871499</c:v>
                </c:pt>
                <c:pt idx="7898">
                  <c:v>-0.22616411900118499</c:v>
                </c:pt>
                <c:pt idx="7899">
                  <c:v>-0.21928259610942999</c:v>
                </c:pt>
                <c:pt idx="7900">
                  <c:v>-0.12103996039378601</c:v>
                </c:pt>
                <c:pt idx="7901">
                  <c:v>0.13177485646025699</c:v>
                </c:pt>
                <c:pt idx="7902">
                  <c:v>0.22388989504142501</c:v>
                </c:pt>
                <c:pt idx="7903">
                  <c:v>0.33044558428149701</c:v>
                </c:pt>
                <c:pt idx="7904">
                  <c:v>0.32383679416710198</c:v>
                </c:pt>
                <c:pt idx="7905">
                  <c:v>0.36666189071674998</c:v>
                </c:pt>
                <c:pt idx="7906">
                  <c:v>0.41772596837707099</c:v>
                </c:pt>
                <c:pt idx="7907">
                  <c:v>0.477029027148065</c:v>
                </c:pt>
                <c:pt idx="7908">
                  <c:v>0.50908912035355203</c:v>
                </c:pt>
                <c:pt idx="7909">
                  <c:v>0.56382362451290302</c:v>
                </c:pt>
                <c:pt idx="7910">
                  <c:v>0.63707862327175901</c:v>
                </c:pt>
                <c:pt idx="7911">
                  <c:v>0.59687705321611895</c:v>
                </c:pt>
                <c:pt idx="7912">
                  <c:v>0.627341111231282</c:v>
                </c:pt>
                <c:pt idx="7913">
                  <c:v>0.67639973625970395</c:v>
                </c:pt>
                <c:pt idx="7914">
                  <c:v>0.66771142109965598</c:v>
                </c:pt>
                <c:pt idx="7915">
                  <c:v>0.68781989321223302</c:v>
                </c:pt>
                <c:pt idx="7916">
                  <c:v>0.83732295491926101</c:v>
                </c:pt>
                <c:pt idx="7917">
                  <c:v>0.95598669697550498</c:v>
                </c:pt>
                <c:pt idx="7918">
                  <c:v>1.04358368132399</c:v>
                </c:pt>
                <c:pt idx="7919">
                  <c:v>1.22808519985187</c:v>
                </c:pt>
                <c:pt idx="7920">
                  <c:v>1.3807438342344101</c:v>
                </c:pt>
                <c:pt idx="7921">
                  <c:v>1.50437824328735</c:v>
                </c:pt>
                <c:pt idx="7922">
                  <c:v>1.4526447853515301</c:v>
                </c:pt>
                <c:pt idx="7923">
                  <c:v>1.40726114179146</c:v>
                </c:pt>
                <c:pt idx="7924">
                  <c:v>1.48510171708226</c:v>
                </c:pt>
                <c:pt idx="7925">
                  <c:v>1.52559979270331</c:v>
                </c:pt>
                <c:pt idx="7926">
                  <c:v>1.41794435315975</c:v>
                </c:pt>
                <c:pt idx="7927">
                  <c:v>1.3740100852959201</c:v>
                </c:pt>
                <c:pt idx="7928">
                  <c:v>1.42416841928938</c:v>
                </c:pt>
                <c:pt idx="7929">
                  <c:v>1.4293535142595899</c:v>
                </c:pt>
                <c:pt idx="7930">
                  <c:v>1.424029657683999</c:v>
                </c:pt>
                <c:pt idx="7931">
                  <c:v>1.3812099357954499</c:v>
                </c:pt>
                <c:pt idx="7932">
                  <c:v>1.57585553169169</c:v>
                </c:pt>
                <c:pt idx="7933">
                  <c:v>1.5495465590030399</c:v>
                </c:pt>
                <c:pt idx="7934">
                  <c:v>1.42625375890554</c:v>
                </c:pt>
                <c:pt idx="7935">
                  <c:v>1.4908062373069999</c:v>
                </c:pt>
                <c:pt idx="7936">
                  <c:v>1.6687956459072799</c:v>
                </c:pt>
                <c:pt idx="7937">
                  <c:v>1.5909061015156001</c:v>
                </c:pt>
                <c:pt idx="7938">
                  <c:v>1.5315370517234099</c:v>
                </c:pt>
                <c:pt idx="7939">
                  <c:v>1.2927150701861601</c:v>
                </c:pt>
                <c:pt idx="7940">
                  <c:v>1.3557819162368401</c:v>
                </c:pt>
                <c:pt idx="7941">
                  <c:v>1.48479976488665</c:v>
                </c:pt>
                <c:pt idx="7942">
                  <c:v>0.89160208222239401</c:v>
                </c:pt>
                <c:pt idx="7943">
                  <c:v>1.0301278286696101</c:v>
                </c:pt>
                <c:pt idx="7944">
                  <c:v>1.2272213433533901</c:v>
                </c:pt>
                <c:pt idx="7945">
                  <c:v>1.0679011822234401</c:v>
                </c:pt>
                <c:pt idx="7946">
                  <c:v>1.0481225065031701</c:v>
                </c:pt>
                <c:pt idx="7947">
                  <c:v>1.15790277893427</c:v>
                </c:pt>
                <c:pt idx="7948">
                  <c:v>1.14998283133561</c:v>
                </c:pt>
                <c:pt idx="7949">
                  <c:v>1.09239633820023</c:v>
                </c:pt>
                <c:pt idx="7950">
                  <c:v>0.94870166728618299</c:v>
                </c:pt>
                <c:pt idx="7951">
                  <c:v>1.0433396484559301</c:v>
                </c:pt>
                <c:pt idx="7952">
                  <c:v>1.0221177973145901</c:v>
                </c:pt>
                <c:pt idx="7953">
                  <c:v>0.98827038983552296</c:v>
                </c:pt>
                <c:pt idx="7954">
                  <c:v>0.85547824572503495</c:v>
                </c:pt>
                <c:pt idx="7955">
                  <c:v>0.67733205889110704</c:v>
                </c:pt>
                <c:pt idx="7956">
                  <c:v>0.58581411356345403</c:v>
                </c:pt>
                <c:pt idx="7957">
                  <c:v>0.47365906884438402</c:v>
                </c:pt>
                <c:pt idx="7958">
                  <c:v>0.42925228047677799</c:v>
                </c:pt>
                <c:pt idx="7959">
                  <c:v>0.35808601639899301</c:v>
                </c:pt>
                <c:pt idx="7960">
                  <c:v>0.27240502924855098</c:v>
                </c:pt>
                <c:pt idx="7961">
                  <c:v>0.27130975122622603</c:v>
                </c:pt>
                <c:pt idx="7962">
                  <c:v>0.20768293674199001</c:v>
                </c:pt>
                <c:pt idx="7963">
                  <c:v>0.133774608768921</c:v>
                </c:pt>
                <c:pt idx="7964">
                  <c:v>5.5633071212028803E-2</c:v>
                </c:pt>
                <c:pt idx="7965">
                  <c:v>-1.4042047177215199E-2</c:v>
                </c:pt>
                <c:pt idx="7966">
                  <c:v>-8.2943488878589405E-2</c:v>
                </c:pt>
                <c:pt idx="7967">
                  <c:v>-0.108533420234683</c:v>
                </c:pt>
                <c:pt idx="7968">
                  <c:v>-0.13003828683446</c:v>
                </c:pt>
                <c:pt idx="7969">
                  <c:v>-0.14534670470172101</c:v>
                </c:pt>
                <c:pt idx="7970">
                  <c:v>-0.18083765097912</c:v>
                </c:pt>
                <c:pt idx="7971">
                  <c:v>-0.333865010011618</c:v>
                </c:pt>
                <c:pt idx="7972">
                  <c:v>-0.41682138298865501</c:v>
                </c:pt>
                <c:pt idx="7973">
                  <c:v>-0.36357270378357998</c:v>
                </c:pt>
                <c:pt idx="7974">
                  <c:v>-0.229280722661376</c:v>
                </c:pt>
                <c:pt idx="7975">
                  <c:v>-0.37768558020794202</c:v>
                </c:pt>
                <c:pt idx="7976">
                  <c:v>-0.41066540897560799</c:v>
                </c:pt>
                <c:pt idx="7977">
                  <c:v>-0.41878014958374499</c:v>
                </c:pt>
                <c:pt idx="7978">
                  <c:v>-0.26915541019725397</c:v>
                </c:pt>
                <c:pt idx="7979">
                  <c:v>-0.364959082223547</c:v>
                </c:pt>
                <c:pt idx="7980">
                  <c:v>-0.33287075559215601</c:v>
                </c:pt>
                <c:pt idx="7981">
                  <c:v>-0.183246016205666</c:v>
                </c:pt>
                <c:pt idx="7982">
                  <c:v>-0.262568084949245</c:v>
                </c:pt>
                <c:pt idx="7983">
                  <c:v>-0.27386170001552201</c:v>
                </c:pt>
                <c:pt idx="7984">
                  <c:v>-0.301707349716901</c:v>
                </c:pt>
                <c:pt idx="7985">
                  <c:v>-0.26968945443789799</c:v>
                </c:pt>
                <c:pt idx="7986">
                  <c:v>-0.25038704876287099</c:v>
                </c:pt>
                <c:pt idx="7987">
                  <c:v>-0.239397696612271</c:v>
                </c:pt>
                <c:pt idx="7988">
                  <c:v>-0.23657325315859201</c:v>
                </c:pt>
                <c:pt idx="7989">
                  <c:v>-0.244104395607499</c:v>
                </c:pt>
                <c:pt idx="7990">
                  <c:v>-0.21016838805839799</c:v>
                </c:pt>
                <c:pt idx="7991">
                  <c:v>-0.17411577571738601</c:v>
                </c:pt>
                <c:pt idx="7992">
                  <c:v>-0.150461281657117</c:v>
                </c:pt>
                <c:pt idx="7993">
                  <c:v>-3.3987318173771403E-2</c:v>
                </c:pt>
                <c:pt idx="7994">
                  <c:v>4.8665060984967E-2</c:v>
                </c:pt>
                <c:pt idx="7995">
                  <c:v>0.28392116131769801</c:v>
                </c:pt>
                <c:pt idx="7996">
                  <c:v>0.32529934169359898</c:v>
                </c:pt>
                <c:pt idx="7997">
                  <c:v>0.37907564035024599</c:v>
                </c:pt>
                <c:pt idx="7998">
                  <c:v>0.31841011319302198</c:v>
                </c:pt>
                <c:pt idx="7999">
                  <c:v>0.18972135317420899</c:v>
                </c:pt>
                <c:pt idx="8000">
                  <c:v>0.438274260707532</c:v>
                </c:pt>
                <c:pt idx="8001">
                  <c:v>0.701415963727265</c:v>
                </c:pt>
                <c:pt idx="8002">
                  <c:v>0.73252968084422798</c:v>
                </c:pt>
                <c:pt idx="8003">
                  <c:v>0.72449102478598104</c:v>
                </c:pt>
                <c:pt idx="8004">
                  <c:v>0.71645236872773299</c:v>
                </c:pt>
                <c:pt idx="8005">
                  <c:v>0.70841371266948505</c:v>
                </c:pt>
                <c:pt idx="8006">
                  <c:v>0.710941605087137</c:v>
                </c:pt>
                <c:pt idx="8007">
                  <c:v>0.71346949750478805</c:v>
                </c:pt>
                <c:pt idx="8008">
                  <c:v>0.715997389922439</c:v>
                </c:pt>
                <c:pt idx="8009">
                  <c:v>0.71852528234009005</c:v>
                </c:pt>
                <c:pt idx="8010">
                  <c:v>0.71611322689037804</c:v>
                </c:pt>
                <c:pt idx="8011">
                  <c:v>0.71370117144066603</c:v>
                </c:pt>
                <c:pt idx="8012">
                  <c:v>0.71128911599095401</c:v>
                </c:pt>
                <c:pt idx="8013">
                  <c:v>0.708877060541242</c:v>
                </c:pt>
                <c:pt idx="8014">
                  <c:v>0.70866914306633599</c:v>
                </c:pt>
                <c:pt idx="8015">
                  <c:v>0.70846122559142899</c:v>
                </c:pt>
                <c:pt idx="8016">
                  <c:v>0.70825330811652298</c:v>
                </c:pt>
                <c:pt idx="8017">
                  <c:v>0.70804539064161698</c:v>
                </c:pt>
                <c:pt idx="8018">
                  <c:v>1.45752334197551</c:v>
                </c:pt>
                <c:pt idx="8019">
                  <c:v>1.52187008437968</c:v>
                </c:pt>
                <c:pt idx="8020">
                  <c:v>1.350980193999</c:v>
                </c:pt>
                <c:pt idx="8021">
                  <c:v>1.3079134506779599</c:v>
                </c:pt>
                <c:pt idx="8022">
                  <c:v>1.2811675520513199</c:v>
                </c:pt>
                <c:pt idx="8023">
                  <c:v>1.21919575854684</c:v>
                </c:pt>
                <c:pt idx="8024">
                  <c:v>1.3822583775678501</c:v>
                </c:pt>
                <c:pt idx="8025">
                  <c:v>1.42770006978858</c:v>
                </c:pt>
                <c:pt idx="8026">
                  <c:v>1.4509432900148891</c:v>
                </c:pt>
                <c:pt idx="8027">
                  <c:v>1.2843779925935599</c:v>
                </c:pt>
                <c:pt idx="8028">
                  <c:v>1.2621138044532101</c:v>
                </c:pt>
                <c:pt idx="8029">
                  <c:v>1.2090102966620799</c:v>
                </c:pt>
                <c:pt idx="8030">
                  <c:v>1.1875977592204301</c:v>
                </c:pt>
                <c:pt idx="8031">
                  <c:v>1.20753349297537</c:v>
                </c:pt>
                <c:pt idx="8032">
                  <c:v>1.2831047829425799</c:v>
                </c:pt>
                <c:pt idx="8033">
                  <c:v>1.32964662676448</c:v>
                </c:pt>
                <c:pt idx="8034">
                  <c:v>1.32868754270863</c:v>
                </c:pt>
                <c:pt idx="8035">
                  <c:v>1.2349037684139901</c:v>
                </c:pt>
                <c:pt idx="8036">
                  <c:v>1.33916749287767</c:v>
                </c:pt>
                <c:pt idx="8037">
                  <c:v>1.3196138418085599</c:v>
                </c:pt>
                <c:pt idx="8038">
                  <c:v>1.14987036026996</c:v>
                </c:pt>
                <c:pt idx="8039">
                  <c:v>1.1347835739149501</c:v>
                </c:pt>
                <c:pt idx="8040">
                  <c:v>1.1094945673005601</c:v>
                </c:pt>
                <c:pt idx="8041">
                  <c:v>0.92962293791635697</c:v>
                </c:pt>
                <c:pt idx="8042">
                  <c:v>0.88393150790096997</c:v>
                </c:pt>
                <c:pt idx="8043">
                  <c:v>0.84451581984756696</c:v>
                </c:pt>
                <c:pt idx="8044">
                  <c:v>0.81106914246970296</c:v>
                </c:pt>
                <c:pt idx="8045">
                  <c:v>0.67239965657230405</c:v>
                </c:pt>
                <c:pt idx="8046">
                  <c:v>0.62969309805271101</c:v>
                </c:pt>
                <c:pt idx="8047">
                  <c:v>0.64473870053730198</c:v>
                </c:pt>
                <c:pt idx="8048">
                  <c:v>0.65154532191121906</c:v>
                </c:pt>
                <c:pt idx="8049">
                  <c:v>0.65835194328513602</c:v>
                </c:pt>
                <c:pt idx="8050">
                  <c:v>0.59367084594553299</c:v>
                </c:pt>
                <c:pt idx="8051">
                  <c:v>0.51863416270334495</c:v>
                </c:pt>
                <c:pt idx="8052">
                  <c:v>0.42500291244789601</c:v>
                </c:pt>
                <c:pt idx="8053">
                  <c:v>0.304538114068514</c:v>
                </c:pt>
                <c:pt idx="8054">
                  <c:v>0.20348407067378399</c:v>
                </c:pt>
                <c:pt idx="8055">
                  <c:v>0.114902217973552</c:v>
                </c:pt>
                <c:pt idx="8056">
                  <c:v>3.66018787621517E-2</c:v>
                </c:pt>
                <c:pt idx="8057">
                  <c:v>-2.10613610578303E-2</c:v>
                </c:pt>
                <c:pt idx="8058">
                  <c:v>-0.123654916914384</c:v>
                </c:pt>
                <c:pt idx="8059">
                  <c:v>0.186456969347431</c:v>
                </c:pt>
                <c:pt idx="8060">
                  <c:v>6.3226314099459599E-2</c:v>
                </c:pt>
                <c:pt idx="8061">
                  <c:v>6.5776273532974605E-2</c:v>
                </c:pt>
                <c:pt idx="8062">
                  <c:v>-3.2560695473660098E-2</c:v>
                </c:pt>
                <c:pt idx="8063">
                  <c:v>-1.13187193470374E-2</c:v>
                </c:pt>
                <c:pt idx="8064">
                  <c:v>3.8008804608233599E-3</c:v>
                </c:pt>
                <c:pt idx="8065">
                  <c:v>1.8920480268684099E-2</c:v>
                </c:pt>
                <c:pt idx="8066">
                  <c:v>-6.8029901583664301E-2</c:v>
                </c:pt>
                <c:pt idx="8067">
                  <c:v>-0.11787044263896</c:v>
                </c:pt>
                <c:pt idx="8068">
                  <c:v>-0.22953776782332899</c:v>
                </c:pt>
                <c:pt idx="8069">
                  <c:v>-0.293887811135568</c:v>
                </c:pt>
                <c:pt idx="8070">
                  <c:v>-0.31889473926332101</c:v>
                </c:pt>
                <c:pt idx="8071">
                  <c:v>-0.284112194824446</c:v>
                </c:pt>
                <c:pt idx="8072">
                  <c:v>-0.24932965038557101</c:v>
                </c:pt>
                <c:pt idx="8073">
                  <c:v>-0.21454710594669499</c:v>
                </c:pt>
                <c:pt idx="8074">
                  <c:v>-0.184065965593187</c:v>
                </c:pt>
                <c:pt idx="8075">
                  <c:v>-0.15358482523967801</c:v>
                </c:pt>
                <c:pt idx="8076">
                  <c:v>-9.6121991934728104E-2</c:v>
                </c:pt>
                <c:pt idx="8077">
                  <c:v>-5.12054217380302E-2</c:v>
                </c:pt>
                <c:pt idx="8078">
                  <c:v>-7.4613034383815793E-2</c:v>
                </c:pt>
                <c:pt idx="8079">
                  <c:v>-0.10013725182151299</c:v>
                </c:pt>
                <c:pt idx="8080">
                  <c:v>-7.3962832975748696E-2</c:v>
                </c:pt>
                <c:pt idx="8081">
                  <c:v>-4.5745881751825097E-2</c:v>
                </c:pt>
                <c:pt idx="8082">
                  <c:v>-6.5687548721836103E-2</c:v>
                </c:pt>
                <c:pt idx="8083">
                  <c:v>-2.1611754357107899E-2</c:v>
                </c:pt>
                <c:pt idx="8084">
                  <c:v>-8.0557649674821402E-2</c:v>
                </c:pt>
                <c:pt idx="8085">
                  <c:v>-8.5915741974135901E-2</c:v>
                </c:pt>
                <c:pt idx="8086">
                  <c:v>-8.70336660780603E-3</c:v>
                </c:pt>
                <c:pt idx="8087">
                  <c:v>-1.6145551967634699E-2</c:v>
                </c:pt>
                <c:pt idx="8088">
                  <c:v>4.4514788763594E-2</c:v>
                </c:pt>
                <c:pt idx="8089">
                  <c:v>5.5741242830779497E-2</c:v>
                </c:pt>
                <c:pt idx="8090">
                  <c:v>0.21777186653423899</c:v>
                </c:pt>
                <c:pt idx="8091">
                  <c:v>0.24367151046934099</c:v>
                </c:pt>
                <c:pt idx="8092">
                  <c:v>0.30676028843096098</c:v>
                </c:pt>
                <c:pt idx="8093">
                  <c:v>0.39252347734644499</c:v>
                </c:pt>
                <c:pt idx="8094">
                  <c:v>0.39594377783242002</c:v>
                </c:pt>
                <c:pt idx="8095">
                  <c:v>0.43443660755300301</c:v>
                </c:pt>
                <c:pt idx="8096">
                  <c:v>0.730676673737645</c:v>
                </c:pt>
                <c:pt idx="8097">
                  <c:v>1.0126346757223199</c:v>
                </c:pt>
                <c:pt idx="8098">
                  <c:v>1.0263897798775901</c:v>
                </c:pt>
                <c:pt idx="8099">
                  <c:v>1.04014488403285</c:v>
                </c:pt>
                <c:pt idx="8100">
                  <c:v>0.995999682356425</c:v>
                </c:pt>
                <c:pt idx="8101">
                  <c:v>0.82403655443606805</c:v>
                </c:pt>
                <c:pt idx="8102">
                  <c:v>0.81045858217520494</c:v>
                </c:pt>
                <c:pt idx="8103">
                  <c:v>1.0196398311889801</c:v>
                </c:pt>
                <c:pt idx="8104">
                  <c:v>1.28672138603444</c:v>
                </c:pt>
                <c:pt idx="8105">
                  <c:v>1.4588668666649101</c:v>
                </c:pt>
                <c:pt idx="8106">
                  <c:v>1.5984660493218701</c:v>
                </c:pt>
                <c:pt idx="8107">
                  <c:v>1.5297414405473799</c:v>
                </c:pt>
                <c:pt idx="8108">
                  <c:v>1.5950364275650499</c:v>
                </c:pt>
                <c:pt idx="8109">
                  <c:v>1.6067383907485999</c:v>
                </c:pt>
                <c:pt idx="8110">
                  <c:v>1.5783095425126701</c:v>
                </c:pt>
                <c:pt idx="8111">
                  <c:v>1.6199516803321901</c:v>
                </c:pt>
                <c:pt idx="8112">
                  <c:v>1.56280011723739</c:v>
                </c:pt>
                <c:pt idx="8113">
                  <c:v>1.5673271934441499</c:v>
                </c:pt>
                <c:pt idx="8114">
                  <c:v>1.5952961098389999</c:v>
                </c:pt>
                <c:pt idx="8115">
                  <c:v>1.6602267222034</c:v>
                </c:pt>
                <c:pt idx="8116">
                  <c:v>1.58312619572193</c:v>
                </c:pt>
                <c:pt idx="8117">
                  <c:v>1.5617352978665</c:v>
                </c:pt>
                <c:pt idx="8118">
                  <c:v>1.57267544524164</c:v>
                </c:pt>
                <c:pt idx="8119">
                  <c:v>1.4845151604160001</c:v>
                </c:pt>
                <c:pt idx="8120">
                  <c:v>1.4583402461783801</c:v>
                </c:pt>
                <c:pt idx="8121">
                  <c:v>1.47524940422906</c:v>
                </c:pt>
                <c:pt idx="8122">
                  <c:v>1.33069512652522</c:v>
                </c:pt>
                <c:pt idx="8123">
                  <c:v>1.54723738951719</c:v>
                </c:pt>
                <c:pt idx="8124">
                  <c:v>1.3757702704599599</c:v>
                </c:pt>
                <c:pt idx="8125">
                  <c:v>1.4478580585277101</c:v>
                </c:pt>
                <c:pt idx="8126">
                  <c:v>1.3405559210756299</c:v>
                </c:pt>
                <c:pt idx="8127">
                  <c:v>1.3759724574560499</c:v>
                </c:pt>
                <c:pt idx="8128">
                  <c:v>1.51229929954271</c:v>
                </c:pt>
                <c:pt idx="8129">
                  <c:v>1.42389846039033</c:v>
                </c:pt>
                <c:pt idx="8130">
                  <c:v>1.6479202682059799</c:v>
                </c:pt>
                <c:pt idx="8131">
                  <c:v>1.42541370475213</c:v>
                </c:pt>
                <c:pt idx="8132">
                  <c:v>1.5019442389923201</c:v>
                </c:pt>
                <c:pt idx="8133">
                  <c:v>1.4963124001827499</c:v>
                </c:pt>
                <c:pt idx="8134">
                  <c:v>1.48211589175597</c:v>
                </c:pt>
                <c:pt idx="8135">
                  <c:v>1.2986686718435001</c:v>
                </c:pt>
                <c:pt idx="8136">
                  <c:v>1.25559608291464</c:v>
                </c:pt>
                <c:pt idx="8137">
                  <c:v>1.1321709944414799</c:v>
                </c:pt>
                <c:pt idx="8138">
                  <c:v>1.03698544087214</c:v>
                </c:pt>
                <c:pt idx="8139">
                  <c:v>0.94792226362155896</c:v>
                </c:pt>
                <c:pt idx="8140">
                  <c:v>1.0467043648699399</c:v>
                </c:pt>
                <c:pt idx="8141">
                  <c:v>0.77834162151751396</c:v>
                </c:pt>
                <c:pt idx="8142">
                  <c:v>0.75726989879777895</c:v>
                </c:pt>
                <c:pt idx="8143">
                  <c:v>0.79198709793353805</c:v>
                </c:pt>
                <c:pt idx="8144">
                  <c:v>0.81022633484794804</c:v>
                </c:pt>
                <c:pt idx="8145">
                  <c:v>0.80782847237094102</c:v>
                </c:pt>
                <c:pt idx="8146">
                  <c:v>0.74333202189828995</c:v>
                </c:pt>
                <c:pt idx="8147">
                  <c:v>0.62327930844283397</c:v>
                </c:pt>
                <c:pt idx="8148">
                  <c:v>0.51796875611700999</c:v>
                </c:pt>
                <c:pt idx="8149">
                  <c:v>0.43306786512563</c:v>
                </c:pt>
                <c:pt idx="8150">
                  <c:v>0.30705672587138599</c:v>
                </c:pt>
                <c:pt idx="8151">
                  <c:v>0.22216641975675699</c:v>
                </c:pt>
                <c:pt idx="8152">
                  <c:v>0.155870680655389</c:v>
                </c:pt>
                <c:pt idx="8153">
                  <c:v>8.3452565235258597E-2</c:v>
                </c:pt>
                <c:pt idx="8154">
                  <c:v>7.8399033145184292E-3</c:v>
                </c:pt>
                <c:pt idx="8155">
                  <c:v>0.26057441244100299</c:v>
                </c:pt>
                <c:pt idx="8156">
                  <c:v>0.21580107017104599</c:v>
                </c:pt>
                <c:pt idx="8157">
                  <c:v>0.23089127288147099</c:v>
                </c:pt>
                <c:pt idx="8158">
                  <c:v>0.173942066015423</c:v>
                </c:pt>
                <c:pt idx="8159">
                  <c:v>0.22621621838004499</c:v>
                </c:pt>
                <c:pt idx="8160">
                  <c:v>0.177580065038424</c:v>
                </c:pt>
                <c:pt idx="8161">
                  <c:v>0.18230949747394201</c:v>
                </c:pt>
                <c:pt idx="8162">
                  <c:v>0.14051491399223801</c:v>
                </c:pt>
                <c:pt idx="8163">
                  <c:v>0.12351134625631099</c:v>
                </c:pt>
                <c:pt idx="8164">
                  <c:v>-4.9062579159538898E-3</c:v>
                </c:pt>
                <c:pt idx="8165">
                  <c:v>-5.6982354886488402E-2</c:v>
                </c:pt>
                <c:pt idx="8166">
                  <c:v>-9.1623676999703502E-2</c:v>
                </c:pt>
                <c:pt idx="8167">
                  <c:v>-0.12619092669916401</c:v>
                </c:pt>
                <c:pt idx="8168">
                  <c:v>-0.14639681896918899</c:v>
                </c:pt>
                <c:pt idx="8169">
                  <c:v>-0.13976916311528001</c:v>
                </c:pt>
                <c:pt idx="8170">
                  <c:v>-0.140009117901577</c:v>
                </c:pt>
                <c:pt idx="8171">
                  <c:v>-0.14024907268787301</c:v>
                </c:pt>
                <c:pt idx="8172">
                  <c:v>-0.140489027474169</c:v>
                </c:pt>
                <c:pt idx="8173">
                  <c:v>-0.14072898226046601</c:v>
                </c:pt>
                <c:pt idx="8174">
                  <c:v>-0.14231040364654601</c:v>
                </c:pt>
                <c:pt idx="8175">
                  <c:v>-0.14389182503262599</c:v>
                </c:pt>
                <c:pt idx="8176">
                  <c:v>-0.20941663533969099</c:v>
                </c:pt>
                <c:pt idx="8177">
                  <c:v>-0.21923703783644499</c:v>
                </c:pt>
                <c:pt idx="8178">
                  <c:v>-6.4952887204988999E-2</c:v>
                </c:pt>
                <c:pt idx="8179">
                  <c:v>-0.16841597303759301</c:v>
                </c:pt>
                <c:pt idx="8180">
                  <c:v>-0.18941517534970501</c:v>
                </c:pt>
                <c:pt idx="8181">
                  <c:v>-0.208297772869905</c:v>
                </c:pt>
                <c:pt idx="8182">
                  <c:v>-7.5001490325137102E-2</c:v>
                </c:pt>
                <c:pt idx="8183">
                  <c:v>-0.149944485166633</c:v>
                </c:pt>
                <c:pt idx="8184">
                  <c:v>-0.16101816350089701</c:v>
                </c:pt>
                <c:pt idx="8185">
                  <c:v>-0.16173625593257601</c:v>
                </c:pt>
                <c:pt idx="8186">
                  <c:v>-0.103817914517292</c:v>
                </c:pt>
                <c:pt idx="8187">
                  <c:v>9.6353782985111297E-2</c:v>
                </c:pt>
                <c:pt idx="8188">
                  <c:v>6.3569259769230099E-2</c:v>
                </c:pt>
                <c:pt idx="8189">
                  <c:v>0.13584895861394899</c:v>
                </c:pt>
                <c:pt idx="8190">
                  <c:v>7.6329218382415701E-2</c:v>
                </c:pt>
                <c:pt idx="8191">
                  <c:v>3.3287440372230102E-2</c:v>
                </c:pt>
                <c:pt idx="8192">
                  <c:v>0.12637664213040201</c:v>
                </c:pt>
                <c:pt idx="8193">
                  <c:v>0.15967637132194601</c:v>
                </c:pt>
                <c:pt idx="8194">
                  <c:v>0.360904446708255</c:v>
                </c:pt>
                <c:pt idx="8195">
                  <c:v>0.50657625911175996</c:v>
                </c:pt>
                <c:pt idx="8196">
                  <c:v>0.66865196132285898</c:v>
                </c:pt>
                <c:pt idx="8197">
                  <c:v>0.81228646216391798</c:v>
                </c:pt>
                <c:pt idx="8198">
                  <c:v>0.88260464066689004</c:v>
                </c:pt>
                <c:pt idx="8199">
                  <c:v>1.2253485859812301</c:v>
                </c:pt>
                <c:pt idx="8200">
                  <c:v>1.36173197901281</c:v>
                </c:pt>
                <c:pt idx="8201">
                  <c:v>1.3022637713074501</c:v>
                </c:pt>
                <c:pt idx="8202">
                  <c:v>1.439140415037</c:v>
                </c:pt>
                <c:pt idx="8203">
                  <c:v>1.3509826462410699</c:v>
                </c:pt>
                <c:pt idx="8204">
                  <c:v>1.4443944139821201</c:v>
                </c:pt>
                <c:pt idx="8205">
                  <c:v>1.32297398945705</c:v>
                </c:pt>
                <c:pt idx="8206">
                  <c:v>1.20275520253738</c:v>
                </c:pt>
                <c:pt idx="8207">
                  <c:v>1.26002610821407</c:v>
                </c:pt>
                <c:pt idx="8208">
                  <c:v>1.54233142641625</c:v>
                </c:pt>
                <c:pt idx="8209">
                  <c:v>1.49618939707888</c:v>
                </c:pt>
                <c:pt idx="8210">
                  <c:v>1.5123453896091199</c:v>
                </c:pt>
                <c:pt idx="8211">
                  <c:v>1.2785966606386401</c:v>
                </c:pt>
                <c:pt idx="8212">
                  <c:v>1.48471453645975</c:v>
                </c:pt>
                <c:pt idx="8213">
                  <c:v>1.4737302495796101</c:v>
                </c:pt>
                <c:pt idx="8214">
                  <c:v>1.744094840537</c:v>
                </c:pt>
                <c:pt idx="8215">
                  <c:v>1.06967534623743</c:v>
                </c:pt>
                <c:pt idx="8216">
                  <c:v>1.2339762280454201</c:v>
                </c:pt>
                <c:pt idx="8217">
                  <c:v>1.2360689685458</c:v>
                </c:pt>
                <c:pt idx="8218">
                  <c:v>1.1283201203600399</c:v>
                </c:pt>
                <c:pt idx="8219">
                  <c:v>0.88746664942572395</c:v>
                </c:pt>
                <c:pt idx="8220">
                  <c:v>0.871578739418851</c:v>
                </c:pt>
                <c:pt idx="8221">
                  <c:v>1.0117025219870801</c:v>
                </c:pt>
                <c:pt idx="8222">
                  <c:v>0.91234650982784005</c:v>
                </c:pt>
                <c:pt idx="8223">
                  <c:v>0.955604584874162</c:v>
                </c:pt>
                <c:pt idx="8224">
                  <c:v>0.88366506919855903</c:v>
                </c:pt>
                <c:pt idx="8225">
                  <c:v>0.61571536632707302</c:v>
                </c:pt>
                <c:pt idx="8226">
                  <c:v>0.55333409217649299</c:v>
                </c:pt>
                <c:pt idx="8227">
                  <c:v>0.67676078496242797</c:v>
                </c:pt>
                <c:pt idx="8228">
                  <c:v>0.24176465243478401</c:v>
                </c:pt>
                <c:pt idx="8229">
                  <c:v>0.21478284492320701</c:v>
                </c:pt>
                <c:pt idx="8230">
                  <c:v>0.171323075190283</c:v>
                </c:pt>
                <c:pt idx="8231">
                  <c:v>0.144341267678706</c:v>
                </c:pt>
                <c:pt idx="8232">
                  <c:v>0.11735946016713</c:v>
                </c:pt>
                <c:pt idx="8233">
                  <c:v>0.12369311587093</c:v>
                </c:pt>
                <c:pt idx="8234">
                  <c:v>0.113548809353382</c:v>
                </c:pt>
                <c:pt idx="8235">
                  <c:v>0.12600484137594301</c:v>
                </c:pt>
                <c:pt idx="8236">
                  <c:v>0.11994037879899901</c:v>
                </c:pt>
                <c:pt idx="8237">
                  <c:v>0.13061800046312999</c:v>
                </c:pt>
                <c:pt idx="8238">
                  <c:v>0.170018336986132</c:v>
                </c:pt>
                <c:pt idx="8239">
                  <c:v>0.19717392087161001</c:v>
                </c:pt>
                <c:pt idx="8240">
                  <c:v>0.21609052364641601</c:v>
                </c:pt>
                <c:pt idx="8241">
                  <c:v>0.263052330688267</c:v>
                </c:pt>
                <c:pt idx="8242">
                  <c:v>0.29761601944937399</c:v>
                </c:pt>
                <c:pt idx="8243">
                  <c:v>0.34457782649122498</c:v>
                </c:pt>
                <c:pt idx="8244">
                  <c:v>0.39153963353307702</c:v>
                </c:pt>
                <c:pt idx="8245">
                  <c:v>0.30666491160863601</c:v>
                </c:pt>
                <c:pt idx="8246">
                  <c:v>0.29718347508911003</c:v>
                </c:pt>
                <c:pt idx="8247">
                  <c:v>0.24650713301621599</c:v>
                </c:pt>
                <c:pt idx="8248">
                  <c:v>0.16093507633851101</c:v>
                </c:pt>
                <c:pt idx="8249">
                  <c:v>6.7049966136376996E-2</c:v>
                </c:pt>
                <c:pt idx="8250">
                  <c:v>-1.23204209930994E-2</c:v>
                </c:pt>
                <c:pt idx="8251">
                  <c:v>0.16690336046815399</c:v>
                </c:pt>
                <c:pt idx="8252">
                  <c:v>0.28283200410085702</c:v>
                </c:pt>
                <c:pt idx="8253">
                  <c:v>0.31425423183490903</c:v>
                </c:pt>
                <c:pt idx="8254">
                  <c:v>0.34144324998513798</c:v>
                </c:pt>
                <c:pt idx="8255">
                  <c:v>0.42441596917514601</c:v>
                </c:pt>
                <c:pt idx="8256">
                  <c:v>0.34603192959525803</c:v>
                </c:pt>
                <c:pt idx="8257">
                  <c:v>0.294481438139303</c:v>
                </c:pt>
                <c:pt idx="8258">
                  <c:v>0.27588687112604299</c:v>
                </c:pt>
                <c:pt idx="8259">
                  <c:v>-9.5171624688961301E-2</c:v>
                </c:pt>
                <c:pt idx="8260">
                  <c:v>-4.89836842821171E-2</c:v>
                </c:pt>
                <c:pt idx="8261">
                  <c:v>-0.10378012199526999</c:v>
                </c:pt>
                <c:pt idx="8262">
                  <c:v>-0.10498353587431</c:v>
                </c:pt>
                <c:pt idx="8263">
                  <c:v>-0.104149638190906</c:v>
                </c:pt>
                <c:pt idx="8264">
                  <c:v>-0.132832300195009</c:v>
                </c:pt>
                <c:pt idx="8265">
                  <c:v>-9.7645645691881597E-2</c:v>
                </c:pt>
                <c:pt idx="8266">
                  <c:v>-0.13048744486605601</c:v>
                </c:pt>
                <c:pt idx="8267">
                  <c:v>-0.12825671480562301</c:v>
                </c:pt>
                <c:pt idx="8268">
                  <c:v>-0.174413722148268</c:v>
                </c:pt>
                <c:pt idx="8269">
                  <c:v>-0.103108389149569</c:v>
                </c:pt>
                <c:pt idx="8270">
                  <c:v>-0.18638045810498099</c:v>
                </c:pt>
                <c:pt idx="8271">
                  <c:v>-0.181061046405425</c:v>
                </c:pt>
                <c:pt idx="8272">
                  <c:v>-0.20422025597754101</c:v>
                </c:pt>
                <c:pt idx="8273">
                  <c:v>-0.16131947183675999</c:v>
                </c:pt>
                <c:pt idx="8274">
                  <c:v>-0.200956643630224</c:v>
                </c:pt>
                <c:pt idx="8275">
                  <c:v>-0.224041780788587</c:v>
                </c:pt>
                <c:pt idx="8276">
                  <c:v>-0.18968545186251401</c:v>
                </c:pt>
                <c:pt idx="8277">
                  <c:v>-0.18828504737913601</c:v>
                </c:pt>
                <c:pt idx="8278">
                  <c:v>-0.213718191019691</c:v>
                </c:pt>
                <c:pt idx="8279">
                  <c:v>-0.22055676764698701</c:v>
                </c:pt>
                <c:pt idx="8280">
                  <c:v>-7.0670134513509203E-2</c:v>
                </c:pt>
                <c:pt idx="8281">
                  <c:v>-0.108464972604344</c:v>
                </c:pt>
                <c:pt idx="8282">
                  <c:v>-4.1116295405111199E-2</c:v>
                </c:pt>
                <c:pt idx="8283">
                  <c:v>7.7118871946154103E-3</c:v>
                </c:pt>
                <c:pt idx="8284">
                  <c:v>8.5348081266801504E-2</c:v>
                </c:pt>
                <c:pt idx="8285">
                  <c:v>8.3380217868375493E-3</c:v>
                </c:pt>
                <c:pt idx="8286">
                  <c:v>-3.9875250420501801E-2</c:v>
                </c:pt>
                <c:pt idx="8287">
                  <c:v>-6.1254974503908398E-2</c:v>
                </c:pt>
                <c:pt idx="8288">
                  <c:v>-0.25416752895230998</c:v>
                </c:pt>
                <c:pt idx="8289">
                  <c:v>2.5766130557726098E-3</c:v>
                </c:pt>
                <c:pt idx="8290">
                  <c:v>0.25138850523962403</c:v>
                </c:pt>
                <c:pt idx="8291">
                  <c:v>0.45069765916139198</c:v>
                </c:pt>
                <c:pt idx="8292">
                  <c:v>0.73767009829837704</c:v>
                </c:pt>
                <c:pt idx="8293">
                  <c:v>0.80014751506901205</c:v>
                </c:pt>
                <c:pt idx="8294">
                  <c:v>0.71975289236392903</c:v>
                </c:pt>
                <c:pt idx="8295">
                  <c:v>0.93038382429918398</c:v>
                </c:pt>
                <c:pt idx="8296">
                  <c:v>0.74960469385795003</c:v>
                </c:pt>
                <c:pt idx="8297">
                  <c:v>0.72401642794371202</c:v>
                </c:pt>
                <c:pt idx="8298">
                  <c:v>0.76615510523604702</c:v>
                </c:pt>
                <c:pt idx="8299">
                  <c:v>0.87851813422706404</c:v>
                </c:pt>
                <c:pt idx="8300">
                  <c:v>1.0248081823700601</c:v>
                </c:pt>
                <c:pt idx="8301">
                  <c:v>1.0101657933674899</c:v>
                </c:pt>
                <c:pt idx="8302">
                  <c:v>1.1420944840810501</c:v>
                </c:pt>
                <c:pt idx="8303">
                  <c:v>1.02608169244258</c:v>
                </c:pt>
                <c:pt idx="8304">
                  <c:v>1.0981579046533501</c:v>
                </c:pt>
                <c:pt idx="8305">
                  <c:v>1.17681659011254</c:v>
                </c:pt>
                <c:pt idx="8306">
                  <c:v>1.13959014986318</c:v>
                </c:pt>
                <c:pt idx="8307">
                  <c:v>1.09624133329505</c:v>
                </c:pt>
                <c:pt idx="8308">
                  <c:v>1.0748793641796299</c:v>
                </c:pt>
                <c:pt idx="8309">
                  <c:v>1.05351739506421</c:v>
                </c:pt>
                <c:pt idx="8310">
                  <c:v>1.03215542594879</c:v>
                </c:pt>
                <c:pt idx="8311">
                  <c:v>1.0107934568333701</c:v>
                </c:pt>
                <c:pt idx="8312">
                  <c:v>0.96396547563990298</c:v>
                </c:pt>
                <c:pt idx="8313">
                  <c:v>0.917137494446433</c:v>
                </c:pt>
                <c:pt idx="8314">
                  <c:v>0.87030951325296402</c:v>
                </c:pt>
                <c:pt idx="8315">
                  <c:v>0.82348153205949404</c:v>
                </c:pt>
                <c:pt idx="8316">
                  <c:v>0.83789103765263595</c:v>
                </c:pt>
                <c:pt idx="8317">
                  <c:v>0.85230054324577798</c:v>
                </c:pt>
                <c:pt idx="8318">
                  <c:v>0.86671004883892</c:v>
                </c:pt>
                <c:pt idx="8319">
                  <c:v>0.88111955443206202</c:v>
                </c:pt>
                <c:pt idx="8320">
                  <c:v>0.88558662586055303</c:v>
                </c:pt>
                <c:pt idx="8321">
                  <c:v>0.89005369728904304</c:v>
                </c:pt>
                <c:pt idx="8322">
                  <c:v>0.79521819185725695</c:v>
                </c:pt>
                <c:pt idx="8323">
                  <c:v>0.807157416180314</c:v>
                </c:pt>
                <c:pt idx="8324">
                  <c:v>0.51474064509282702</c:v>
                </c:pt>
                <c:pt idx="8325">
                  <c:v>0.19987690110845099</c:v>
                </c:pt>
                <c:pt idx="8326">
                  <c:v>-5.3075544701669503E-2</c:v>
                </c:pt>
                <c:pt idx="8327">
                  <c:v>-0.149630273420783</c:v>
                </c:pt>
                <c:pt idx="8328">
                  <c:v>-0.23100025780223299</c:v>
                </c:pt>
                <c:pt idx="8329">
                  <c:v>-0.27637670840865097</c:v>
                </c:pt>
                <c:pt idx="8330">
                  <c:v>-0.28547980871326101</c:v>
                </c:pt>
                <c:pt idx="8331">
                  <c:v>-0.24076766794249499</c:v>
                </c:pt>
                <c:pt idx="8332">
                  <c:v>-0.126983708758199</c:v>
                </c:pt>
                <c:pt idx="8333">
                  <c:v>-0.11811582680699501</c:v>
                </c:pt>
                <c:pt idx="8334">
                  <c:v>-0.130033189074717</c:v>
                </c:pt>
                <c:pt idx="8335">
                  <c:v>-0.127589193913004</c:v>
                </c:pt>
                <c:pt idx="8336">
                  <c:v>-9.5835323951176499E-2</c:v>
                </c:pt>
                <c:pt idx="8337">
                  <c:v>-7.2246362686269605E-2</c:v>
                </c:pt>
                <c:pt idx="8338">
                  <c:v>-7.7681626750962199E-2</c:v>
                </c:pt>
                <c:pt idx="8339">
                  <c:v>-8.5233495607567003E-2</c:v>
                </c:pt>
                <c:pt idx="8340">
                  <c:v>-6.88712875423009E-3</c:v>
                </c:pt>
                <c:pt idx="8341">
                  <c:v>1.7866214264993199E-2</c:v>
                </c:pt>
                <c:pt idx="8342">
                  <c:v>4.2619557284216597E-2</c:v>
                </c:pt>
                <c:pt idx="8343">
                  <c:v>7.3495276622201303E-2</c:v>
                </c:pt>
                <c:pt idx="8344">
                  <c:v>1.04473048823727E-2</c:v>
                </c:pt>
                <c:pt idx="8345">
                  <c:v>-2.5841191147275299E-2</c:v>
                </c:pt>
                <c:pt idx="8346">
                  <c:v>-1.05051233072159E-2</c:v>
                </c:pt>
                <c:pt idx="8347">
                  <c:v>-5.7001060411942299E-2</c:v>
                </c:pt>
                <c:pt idx="8348">
                  <c:v>-0.115072438586639</c:v>
                </c:pt>
                <c:pt idx="8349">
                  <c:v>-0.19362755050953201</c:v>
                </c:pt>
                <c:pt idx="8350">
                  <c:v>-0.10725489539144201</c:v>
                </c:pt>
                <c:pt idx="8351">
                  <c:v>-0.38886357536940203</c:v>
                </c:pt>
                <c:pt idx="8352">
                  <c:v>-0.19200648556318001</c:v>
                </c:pt>
                <c:pt idx="8353">
                  <c:v>-0.29087428840759499</c:v>
                </c:pt>
                <c:pt idx="8354">
                  <c:v>-0.31974517761030302</c:v>
                </c:pt>
                <c:pt idx="8355">
                  <c:v>-0.28875774264834198</c:v>
                </c:pt>
                <c:pt idx="8356">
                  <c:v>-0.26497031590769798</c:v>
                </c:pt>
                <c:pt idx="8357">
                  <c:v>-0.22893813652953099</c:v>
                </c:pt>
                <c:pt idx="8358">
                  <c:v>-0.215506295691473</c:v>
                </c:pt>
                <c:pt idx="8359">
                  <c:v>-0.21650988469660401</c:v>
                </c:pt>
                <c:pt idx="8360">
                  <c:v>-0.23939868493468799</c:v>
                </c:pt>
                <c:pt idx="8361">
                  <c:v>-0.27664884260220601</c:v>
                </c:pt>
                <c:pt idx="8362">
                  <c:v>-0.29537850567021801</c:v>
                </c:pt>
                <c:pt idx="8363">
                  <c:v>-0.29967273889504098</c:v>
                </c:pt>
                <c:pt idx="8364">
                  <c:v>-0.28016768238301498</c:v>
                </c:pt>
                <c:pt idx="8365">
                  <c:v>-0.27714058809233599</c:v>
                </c:pt>
                <c:pt idx="8366">
                  <c:v>-0.265874512690984</c:v>
                </c:pt>
                <c:pt idx="8367">
                  <c:v>-0.26284741840030601</c:v>
                </c:pt>
                <c:pt idx="8368">
                  <c:v>-0.22389932207233601</c:v>
                </c:pt>
                <c:pt idx="8369">
                  <c:v>-0.174595639841779</c:v>
                </c:pt>
                <c:pt idx="8370">
                  <c:v>-0.108813995389875</c:v>
                </c:pt>
                <c:pt idx="8371">
                  <c:v>8.2743042927800603E-2</c:v>
                </c:pt>
                <c:pt idx="8372">
                  <c:v>4.3422052961207797E-2</c:v>
                </c:pt>
                <c:pt idx="8373">
                  <c:v>4.0269905808609204E-3</c:v>
                </c:pt>
                <c:pt idx="8374">
                  <c:v>2.85012447077455E-2</c:v>
                </c:pt>
                <c:pt idx="8375">
                  <c:v>5.7134636004700902E-2</c:v>
                </c:pt>
                <c:pt idx="8376">
                  <c:v>0.17247381242217499</c:v>
                </c:pt>
                <c:pt idx="8377">
                  <c:v>0.30429095106099602</c:v>
                </c:pt>
                <c:pt idx="8378">
                  <c:v>0.43610808969981801</c:v>
                </c:pt>
                <c:pt idx="8379">
                  <c:v>0.56792522833863901</c:v>
                </c:pt>
                <c:pt idx="8380">
                  <c:v>0.59668625395712804</c:v>
                </c:pt>
                <c:pt idx="8381">
                  <c:v>0.62741573954002205</c:v>
                </c:pt>
                <c:pt idx="8382">
                  <c:v>0.72843320760392405</c:v>
                </c:pt>
                <c:pt idx="8383">
                  <c:v>0.86444913248868005</c:v>
                </c:pt>
                <c:pt idx="8384">
                  <c:v>0.80289166985226201</c:v>
                </c:pt>
                <c:pt idx="8385">
                  <c:v>0.73097862131325897</c:v>
                </c:pt>
                <c:pt idx="8386">
                  <c:v>0.65906557277425604</c:v>
                </c:pt>
                <c:pt idx="8387">
                  <c:v>0.58715252423525299</c:v>
                </c:pt>
                <c:pt idx="8388">
                  <c:v>0.66702035286212802</c:v>
                </c:pt>
                <c:pt idx="8389">
                  <c:v>0.74688818148900304</c:v>
                </c:pt>
                <c:pt idx="8390">
                  <c:v>0.82675601011587896</c:v>
                </c:pt>
                <c:pt idx="8391">
                  <c:v>0.90662383874275398</c:v>
                </c:pt>
                <c:pt idx="8392">
                  <c:v>0.82682854553138596</c:v>
                </c:pt>
                <c:pt idx="8393">
                  <c:v>0.74703325232001805</c:v>
                </c:pt>
                <c:pt idx="8394">
                  <c:v>0.66723795910865102</c:v>
                </c:pt>
                <c:pt idx="8395">
                  <c:v>0.587442665897283</c:v>
                </c:pt>
                <c:pt idx="8396">
                  <c:v>0.58144280767223899</c:v>
                </c:pt>
                <c:pt idx="8397">
                  <c:v>0.57544294944719399</c:v>
                </c:pt>
                <c:pt idx="8398">
                  <c:v>0.56944309122214998</c:v>
                </c:pt>
                <c:pt idx="8399">
                  <c:v>0.56344323299710597</c:v>
                </c:pt>
                <c:pt idx="8400">
                  <c:v>1.1830430487480199</c:v>
                </c:pt>
                <c:pt idx="8401">
                  <c:v>1.15946897920406</c:v>
                </c:pt>
                <c:pt idx="8402">
                  <c:v>1.1111779663280801</c:v>
                </c:pt>
                <c:pt idx="8403">
                  <c:v>1.13295793950756</c:v>
                </c:pt>
                <c:pt idx="8404">
                  <c:v>1.2495731287943901</c:v>
                </c:pt>
                <c:pt idx="8405">
                  <c:v>1.3147118990390101</c:v>
                </c:pt>
                <c:pt idx="8406">
                  <c:v>1.39405866106985</c:v>
                </c:pt>
                <c:pt idx="8407">
                  <c:v>1.43455456039621</c:v>
                </c:pt>
                <c:pt idx="8408">
                  <c:v>1.3886407537609999</c:v>
                </c:pt>
                <c:pt idx="8409">
                  <c:v>1.4334350325726699</c:v>
                </c:pt>
                <c:pt idx="8410">
                  <c:v>1.3878279572239001</c:v>
                </c:pt>
                <c:pt idx="8411">
                  <c:v>1.4240765236384501</c:v>
                </c:pt>
                <c:pt idx="8412">
                  <c:v>1.4599706630834199</c:v>
                </c:pt>
                <c:pt idx="8413">
                  <c:v>1.5943212579431001</c:v>
                </c:pt>
                <c:pt idx="8414">
                  <c:v>1.54328042459536</c:v>
                </c:pt>
                <c:pt idx="8415">
                  <c:v>1.8348949305733799</c:v>
                </c:pt>
                <c:pt idx="8416">
                  <c:v>1.5748981179010799</c:v>
                </c:pt>
                <c:pt idx="8417">
                  <c:v>1.5681242632697201</c:v>
                </c:pt>
                <c:pt idx="8418">
                  <c:v>1.7103448244328401</c:v>
                </c:pt>
                <c:pt idx="8419">
                  <c:v>1.4479246756821791</c:v>
                </c:pt>
                <c:pt idx="8420">
                  <c:v>1.2600480678658801</c:v>
                </c:pt>
                <c:pt idx="8421">
                  <c:v>1.01472603033183</c:v>
                </c:pt>
                <c:pt idx="8422">
                  <c:v>0.969414730704795</c:v>
                </c:pt>
                <c:pt idx="8423">
                  <c:v>0.68773923895837397</c:v>
                </c:pt>
                <c:pt idx="8424">
                  <c:v>0.93779998238291196</c:v>
                </c:pt>
                <c:pt idx="8425">
                  <c:v>1.2228591826283</c:v>
                </c:pt>
                <c:pt idx="8426">
                  <c:v>1.0992719014330801</c:v>
                </c:pt>
                <c:pt idx="8427">
                  <c:v>0.52630855098924401</c:v>
                </c:pt>
                <c:pt idx="8428">
                  <c:v>0.31832125553624702</c:v>
                </c:pt>
                <c:pt idx="8429">
                  <c:v>-3.0380946860628002E-3</c:v>
                </c:pt>
                <c:pt idx="8430">
                  <c:v>-2.4741606506384901E-3</c:v>
                </c:pt>
                <c:pt idx="8431">
                  <c:v>4.96402648407403E-2</c:v>
                </c:pt>
                <c:pt idx="8432">
                  <c:v>1.8280819182242801E-2</c:v>
                </c:pt>
                <c:pt idx="8433">
                  <c:v>-5.6538281649043301E-2</c:v>
                </c:pt>
                <c:pt idx="8434">
                  <c:v>-8.7897727307540904E-2</c:v>
                </c:pt>
                <c:pt idx="8435">
                  <c:v>-0.11925717296603799</c:v>
                </c:pt>
                <c:pt idx="8436">
                  <c:v>-0.165797431635585</c:v>
                </c:pt>
                <c:pt idx="8437">
                  <c:v>-0.15670735490857299</c:v>
                </c:pt>
                <c:pt idx="8438">
                  <c:v>-0.15797286408414801</c:v>
                </c:pt>
                <c:pt idx="8439">
                  <c:v>-0.148882787357136</c:v>
                </c:pt>
                <c:pt idx="8440">
                  <c:v>-0.14022410685587799</c:v>
                </c:pt>
                <c:pt idx="8441">
                  <c:v>-0.133607958732778</c:v>
                </c:pt>
                <c:pt idx="8442">
                  <c:v>-0.12699181060967801</c:v>
                </c:pt>
                <c:pt idx="8443">
                  <c:v>-0.12037566248657899</c:v>
                </c:pt>
                <c:pt idx="8444">
                  <c:v>-0.13078467962823401</c:v>
                </c:pt>
                <c:pt idx="8445">
                  <c:v>-0.14119369676988899</c:v>
                </c:pt>
                <c:pt idx="8446">
                  <c:v>-0.15160271391154401</c:v>
                </c:pt>
                <c:pt idx="8447">
                  <c:v>-0.16201173105319899</c:v>
                </c:pt>
                <c:pt idx="8448">
                  <c:v>-0.172580427910239</c:v>
                </c:pt>
                <c:pt idx="8449">
                  <c:v>-0.18314912476727899</c:v>
                </c:pt>
                <c:pt idx="8450">
                  <c:v>-0.193717821624319</c:v>
                </c:pt>
                <c:pt idx="8451">
                  <c:v>-0.20428651848135801</c:v>
                </c:pt>
                <c:pt idx="8452">
                  <c:v>-0.177810510097096</c:v>
                </c:pt>
                <c:pt idx="8453">
                  <c:v>-0.151334501712833</c:v>
                </c:pt>
                <c:pt idx="8454">
                  <c:v>-0.124858493328571</c:v>
                </c:pt>
                <c:pt idx="8455">
                  <c:v>-9.8382484944308193E-2</c:v>
                </c:pt>
                <c:pt idx="8456">
                  <c:v>-0.10629570508613601</c:v>
                </c:pt>
                <c:pt idx="8457">
                  <c:v>-0.17392432538083899</c:v>
                </c:pt>
                <c:pt idx="8458">
                  <c:v>-0.196272975365856</c:v>
                </c:pt>
                <c:pt idx="8459">
                  <c:v>-0.171230271064988</c:v>
                </c:pt>
                <c:pt idx="8460">
                  <c:v>-0.123613966912545</c:v>
                </c:pt>
                <c:pt idx="8461">
                  <c:v>-0.12762222662981301</c:v>
                </c:pt>
                <c:pt idx="8462">
                  <c:v>-0.121274900444494</c:v>
                </c:pt>
                <c:pt idx="8463">
                  <c:v>4.9223370401242595E-4</c:v>
                </c:pt>
                <c:pt idx="8464">
                  <c:v>-3.3649232555191901E-2</c:v>
                </c:pt>
                <c:pt idx="8465">
                  <c:v>-6.7864771228150197E-2</c:v>
                </c:pt>
                <c:pt idx="8466">
                  <c:v>-6.9050313044659001E-2</c:v>
                </c:pt>
                <c:pt idx="8467">
                  <c:v>-5.9954341372335997E-2</c:v>
                </c:pt>
                <c:pt idx="8468">
                  <c:v>0.13496340347906</c:v>
                </c:pt>
                <c:pt idx="8469">
                  <c:v>7.4176444244553705E-2</c:v>
                </c:pt>
                <c:pt idx="8470">
                  <c:v>0.10825148681128299</c:v>
                </c:pt>
                <c:pt idx="8471">
                  <c:v>0.17323992144254899</c:v>
                </c:pt>
                <c:pt idx="8472">
                  <c:v>0.28869388639247801</c:v>
                </c:pt>
                <c:pt idx="8473">
                  <c:v>0.41858328118559601</c:v>
                </c:pt>
                <c:pt idx="8474">
                  <c:v>0.53403724613552395</c:v>
                </c:pt>
                <c:pt idx="8475">
                  <c:v>0.61033883791024202</c:v>
                </c:pt>
                <c:pt idx="8476">
                  <c:v>0.59983754455510896</c:v>
                </c:pt>
                <c:pt idx="8477">
                  <c:v>0.591378783578134</c:v>
                </c:pt>
                <c:pt idx="8478">
                  <c:v>0.58087749022300095</c:v>
                </c:pt>
                <c:pt idx="8479">
                  <c:v>0.72502245042001801</c:v>
                </c:pt>
                <c:pt idx="8480">
                  <c:v>0.60336861954501697</c:v>
                </c:pt>
                <c:pt idx="8481">
                  <c:v>0.582773239203768</c:v>
                </c:pt>
                <c:pt idx="8482">
                  <c:v>0.59929292047528404</c:v>
                </c:pt>
                <c:pt idx="8483">
                  <c:v>0.642566856641266</c:v>
                </c:pt>
                <c:pt idx="8484">
                  <c:v>0.77673414505903804</c:v>
                </c:pt>
                <c:pt idx="8485">
                  <c:v>0.82216180799433503</c:v>
                </c:pt>
                <c:pt idx="8486">
                  <c:v>0.93372875787199805</c:v>
                </c:pt>
                <c:pt idx="8487">
                  <c:v>1.11325008901321</c:v>
                </c:pt>
                <c:pt idx="8488">
                  <c:v>1.1215288533774199</c:v>
                </c:pt>
                <c:pt idx="8489">
                  <c:v>1.3236907585141691</c:v>
                </c:pt>
                <c:pt idx="8490">
                  <c:v>0.85068498461105202</c:v>
                </c:pt>
                <c:pt idx="8491">
                  <c:v>0.97431470534040598</c:v>
                </c:pt>
                <c:pt idx="8492">
                  <c:v>0.92218495517806598</c:v>
                </c:pt>
                <c:pt idx="8493">
                  <c:v>0.86816603828078698</c:v>
                </c:pt>
                <c:pt idx="8494">
                  <c:v>0.89026641134397799</c:v>
                </c:pt>
                <c:pt idx="8495">
                  <c:v>0.84025326597354999</c:v>
                </c:pt>
                <c:pt idx="8496">
                  <c:v>0.78720505126473195</c:v>
                </c:pt>
                <c:pt idx="8497">
                  <c:v>0.81647779606461102</c:v>
                </c:pt>
                <c:pt idx="8498">
                  <c:v>1.2531012455613</c:v>
                </c:pt>
                <c:pt idx="8499">
                  <c:v>1.3959839248188901</c:v>
                </c:pt>
                <c:pt idx="8500">
                  <c:v>1.16057444614314</c:v>
                </c:pt>
                <c:pt idx="8501">
                  <c:v>0.74088021533166004</c:v>
                </c:pt>
                <c:pt idx="8502">
                  <c:v>0.736929035970879</c:v>
                </c:pt>
                <c:pt idx="8503">
                  <c:v>0.83986239380759697</c:v>
                </c:pt>
                <c:pt idx="8504">
                  <c:v>0.83338179918580801</c:v>
                </c:pt>
                <c:pt idx="8505">
                  <c:v>0.75062854896033104</c:v>
                </c:pt>
                <c:pt idx="8506">
                  <c:v>0.72766999211719596</c:v>
                </c:pt>
                <c:pt idx="8507">
                  <c:v>0.68626501308830901</c:v>
                </c:pt>
                <c:pt idx="8508">
                  <c:v>0.62724628311501296</c:v>
                </c:pt>
                <c:pt idx="8509">
                  <c:v>0.74843246133684704</c:v>
                </c:pt>
                <c:pt idx="8510">
                  <c:v>0.63574663511568597</c:v>
                </c:pt>
                <c:pt idx="8511">
                  <c:v>0.75836629327740901</c:v>
                </c:pt>
                <c:pt idx="8512">
                  <c:v>0.79342071603187103</c:v>
                </c:pt>
                <c:pt idx="8513">
                  <c:v>1.0285599491071</c:v>
                </c:pt>
                <c:pt idx="8514">
                  <c:v>1.1029994039094599</c:v>
                </c:pt>
                <c:pt idx="8515">
                  <c:v>1.18363530744434</c:v>
                </c:pt>
                <c:pt idx="8516">
                  <c:v>1.08929349392396</c:v>
                </c:pt>
                <c:pt idx="8517">
                  <c:v>0.852465665443779</c:v>
                </c:pt>
                <c:pt idx="8518">
                  <c:v>0.80536706138178105</c:v>
                </c:pt>
                <c:pt idx="8519">
                  <c:v>0.63460444743021005</c:v>
                </c:pt>
                <c:pt idx="8520">
                  <c:v>0.755696297419578</c:v>
                </c:pt>
                <c:pt idx="8521">
                  <c:v>0.750933460313707</c:v>
                </c:pt>
                <c:pt idx="8522">
                  <c:v>0.66362744645787797</c:v>
                </c:pt>
                <c:pt idx="8523">
                  <c:v>0.72281321908870599</c:v>
                </c:pt>
                <c:pt idx="8524">
                  <c:v>0.77269379770741597</c:v>
                </c:pt>
                <c:pt idx="8525">
                  <c:v>0.82877082505864197</c:v>
                </c:pt>
                <c:pt idx="8526">
                  <c:v>0.82089924267316905</c:v>
                </c:pt>
                <c:pt idx="8527">
                  <c:v>0.72428803480522097</c:v>
                </c:pt>
                <c:pt idx="8528">
                  <c:v>0.63677943005230797</c:v>
                </c:pt>
                <c:pt idx="8529">
                  <c:v>0.53060218587238195</c:v>
                </c:pt>
                <c:pt idx="8530">
                  <c:v>0.39577629924733898</c:v>
                </c:pt>
                <c:pt idx="8531">
                  <c:v>0.30418785055382203</c:v>
                </c:pt>
                <c:pt idx="8532">
                  <c:v>0.22011553422570901</c:v>
                </c:pt>
                <c:pt idx="8533">
                  <c:v>0.17723812345096501</c:v>
                </c:pt>
                <c:pt idx="8534">
                  <c:v>0.119999355246784</c:v>
                </c:pt>
                <c:pt idx="8535">
                  <c:v>7.9238549263952004E-2</c:v>
                </c:pt>
                <c:pt idx="8536">
                  <c:v>5.1186436300962403E-2</c:v>
                </c:pt>
                <c:pt idx="8537">
                  <c:v>3.5453148389250198E-2</c:v>
                </c:pt>
                <c:pt idx="8538">
                  <c:v>4.0356959868956099E-2</c:v>
                </c:pt>
                <c:pt idx="8539">
                  <c:v>4.3218238970503503E-2</c:v>
                </c:pt>
                <c:pt idx="8540">
                  <c:v>2.5019921127890601E-2</c:v>
                </c:pt>
                <c:pt idx="8541">
                  <c:v>6.8216032852776399E-3</c:v>
                </c:pt>
                <c:pt idx="8542">
                  <c:v>-1.1376714557335301E-2</c:v>
                </c:pt>
                <c:pt idx="8543">
                  <c:v>-2.9575032399948201E-2</c:v>
                </c:pt>
                <c:pt idx="8544">
                  <c:v>-3.7480638290833201E-2</c:v>
                </c:pt>
                <c:pt idx="8545">
                  <c:v>-4.5386244181718202E-2</c:v>
                </c:pt>
                <c:pt idx="8546">
                  <c:v>-5.3291850072603099E-2</c:v>
                </c:pt>
                <c:pt idx="8547">
                  <c:v>-6.11974559634881E-2</c:v>
                </c:pt>
                <c:pt idx="8548">
                  <c:v>-3.2327338290519099E-2</c:v>
                </c:pt>
                <c:pt idx="8549">
                  <c:v>-3.4572206175499899E-3</c:v>
                </c:pt>
                <c:pt idx="8550">
                  <c:v>2.54128970554191E-2</c:v>
                </c:pt>
                <c:pt idx="8551">
                  <c:v>5.4283014728388097E-2</c:v>
                </c:pt>
                <c:pt idx="8552">
                  <c:v>5.2640584046976101E-2</c:v>
                </c:pt>
                <c:pt idx="8553">
                  <c:v>5.0998153365564097E-2</c:v>
                </c:pt>
                <c:pt idx="8554">
                  <c:v>4.9355722684152101E-2</c:v>
                </c:pt>
                <c:pt idx="8555">
                  <c:v>-1.2076180563888299E-2</c:v>
                </c:pt>
                <c:pt idx="8556">
                  <c:v>-1.54730273335428E-2</c:v>
                </c:pt>
                <c:pt idx="8557">
                  <c:v>-2.3919118818496298E-3</c:v>
                </c:pt>
                <c:pt idx="8558">
                  <c:v>-1.62962148143265E-3</c:v>
                </c:pt>
                <c:pt idx="8559">
                  <c:v>-5.0264682510871902E-3</c:v>
                </c:pt>
                <c:pt idx="8560">
                  <c:v>0.108114072825504</c:v>
                </c:pt>
                <c:pt idx="8561">
                  <c:v>-1.78980555487049E-2</c:v>
                </c:pt>
                <c:pt idx="8562">
                  <c:v>-5.3281391705502598E-2</c:v>
                </c:pt>
                <c:pt idx="8563">
                  <c:v>-0.105068617669894</c:v>
                </c:pt>
                <c:pt idx="8564">
                  <c:v>-5.4875584432858102E-2</c:v>
                </c:pt>
                <c:pt idx="8565">
                  <c:v>9.0100157375946996E-2</c:v>
                </c:pt>
                <c:pt idx="8566">
                  <c:v>8.8816771570781897E-2</c:v>
                </c:pt>
                <c:pt idx="8567">
                  <c:v>0.128728291318987</c:v>
                </c:pt>
                <c:pt idx="8568">
                  <c:v>0.23105077097523399</c:v>
                </c:pt>
                <c:pt idx="8569">
                  <c:v>0.33548985542339399</c:v>
                </c:pt>
                <c:pt idx="8570">
                  <c:v>0.39873403431818499</c:v>
                </c:pt>
                <c:pt idx="8571">
                  <c:v>0.52789006209836598</c:v>
                </c:pt>
                <c:pt idx="8572">
                  <c:v>0.57283176343992503</c:v>
                </c:pt>
                <c:pt idx="8573">
                  <c:v>0.50016297961263201</c:v>
                </c:pt>
                <c:pt idx="8574">
                  <c:v>0.625377887269017</c:v>
                </c:pt>
                <c:pt idx="8575">
                  <c:v>0.72587585159338097</c:v>
                </c:pt>
                <c:pt idx="8576">
                  <c:v>0.68990749112156602</c:v>
                </c:pt>
                <c:pt idx="8577">
                  <c:v>0.64358354474716495</c:v>
                </c:pt>
                <c:pt idx="8578">
                  <c:v>0.59725959837276399</c:v>
                </c:pt>
                <c:pt idx="8579">
                  <c:v>0.55093565199836303</c:v>
                </c:pt>
                <c:pt idx="8580">
                  <c:v>0.56492174779217796</c:v>
                </c:pt>
                <c:pt idx="8581">
                  <c:v>0.57890784358599301</c:v>
                </c:pt>
                <c:pt idx="8582">
                  <c:v>0.59289393937980805</c:v>
                </c:pt>
                <c:pt idx="8583">
                  <c:v>0.60688003517362299</c:v>
                </c:pt>
                <c:pt idx="8584">
                  <c:v>0.65328211396874103</c:v>
                </c:pt>
                <c:pt idx="8585">
                  <c:v>0.69968419276385996</c:v>
                </c:pt>
                <c:pt idx="8586">
                  <c:v>0.746086271558978</c:v>
                </c:pt>
                <c:pt idx="8587">
                  <c:v>0.79248835035409604</c:v>
                </c:pt>
                <c:pt idx="8588">
                  <c:v>0.72427693019693495</c:v>
                </c:pt>
                <c:pt idx="8589">
                  <c:v>0.65606551003977398</c:v>
                </c:pt>
                <c:pt idx="8590">
                  <c:v>0.58785408988261301</c:v>
                </c:pt>
                <c:pt idx="8591">
                  <c:v>0.51964266972545203</c:v>
                </c:pt>
                <c:pt idx="8592">
                  <c:v>1.29666304859217</c:v>
                </c:pt>
                <c:pt idx="8593">
                  <c:v>1.3227256943700401</c:v>
                </c:pt>
                <c:pt idx="8594">
                  <c:v>1.2914169828439199</c:v>
                </c:pt>
                <c:pt idx="8595">
                  <c:v>1.2536050912988399</c:v>
                </c:pt>
                <c:pt idx="8596">
                  <c:v>1.2194051542211599</c:v>
                </c:pt>
                <c:pt idx="8597">
                  <c:v>1.2182404348156399</c:v>
                </c:pt>
                <c:pt idx="8598">
                  <c:v>1.21095333909136</c:v>
                </c:pt>
                <c:pt idx="8599">
                  <c:v>1.19527389661318</c:v>
                </c:pt>
                <c:pt idx="8600">
                  <c:v>1.20796915227224</c:v>
                </c:pt>
                <c:pt idx="8601">
                  <c:v>1.2069905854885099</c:v>
                </c:pt>
                <c:pt idx="8602">
                  <c:v>1.22391905073139</c:v>
                </c:pt>
                <c:pt idx="8603">
                  <c:v>1.1395511857521201</c:v>
                </c:pt>
                <c:pt idx="8604">
                  <c:v>1.0558459963281199</c:v>
                </c:pt>
                <c:pt idx="8605">
                  <c:v>1.1924871337318099</c:v>
                </c:pt>
                <c:pt idx="8606">
                  <c:v>1.3210426556680599</c:v>
                </c:pt>
                <c:pt idx="8607">
                  <c:v>1.3342472212391601</c:v>
                </c:pt>
                <c:pt idx="8608">
                  <c:v>1.2834261136279901</c:v>
                </c:pt>
                <c:pt idx="8609">
                  <c:v>1.40410039454019</c:v>
                </c:pt>
                <c:pt idx="8610">
                  <c:v>1.5042421626878999</c:v>
                </c:pt>
                <c:pt idx="8611">
                  <c:v>1.5072467377835299</c:v>
                </c:pt>
                <c:pt idx="8612">
                  <c:v>1.52518883119298</c:v>
                </c:pt>
                <c:pt idx="8613">
                  <c:v>1.23781808494641</c:v>
                </c:pt>
                <c:pt idx="8614">
                  <c:v>1.22884733700245</c:v>
                </c:pt>
                <c:pt idx="8615">
                  <c:v>1.2490594008470399</c:v>
                </c:pt>
                <c:pt idx="8616">
                  <c:v>1.19012313113585</c:v>
                </c:pt>
                <c:pt idx="8617">
                  <c:v>1.19490803310438</c:v>
                </c:pt>
                <c:pt idx="8618">
                  <c:v>1.1851782120002601</c:v>
                </c:pt>
                <c:pt idx="8619">
                  <c:v>0.99795869829975903</c:v>
                </c:pt>
                <c:pt idx="8620">
                  <c:v>0.88783863521700601</c:v>
                </c:pt>
                <c:pt idx="8621">
                  <c:v>0.86034104211367801</c:v>
                </c:pt>
                <c:pt idx="8622">
                  <c:v>0.83057347857521802</c:v>
                </c:pt>
                <c:pt idx="8623">
                  <c:v>0.83384113270892002</c:v>
                </c:pt>
                <c:pt idx="8624">
                  <c:v>0.71752695081977902</c:v>
                </c:pt>
                <c:pt idx="8625">
                  <c:v>0.58443329623856199</c:v>
                </c:pt>
                <c:pt idx="8626">
                  <c:v>0.48868214132708498</c:v>
                </c:pt>
                <c:pt idx="8627">
                  <c:v>0.32709320994397201</c:v>
                </c:pt>
                <c:pt idx="8628">
                  <c:v>0.206265621145169</c:v>
                </c:pt>
                <c:pt idx="8629">
                  <c:v>8.3548865611428894E-2</c:v>
                </c:pt>
                <c:pt idx="8630">
                  <c:v>0.115483584445553</c:v>
                </c:pt>
                <c:pt idx="8631">
                  <c:v>5.4524761442845703E-2</c:v>
                </c:pt>
                <c:pt idx="8632">
                  <c:v>-1.94576389439765E-2</c:v>
                </c:pt>
                <c:pt idx="8633">
                  <c:v>-0.10167902044147301</c:v>
                </c:pt>
                <c:pt idx="8634">
                  <c:v>-0.14058889159368701</c:v>
                </c:pt>
                <c:pt idx="8635">
                  <c:v>-0.152665214621969</c:v>
                </c:pt>
                <c:pt idx="8636">
                  <c:v>-0.14114008436529701</c:v>
                </c:pt>
                <c:pt idx="8637">
                  <c:v>-0.129614954108624</c:v>
                </c:pt>
                <c:pt idx="8638">
                  <c:v>-0.11808982385195201</c:v>
                </c:pt>
                <c:pt idx="8639">
                  <c:v>-0.10656469359527999</c:v>
                </c:pt>
                <c:pt idx="8640">
                  <c:v>-0.129657521591935</c:v>
                </c:pt>
                <c:pt idx="8641">
                  <c:v>-0.15275034958858899</c:v>
                </c:pt>
                <c:pt idx="8642">
                  <c:v>-0.17584317758524401</c:v>
                </c:pt>
                <c:pt idx="8643">
                  <c:v>-0.198936005581899</c:v>
                </c:pt>
                <c:pt idx="8644">
                  <c:v>-0.15550025473408099</c:v>
                </c:pt>
                <c:pt idx="8645">
                  <c:v>-0.112064503886264</c:v>
                </c:pt>
                <c:pt idx="8646">
                  <c:v>-6.8628753038446094E-2</c:v>
                </c:pt>
                <c:pt idx="8647">
                  <c:v>-2.51930021906283E-2</c:v>
                </c:pt>
                <c:pt idx="8648">
                  <c:v>6.8953244407633498E-3</c:v>
                </c:pt>
                <c:pt idx="8649">
                  <c:v>3.8983651072155102E-2</c:v>
                </c:pt>
                <c:pt idx="8650">
                  <c:v>-0.316392793370808</c:v>
                </c:pt>
                <c:pt idx="8651">
                  <c:v>-0.35021631562480698</c:v>
                </c:pt>
                <c:pt idx="8652">
                  <c:v>-0.363626535482997</c:v>
                </c:pt>
                <c:pt idx="8653">
                  <c:v>-0.27386170001552201</c:v>
                </c:pt>
                <c:pt idx="8654">
                  <c:v>-0.35938021749161803</c:v>
                </c:pt>
                <c:pt idx="8655">
                  <c:v>-0.378986886082323</c:v>
                </c:pt>
                <c:pt idx="8656">
                  <c:v>-0.39475700964190302</c:v>
                </c:pt>
                <c:pt idx="8657">
                  <c:v>-0.35897664174552901</c:v>
                </c:pt>
                <c:pt idx="8658">
                  <c:v>-0.29016627699270597</c:v>
                </c:pt>
                <c:pt idx="8659">
                  <c:v>-0.328536739092395</c:v>
                </c:pt>
                <c:pt idx="8660">
                  <c:v>-0.32136020725347397</c:v>
                </c:pt>
                <c:pt idx="8661">
                  <c:v>-0.312067070622641</c:v>
                </c:pt>
                <c:pt idx="8662">
                  <c:v>-0.27805699065978601</c:v>
                </c:pt>
                <c:pt idx="8663">
                  <c:v>-0.235882002000012</c:v>
                </c:pt>
                <c:pt idx="8664">
                  <c:v>-7.4850804077098904E-2</c:v>
                </c:pt>
                <c:pt idx="8665">
                  <c:v>7.9983945113298802E-2</c:v>
                </c:pt>
                <c:pt idx="8666">
                  <c:v>0.10488416326785301</c:v>
                </c:pt>
                <c:pt idx="8667">
                  <c:v>0.21640740211296999</c:v>
                </c:pt>
                <c:pt idx="8668">
                  <c:v>0.203207301655383</c:v>
                </c:pt>
                <c:pt idx="8669">
                  <c:v>0.123735431875065</c:v>
                </c:pt>
                <c:pt idx="8670">
                  <c:v>0.34560293611196202</c:v>
                </c:pt>
                <c:pt idx="8671">
                  <c:v>0.63965803119623299</c:v>
                </c:pt>
                <c:pt idx="8672">
                  <c:v>0.82753982747297194</c:v>
                </c:pt>
                <c:pt idx="8673">
                  <c:v>0.81950117141472401</c:v>
                </c:pt>
                <c:pt idx="8674">
                  <c:v>0.81146251535647695</c:v>
                </c:pt>
                <c:pt idx="8675">
                  <c:v>0.80342385929822902</c:v>
                </c:pt>
                <c:pt idx="8676">
                  <c:v>0.80595175171587996</c:v>
                </c:pt>
                <c:pt idx="8677">
                  <c:v>0.80847964413353102</c:v>
                </c:pt>
                <c:pt idx="8678">
                  <c:v>0.81100753655118296</c:v>
                </c:pt>
                <c:pt idx="8679">
                  <c:v>0.81353542896883402</c:v>
                </c:pt>
                <c:pt idx="8680">
                  <c:v>0.811123373519122</c:v>
                </c:pt>
                <c:pt idx="8681">
                  <c:v>0.80871131806940999</c:v>
                </c:pt>
                <c:pt idx="8682">
                  <c:v>0.80629926261969698</c:v>
                </c:pt>
                <c:pt idx="8683">
                  <c:v>0.80388720716998496</c:v>
                </c:pt>
                <c:pt idx="8684">
                  <c:v>0.80367928969507896</c:v>
                </c:pt>
                <c:pt idx="8685">
                  <c:v>0.80347137222017295</c:v>
                </c:pt>
                <c:pt idx="8686">
                  <c:v>0.80326345474526695</c:v>
                </c:pt>
                <c:pt idx="8687">
                  <c:v>0.80305553727036105</c:v>
                </c:pt>
                <c:pt idx="8688">
                  <c:v>1.0942405342086701</c:v>
                </c:pt>
                <c:pt idx="8689">
                  <c:v>1.08458981225999</c:v>
                </c:pt>
                <c:pt idx="8690">
                  <c:v>1.0130277921370601</c:v>
                </c:pt>
                <c:pt idx="8691">
                  <c:v>0.97427355162931195</c:v>
                </c:pt>
                <c:pt idx="8692">
                  <c:v>1.0528297547516701</c:v>
                </c:pt>
                <c:pt idx="8693">
                  <c:v>1.13947157334148</c:v>
                </c:pt>
                <c:pt idx="8694">
                  <c:v>1.0901253361747301</c:v>
                </c:pt>
                <c:pt idx="8695">
                  <c:v>1.0387365666298101</c:v>
                </c:pt>
                <c:pt idx="8696">
                  <c:v>1.0577465772723</c:v>
                </c:pt>
                <c:pt idx="8697">
                  <c:v>1.01907849932436</c:v>
                </c:pt>
                <c:pt idx="8698">
                  <c:v>1.00959323316496</c:v>
                </c:pt>
                <c:pt idx="8699">
                  <c:v>1.0843921656629401</c:v>
                </c:pt>
                <c:pt idx="8700">
                  <c:v>1.09185570872339</c:v>
                </c:pt>
                <c:pt idx="8701">
                  <c:v>1.0293223381421199</c:v>
                </c:pt>
                <c:pt idx="8702">
                  <c:v>1.3298338956393001</c:v>
                </c:pt>
                <c:pt idx="8703">
                  <c:v>1.3806882422744899</c:v>
                </c:pt>
                <c:pt idx="8704">
                  <c:v>1.3426140966058699</c:v>
                </c:pt>
                <c:pt idx="8705">
                  <c:v>1.3146680987828701</c:v>
                </c:pt>
                <c:pt idx="8706">
                  <c:v>1.37758355204996</c:v>
                </c:pt>
                <c:pt idx="8707">
                  <c:v>1.23882653873207</c:v>
                </c:pt>
                <c:pt idx="8708">
                  <c:v>1.2362912363010199</c:v>
                </c:pt>
                <c:pt idx="8709">
                  <c:v>1.12853312535043</c:v>
                </c:pt>
                <c:pt idx="8710">
                  <c:v>1.1871422928775299</c:v>
                </c:pt>
                <c:pt idx="8711">
                  <c:v>1.04854486227616</c:v>
                </c:pt>
                <c:pt idx="8712">
                  <c:v>0.91834179554641104</c:v>
                </c:pt>
                <c:pt idx="8713">
                  <c:v>0.94234054788628796</c:v>
                </c:pt>
                <c:pt idx="8714">
                  <c:v>0.82030238985345805</c:v>
                </c:pt>
                <c:pt idx="8715">
                  <c:v>0.80348704034016305</c:v>
                </c:pt>
                <c:pt idx="8716">
                  <c:v>0.75662134465049902</c:v>
                </c:pt>
                <c:pt idx="8717">
                  <c:v>0.86653416975204001</c:v>
                </c:pt>
                <c:pt idx="8718">
                  <c:v>0.81127612730848098</c:v>
                </c:pt>
                <c:pt idx="8719">
                  <c:v>0.81808274868239805</c:v>
                </c:pt>
                <c:pt idx="8720">
                  <c:v>0.66034430223131602</c:v>
                </c:pt>
                <c:pt idx="8721">
                  <c:v>0.51931647687426896</c:v>
                </c:pt>
                <c:pt idx="8722">
                  <c:v>0.43611488493516098</c:v>
                </c:pt>
                <c:pt idx="8723">
                  <c:v>0.18162526994790501</c:v>
                </c:pt>
                <c:pt idx="8724">
                  <c:v>1.8813294022141599E-2</c:v>
                </c:pt>
                <c:pt idx="8725">
                  <c:v>-6.5762787151240704E-2</c:v>
                </c:pt>
                <c:pt idx="8726">
                  <c:v>-0.18941716908608</c:v>
                </c:pt>
                <c:pt idx="8727">
                  <c:v>-0.22652260274411101</c:v>
                </c:pt>
                <c:pt idx="8728">
                  <c:v>-0.37235359653219102</c:v>
                </c:pt>
                <c:pt idx="8729">
                  <c:v>-0.466634098864317</c:v>
                </c:pt>
                <c:pt idx="8730">
                  <c:v>-0.47436565291963401</c:v>
                </c:pt>
                <c:pt idx="8731">
                  <c:v>-0.61195766559704001</c:v>
                </c:pt>
                <c:pt idx="8732">
                  <c:v>-0.64634602486697601</c:v>
                </c:pt>
                <c:pt idx="8733">
                  <c:v>-0.57975000601691395</c:v>
                </c:pt>
                <c:pt idx="8734">
                  <c:v>-0.67597037023163697</c:v>
                </c:pt>
                <c:pt idx="8735">
                  <c:v>-0.72275684778231697</c:v>
                </c:pt>
                <c:pt idx="8736">
                  <c:v>-0.82618519185601202</c:v>
                </c:pt>
                <c:pt idx="8737">
                  <c:v>-0.73580968838663297</c:v>
                </c:pt>
                <c:pt idx="8738">
                  <c:v>-0.85163615074107202</c:v>
                </c:pt>
                <c:pt idx="8739">
                  <c:v>-0.87260061129427602</c:v>
                </c:pt>
                <c:pt idx="8740">
                  <c:v>-0.92647839910840801</c:v>
                </c:pt>
                <c:pt idx="8741">
                  <c:v>-0.95359671121236</c:v>
                </c:pt>
                <c:pt idx="8742">
                  <c:v>-0.84458926436366699</c:v>
                </c:pt>
                <c:pt idx="8743">
                  <c:v>-0.89846705217779799</c:v>
                </c:pt>
                <c:pt idx="8744">
                  <c:v>-0.89686199232638097</c:v>
                </c:pt>
                <c:pt idx="8745">
                  <c:v>-0.91996865499127201</c:v>
                </c:pt>
                <c:pt idx="8746">
                  <c:v>-0.92040090670230001</c:v>
                </c:pt>
                <c:pt idx="8747">
                  <c:v>-0.898158747459465</c:v>
                </c:pt>
                <c:pt idx="8748">
                  <c:v>-0.92360889248341005</c:v>
                </c:pt>
                <c:pt idx="8749">
                  <c:v>-0.83771907348477004</c:v>
                </c:pt>
                <c:pt idx="8750">
                  <c:v>-0.84457465149545397</c:v>
                </c:pt>
                <c:pt idx="8751">
                  <c:v>-0.90917716969460804</c:v>
                </c:pt>
                <c:pt idx="8752">
                  <c:v>-0.92692815945895302</c:v>
                </c:pt>
                <c:pt idx="8753">
                  <c:v>-0.93644016811262398</c:v>
                </c:pt>
                <c:pt idx="8754">
                  <c:v>-0.93975572803378005</c:v>
                </c:pt>
                <c:pt idx="8755">
                  <c:v>-0.92455079335543</c:v>
                </c:pt>
                <c:pt idx="8756">
                  <c:v>-0.74847586547672895</c:v>
                </c:pt>
                <c:pt idx="8757">
                  <c:v>-0.80527264427113199</c:v>
                </c:pt>
                <c:pt idx="8758">
                  <c:v>-0.81672060115780898</c:v>
                </c:pt>
                <c:pt idx="8759">
                  <c:v>-0.77253822264792904</c:v>
                </c:pt>
                <c:pt idx="8760">
                  <c:v>-0.67649352024361298</c:v>
                </c:pt>
                <c:pt idx="8761">
                  <c:v>-0.56601338799610801</c:v>
                </c:pt>
                <c:pt idx="8762">
                  <c:v>-0.45553325574860198</c:v>
                </c:pt>
                <c:pt idx="8763">
                  <c:v>-0.36153108572244502</c:v>
                </c:pt>
                <c:pt idx="8764">
                  <c:v>-0.38071112377657901</c:v>
                </c:pt>
                <c:pt idx="8765">
                  <c:v>-0.35876510787538501</c:v>
                </c:pt>
                <c:pt idx="8766">
                  <c:v>-3.1907939281220703E-2</c:v>
                </c:pt>
                <c:pt idx="8767">
                  <c:v>0.22320085213238</c:v>
                </c:pt>
                <c:pt idx="8768">
                  <c:v>0.19969274984737201</c:v>
                </c:pt>
                <c:pt idx="8769">
                  <c:v>0.14118619074151101</c:v>
                </c:pt>
                <c:pt idx="8770">
                  <c:v>8.2679631635649203E-2</c:v>
                </c:pt>
                <c:pt idx="8771">
                  <c:v>2.4173072529787999E-2</c:v>
                </c:pt>
                <c:pt idx="8772">
                  <c:v>2.91896672821845E-2</c:v>
                </c:pt>
                <c:pt idx="8773">
                  <c:v>3.4206262034581103E-2</c:v>
                </c:pt>
                <c:pt idx="8774">
                  <c:v>3.9222856786977699E-2</c:v>
                </c:pt>
                <c:pt idx="8775">
                  <c:v>4.4239451539374301E-2</c:v>
                </c:pt>
                <c:pt idx="8776">
                  <c:v>5.59414147229308E-2</c:v>
                </c:pt>
                <c:pt idx="8777">
                  <c:v>6.7643377906487501E-2</c:v>
                </c:pt>
                <c:pt idx="8778">
                  <c:v>7.9345341090044194E-2</c:v>
                </c:pt>
                <c:pt idx="8779">
                  <c:v>9.1047304273600693E-2</c:v>
                </c:pt>
                <c:pt idx="8780">
                  <c:v>6.2618456037665804E-2</c:v>
                </c:pt>
                <c:pt idx="8781">
                  <c:v>3.4189607801730797E-2</c:v>
                </c:pt>
                <c:pt idx="8782">
                  <c:v>5.7607595657958597E-3</c:v>
                </c:pt>
                <c:pt idx="8783">
                  <c:v>-2.26680886701391E-2</c:v>
                </c:pt>
                <c:pt idx="8784">
                  <c:v>1.1172758082798899</c:v>
                </c:pt>
                <c:pt idx="8785">
                  <c:v>1.08183028428146</c:v>
                </c:pt>
                <c:pt idx="8786">
                  <c:v>1.0953637708331201</c:v>
                </c:pt>
                <c:pt idx="8787">
                  <c:v>1.1190994776441501</c:v>
                </c:pt>
                <c:pt idx="8788">
                  <c:v>1.1177207999680101</c:v>
                </c:pt>
                <c:pt idx="8789">
                  <c:v>1.13486261689138</c:v>
                </c:pt>
                <c:pt idx="8790">
                  <c:v>1.10044872154308</c:v>
                </c:pt>
                <c:pt idx="8791">
                  <c:v>1.12582951957713</c:v>
                </c:pt>
                <c:pt idx="8792">
                  <c:v>1.19587999608243</c:v>
                </c:pt>
                <c:pt idx="8793">
                  <c:v>1.1480768869147699</c:v>
                </c:pt>
                <c:pt idx="8794">
                  <c:v>1.1665716511484101</c:v>
                </c:pt>
                <c:pt idx="8795">
                  <c:v>1.21386842347039</c:v>
                </c:pt>
                <c:pt idx="8796">
                  <c:v>1.24505175026699</c:v>
                </c:pt>
                <c:pt idx="8797">
                  <c:v>1.2204461552080901</c:v>
                </c:pt>
                <c:pt idx="8798">
                  <c:v>1.20211630211117</c:v>
                </c:pt>
                <c:pt idx="8799">
                  <c:v>1.196184567295</c:v>
                </c:pt>
                <c:pt idx="8800">
                  <c:v>1.1718788682426999</c:v>
                </c:pt>
                <c:pt idx="8801">
                  <c:v>1.17849178207065</c:v>
                </c:pt>
                <c:pt idx="8802">
                  <c:v>1.4859263737006301</c:v>
                </c:pt>
                <c:pt idx="8803">
                  <c:v>1.20607896715598</c:v>
                </c:pt>
                <c:pt idx="8804">
                  <c:v>1.1486450207976899</c:v>
                </c:pt>
                <c:pt idx="8805">
                  <c:v>1.10149258792822</c:v>
                </c:pt>
                <c:pt idx="8806">
                  <c:v>1.00679021431393</c:v>
                </c:pt>
                <c:pt idx="8807">
                  <c:v>0.90808206917279899</c:v>
                </c:pt>
                <c:pt idx="8808">
                  <c:v>0.841772596105548</c:v>
                </c:pt>
                <c:pt idx="8809">
                  <c:v>0.68883488153202299</c:v>
                </c:pt>
                <c:pt idx="8810">
                  <c:v>0.86128242244933295</c:v>
                </c:pt>
                <c:pt idx="8811">
                  <c:v>0.80321193049275696</c:v>
                </c:pt>
                <c:pt idx="8812">
                  <c:v>0.87716079603319197</c:v>
                </c:pt>
                <c:pt idx="8813">
                  <c:v>0.88927765662884195</c:v>
                </c:pt>
                <c:pt idx="8814">
                  <c:v>0.68505396192363399</c:v>
                </c:pt>
                <c:pt idx="8815">
                  <c:v>0.67214714790081997</c:v>
                </c:pt>
                <c:pt idx="8816">
                  <c:v>0.58316119215312101</c:v>
                </c:pt>
                <c:pt idx="8817">
                  <c:v>0.50641998904294705</c:v>
                </c:pt>
                <c:pt idx="8818">
                  <c:v>0.44835264617550002</c:v>
                </c:pt>
                <c:pt idx="8819">
                  <c:v>0.33457567468202698</c:v>
                </c:pt>
                <c:pt idx="8820">
                  <c:v>0.257998422091826</c:v>
                </c:pt>
                <c:pt idx="8821">
                  <c:v>0.162826602488366</c:v>
                </c:pt>
                <c:pt idx="8822">
                  <c:v>7.5893763995578206E-2</c:v>
                </c:pt>
                <c:pt idx="8823">
                  <c:v>0.33984480430779901</c:v>
                </c:pt>
                <c:pt idx="8824">
                  <c:v>0.198315072685955</c:v>
                </c:pt>
                <c:pt idx="8825">
                  <c:v>0.26299252770364401</c:v>
                </c:pt>
                <c:pt idx="8826">
                  <c:v>0.12751109998680801</c:v>
                </c:pt>
                <c:pt idx="8827">
                  <c:v>0.181907041515665</c:v>
                </c:pt>
                <c:pt idx="8828">
                  <c:v>7.3253977550440205E-2</c:v>
                </c:pt>
                <c:pt idx="8829">
                  <c:v>5.7499676237760797E-2</c:v>
                </c:pt>
                <c:pt idx="8830">
                  <c:v>4.5751146451930499E-2</c:v>
                </c:pt>
                <c:pt idx="8831">
                  <c:v>8.3663941387117594E-2</c:v>
                </c:pt>
                <c:pt idx="8832">
                  <c:v>-3.6440609260719799E-2</c:v>
                </c:pt>
                <c:pt idx="8833">
                  <c:v>-8.8590778645008195E-2</c:v>
                </c:pt>
                <c:pt idx="8834">
                  <c:v>-3.7565892703633599E-2</c:v>
                </c:pt>
                <c:pt idx="8835">
                  <c:v>-8.9641989674168102E-2</c:v>
                </c:pt>
                <c:pt idx="8836">
                  <c:v>-0.140687201594976</c:v>
                </c:pt>
                <c:pt idx="8837">
                  <c:v>-0.13405954574106799</c:v>
                </c:pt>
                <c:pt idx="8838">
                  <c:v>-0.12743188988716</c:v>
                </c:pt>
                <c:pt idx="8839">
                  <c:v>-0.12080423403325199</c:v>
                </c:pt>
                <c:pt idx="8840">
                  <c:v>-0.121044188819548</c:v>
                </c:pt>
                <c:pt idx="8841">
                  <c:v>-0.121284143605844</c:v>
                </c:pt>
                <c:pt idx="8842">
                  <c:v>-0.241177115939152</c:v>
                </c:pt>
                <c:pt idx="8843">
                  <c:v>-0.27648959996005501</c:v>
                </c:pt>
                <c:pt idx="8844">
                  <c:v>-0.21208510004699099</c:v>
                </c:pt>
                <c:pt idx="8845">
                  <c:v>-0.263174480510868</c:v>
                </c:pt>
                <c:pt idx="8846">
                  <c:v>-0.35757537132002498</c:v>
                </c:pt>
                <c:pt idx="8847">
                  <c:v>-0.39830916588131499</c:v>
                </c:pt>
                <c:pt idx="8848">
                  <c:v>-0.184235542683231</c:v>
                </c:pt>
                <c:pt idx="8849">
                  <c:v>-0.18868271036024201</c:v>
                </c:pt>
                <c:pt idx="8850">
                  <c:v>-0.29214579619284597</c:v>
                </c:pt>
                <c:pt idx="8851">
                  <c:v>-0.30286348501612598</c:v>
                </c:pt>
                <c:pt idx="8852">
                  <c:v>-0.34273395062301498</c:v>
                </c:pt>
                <c:pt idx="8853">
                  <c:v>-0.35993000527604002</c:v>
                </c:pt>
                <c:pt idx="8854">
                  <c:v>-0.34628674027828299</c:v>
                </c:pt>
                <c:pt idx="8855">
                  <c:v>-0.34700483270996102</c:v>
                </c:pt>
                <c:pt idx="8856">
                  <c:v>-0.32211648815112698</c:v>
                </c:pt>
                <c:pt idx="8857">
                  <c:v>-0.25595916562516902</c:v>
                </c:pt>
                <c:pt idx="8858">
                  <c:v>-0.21247625405307499</c:v>
                </c:pt>
                <c:pt idx="8859">
                  <c:v>-4.1180637052762599E-2</c:v>
                </c:pt>
                <c:pt idx="8860">
                  <c:v>-0.141895282837665</c:v>
                </c:pt>
                <c:pt idx="8861">
                  <c:v>-0.18289452846969201</c:v>
                </c:pt>
                <c:pt idx="8862">
                  <c:v>-6.0934467025141499E-2</c:v>
                </c:pt>
                <c:pt idx="8863">
                  <c:v>0.120746215387998</c:v>
                </c:pt>
                <c:pt idx="8864">
                  <c:v>0.235425342497498</c:v>
                </c:pt>
                <c:pt idx="8865">
                  <c:v>0.37490070616848797</c:v>
                </c:pt>
                <c:pt idx="8866">
                  <c:v>-0.30328284497591101</c:v>
                </c:pt>
                <c:pt idx="8867">
                  <c:v>-0.200996615331441</c:v>
                </c:pt>
                <c:pt idx="8868">
                  <c:v>-1.1020198465745401E-2</c:v>
                </c:pt>
                <c:pt idx="8869">
                  <c:v>0.19135433668069601</c:v>
                </c:pt>
                <c:pt idx="8870">
                  <c:v>0.385489890716463</c:v>
                </c:pt>
                <c:pt idx="8871">
                  <c:v>0.58574782107099099</c:v>
                </c:pt>
                <c:pt idx="8872">
                  <c:v>0.60077032841643896</c:v>
                </c:pt>
                <c:pt idx="8873">
                  <c:v>0.59719826874862803</c:v>
                </c:pt>
                <c:pt idx="8874">
                  <c:v>0.60390772256964798</c:v>
                </c:pt>
                <c:pt idx="8875">
                  <c:v>0.59821905810992504</c:v>
                </c:pt>
                <c:pt idx="8876">
                  <c:v>0.66788808206736605</c:v>
                </c:pt>
                <c:pt idx="8877">
                  <c:v>0.69862695009085896</c:v>
                </c:pt>
                <c:pt idx="8878">
                  <c:v>0.77071909576795194</c:v>
                </c:pt>
                <c:pt idx="8879">
                  <c:v>0.73870400229937905</c:v>
                </c:pt>
                <c:pt idx="8880">
                  <c:v>0.74334387351390796</c:v>
                </c:pt>
                <c:pt idx="8881">
                  <c:v>0.62832028554999897</c:v>
                </c:pt>
                <c:pt idx="8882">
                  <c:v>0.57355148789809496</c:v>
                </c:pt>
                <c:pt idx="8883">
                  <c:v>1.10725587658943</c:v>
                </c:pt>
                <c:pt idx="8884">
                  <c:v>1.0714807125057999</c:v>
                </c:pt>
                <c:pt idx="8885">
                  <c:v>1.12679965838497</c:v>
                </c:pt>
                <c:pt idx="8886">
                  <c:v>1.13321888694351</c:v>
                </c:pt>
                <c:pt idx="8887">
                  <c:v>1.1351131599340301</c:v>
                </c:pt>
                <c:pt idx="8888">
                  <c:v>1.0854620477241601</c:v>
                </c:pt>
                <c:pt idx="8889">
                  <c:v>0.96557625674432901</c:v>
                </c:pt>
                <c:pt idx="8890">
                  <c:v>1.04433016216819</c:v>
                </c:pt>
                <c:pt idx="8891">
                  <c:v>1.05066381787199</c:v>
                </c:pt>
                <c:pt idx="8892">
                  <c:v>1.0569974735757901</c:v>
                </c:pt>
                <c:pt idx="8893">
                  <c:v>1.0633311292795899</c:v>
                </c:pt>
                <c:pt idx="8894">
                  <c:v>1.09048671316507</c:v>
                </c:pt>
                <c:pt idx="8895">
                  <c:v>1.11764229705055</c:v>
                </c:pt>
                <c:pt idx="8896">
                  <c:v>1.14479788093603</c:v>
                </c:pt>
                <c:pt idx="8897">
                  <c:v>1.3863452283165201</c:v>
                </c:pt>
                <c:pt idx="8898">
                  <c:v>1.39961749598033</c:v>
                </c:pt>
                <c:pt idx="8899">
                  <c:v>1.41288976364413</c:v>
                </c:pt>
                <c:pt idx="8900">
                  <c:v>0.28581115960781001</c:v>
                </c:pt>
                <c:pt idx="8901">
                  <c:v>0.23115771581035499</c:v>
                </c:pt>
                <c:pt idx="8902">
                  <c:v>0.116714799446271</c:v>
                </c:pt>
                <c:pt idx="8903">
                  <c:v>4.34667886355556E-2</c:v>
                </c:pt>
                <c:pt idx="8904">
                  <c:v>0.124322903033651</c:v>
                </c:pt>
                <c:pt idx="8905">
                  <c:v>0.159824974708307</c:v>
                </c:pt>
                <c:pt idx="8906">
                  <c:v>0.22631973167696701</c:v>
                </c:pt>
                <c:pt idx="8907">
                  <c:v>0.350413284006589</c:v>
                </c:pt>
                <c:pt idx="8908">
                  <c:v>0.23272350560826999</c:v>
                </c:pt>
                <c:pt idx="8909">
                  <c:v>0.31110754518815797</c:v>
                </c:pt>
                <c:pt idx="8910">
                  <c:v>0.22660112928950801</c:v>
                </c:pt>
                <c:pt idx="8911">
                  <c:v>-0.169174309857518</c:v>
                </c:pt>
                <c:pt idx="8912">
                  <c:v>-0.207492785349324</c:v>
                </c:pt>
                <c:pt idx="8913">
                  <c:v>-0.179899411955738</c:v>
                </c:pt>
                <c:pt idx="8914">
                  <c:v>-0.22638279614446399</c:v>
                </c:pt>
                <c:pt idx="8915">
                  <c:v>-0.18631723205638101</c:v>
                </c:pt>
                <c:pt idx="8916">
                  <c:v>-0.22739801234123</c:v>
                </c:pt>
                <c:pt idx="8917">
                  <c:v>-0.15713882860349401</c:v>
                </c:pt>
                <c:pt idx="8918">
                  <c:v>-0.290965005897666</c:v>
                </c:pt>
                <c:pt idx="8919">
                  <c:v>-0.32176427269368202</c:v>
                </c:pt>
                <c:pt idx="8920">
                  <c:v>-0.35151739022873402</c:v>
                </c:pt>
                <c:pt idx="8921">
                  <c:v>-0.25330443669234798</c:v>
                </c:pt>
                <c:pt idx="8922">
                  <c:v>-0.32636906457268</c:v>
                </c:pt>
                <c:pt idx="8923">
                  <c:v>-0.215837285985017</c:v>
                </c:pt>
                <c:pt idx="8924">
                  <c:v>-0.36681442180106399</c:v>
                </c:pt>
                <c:pt idx="8925">
                  <c:v>-0.32799348160088598</c:v>
                </c:pt>
                <c:pt idx="8926">
                  <c:v>-0.427420125960979</c:v>
                </c:pt>
                <c:pt idx="8927">
                  <c:v>-0.35156341737750202</c:v>
                </c:pt>
                <c:pt idx="8928">
                  <c:v>-0.440865877525289</c:v>
                </c:pt>
                <c:pt idx="8929">
                  <c:v>-0.381792605267195</c:v>
                </c:pt>
                <c:pt idx="8930">
                  <c:v>-0.37426982446505602</c:v>
                </c:pt>
                <c:pt idx="8931">
                  <c:v>-0.463572284612843</c:v>
                </c:pt>
                <c:pt idx="8932">
                  <c:v>-0.305446670368691</c:v>
                </c:pt>
                <c:pt idx="8933">
                  <c:v>-0.234018149228855</c:v>
                </c:pt>
                <c:pt idx="8934">
                  <c:v>-0.23258132091501299</c:v>
                </c:pt>
                <c:pt idx="8935">
                  <c:v>-0.175514157204612</c:v>
                </c:pt>
                <c:pt idx="8936">
                  <c:v>-0.213371843509366</c:v>
                </c:pt>
                <c:pt idx="8937">
                  <c:v>-0.11313531089707</c:v>
                </c:pt>
                <c:pt idx="8938">
                  <c:v>-6.4369976511261598E-2</c:v>
                </c:pt>
                <c:pt idx="8939">
                  <c:v>1.5308749939083601E-2</c:v>
                </c:pt>
                <c:pt idx="8940">
                  <c:v>0.302976725643129</c:v>
                </c:pt>
                <c:pt idx="8941">
                  <c:v>0.45481523204954699</c:v>
                </c:pt>
                <c:pt idx="8942">
                  <c:v>0.57762951312636401</c:v>
                </c:pt>
                <c:pt idx="8943">
                  <c:v>0.65116327318236</c:v>
                </c:pt>
                <c:pt idx="8944">
                  <c:v>0.68650041054261901</c:v>
                </c:pt>
                <c:pt idx="8945">
                  <c:v>0.78351618720444405</c:v>
                </c:pt>
                <c:pt idx="8946">
                  <c:v>0.88068532950948997</c:v>
                </c:pt>
                <c:pt idx="8947">
                  <c:v>1.17809786859424</c:v>
                </c:pt>
                <c:pt idx="8948">
                  <c:v>0.84242938409674095</c:v>
                </c:pt>
                <c:pt idx="8949">
                  <c:v>0.91556074668307996</c:v>
                </c:pt>
                <c:pt idx="8950">
                  <c:v>0.93933229501913096</c:v>
                </c:pt>
                <c:pt idx="8951">
                  <c:v>1.07059662230985</c:v>
                </c:pt>
                <c:pt idx="8952">
                  <c:v>1.0411327789481799</c:v>
                </c:pt>
                <c:pt idx="8953">
                  <c:v>1.2225746495552501</c:v>
                </c:pt>
                <c:pt idx="8954">
                  <c:v>1.2245635884172501</c:v>
                </c:pt>
                <c:pt idx="8955">
                  <c:v>1.3687370317683401</c:v>
                </c:pt>
                <c:pt idx="8956">
                  <c:v>1.3461786802348501</c:v>
                </c:pt>
                <c:pt idx="8957">
                  <c:v>1.12307020063521</c:v>
                </c:pt>
                <c:pt idx="8958">
                  <c:v>1.3130740709327</c:v>
                </c:pt>
                <c:pt idx="8959">
                  <c:v>1.17108491909346</c:v>
                </c:pt>
                <c:pt idx="8960">
                  <c:v>1.0627879771853299</c:v>
                </c:pt>
                <c:pt idx="8961">
                  <c:v>0.98798634987901601</c:v>
                </c:pt>
                <c:pt idx="8962">
                  <c:v>1.11508462721466</c:v>
                </c:pt>
                <c:pt idx="8963">
                  <c:v>1.09583926289115</c:v>
                </c:pt>
                <c:pt idx="8964">
                  <c:v>0.78466590953805704</c:v>
                </c:pt>
                <c:pt idx="8965">
                  <c:v>1.0538130851896399</c:v>
                </c:pt>
                <c:pt idx="8966">
                  <c:v>0.76138766449302098</c:v>
                </c:pt>
                <c:pt idx="8967">
                  <c:v>0.96015712280269705</c:v>
                </c:pt>
                <c:pt idx="8968">
                  <c:v>0.84855335484166405</c:v>
                </c:pt>
                <c:pt idx="8969">
                  <c:v>0.81533884727623396</c:v>
                </c:pt>
                <c:pt idx="8970">
                  <c:v>0.76987958707327997</c:v>
                </c:pt>
                <c:pt idx="8971">
                  <c:v>0.66470492671745096</c:v>
                </c:pt>
                <c:pt idx="8972">
                  <c:v>0.90237131936834203</c:v>
                </c:pt>
                <c:pt idx="8973">
                  <c:v>0.741746816481202</c:v>
                </c:pt>
                <c:pt idx="8974">
                  <c:v>0.99839380066126304</c:v>
                </c:pt>
                <c:pt idx="8975">
                  <c:v>1.05017815396188</c:v>
                </c:pt>
                <c:pt idx="8976">
                  <c:v>1.06542348619502</c:v>
                </c:pt>
                <c:pt idx="8977">
                  <c:v>1.0353147757047101</c:v>
                </c:pt>
                <c:pt idx="8978">
                  <c:v>0.99461782043913005</c:v>
                </c:pt>
                <c:pt idx="8979">
                  <c:v>1.09845463332723</c:v>
                </c:pt>
                <c:pt idx="8980">
                  <c:v>0.967492175822803</c:v>
                </c:pt>
                <c:pt idx="8981">
                  <c:v>0.976904349301986</c:v>
                </c:pt>
                <c:pt idx="8982">
                  <c:v>1.0049903830239</c:v>
                </c:pt>
                <c:pt idx="8983">
                  <c:v>1.05794672572105</c:v>
                </c:pt>
                <c:pt idx="8984">
                  <c:v>0.93656812453425398</c:v>
                </c:pt>
                <c:pt idx="8985">
                  <c:v>0.90809350681571699</c:v>
                </c:pt>
                <c:pt idx="8986">
                  <c:v>0.87107317670006301</c:v>
                </c:pt>
                <c:pt idx="8987">
                  <c:v>0.90231395913440104</c:v>
                </c:pt>
                <c:pt idx="8988">
                  <c:v>0.85348789149496096</c:v>
                </c:pt>
                <c:pt idx="8989">
                  <c:v>0.83353790435761199</c:v>
                </c:pt>
                <c:pt idx="8990">
                  <c:v>0.743363565521581</c:v>
                </c:pt>
                <c:pt idx="8991">
                  <c:v>0.64910938274494701</c:v>
                </c:pt>
                <c:pt idx="8992">
                  <c:v>0.56032686372020701</c:v>
                </c:pt>
                <c:pt idx="8993">
                  <c:v>0.46534789596295201</c:v>
                </c:pt>
                <c:pt idx="8994">
                  <c:v>0.39720247632963102</c:v>
                </c:pt>
                <c:pt idx="8995">
                  <c:v>0.33744940345020502</c:v>
                </c:pt>
                <c:pt idx="8996">
                  <c:v>0.24545127879452999</c:v>
                </c:pt>
                <c:pt idx="8997">
                  <c:v>0.16169213524952999</c:v>
                </c:pt>
                <c:pt idx="8998">
                  <c:v>9.8644163509701802E-2</c:v>
                </c:pt>
                <c:pt idx="8999">
                  <c:v>2.5240605867287502E-2</c:v>
                </c:pt>
                <c:pt idx="9000">
                  <c:v>2.9149377464885801E-2</c:v>
                </c:pt>
                <c:pt idx="9001">
                  <c:v>3.30581490624842E-2</c:v>
                </c:pt>
                <c:pt idx="9002">
                  <c:v>3.6966920660082503E-2</c:v>
                </c:pt>
                <c:pt idx="9003">
                  <c:v>4.0875692257680903E-2</c:v>
                </c:pt>
                <c:pt idx="9004">
                  <c:v>4.2992267533263399E-2</c:v>
                </c:pt>
                <c:pt idx="9005">
                  <c:v>4.5108842808846E-2</c:v>
                </c:pt>
                <c:pt idx="9006">
                  <c:v>4.7225418084428497E-2</c:v>
                </c:pt>
                <c:pt idx="9007">
                  <c:v>4.9341993360011098E-2</c:v>
                </c:pt>
                <c:pt idx="9008">
                  <c:v>7.9251796419416598E-2</c:v>
                </c:pt>
                <c:pt idx="9009">
                  <c:v>0.10916159947882199</c:v>
                </c:pt>
                <c:pt idx="9010">
                  <c:v>0.139071402538227</c:v>
                </c:pt>
                <c:pt idx="9011">
                  <c:v>0.16898120559763299</c:v>
                </c:pt>
                <c:pt idx="9012">
                  <c:v>0.16468697237280999</c:v>
                </c:pt>
                <c:pt idx="9013">
                  <c:v>0.16039273914798699</c:v>
                </c:pt>
                <c:pt idx="9014">
                  <c:v>0.15609850592316399</c:v>
                </c:pt>
                <c:pt idx="9015">
                  <c:v>0.174780194122932</c:v>
                </c:pt>
                <c:pt idx="9016">
                  <c:v>0.26231370431225998</c:v>
                </c:pt>
                <c:pt idx="9017">
                  <c:v>0.17864370549862299</c:v>
                </c:pt>
                <c:pt idx="9018">
                  <c:v>0.231104686453344</c:v>
                </c:pt>
                <c:pt idx="9019">
                  <c:v>0.205181627828177</c:v>
                </c:pt>
                <c:pt idx="9020">
                  <c:v>0.287441234501428</c:v>
                </c:pt>
                <c:pt idx="9021">
                  <c:v>0.36138778765025198</c:v>
                </c:pt>
                <c:pt idx="9022">
                  <c:v>0.412734002258966</c:v>
                </c:pt>
                <c:pt idx="9023">
                  <c:v>0.51766801988608002</c:v>
                </c:pt>
                <c:pt idx="9024">
                  <c:v>0.49475091972708102</c:v>
                </c:pt>
                <c:pt idx="9025">
                  <c:v>0.57084973772367398</c:v>
                </c:pt>
                <c:pt idx="9026">
                  <c:v>0.56441059978602204</c:v>
                </c:pt>
                <c:pt idx="9027">
                  <c:v>0.54768994835953899</c:v>
                </c:pt>
                <c:pt idx="9028">
                  <c:v>0.65683267604449702</c:v>
                </c:pt>
                <c:pt idx="9029">
                  <c:v>0.82984472023668698</c:v>
                </c:pt>
                <c:pt idx="9030">
                  <c:v>0.95961932649735104</c:v>
                </c:pt>
                <c:pt idx="9031">
                  <c:v>1.015094957934439</c:v>
                </c:pt>
                <c:pt idx="9032">
                  <c:v>0.99646462926704704</c:v>
                </c:pt>
                <c:pt idx="9033">
                  <c:v>1.0087476926641901</c:v>
                </c:pt>
                <c:pt idx="9034">
                  <c:v>1.08913328215239</c:v>
                </c:pt>
                <c:pt idx="9035">
                  <c:v>1.1550834417974001</c:v>
                </c:pt>
                <c:pt idx="9036">
                  <c:v>1.1738732578895601</c:v>
                </c:pt>
                <c:pt idx="9037">
                  <c:v>1.16590881908725</c:v>
                </c:pt>
                <c:pt idx="9038">
                  <c:v>1.14350372962605</c:v>
                </c:pt>
                <c:pt idx="9039">
                  <c:v>1.1520172530450901</c:v>
                </c:pt>
                <c:pt idx="9040">
                  <c:v>1.26907421569848</c:v>
                </c:pt>
                <c:pt idx="9041">
                  <c:v>1.38401457355997</c:v>
                </c:pt>
                <c:pt idx="9042">
                  <c:v>1.52578847954538</c:v>
                </c:pt>
                <c:pt idx="9043">
                  <c:v>1.6427713697850199</c:v>
                </c:pt>
                <c:pt idx="9044">
                  <c:v>1.5651667537793199</c:v>
                </c:pt>
                <c:pt idx="9045">
                  <c:v>1.59679071782</c:v>
                </c:pt>
                <c:pt idx="9046">
                  <c:v>1.5210011961354899</c:v>
                </c:pt>
                <c:pt idx="9047">
                  <c:v>1.5176267033553199</c:v>
                </c:pt>
                <c:pt idx="9048">
                  <c:v>1.4951488829089199</c:v>
                </c:pt>
                <c:pt idx="9049">
                  <c:v>1.5263381587103999</c:v>
                </c:pt>
                <c:pt idx="9050">
                  <c:v>1.5203383004853599</c:v>
                </c:pt>
                <c:pt idx="9051">
                  <c:v>1.5434419608193799</c:v>
                </c:pt>
                <c:pt idx="9052">
                  <c:v>1.52394773521602</c:v>
                </c:pt>
                <c:pt idx="9053">
                  <c:v>1.39499749150931</c:v>
                </c:pt>
                <c:pt idx="9054">
                  <c:v>1.33430836035258</c:v>
                </c:pt>
                <c:pt idx="9055">
                  <c:v>1.1331705257984901</c:v>
                </c:pt>
                <c:pt idx="9056">
                  <c:v>1.2849323167336799</c:v>
                </c:pt>
                <c:pt idx="9057">
                  <c:v>1.24484827845877</c:v>
                </c:pt>
                <c:pt idx="9058">
                  <c:v>1.427528682274209</c:v>
                </c:pt>
                <c:pt idx="9059">
                  <c:v>1.5049862775701099</c:v>
                </c:pt>
                <c:pt idx="9060">
                  <c:v>1.48590601905883</c:v>
                </c:pt>
                <c:pt idx="9061">
                  <c:v>1.37384770466554</c:v>
                </c:pt>
                <c:pt idx="9062">
                  <c:v>1.4743516121032301</c:v>
                </c:pt>
                <c:pt idx="9063">
                  <c:v>1.45300138315682</c:v>
                </c:pt>
                <c:pt idx="9064">
                  <c:v>1.4021139154522999</c:v>
                </c:pt>
                <c:pt idx="9065">
                  <c:v>1.33882832946704</c:v>
                </c:pt>
                <c:pt idx="9066">
                  <c:v>1.4446400893242499</c:v>
                </c:pt>
                <c:pt idx="9067">
                  <c:v>1.5009386692879501</c:v>
                </c:pt>
                <c:pt idx="9068">
                  <c:v>1.5750514835442999</c:v>
                </c:pt>
                <c:pt idx="9069">
                  <c:v>1.44076121313974</c:v>
                </c:pt>
                <c:pt idx="9070">
                  <c:v>1.407534614084639</c:v>
                </c:pt>
                <c:pt idx="9071">
                  <c:v>1.4669793396251101</c:v>
                </c:pt>
                <c:pt idx="9072">
                  <c:v>1.5538036898710099</c:v>
                </c:pt>
                <c:pt idx="9073">
                  <c:v>1.4260232859077699</c:v>
                </c:pt>
                <c:pt idx="9074">
                  <c:v>1.4796590528383</c:v>
                </c:pt>
                <c:pt idx="9075">
                  <c:v>1.3911103152797399</c:v>
                </c:pt>
                <c:pt idx="9076">
                  <c:v>1.44743606275924</c:v>
                </c:pt>
                <c:pt idx="9077">
                  <c:v>1.3144874619345099</c:v>
                </c:pt>
                <c:pt idx="9078">
                  <c:v>1.1807720328936699</c:v>
                </c:pt>
                <c:pt idx="9079">
                  <c:v>1.0904474074275901</c:v>
                </c:pt>
                <c:pt idx="9080">
                  <c:v>1.0764173251608899</c:v>
                </c:pt>
                <c:pt idx="9081">
                  <c:v>1.09753906535826</c:v>
                </c:pt>
                <c:pt idx="9082">
                  <c:v>1.1247831818744001</c:v>
                </c:pt>
                <c:pt idx="9083">
                  <c:v>1.14378831727986</c:v>
                </c:pt>
                <c:pt idx="9084">
                  <c:v>1.0751604443653799</c:v>
                </c:pt>
                <c:pt idx="9085">
                  <c:v>1.0024527275102899</c:v>
                </c:pt>
                <c:pt idx="9086">
                  <c:v>0.91734689237445599</c:v>
                </c:pt>
                <c:pt idx="9087">
                  <c:v>0.84652834225430496</c:v>
                </c:pt>
                <c:pt idx="9088">
                  <c:v>0.77708101375820804</c:v>
                </c:pt>
                <c:pt idx="9089">
                  <c:v>0.74482281928862903</c:v>
                </c:pt>
                <c:pt idx="9090">
                  <c:v>0.69608666259770302</c:v>
                </c:pt>
                <c:pt idx="9091">
                  <c:v>0.67010421009010701</c:v>
                </c:pt>
                <c:pt idx="9092">
                  <c:v>0.63136631548976796</c:v>
                </c:pt>
                <c:pt idx="9093">
                  <c:v>0.62551027291837002</c:v>
                </c:pt>
                <c:pt idx="9094">
                  <c:v>0.58881491069618797</c:v>
                </c:pt>
                <c:pt idx="9095">
                  <c:v>0.55831599720652203</c:v>
                </c:pt>
                <c:pt idx="9096">
                  <c:v>0.53755139416228204</c:v>
                </c:pt>
                <c:pt idx="9097">
                  <c:v>0.52714237702062605</c:v>
                </c:pt>
                <c:pt idx="9098">
                  <c:v>0.51673335987897095</c:v>
                </c:pt>
                <c:pt idx="9099">
                  <c:v>0.50632434273731597</c:v>
                </c:pt>
                <c:pt idx="9100">
                  <c:v>0.49575564588027599</c:v>
                </c:pt>
                <c:pt idx="9101">
                  <c:v>0.485186949023236</c:v>
                </c:pt>
                <c:pt idx="9102">
                  <c:v>0.47461825216619702</c:v>
                </c:pt>
                <c:pt idx="9103">
                  <c:v>0.46404955530915698</c:v>
                </c:pt>
                <c:pt idx="9104">
                  <c:v>0.49052556369341899</c:v>
                </c:pt>
                <c:pt idx="9105">
                  <c:v>0.51700157207768205</c:v>
                </c:pt>
                <c:pt idx="9106">
                  <c:v>0.54347758046194505</c:v>
                </c:pt>
                <c:pt idx="9107">
                  <c:v>0.56995358884620695</c:v>
                </c:pt>
                <c:pt idx="9108">
                  <c:v>0.56204036870437901</c:v>
                </c:pt>
                <c:pt idx="9109">
                  <c:v>0.55412714856255196</c:v>
                </c:pt>
                <c:pt idx="9110">
                  <c:v>0.54621392842072403</c:v>
                </c:pt>
                <c:pt idx="9111">
                  <c:v>0.53830070827889598</c:v>
                </c:pt>
                <c:pt idx="9112">
                  <c:v>0.29309202591695699</c:v>
                </c:pt>
                <c:pt idx="9113">
                  <c:v>0.36134542946081699</c:v>
                </c:pt>
                <c:pt idx="9114">
                  <c:v>0.30367007349568298</c:v>
                </c:pt>
                <c:pt idx="9115">
                  <c:v>0.28318385155706899</c:v>
                </c:pt>
                <c:pt idx="9116">
                  <c:v>0.36650472563920899</c:v>
                </c:pt>
                <c:pt idx="9117">
                  <c:v>0.33024665458809399</c:v>
                </c:pt>
                <c:pt idx="9118">
                  <c:v>0.316588922077086</c:v>
                </c:pt>
                <c:pt idx="9119">
                  <c:v>0.40202640095113901</c:v>
                </c:pt>
                <c:pt idx="9120">
                  <c:v>0.35771740393798002</c:v>
                </c:pt>
                <c:pt idx="9121">
                  <c:v>0.42058923377733398</c:v>
                </c:pt>
                <c:pt idx="9122">
                  <c:v>0.477338687297927</c:v>
                </c:pt>
                <c:pt idx="9123">
                  <c:v>0.50929712507274405</c:v>
                </c:pt>
                <c:pt idx="9124">
                  <c:v>0.72369293576451199</c:v>
                </c:pt>
                <c:pt idx="9125">
                  <c:v>0.78759640925848595</c:v>
                </c:pt>
                <c:pt idx="9126">
                  <c:v>0.87213698214387703</c:v>
                </c:pt>
                <c:pt idx="9127">
                  <c:v>0.98759094709380602</c:v>
                </c:pt>
                <c:pt idx="9128">
                  <c:v>1.0286401451946301</c:v>
                </c:pt>
                <c:pt idx="9129">
                  <c:v>0.98918869892364802</c:v>
                </c:pt>
                <c:pt idx="9130">
                  <c:v>1.03228042940263</c:v>
                </c:pt>
                <c:pt idx="9131">
                  <c:v>1.08776505734664</c:v>
                </c:pt>
                <c:pt idx="9132">
                  <c:v>1.05069171478404</c:v>
                </c:pt>
                <c:pt idx="9133">
                  <c:v>1.0960081833281801</c:v>
                </c:pt>
                <c:pt idx="9134">
                  <c:v>1.13943548513739</c:v>
                </c:pt>
                <c:pt idx="9135">
                  <c:v>1.1972241443760201</c:v>
                </c:pt>
                <c:pt idx="9136">
                  <c:v>1.2942815919967401</c:v>
                </c:pt>
                <c:pt idx="9137">
                  <c:v>1.3459849968940201</c:v>
                </c:pt>
                <c:pt idx="9138">
                  <c:v>1.3976884017913001</c:v>
                </c:pt>
                <c:pt idx="9139">
                  <c:v>1.5194627927440401</c:v>
                </c:pt>
                <c:pt idx="9140">
                  <c:v>1.5380971430108401</c:v>
                </c:pt>
                <c:pt idx="9141">
                  <c:v>1.5999689312091601</c:v>
                </c:pt>
                <c:pt idx="9142">
                  <c:v>1.5711326339606</c:v>
                </c:pt>
                <c:pt idx="9143">
                  <c:v>1.5051072026855301</c:v>
                </c:pt>
                <c:pt idx="9144">
                  <c:v>1.4304511863968301</c:v>
                </c:pt>
                <c:pt idx="9145">
                  <c:v>1.4443866507631</c:v>
                </c:pt>
                <c:pt idx="9146">
                  <c:v>1.400649247354659</c:v>
                </c:pt>
                <c:pt idx="9147">
                  <c:v>1.5137592163354501</c:v>
                </c:pt>
                <c:pt idx="9148">
                  <c:v>1.6090178824344801</c:v>
                </c:pt>
                <c:pt idx="9149">
                  <c:v>1.3722887472124801</c:v>
                </c:pt>
                <c:pt idx="9150">
                  <c:v>1.1767545175438601</c:v>
                </c:pt>
                <c:pt idx="9151">
                  <c:v>0.801925942589097</c:v>
                </c:pt>
                <c:pt idx="9152">
                  <c:v>0.75239328244790205</c:v>
                </c:pt>
                <c:pt idx="9153">
                  <c:v>0.82864123698819403</c:v>
                </c:pt>
                <c:pt idx="9154">
                  <c:v>1.0534235103933001</c:v>
                </c:pt>
                <c:pt idx="9155">
                  <c:v>1.0388893070729599</c:v>
                </c:pt>
                <c:pt idx="9156">
                  <c:v>1.2468548802013799</c:v>
                </c:pt>
                <c:pt idx="9157">
                  <c:v>1.2941947474706801</c:v>
                </c:pt>
                <c:pt idx="9158">
                  <c:v>1.2858249861139499</c:v>
                </c:pt>
                <c:pt idx="9159">
                  <c:v>1.33528145817517</c:v>
                </c:pt>
                <c:pt idx="9160">
                  <c:v>1.43318939382058</c:v>
                </c:pt>
                <c:pt idx="9161">
                  <c:v>1.3928393032743001</c:v>
                </c:pt>
                <c:pt idx="9162">
                  <c:v>1.30933106802596</c:v>
                </c:pt>
                <c:pt idx="9163">
                  <c:v>1.30397943430053</c:v>
                </c:pt>
                <c:pt idx="9164">
                  <c:v>1.33464728182795</c:v>
                </c:pt>
                <c:pt idx="9165">
                  <c:v>1.28299939066238</c:v>
                </c:pt>
                <c:pt idx="9166">
                  <c:v>1.4272823934632199</c:v>
                </c:pt>
                <c:pt idx="9167">
                  <c:v>1.3547699648492599</c:v>
                </c:pt>
                <c:pt idx="9168">
                  <c:v>1.01899506981153</c:v>
                </c:pt>
                <c:pt idx="9169">
                  <c:v>0.87506600398388801</c:v>
                </c:pt>
                <c:pt idx="9170">
                  <c:v>0.76825199976901604</c:v>
                </c:pt>
                <c:pt idx="9171">
                  <c:v>0.67179358145672896</c:v>
                </c:pt>
                <c:pt idx="9172">
                  <c:v>0.63407481990816295</c:v>
                </c:pt>
                <c:pt idx="9173">
                  <c:v>0.64578994502363896</c:v>
                </c:pt>
                <c:pt idx="9174">
                  <c:v>0.64526031750159296</c:v>
                </c:pt>
                <c:pt idx="9175">
                  <c:v>0.72704642867253</c:v>
                </c:pt>
                <c:pt idx="9176">
                  <c:v>0.68198571226053695</c:v>
                </c:pt>
                <c:pt idx="9177">
                  <c:v>0.86384335429324999</c:v>
                </c:pt>
                <c:pt idx="9178">
                  <c:v>0.82913822378384205</c:v>
                </c:pt>
                <c:pt idx="9179">
                  <c:v>0.769716149942414</c:v>
                </c:pt>
                <c:pt idx="9180">
                  <c:v>0.62030146783096096</c:v>
                </c:pt>
                <c:pt idx="9181">
                  <c:v>0.53483539545620595</c:v>
                </c:pt>
                <c:pt idx="9182">
                  <c:v>0.52986996745325299</c:v>
                </c:pt>
                <c:pt idx="9183">
                  <c:v>0.42800000527090398</c:v>
                </c:pt>
                <c:pt idx="9184">
                  <c:v>0.411956142620093</c:v>
                </c:pt>
                <c:pt idx="9185">
                  <c:v>0.30528348775187097</c:v>
                </c:pt>
                <c:pt idx="9186">
                  <c:v>0.34290672134892602</c:v>
                </c:pt>
                <c:pt idx="9187">
                  <c:v>0.337218444600701</c:v>
                </c:pt>
                <c:pt idx="9188">
                  <c:v>0.27824771875746102</c:v>
                </c:pt>
                <c:pt idx="9189">
                  <c:v>0.278992393067096</c:v>
                </c:pt>
                <c:pt idx="9190">
                  <c:v>0.28185367216864299</c:v>
                </c:pt>
                <c:pt idx="9191">
                  <c:v>0.21668649759288899</c:v>
                </c:pt>
                <c:pt idx="9192">
                  <c:v>0.206727160860949</c:v>
                </c:pt>
                <c:pt idx="9193">
                  <c:v>0.136978351562381</c:v>
                </c:pt>
                <c:pt idx="9194">
                  <c:v>8.3707504485161802E-2</c:v>
                </c:pt>
                <c:pt idx="9195">
                  <c:v>1.3958695186594299E-2</c:v>
                </c:pt>
                <c:pt idx="9196">
                  <c:v>-4.3380797368333397E-2</c:v>
                </c:pt>
                <c:pt idx="9197">
                  <c:v>-5.1286403259218398E-2</c:v>
                </c:pt>
                <c:pt idx="9198">
                  <c:v>-9.4264538384710703E-2</c:v>
                </c:pt>
                <c:pt idx="9199">
                  <c:v>-0.129003692399529</c:v>
                </c:pt>
                <c:pt idx="9200">
                  <c:v>-0.11872814173982001</c:v>
                </c:pt>
                <c:pt idx="9201">
                  <c:v>-8.9858024066851297E-2</c:v>
                </c:pt>
                <c:pt idx="9202">
                  <c:v>-9.4374149379270501E-3</c:v>
                </c:pt>
                <c:pt idx="9203">
                  <c:v>-7.4008453888909096E-3</c:v>
                </c:pt>
                <c:pt idx="9204">
                  <c:v>1.31230983228227E-3</c:v>
                </c:pt>
                <c:pt idx="9205">
                  <c:v>-4.98380799269258E-2</c:v>
                </c:pt>
                <c:pt idx="9206">
                  <c:v>-1.23281374331269E-2</c:v>
                </c:pt>
                <c:pt idx="9207">
                  <c:v>-3.0448530335886698E-2</c:v>
                </c:pt>
                <c:pt idx="9208">
                  <c:v>-5.0397411740642301E-2</c:v>
                </c:pt>
                <c:pt idx="9209">
                  <c:v>1.6350799958917899E-2</c:v>
                </c:pt>
                <c:pt idx="9210">
                  <c:v>-1.4814766539258701E-3</c:v>
                </c:pt>
                <c:pt idx="9211">
                  <c:v>0.118780465650281</c:v>
                </c:pt>
                <c:pt idx="9212">
                  <c:v>8.5587806699149102E-2</c:v>
                </c:pt>
                <c:pt idx="9213">
                  <c:v>0.12442937295216901</c:v>
                </c:pt>
                <c:pt idx="9214">
                  <c:v>0.11172044774923399</c:v>
                </c:pt>
                <c:pt idx="9215">
                  <c:v>0.12176522672963</c:v>
                </c:pt>
                <c:pt idx="9216">
                  <c:v>0.16779912279659501</c:v>
                </c:pt>
                <c:pt idx="9217">
                  <c:v>0.18080302200711201</c:v>
                </c:pt>
                <c:pt idx="9218">
                  <c:v>0.28050401432194499</c:v>
                </c:pt>
                <c:pt idx="9219">
                  <c:v>0.326537910388911</c:v>
                </c:pt>
                <c:pt idx="9220">
                  <c:v>0.43921597594774398</c:v>
                </c:pt>
                <c:pt idx="9221">
                  <c:v>0.61787996280572099</c:v>
                </c:pt>
                <c:pt idx="9222">
                  <c:v>0.65837565833289502</c:v>
                </c:pt>
                <c:pt idx="9223">
                  <c:v>0.83703964519087304</c:v>
                </c:pt>
                <c:pt idx="9224">
                  <c:v>0.89845930875377999</c:v>
                </c:pt>
                <c:pt idx="9225">
                  <c:v>0.89185051863938503</c:v>
                </c:pt>
                <c:pt idx="9226">
                  <c:v>0.88100851894116505</c:v>
                </c:pt>
                <c:pt idx="9227">
                  <c:v>0.97538410694676803</c:v>
                </c:pt>
                <c:pt idx="9228">
                  <c:v>0.99096623793090699</c:v>
                </c:pt>
                <c:pt idx="9229">
                  <c:v>0.99203364584238996</c:v>
                </c:pt>
                <c:pt idx="9230">
                  <c:v>0.98078222870259701</c:v>
                </c:pt>
                <c:pt idx="9231">
                  <c:v>1.0375592652401</c:v>
                </c:pt>
                <c:pt idx="9232">
                  <c:v>1.0454229847151599</c:v>
                </c:pt>
                <c:pt idx="9233">
                  <c:v>1.12532092939436</c:v>
                </c:pt>
                <c:pt idx="9234">
                  <c:v>1.1765702316284501</c:v>
                </c:pt>
                <c:pt idx="9235">
                  <c:v>1.11421482022054</c:v>
                </c:pt>
                <c:pt idx="9236">
                  <c:v>1.17286165165318</c:v>
                </c:pt>
                <c:pt idx="9237">
                  <c:v>1.17806882489493</c:v>
                </c:pt>
                <c:pt idx="9238">
                  <c:v>1.1996798879442701</c:v>
                </c:pt>
                <c:pt idx="9239">
                  <c:v>1.26051739658258</c:v>
                </c:pt>
                <c:pt idx="9240">
                  <c:v>1.20878393864676</c:v>
                </c:pt>
                <c:pt idx="9241">
                  <c:v>1.27050704952545</c:v>
                </c:pt>
                <c:pt idx="9242">
                  <c:v>1.41477333715409</c:v>
                </c:pt>
                <c:pt idx="9243">
                  <c:v>1.3982657740961</c:v>
                </c:pt>
                <c:pt idx="9244">
                  <c:v>1.4284823362283301</c:v>
                </c:pt>
                <c:pt idx="9245">
                  <c:v>1.4815266749576399</c:v>
                </c:pt>
                <c:pt idx="9246">
                  <c:v>1.40871632659171</c:v>
                </c:pt>
                <c:pt idx="9247">
                  <c:v>1.4308472732564901</c:v>
                </c:pt>
                <c:pt idx="9248">
                  <c:v>1.46498252114255</c:v>
                </c:pt>
                <c:pt idx="9249">
                  <c:v>1.49276795465287</c:v>
                </c:pt>
                <c:pt idx="9250">
                  <c:v>1.3903861982546699</c:v>
                </c:pt>
                <c:pt idx="9251">
                  <c:v>1.4325329891944301</c:v>
                </c:pt>
                <c:pt idx="9252">
                  <c:v>1.40622401650579</c:v>
                </c:pt>
                <c:pt idx="9253">
                  <c:v>1.52436951874136</c:v>
                </c:pt>
                <c:pt idx="9254">
                  <c:v>1.4980605460527201</c:v>
                </c:pt>
                <c:pt idx="9255">
                  <c:v>1.3521674074151</c:v>
                </c:pt>
                <c:pt idx="9256">
                  <c:v>1.32795018008699</c:v>
                </c:pt>
                <c:pt idx="9257">
                  <c:v>1.34281125352034</c:v>
                </c:pt>
                <c:pt idx="9258">
                  <c:v>1.2750498569742601</c:v>
                </c:pt>
                <c:pt idx="9259">
                  <c:v>1.3291425968122901</c:v>
                </c:pt>
                <c:pt idx="9260">
                  <c:v>1.2373592425204401</c:v>
                </c:pt>
                <c:pt idx="9261">
                  <c:v>1.43652214963946</c:v>
                </c:pt>
                <c:pt idx="9262">
                  <c:v>1.40241166312233</c:v>
                </c:pt>
                <c:pt idx="9263">
                  <c:v>1.2672375052557301</c:v>
                </c:pt>
                <c:pt idx="9264">
                  <c:v>1.3182888887511</c:v>
                </c:pt>
                <c:pt idx="9265">
                  <c:v>1.07619811281421</c:v>
                </c:pt>
                <c:pt idx="9266">
                  <c:v>0.88362051677083198</c:v>
                </c:pt>
                <c:pt idx="9267">
                  <c:v>0.85204943028677005</c:v>
                </c:pt>
                <c:pt idx="9268">
                  <c:v>0.90226244739249695</c:v>
                </c:pt>
                <c:pt idx="9269">
                  <c:v>0.87801790321571804</c:v>
                </c:pt>
                <c:pt idx="9270">
                  <c:v>0.789824749302239</c:v>
                </c:pt>
                <c:pt idx="9271">
                  <c:v>0.76558020512545999</c:v>
                </c:pt>
                <c:pt idx="9272">
                  <c:v>0.62877995956199495</c:v>
                </c:pt>
                <c:pt idx="9273">
                  <c:v>0.55177440738087102</c:v>
                </c:pt>
                <c:pt idx="9274">
                  <c:v>0.456549871070971</c:v>
                </c:pt>
                <c:pt idx="9275">
                  <c:v>0.437444624721538</c:v>
                </c:pt>
                <c:pt idx="9276">
                  <c:v>0.39128072211732601</c:v>
                </c:pt>
                <c:pt idx="9277">
                  <c:v>0.32863885729176501</c:v>
                </c:pt>
                <c:pt idx="9278">
                  <c:v>0.25994868856119702</c:v>
                </c:pt>
                <c:pt idx="9279">
                  <c:v>0.17455311955230701</c:v>
                </c:pt>
                <c:pt idx="9280">
                  <c:v>8.6834820839419499E-2</c:v>
                </c:pt>
                <c:pt idx="9281">
                  <c:v>-3.3992767959383503E-2</c:v>
                </c:pt>
                <c:pt idx="9282">
                  <c:v>-0.111429553183438</c:v>
                </c:pt>
                <c:pt idx="9283">
                  <c:v>-0.158101091170464</c:v>
                </c:pt>
                <c:pt idx="9284">
                  <c:v>-0.205175871019599</c:v>
                </c:pt>
                <c:pt idx="9285">
                  <c:v>-0.19275746795712101</c:v>
                </c:pt>
                <c:pt idx="9286">
                  <c:v>-0.110119934011674</c:v>
                </c:pt>
                <c:pt idx="9287">
                  <c:v>-7.0645765584000403E-2</c:v>
                </c:pt>
                <c:pt idx="9288">
                  <c:v>-5.91206353273281E-2</c:v>
                </c:pt>
                <c:pt idx="9289">
                  <c:v>-4.7595505070655797E-2</c:v>
                </c:pt>
                <c:pt idx="9290">
                  <c:v>-3.6070374813983501E-2</c:v>
                </c:pt>
                <c:pt idx="9291">
                  <c:v>-2.4545244557311201E-2</c:v>
                </c:pt>
                <c:pt idx="9292">
                  <c:v>-4.7638072553966099E-2</c:v>
                </c:pt>
                <c:pt idx="9293">
                  <c:v>-7.0730900550621006E-2</c:v>
                </c:pt>
                <c:pt idx="9294">
                  <c:v>-9.38237285472759E-2</c:v>
                </c:pt>
                <c:pt idx="9295">
                  <c:v>-0.116916556543931</c:v>
                </c:pt>
                <c:pt idx="9296">
                  <c:v>-7.3480805696112997E-2</c:v>
                </c:pt>
                <c:pt idx="9297">
                  <c:v>-3.00450548482953E-2</c:v>
                </c:pt>
                <c:pt idx="9298">
                  <c:v>1.33906959995224E-2</c:v>
                </c:pt>
                <c:pt idx="9299">
                  <c:v>5.6826446847340097E-2</c:v>
                </c:pt>
                <c:pt idx="9300">
                  <c:v>8.8914773478731807E-2</c:v>
                </c:pt>
                <c:pt idx="9301">
                  <c:v>0.121003100110124</c:v>
                </c:pt>
                <c:pt idx="9302">
                  <c:v>0.15309142674151499</c:v>
                </c:pt>
                <c:pt idx="9303">
                  <c:v>-5.3829992066099397E-2</c:v>
                </c:pt>
                <c:pt idx="9304">
                  <c:v>2.9738394668859299E-2</c:v>
                </c:pt>
                <c:pt idx="9305">
                  <c:v>-2.2824198364540398E-2</c:v>
                </c:pt>
                <c:pt idx="9306">
                  <c:v>-2.58788323201448E-2</c:v>
                </c:pt>
                <c:pt idx="9307">
                  <c:v>3.6978382609641897E-2</c:v>
                </c:pt>
                <c:pt idx="9308">
                  <c:v>7.8955199238531198E-2</c:v>
                </c:pt>
                <c:pt idx="9309">
                  <c:v>6.5227608057109199E-2</c:v>
                </c:pt>
                <c:pt idx="9310">
                  <c:v>0.103050508331642</c:v>
                </c:pt>
                <c:pt idx="9311">
                  <c:v>0.13883087622801699</c:v>
                </c:pt>
                <c:pt idx="9312">
                  <c:v>0.312977707486079</c:v>
                </c:pt>
                <c:pt idx="9313">
                  <c:v>0.28304439852794799</c:v>
                </c:pt>
                <c:pt idx="9314">
                  <c:v>0.356132779252259</c:v>
                </c:pt>
                <c:pt idx="9315">
                  <c:v>0.44781572698983002</c:v>
                </c:pt>
                <c:pt idx="9316">
                  <c:v>0.55941303824870003</c:v>
                </c:pt>
                <c:pt idx="9317">
                  <c:v>0.68121779058264897</c:v>
                </c:pt>
                <c:pt idx="9318">
                  <c:v>0.86696593183758297</c:v>
                </c:pt>
                <c:pt idx="9319">
                  <c:v>0.94553324624000401</c:v>
                </c:pt>
                <c:pt idx="9320">
                  <c:v>0.92197755987983199</c:v>
                </c:pt>
                <c:pt idx="9321">
                  <c:v>0.92525542164359298</c:v>
                </c:pt>
                <c:pt idx="9322">
                  <c:v>0.92241090708859297</c:v>
                </c:pt>
                <c:pt idx="9323">
                  <c:v>0.975196727930151</c:v>
                </c:pt>
                <c:pt idx="9324">
                  <c:v>0.97539705298257695</c:v>
                </c:pt>
                <c:pt idx="9325">
                  <c:v>1.00454753095085</c:v>
                </c:pt>
                <c:pt idx="9326">
                  <c:v>1.0831318955831599</c:v>
                </c:pt>
                <c:pt idx="9327">
                  <c:v>1.07509323952492</c:v>
                </c:pt>
                <c:pt idx="9328">
                  <c:v>1.0529041886105499</c:v>
                </c:pt>
                <c:pt idx="9329">
                  <c:v>1.1957221979666299</c:v>
                </c:pt>
                <c:pt idx="9330">
                  <c:v>1.29522869697742</c:v>
                </c:pt>
                <c:pt idx="9331">
                  <c:v>1.24416356556096</c:v>
                </c:pt>
                <c:pt idx="9332">
                  <c:v>1.3099333294317701</c:v>
                </c:pt>
                <c:pt idx="9333">
                  <c:v>1.3075212739820601</c:v>
                </c:pt>
                <c:pt idx="9334">
                  <c:v>1.23080502289306</c:v>
                </c:pt>
                <c:pt idx="9335">
                  <c:v>1.3274141064146601</c:v>
                </c:pt>
                <c:pt idx="9336">
                  <c:v>1.4984149187584299</c:v>
                </c:pt>
                <c:pt idx="9337">
                  <c:v>1.62005591685192</c:v>
                </c:pt>
                <c:pt idx="9338">
                  <c:v>1.64683491314416</c:v>
                </c:pt>
                <c:pt idx="9339">
                  <c:v>1.62825986671297</c:v>
                </c:pt>
                <c:pt idx="9340">
                  <c:v>1.6347803756992001</c:v>
                </c:pt>
                <c:pt idx="9341">
                  <c:v>1.57946887974064</c:v>
                </c:pt>
                <c:pt idx="9342">
                  <c:v>1.52642735421722</c:v>
                </c:pt>
                <c:pt idx="9343">
                  <c:v>1.52259227730086</c:v>
                </c:pt>
                <c:pt idx="9344">
                  <c:v>1.5182933515710999</c:v>
                </c:pt>
                <c:pt idx="9345">
                  <c:v>1.5576919607025299</c:v>
                </c:pt>
                <c:pt idx="9346">
                  <c:v>1.48347541456054</c:v>
                </c:pt>
                <c:pt idx="9347">
                  <c:v>1.52680050198935</c:v>
                </c:pt>
                <c:pt idx="9348">
                  <c:v>1.53356575999432</c:v>
                </c:pt>
                <c:pt idx="9349">
                  <c:v>1.5587722193693301</c:v>
                </c:pt>
                <c:pt idx="9350">
                  <c:v>1.61285475924642</c:v>
                </c:pt>
                <c:pt idx="9351">
                  <c:v>1.5701068373578799</c:v>
                </c:pt>
                <c:pt idx="9352">
                  <c:v>1.60871643135555</c:v>
                </c:pt>
                <c:pt idx="9353">
                  <c:v>1.6718896030420201</c:v>
                </c:pt>
                <c:pt idx="9354">
                  <c:v>1.4130445347941401</c:v>
                </c:pt>
                <c:pt idx="9355">
                  <c:v>1.4846100532344999</c:v>
                </c:pt>
                <c:pt idx="9356">
                  <c:v>1.42794134055262</c:v>
                </c:pt>
                <c:pt idx="9357">
                  <c:v>1.5548054035564201</c:v>
                </c:pt>
                <c:pt idx="9358">
                  <c:v>1.5062223063419899</c:v>
                </c:pt>
                <c:pt idx="9359">
                  <c:v>1.47215393220022</c:v>
                </c:pt>
                <c:pt idx="9360">
                  <c:v>1.42426458704573</c:v>
                </c:pt>
                <c:pt idx="9361">
                  <c:v>1.3555847768566001</c:v>
                </c:pt>
                <c:pt idx="9362">
                  <c:v>1.3449638589580999</c:v>
                </c:pt>
                <c:pt idx="9363">
                  <c:v>1.24159232323456</c:v>
                </c:pt>
                <c:pt idx="9364">
                  <c:v>1.07389339119184</c:v>
                </c:pt>
                <c:pt idx="9365">
                  <c:v>1.12518578858532</c:v>
                </c:pt>
                <c:pt idx="9366">
                  <c:v>1.12273179650146</c:v>
                </c:pt>
                <c:pt idx="9367">
                  <c:v>1.02117737221683</c:v>
                </c:pt>
                <c:pt idx="9368">
                  <c:v>0.98670979480790699</c:v>
                </c:pt>
                <c:pt idx="9369">
                  <c:v>0.98739403986306296</c:v>
                </c:pt>
                <c:pt idx="9370">
                  <c:v>0.99631726602889203</c:v>
                </c:pt>
                <c:pt idx="9371">
                  <c:v>1.02995743552674</c:v>
                </c:pt>
                <c:pt idx="9372">
                  <c:v>0.97124534886267999</c:v>
                </c:pt>
                <c:pt idx="9373">
                  <c:v>0.86740665753215296</c:v>
                </c:pt>
                <c:pt idx="9374">
                  <c:v>0.76961627010663403</c:v>
                </c:pt>
                <c:pt idx="9375">
                  <c:v>0.68006486379178799</c:v>
                </c:pt>
                <c:pt idx="9376">
                  <c:v>0.599568626559009</c:v>
                </c:pt>
                <c:pt idx="9377">
                  <c:v>0.52746473608012501</c:v>
                </c:pt>
                <c:pt idx="9378">
                  <c:v>0.47796118414134797</c:v>
                </c:pt>
                <c:pt idx="9379">
                  <c:v>0.42861099784579498</c:v>
                </c:pt>
                <c:pt idx="9380">
                  <c:v>0.41052385788789197</c:v>
                </c:pt>
                <c:pt idx="9381">
                  <c:v>0.36983637938987901</c:v>
                </c:pt>
                <c:pt idx="9382">
                  <c:v>0.36210482533456201</c:v>
                </c:pt>
                <c:pt idx="9383">
                  <c:v>0.36472885718183101</c:v>
                </c:pt>
                <c:pt idx="9384">
                  <c:v>0.396326419211039</c:v>
                </c:pt>
                <c:pt idx="9385">
                  <c:v>0.41144601901889999</c:v>
                </c:pt>
                <c:pt idx="9386">
                  <c:v>0.42656561882676097</c:v>
                </c:pt>
                <c:pt idx="9387">
                  <c:v>0.44168521863462101</c:v>
                </c:pt>
                <c:pt idx="9388">
                  <c:v>0.42072075808141701</c:v>
                </c:pt>
                <c:pt idx="9389">
                  <c:v>0.39975629752821301</c:v>
                </c:pt>
                <c:pt idx="9390">
                  <c:v>0.37879183697500901</c:v>
                </c:pt>
                <c:pt idx="9391">
                  <c:v>0.35782737642180501</c:v>
                </c:pt>
                <c:pt idx="9392">
                  <c:v>0.39260992086068103</c:v>
                </c:pt>
                <c:pt idx="9393">
                  <c:v>0.42739246529955599</c:v>
                </c:pt>
                <c:pt idx="9394">
                  <c:v>0.46217500973843101</c:v>
                </c:pt>
                <c:pt idx="9395">
                  <c:v>0.49695755417730703</c:v>
                </c:pt>
                <c:pt idx="9396">
                  <c:v>0.52743869453081504</c:v>
                </c:pt>
                <c:pt idx="9397">
                  <c:v>0.55791983488432395</c:v>
                </c:pt>
                <c:pt idx="9398">
                  <c:v>0.58840097523783297</c:v>
                </c:pt>
                <c:pt idx="9399">
                  <c:v>0.61888211559134099</c:v>
                </c:pt>
                <c:pt idx="9400">
                  <c:v>0.42827154465372602</c:v>
                </c:pt>
                <c:pt idx="9401">
                  <c:v>0.39662495089726701</c:v>
                </c:pt>
                <c:pt idx="9402">
                  <c:v>0.50110933690916604</c:v>
                </c:pt>
                <c:pt idx="9403">
                  <c:v>0.44882564376128897</c:v>
                </c:pt>
                <c:pt idx="9404">
                  <c:v>0.408320949813614</c:v>
                </c:pt>
                <c:pt idx="9405">
                  <c:v>0.421483352113806</c:v>
                </c:pt>
                <c:pt idx="9406">
                  <c:v>0.45112371663534501</c:v>
                </c:pt>
                <c:pt idx="9407">
                  <c:v>0.54267015851542499</c:v>
                </c:pt>
                <c:pt idx="9408">
                  <c:v>0.500229516334744</c:v>
                </c:pt>
                <c:pt idx="9409">
                  <c:v>0.51757834672069103</c:v>
                </c:pt>
                <c:pt idx="9410">
                  <c:v>0.57612208266000597</c:v>
                </c:pt>
                <c:pt idx="9411">
                  <c:v>0.65537699040449404</c:v>
                </c:pt>
                <c:pt idx="9412">
                  <c:v>0.72254561230671799</c:v>
                </c:pt>
                <c:pt idx="9413">
                  <c:v>0.81035133360036005</c:v>
                </c:pt>
                <c:pt idx="9414">
                  <c:v>0.86716436959999799</c:v>
                </c:pt>
                <c:pt idx="9415">
                  <c:v>1.03131159809537</c:v>
                </c:pt>
                <c:pt idx="9416">
                  <c:v>1.05332646559461</c:v>
                </c:pt>
                <c:pt idx="9417">
                  <c:v>1.04850778496991</c:v>
                </c:pt>
                <c:pt idx="9418">
                  <c:v>1.0519280854558799</c:v>
                </c:pt>
                <c:pt idx="9419">
                  <c:v>1.0657039718444401</c:v>
                </c:pt>
                <c:pt idx="9420">
                  <c:v>1.0483923182919499</c:v>
                </c:pt>
                <c:pt idx="9421">
                  <c:v>1.11369791390317</c:v>
                </c:pt>
                <c:pt idx="9422">
                  <c:v>1.16653131881989</c:v>
                </c:pt>
                <c:pt idx="9423">
                  <c:v>1.20500336630718</c:v>
                </c:pt>
                <c:pt idx="9424">
                  <c:v>1.3172800811415599</c:v>
                </c:pt>
                <c:pt idx="9425">
                  <c:v>1.3842027532524901</c:v>
                </c:pt>
                <c:pt idx="9426">
                  <c:v>1.4366899955202399</c:v>
                </c:pt>
                <c:pt idx="9427">
                  <c:v>1.4520621761752199</c:v>
                </c:pt>
                <c:pt idx="9428">
                  <c:v>1.5049590449121499</c:v>
                </c:pt>
                <c:pt idx="9429">
                  <c:v>1.4589881403209899</c:v>
                </c:pt>
                <c:pt idx="9430">
                  <c:v>1.553233280254499</c:v>
                </c:pt>
                <c:pt idx="9431">
                  <c:v>1.7361439732567401</c:v>
                </c:pt>
                <c:pt idx="9432">
                  <c:v>1.69547037238328</c:v>
                </c:pt>
                <c:pt idx="9433">
                  <c:v>1.6609191478285901</c:v>
                </c:pt>
                <c:pt idx="9434">
                  <c:v>1.7170760087207699</c:v>
                </c:pt>
                <c:pt idx="9435">
                  <c:v>1.7629513561241199</c:v>
                </c:pt>
                <c:pt idx="9436">
                  <c:v>1.65690067672681</c:v>
                </c:pt>
                <c:pt idx="9437">
                  <c:v>1.8190425545570399</c:v>
                </c:pt>
                <c:pt idx="9438">
                  <c:v>1.77051137729123</c:v>
                </c:pt>
                <c:pt idx="9439">
                  <c:v>1.6934108508097701</c:v>
                </c:pt>
                <c:pt idx="9440">
                  <c:v>1.67759152247473</c:v>
                </c:pt>
                <c:pt idx="9441">
                  <c:v>1.65557574540717</c:v>
                </c:pt>
                <c:pt idx="9442">
                  <c:v>1.57565444169221</c:v>
                </c:pt>
                <c:pt idx="9443">
                  <c:v>1.5659574896759401</c:v>
                </c:pt>
                <c:pt idx="9444">
                  <c:v>1.5245834881134801</c:v>
                </c:pt>
                <c:pt idx="9445">
                  <c:v>1.69365510359009</c:v>
                </c:pt>
                <c:pt idx="9446">
                  <c:v>1.57782354074513</c:v>
                </c:pt>
                <c:pt idx="9447">
                  <c:v>1.7160558365709699</c:v>
                </c:pt>
                <c:pt idx="9448">
                  <c:v>1.63770385203473</c:v>
                </c:pt>
                <c:pt idx="9449">
                  <c:v>1.4997898329888399</c:v>
                </c:pt>
                <c:pt idx="9450">
                  <c:v>1.5556901031174599</c:v>
                </c:pt>
                <c:pt idx="9451">
                  <c:v>1.5373602500205401</c:v>
                </c:pt>
                <c:pt idx="9452">
                  <c:v>1.7070222057859601</c:v>
                </c:pt>
                <c:pt idx="9453">
                  <c:v>1.7218741007245899</c:v>
                </c:pt>
                <c:pt idx="9454">
                  <c:v>1.4767671987306299</c:v>
                </c:pt>
                <c:pt idx="9455">
                  <c:v>1.4709819942778399</c:v>
                </c:pt>
                <c:pt idx="9456">
                  <c:v>1.42790940534898</c:v>
                </c:pt>
                <c:pt idx="9457">
                  <c:v>1.2733382659385899</c:v>
                </c:pt>
                <c:pt idx="9458">
                  <c:v>1.3816093564688099</c:v>
                </c:pt>
                <c:pt idx="9459">
                  <c:v>1.1382933707602401</c:v>
                </c:pt>
                <c:pt idx="9460">
                  <c:v>1.0513467983015701</c:v>
                </c:pt>
                <c:pt idx="9461">
                  <c:v>1.05745757495439</c:v>
                </c:pt>
                <c:pt idx="9462">
                  <c:v>0.91064223669962097</c:v>
                </c:pt>
                <c:pt idx="9463">
                  <c:v>0.80094196005762297</c:v>
                </c:pt>
                <c:pt idx="9464">
                  <c:v>0.86052946816862297</c:v>
                </c:pt>
                <c:pt idx="9465">
                  <c:v>0.89524666730438196</c:v>
                </c:pt>
                <c:pt idx="9466">
                  <c:v>0.90320439072995995</c:v>
                </c:pt>
                <c:pt idx="9467">
                  <c:v>0.94208072703578905</c:v>
                </c:pt>
                <c:pt idx="9468">
                  <c:v>0.919006620173482</c:v>
                </c:pt>
                <c:pt idx="9469">
                  <c:v>0.88361368825989794</c:v>
                </c:pt>
                <c:pt idx="9470">
                  <c:v>0.848220756346313</c:v>
                </c:pt>
                <c:pt idx="9471">
                  <c:v>0.77775529519812103</c:v>
                </c:pt>
                <c:pt idx="9472">
                  <c:v>0.67230196210582904</c:v>
                </c:pt>
                <c:pt idx="9473">
                  <c:v>0.56677455659978204</c:v>
                </c:pt>
                <c:pt idx="9474">
                  <c:v>0.490197304009581</c:v>
                </c:pt>
                <c:pt idx="9475">
                  <c:v>0.41150344662746802</c:v>
                </c:pt>
                <c:pt idx="9476">
                  <c:v>0.30497217182647701</c:v>
                </c:pt>
                <c:pt idx="9477">
                  <c:v>0.23555595863825299</c:v>
                </c:pt>
                <c:pt idx="9478">
                  <c:v>0.37891896370655898</c:v>
                </c:pt>
                <c:pt idx="9479">
                  <c:v>0.30950275051833398</c:v>
                </c:pt>
                <c:pt idx="9480">
                  <c:v>0.28958931203558402</c:v>
                </c:pt>
                <c:pt idx="9481">
                  <c:v>0.31714652106818503</c:v>
                </c:pt>
                <c:pt idx="9482">
                  <c:v>0.29927561496359401</c:v>
                </c:pt>
                <c:pt idx="9483">
                  <c:v>0.310354861774848</c:v>
                </c:pt>
                <c:pt idx="9484">
                  <c:v>0.18813370633509799</c:v>
                </c:pt>
                <c:pt idx="9485">
                  <c:v>0.23091961116579901</c:v>
                </c:pt>
                <c:pt idx="9486">
                  <c:v>0.24679789545881201</c:v>
                </c:pt>
                <c:pt idx="9487">
                  <c:v>0.22979432772288499</c:v>
                </c:pt>
                <c:pt idx="9488">
                  <c:v>0.236421983576793</c:v>
                </c:pt>
                <c:pt idx="9489">
                  <c:v>0.24304963943070099</c:v>
                </c:pt>
                <c:pt idx="9490">
                  <c:v>0.249677295284609</c:v>
                </c:pt>
                <c:pt idx="9491">
                  <c:v>0.25630495113851798</c:v>
                </c:pt>
                <c:pt idx="9492">
                  <c:v>0.25606499635222102</c:v>
                </c:pt>
                <c:pt idx="9493">
                  <c:v>0.255825041565925</c:v>
                </c:pt>
                <c:pt idx="9494">
                  <c:v>-4.2839752920576001E-3</c:v>
                </c:pt>
                <c:pt idx="9495">
                  <c:v>1.59844624040811E-3</c:v>
                </c:pt>
                <c:pt idx="9496">
                  <c:v>-2.2657386099535499E-2</c:v>
                </c:pt>
                <c:pt idx="9497">
                  <c:v>-1.8042358753099501E-2</c:v>
                </c:pt>
                <c:pt idx="9498">
                  <c:v>4.2282297219360901E-2</c:v>
                </c:pt>
                <c:pt idx="9499">
                  <c:v>-4.7272393039115802E-3</c:v>
                </c:pt>
                <c:pt idx="9500">
                  <c:v>9.8085713101056904E-2</c:v>
                </c:pt>
                <c:pt idx="9501">
                  <c:v>6.9414523197302101E-3</c:v>
                </c:pt>
                <c:pt idx="9502">
                  <c:v>1.4818330509709E-2</c:v>
                </c:pt>
                <c:pt idx="9503">
                  <c:v>7.0086562985572601E-2</c:v>
                </c:pt>
                <c:pt idx="9504">
                  <c:v>8.5846432775241899E-2</c:v>
                </c:pt>
                <c:pt idx="9505">
                  <c:v>6.8576305708462307E-2</c:v>
                </c:pt>
                <c:pt idx="9506">
                  <c:v>8.4336175498131494E-2</c:v>
                </c:pt>
                <c:pt idx="9507">
                  <c:v>0.100096045287801</c:v>
                </c:pt>
                <c:pt idx="9508">
                  <c:v>0.26731181834751</c:v>
                </c:pt>
                <c:pt idx="9509">
                  <c:v>0.19945476589702099</c:v>
                </c:pt>
                <c:pt idx="9510">
                  <c:v>0.34807597194347001</c:v>
                </c:pt>
                <c:pt idx="9511">
                  <c:v>0.38739974634549501</c:v>
                </c:pt>
                <c:pt idx="9512">
                  <c:v>0.27837204703616503</c:v>
                </c:pt>
                <c:pt idx="9513">
                  <c:v>0.26004721235799999</c:v>
                </c:pt>
                <c:pt idx="9514">
                  <c:v>0.32018048967347801</c:v>
                </c:pt>
                <c:pt idx="9515">
                  <c:v>0.39883426158846103</c:v>
                </c:pt>
                <c:pt idx="9516">
                  <c:v>0.51759845345427802</c:v>
                </c:pt>
                <c:pt idx="9517">
                  <c:v>0.390929013091599</c:v>
                </c:pt>
                <c:pt idx="9518">
                  <c:v>0.57991233584038404</c:v>
                </c:pt>
                <c:pt idx="9519">
                  <c:v>0.48831542471231199</c:v>
                </c:pt>
                <c:pt idx="9520">
                  <c:v>0.546235484934539</c:v>
                </c:pt>
                <c:pt idx="9521">
                  <c:v>0.65578532984218996</c:v>
                </c:pt>
                <c:pt idx="9522">
                  <c:v>0.93245883981220201</c:v>
                </c:pt>
                <c:pt idx="9523">
                  <c:v>1.1349074473723999</c:v>
                </c:pt>
                <c:pt idx="9524">
                  <c:v>1.2776738085480199</c:v>
                </c:pt>
                <c:pt idx="9525">
                  <c:v>1.2080365343516</c:v>
                </c:pt>
                <c:pt idx="9526">
                  <c:v>1.12600114187443</c:v>
                </c:pt>
                <c:pt idx="9527">
                  <c:v>1.0439657493972601</c:v>
                </c:pt>
                <c:pt idx="9528">
                  <c:v>1.0517234751804501</c:v>
                </c:pt>
                <c:pt idx="9529">
                  <c:v>1.0594812009636401</c:v>
                </c:pt>
                <c:pt idx="9530">
                  <c:v>1.0672389267468301</c:v>
                </c:pt>
                <c:pt idx="9531">
                  <c:v>1.0749966525300101</c:v>
                </c:pt>
                <c:pt idx="9532">
                  <c:v>1.05804335497434</c:v>
                </c:pt>
                <c:pt idx="9533">
                  <c:v>1.0410900574186599</c:v>
                </c:pt>
                <c:pt idx="9534">
                  <c:v>1.02413675986298</c:v>
                </c:pt>
                <c:pt idx="9535">
                  <c:v>1.0071834623072999</c:v>
                </c:pt>
                <c:pt idx="9536">
                  <c:v>0.99044897692173495</c:v>
                </c:pt>
                <c:pt idx="9537">
                  <c:v>0.97371449153616996</c:v>
                </c:pt>
                <c:pt idx="9538">
                  <c:v>0.95698000615060397</c:v>
                </c:pt>
                <c:pt idx="9539">
                  <c:v>0.94024552076503798</c:v>
                </c:pt>
                <c:pt idx="9540">
                  <c:v>0.88262331504566605</c:v>
                </c:pt>
                <c:pt idx="9541">
                  <c:v>1.31687830250351</c:v>
                </c:pt>
                <c:pt idx="9542">
                  <c:v>1.17081798177239</c:v>
                </c:pt>
                <c:pt idx="9543">
                  <c:v>1.2432148211340399</c:v>
                </c:pt>
                <c:pt idx="9544">
                  <c:v>1.2519345362891801</c:v>
                </c:pt>
                <c:pt idx="9545">
                  <c:v>1.28575721929224</c:v>
                </c:pt>
                <c:pt idx="9546">
                  <c:v>0.93141193378716702</c:v>
                </c:pt>
                <c:pt idx="9547">
                  <c:v>0.771113596329286</c:v>
                </c:pt>
                <c:pt idx="9548">
                  <c:v>5.02656332825447E-2</c:v>
                </c:pt>
                <c:pt idx="9549">
                  <c:v>8.6910718918983706E-2</c:v>
                </c:pt>
                <c:pt idx="9550">
                  <c:v>-0.52612729225522004</c:v>
                </c:pt>
                <c:pt idx="9551">
                  <c:v>-0.52485102550840301</c:v>
                </c:pt>
                <c:pt idx="9552">
                  <c:v>-0.341699168083065</c:v>
                </c:pt>
                <c:pt idx="9553">
                  <c:v>-0.29037100842850799</c:v>
                </c:pt>
                <c:pt idx="9554">
                  <c:v>-0.195583193601161</c:v>
                </c:pt>
                <c:pt idx="9555">
                  <c:v>-0.25151515402858399</c:v>
                </c:pt>
                <c:pt idx="9556">
                  <c:v>-0.21010896909017601</c:v>
                </c:pt>
                <c:pt idx="9557">
                  <c:v>-4.0731492264617003E-2</c:v>
                </c:pt>
                <c:pt idx="9558">
                  <c:v>-0.13349304794587699</c:v>
                </c:pt>
                <c:pt idx="9559">
                  <c:v>-5.4897728980950702E-2</c:v>
                </c:pt>
                <c:pt idx="9560">
                  <c:v>4.4519518165655199E-2</c:v>
                </c:pt>
                <c:pt idx="9561">
                  <c:v>4.4841553927199802E-2</c:v>
                </c:pt>
                <c:pt idx="9562">
                  <c:v>-4.5718074460264803E-3</c:v>
                </c:pt>
                <c:pt idx="9563">
                  <c:v>-2.0579589078321001E-2</c:v>
                </c:pt>
                <c:pt idx="9564">
                  <c:v>3.4848637131179E-2</c:v>
                </c:pt>
                <c:pt idx="9565">
                  <c:v>5.8982667575946598E-2</c:v>
                </c:pt>
                <c:pt idx="9566">
                  <c:v>-0.16442831818398199</c:v>
                </c:pt>
                <c:pt idx="9567">
                  <c:v>-0.15858734428174501</c:v>
                </c:pt>
                <c:pt idx="9568">
                  <c:v>-0.14531507661793999</c:v>
                </c:pt>
                <c:pt idx="9569">
                  <c:v>-0.16507280581058401</c:v>
                </c:pt>
                <c:pt idx="9570">
                  <c:v>-0.17863408627071301</c:v>
                </c:pt>
                <c:pt idx="9571">
                  <c:v>-0.20655672416027701</c:v>
                </c:pt>
                <c:pt idx="9572">
                  <c:v>-0.27768813017908001</c:v>
                </c:pt>
                <c:pt idx="9573">
                  <c:v>-0.34058055508720902</c:v>
                </c:pt>
                <c:pt idx="9574">
                  <c:v>-0.40959535631409999</c:v>
                </c:pt>
                <c:pt idx="9575">
                  <c:v>-0.45185068183081101</c:v>
                </c:pt>
                <c:pt idx="9576">
                  <c:v>-0.37923354854338898</c:v>
                </c:pt>
                <c:pt idx="9577">
                  <c:v>-0.29626082935338099</c:v>
                </c:pt>
                <c:pt idx="9578">
                  <c:v>-0.196810147942026</c:v>
                </c:pt>
                <c:pt idx="9579">
                  <c:v>-9.7359466530671096E-2</c:v>
                </c:pt>
                <c:pt idx="9580">
                  <c:v>-9.7359466530671096E-2</c:v>
                </c:pt>
                <c:pt idx="9581">
                  <c:v>-9.7359466530671096E-2</c:v>
                </c:pt>
                <c:pt idx="9582">
                  <c:v>-9.7359466530671096E-2</c:v>
                </c:pt>
                <c:pt idx="9583">
                  <c:v>-0.44158441422174199</c:v>
                </c:pt>
                <c:pt idx="9584">
                  <c:v>-0.42835239825759303</c:v>
                </c:pt>
                <c:pt idx="9585">
                  <c:v>-0.415120382293444</c:v>
                </c:pt>
                <c:pt idx="9586">
                  <c:v>-0.40188836632929398</c:v>
                </c:pt>
                <c:pt idx="9587">
                  <c:v>-0.38865635036514501</c:v>
                </c:pt>
                <c:pt idx="9588">
                  <c:v>-0.386425620304712</c:v>
                </c:pt>
                <c:pt idx="9589">
                  <c:v>-0.384194890244279</c:v>
                </c:pt>
                <c:pt idx="9590">
                  <c:v>-0.38196416018384699</c:v>
                </c:pt>
                <c:pt idx="9591">
                  <c:v>-0.37973343012341398</c:v>
                </c:pt>
                <c:pt idx="9592">
                  <c:v>-0.37645655080201701</c:v>
                </c:pt>
                <c:pt idx="9593">
                  <c:v>-0.38965763370196699</c:v>
                </c:pt>
                <c:pt idx="9594">
                  <c:v>-0.42553312755578099</c:v>
                </c:pt>
                <c:pt idx="9595">
                  <c:v>-0.38106134268101499</c:v>
                </c:pt>
                <c:pt idx="9596">
                  <c:v>-0.389711049996189</c:v>
                </c:pt>
                <c:pt idx="9597">
                  <c:v>-0.43547059810841399</c:v>
                </c:pt>
                <c:pt idx="9598">
                  <c:v>-0.48327267859879802</c:v>
                </c:pt>
                <c:pt idx="9599">
                  <c:v>-0.50635781575715999</c:v>
                </c:pt>
                <c:pt idx="9600">
                  <c:v>-0.52143537349513003</c:v>
                </c:pt>
                <c:pt idx="9601">
                  <c:v>-0.47060108234770898</c:v>
                </c:pt>
                <c:pt idx="9602">
                  <c:v>-0.50215660230702697</c:v>
                </c:pt>
                <c:pt idx="9603">
                  <c:v>-0.47815585928353899</c:v>
                </c:pt>
                <c:pt idx="9604">
                  <c:v>-0.39637175224111798</c:v>
                </c:pt>
                <c:pt idx="9605">
                  <c:v>-0.32071002151745698</c:v>
                </c:pt>
                <c:pt idx="9606">
                  <c:v>-0.25540387669638298</c:v>
                </c:pt>
                <c:pt idx="9607">
                  <c:v>-0.223053656318004</c:v>
                </c:pt>
                <c:pt idx="9608">
                  <c:v>-0.260911342622758</c:v>
                </c:pt>
                <c:pt idx="9609">
                  <c:v>-0.31736359594077101</c:v>
                </c:pt>
                <c:pt idx="9610">
                  <c:v>-0.330504338913503</c:v>
                </c:pt>
                <c:pt idx="9611">
                  <c:v>-0.25294221725506999</c:v>
                </c:pt>
                <c:pt idx="9612">
                  <c:v>-0.317888700632034</c:v>
                </c:pt>
                <c:pt idx="9613">
                  <c:v>-0.43839666780751502</c:v>
                </c:pt>
                <c:pt idx="9614">
                  <c:v>-0.46003686165491098</c:v>
                </c:pt>
                <c:pt idx="9615">
                  <c:v>-0.40329301592241801</c:v>
                </c:pt>
                <c:pt idx="9616">
                  <c:v>-0.283602828306731</c:v>
                </c:pt>
                <c:pt idx="9617">
                  <c:v>-0.20102770230380901</c:v>
                </c:pt>
                <c:pt idx="9618">
                  <c:v>-0.124649025033402</c:v>
                </c:pt>
                <c:pt idx="9619">
                  <c:v>0.30449747696123503</c:v>
                </c:pt>
                <c:pt idx="9620">
                  <c:v>0.210653319312719</c:v>
                </c:pt>
                <c:pt idx="9621">
                  <c:v>0.308575697644834</c:v>
                </c:pt>
                <c:pt idx="9622">
                  <c:v>0.51391156170214902</c:v>
                </c:pt>
                <c:pt idx="9623">
                  <c:v>0.52528499175745602</c:v>
                </c:pt>
                <c:pt idx="9624">
                  <c:v>0.63853982222828698</c:v>
                </c:pt>
                <c:pt idx="9625">
                  <c:v>0.68769267731919803</c:v>
                </c:pt>
                <c:pt idx="9626">
                  <c:v>0.61945726448251803</c:v>
                </c:pt>
                <c:pt idx="9627">
                  <c:v>0.86688505638873103</c:v>
                </c:pt>
                <c:pt idx="9628">
                  <c:v>0.81741386350184098</c:v>
                </c:pt>
                <c:pt idx="9629">
                  <c:v>0.79492958438210504</c:v>
                </c:pt>
                <c:pt idx="9630">
                  <c:v>0.85264443916344002</c:v>
                </c:pt>
                <c:pt idx="9631">
                  <c:v>0.84656404985129796</c:v>
                </c:pt>
                <c:pt idx="9632">
                  <c:v>0.72398504374319295</c:v>
                </c:pt>
                <c:pt idx="9633">
                  <c:v>0.859549740246486</c:v>
                </c:pt>
                <c:pt idx="9634">
                  <c:v>0.89178079496518103</c:v>
                </c:pt>
                <c:pt idx="9635">
                  <c:v>0.80034783979430202</c:v>
                </c:pt>
                <c:pt idx="9636">
                  <c:v>0.86085927191227896</c:v>
                </c:pt>
                <c:pt idx="9637">
                  <c:v>0.78515521021671797</c:v>
                </c:pt>
                <c:pt idx="9638">
                  <c:v>0.90969454530086302</c:v>
                </c:pt>
                <c:pt idx="9639">
                  <c:v>0.660506562535775</c:v>
                </c:pt>
                <c:pt idx="9640">
                  <c:v>0.81967727433957305</c:v>
                </c:pt>
                <c:pt idx="9641">
                  <c:v>0.94346872562232098</c:v>
                </c:pt>
                <c:pt idx="9642">
                  <c:v>0.71840316803107895</c:v>
                </c:pt>
                <c:pt idx="9643">
                  <c:v>0.57769588151097895</c:v>
                </c:pt>
                <c:pt idx="9644">
                  <c:v>0.739242984201402</c:v>
                </c:pt>
                <c:pt idx="9645">
                  <c:v>0.739476846046068</c:v>
                </c:pt>
                <c:pt idx="9646">
                  <c:v>0.71279786653733401</c:v>
                </c:pt>
                <c:pt idx="9647">
                  <c:v>0.58906098720598399</c:v>
                </c:pt>
                <c:pt idx="9648">
                  <c:v>0.52145641140271504</c:v>
                </c:pt>
                <c:pt idx="9649">
                  <c:v>0.60700016774828403</c:v>
                </c:pt>
                <c:pt idx="9650">
                  <c:v>0.31678451549789</c:v>
                </c:pt>
                <c:pt idx="9651">
                  <c:v>0.22680703921148801</c:v>
                </c:pt>
                <c:pt idx="9652">
                  <c:v>0.23614514027691699</c:v>
                </c:pt>
                <c:pt idx="9653">
                  <c:v>-0.32361991786702798</c:v>
                </c:pt>
                <c:pt idx="9654">
                  <c:v>-0.40476246419150202</c:v>
                </c:pt>
                <c:pt idx="9655">
                  <c:v>-0.47387725430400202</c:v>
                </c:pt>
                <c:pt idx="9656">
                  <c:v>-0.452838692129029</c:v>
                </c:pt>
                <c:pt idx="9657">
                  <c:v>-0.48735639293686001</c:v>
                </c:pt>
                <c:pt idx="9658">
                  <c:v>-0.52391662612284895</c:v>
                </c:pt>
                <c:pt idx="9659">
                  <c:v>-0.52350994252358096</c:v>
                </c:pt>
                <c:pt idx="9660">
                  <c:v>-0.47951131992423002</c:v>
                </c:pt>
                <c:pt idx="9661">
                  <c:v>-0.42311457904413602</c:v>
                </c:pt>
                <c:pt idx="9662">
                  <c:v>-0.38523833276354802</c:v>
                </c:pt>
                <c:pt idx="9663">
                  <c:v>-0.36179751632614798</c:v>
                </c:pt>
                <c:pt idx="9664">
                  <c:v>-0.33704417330692499</c:v>
                </c:pt>
                <c:pt idx="9665">
                  <c:v>-0.328768792509049</c:v>
                </c:pt>
                <c:pt idx="9666">
                  <c:v>-0.31437103539241201</c:v>
                </c:pt>
                <c:pt idx="9667">
                  <c:v>-0.27313973015184101</c:v>
                </c:pt>
                <c:pt idx="9668">
                  <c:v>-0.26611671583620899</c:v>
                </c:pt>
                <c:pt idx="9669">
                  <c:v>-0.27761419612008198</c:v>
                </c:pt>
                <c:pt idx="9670">
                  <c:v>-0.28911167640395602</c:v>
                </c:pt>
                <c:pt idx="9671">
                  <c:v>-0.300609156687829</c:v>
                </c:pt>
                <c:pt idx="9672">
                  <c:v>-0.296700385090231</c:v>
                </c:pt>
                <c:pt idx="9673">
                  <c:v>-0.292791613492632</c:v>
                </c:pt>
                <c:pt idx="9674">
                  <c:v>-0.28888284189503399</c:v>
                </c:pt>
                <c:pt idx="9675">
                  <c:v>-0.28497407029743599</c:v>
                </c:pt>
                <c:pt idx="9676">
                  <c:v>-0.28285749502185298</c:v>
                </c:pt>
                <c:pt idx="9677">
                  <c:v>-0.28074091974627102</c:v>
                </c:pt>
                <c:pt idx="9678">
                  <c:v>-0.27862434447068801</c:v>
                </c:pt>
                <c:pt idx="9679">
                  <c:v>-0.276507769195106</c:v>
                </c:pt>
                <c:pt idx="9680">
                  <c:v>-0.24659796613570001</c:v>
                </c:pt>
                <c:pt idx="9681">
                  <c:v>-0.21668816307629499</c:v>
                </c:pt>
                <c:pt idx="9682">
                  <c:v>-0.18677836001688899</c:v>
                </c:pt>
                <c:pt idx="9683">
                  <c:v>-0.156868556957484</c:v>
                </c:pt>
                <c:pt idx="9684">
                  <c:v>-0.161162790182307</c:v>
                </c:pt>
                <c:pt idx="9685">
                  <c:v>-0.33023664562060501</c:v>
                </c:pt>
                <c:pt idx="9686">
                  <c:v>-0.33453087884542798</c:v>
                </c:pt>
                <c:pt idx="9687">
                  <c:v>-0.244042403498483</c:v>
                </c:pt>
                <c:pt idx="9688">
                  <c:v>-0.294603112226204</c:v>
                </c:pt>
                <c:pt idx="9689">
                  <c:v>-0.29369262272743801</c:v>
                </c:pt>
                <c:pt idx="9690">
                  <c:v>-0.27418756621541202</c:v>
                </c:pt>
                <c:pt idx="9691">
                  <c:v>-0.25468250970338602</c:v>
                </c:pt>
                <c:pt idx="9692">
                  <c:v>-0.17242290303013499</c:v>
                </c:pt>
                <c:pt idx="9693">
                  <c:v>-0.106567186164477</c:v>
                </c:pt>
                <c:pt idx="9694">
                  <c:v>-7.9937914887783998E-2</c:v>
                </c:pt>
                <c:pt idx="9695">
                  <c:v>-5.12713320486455E-2</c:v>
                </c:pt>
                <c:pt idx="9696">
                  <c:v>-2.4680473129848501E-2</c:v>
                </c:pt>
                <c:pt idx="9697">
                  <c:v>-1.25250440542408E-2</c:v>
                </c:pt>
                <c:pt idx="9698">
                  <c:v>-2.4121473567910198E-3</c:v>
                </c:pt>
                <c:pt idx="9699">
                  <c:v>2.4178711562005999E-2</c:v>
                </c:pt>
                <c:pt idx="9700">
                  <c:v>0.13951788797948</c:v>
                </c:pt>
                <c:pt idx="9701">
                  <c:v>0.37027687236014001</c:v>
                </c:pt>
                <c:pt idx="9702">
                  <c:v>0.45878250065368098</c:v>
                </c:pt>
                <c:pt idx="9703">
                  <c:v>0.58440319055998702</c:v>
                </c:pt>
                <c:pt idx="9704">
                  <c:v>0.59668625395712804</c:v>
                </c:pt>
                <c:pt idx="9705">
                  <c:v>0.46059358494838798</c:v>
                </c:pt>
                <c:pt idx="9706">
                  <c:v>0.65005438883974898</c:v>
                </c:pt>
                <c:pt idx="9707">
                  <c:v>0.83331352318288199</c:v>
                </c:pt>
                <c:pt idx="9708">
                  <c:v>0.71823710912610494</c:v>
                </c:pt>
                <c:pt idx="9709">
                  <c:v>0.64632406058710201</c:v>
                </c:pt>
                <c:pt idx="9710">
                  <c:v>0.57441101204809897</c:v>
                </c:pt>
                <c:pt idx="9711">
                  <c:v>0.50249796350909604</c:v>
                </c:pt>
                <c:pt idx="9712">
                  <c:v>0.58236579213597095</c:v>
                </c:pt>
                <c:pt idx="9713">
                  <c:v>0.66223362076284598</c:v>
                </c:pt>
                <c:pt idx="9714">
                  <c:v>0.742101449389721</c:v>
                </c:pt>
                <c:pt idx="9715">
                  <c:v>0.82196927801659603</c:v>
                </c:pt>
                <c:pt idx="9716">
                  <c:v>0.742173984805229</c:v>
                </c:pt>
                <c:pt idx="9717">
                  <c:v>0.66237869159386098</c:v>
                </c:pt>
                <c:pt idx="9718">
                  <c:v>0.58258339838249296</c:v>
                </c:pt>
                <c:pt idx="9719">
                  <c:v>0.50278810517112504</c:v>
                </c:pt>
                <c:pt idx="9720">
                  <c:v>0.49678824694608098</c:v>
                </c:pt>
                <c:pt idx="9721">
                  <c:v>0.49078838872103703</c:v>
                </c:pt>
                <c:pt idx="9722">
                  <c:v>0.48478853049599302</c:v>
                </c:pt>
                <c:pt idx="9723">
                  <c:v>0.47878867227094801</c:v>
                </c:pt>
                <c:pt idx="9724">
                  <c:v>1.24940536361274</c:v>
                </c:pt>
                <c:pt idx="9725">
                  <c:v>1.18667370007786</c:v>
                </c:pt>
                <c:pt idx="9726">
                  <c:v>1.0311173463041901</c:v>
                </c:pt>
                <c:pt idx="9727">
                  <c:v>0.92280420198889102</c:v>
                </c:pt>
                <c:pt idx="9728">
                  <c:v>1.15514593052535</c:v>
                </c:pt>
                <c:pt idx="9729">
                  <c:v>1.2676019826420999</c:v>
                </c:pt>
                <c:pt idx="9730">
                  <c:v>1.2583572640179701</c:v>
                </c:pt>
                <c:pt idx="9731">
                  <c:v>1.34617044521646</c:v>
                </c:pt>
                <c:pt idx="9732">
                  <c:v>1.4013203099307101</c:v>
                </c:pt>
                <c:pt idx="9733">
                  <c:v>1.30989909492884</c:v>
                </c:pt>
                <c:pt idx="9734">
                  <c:v>1.4433589268092299</c:v>
                </c:pt>
                <c:pt idx="9735">
                  <c:v>1.1705215409136001</c:v>
                </c:pt>
                <c:pt idx="9736">
                  <c:v>1.4268308587843199</c:v>
                </c:pt>
                <c:pt idx="9737">
                  <c:v>1.4894051807100099</c:v>
                </c:pt>
                <c:pt idx="9738">
                  <c:v>1.1308809030823399</c:v>
                </c:pt>
                <c:pt idx="9739">
                  <c:v>1.24085180010963</c:v>
                </c:pt>
                <c:pt idx="9740">
                  <c:v>1.2652239964154901</c:v>
                </c:pt>
                <c:pt idx="9741">
                  <c:v>1.2900562896510099</c:v>
                </c:pt>
                <c:pt idx="9742">
                  <c:v>1.26861434630377</c:v>
                </c:pt>
                <c:pt idx="9743">
                  <c:v>1.18648802992805</c:v>
                </c:pt>
                <c:pt idx="9744">
                  <c:v>1.27882129391983</c:v>
                </c:pt>
                <c:pt idx="9745">
                  <c:v>1.1800703361019</c:v>
                </c:pt>
                <c:pt idx="9746">
                  <c:v>1.17253633967681</c:v>
                </c:pt>
                <c:pt idx="9747">
                  <c:v>1.0796010268912</c:v>
                </c:pt>
                <c:pt idx="9748">
                  <c:v>1.16487692728655</c:v>
                </c:pt>
                <c:pt idx="9749">
                  <c:v>1.01045032644054</c:v>
                </c:pt>
                <c:pt idx="9750">
                  <c:v>0.93637622513882801</c:v>
                </c:pt>
                <c:pt idx="9751">
                  <c:v>0.521847903348444</c:v>
                </c:pt>
                <c:pt idx="9752">
                  <c:v>0.47275051266285001</c:v>
                </c:pt>
                <c:pt idx="9753">
                  <c:v>0.79766628785007698</c:v>
                </c:pt>
                <c:pt idx="9754">
                  <c:v>0.94048879878833502</c:v>
                </c:pt>
                <c:pt idx="9755">
                  <c:v>0.52455329478837698</c:v>
                </c:pt>
                <c:pt idx="9756">
                  <c:v>0.456078787517114</c:v>
                </c:pt>
                <c:pt idx="9757">
                  <c:v>0.40824137963726798</c:v>
                </c:pt>
                <c:pt idx="9758">
                  <c:v>0.39335989620011902</c:v>
                </c:pt>
                <c:pt idx="9759">
                  <c:v>0.29805184080492197</c:v>
                </c:pt>
                <c:pt idx="9760">
                  <c:v>0.24319330779523499</c:v>
                </c:pt>
                <c:pt idx="9761">
                  <c:v>0.17389934494235801</c:v>
                </c:pt>
                <c:pt idx="9762">
                  <c:v>-0.25049604385221003</c:v>
                </c:pt>
                <c:pt idx="9763">
                  <c:v>-0.26000053413845797</c:v>
                </c:pt>
                <c:pt idx="9764">
                  <c:v>-0.22662491030517801</c:v>
                </c:pt>
                <c:pt idx="9765">
                  <c:v>-0.22000876218207899</c:v>
                </c:pt>
                <c:pt idx="9766">
                  <c:v>-0.213392614058979</c:v>
                </c:pt>
                <c:pt idx="9767">
                  <c:v>-0.20677646593587901</c:v>
                </c:pt>
                <c:pt idx="9768">
                  <c:v>-0.21718548307753399</c:v>
                </c:pt>
                <c:pt idx="9769">
                  <c:v>-0.22759450021919</c:v>
                </c:pt>
                <c:pt idx="9770">
                  <c:v>-0.23800351736084499</c:v>
                </c:pt>
                <c:pt idx="9771">
                  <c:v>-0.2484125345025</c:v>
                </c:pt>
                <c:pt idx="9772">
                  <c:v>-0.25898123135953999</c:v>
                </c:pt>
                <c:pt idx="9773">
                  <c:v>-0.26954992821657903</c:v>
                </c:pt>
                <c:pt idx="9774">
                  <c:v>-0.28011862507361901</c:v>
                </c:pt>
                <c:pt idx="9775">
                  <c:v>-0.29068732193065899</c:v>
                </c:pt>
                <c:pt idx="9776">
                  <c:v>-0.26421131354639599</c:v>
                </c:pt>
                <c:pt idx="9777">
                  <c:v>-0.23773530516213401</c:v>
                </c:pt>
                <c:pt idx="9778">
                  <c:v>-0.211259296777871</c:v>
                </c:pt>
                <c:pt idx="9779">
                  <c:v>-0.184783288393609</c:v>
                </c:pt>
                <c:pt idx="9780">
                  <c:v>-0.217413451867458</c:v>
                </c:pt>
                <c:pt idx="9781">
                  <c:v>-0.25011768775505999</c:v>
                </c:pt>
                <c:pt idx="9782">
                  <c:v>-0.28274785122891</c:v>
                </c:pt>
                <c:pt idx="9783">
                  <c:v>-0.14009466175919</c:v>
                </c:pt>
                <c:pt idx="9784">
                  <c:v>-0.267761710550317</c:v>
                </c:pt>
                <c:pt idx="9785">
                  <c:v>-0.26148845677875099</c:v>
                </c:pt>
                <c:pt idx="9786">
                  <c:v>-0.28809705503612698</c:v>
                </c:pt>
                <c:pt idx="9787">
                  <c:v>-0.26322923425130201</c:v>
                </c:pt>
                <c:pt idx="9788">
                  <c:v>-0.202587991938737</c:v>
                </c:pt>
                <c:pt idx="9789">
                  <c:v>-0.218208963598436</c:v>
                </c:pt>
                <c:pt idx="9790">
                  <c:v>-0.244111448746967</c:v>
                </c:pt>
                <c:pt idx="9791">
                  <c:v>-0.272130538687409</c:v>
                </c:pt>
                <c:pt idx="9792">
                  <c:v>-0.13087466926816699</c:v>
                </c:pt>
                <c:pt idx="9793">
                  <c:v>-0.100884691457754</c:v>
                </c:pt>
                <c:pt idx="9794">
                  <c:v>-0.110121159236305</c:v>
                </c:pt>
                <c:pt idx="9795">
                  <c:v>-5.33717057157128E-2</c:v>
                </c:pt>
                <c:pt idx="9796">
                  <c:v>6.20822592342158E-2</c:v>
                </c:pt>
                <c:pt idx="9797">
                  <c:v>0.22077366211567201</c:v>
                </c:pt>
                <c:pt idx="9798">
                  <c:v>0.36918355150829502</c:v>
                </c:pt>
                <c:pt idx="9799">
                  <c:v>0.484637516458224</c:v>
                </c:pt>
                <c:pt idx="9800">
                  <c:v>0.47413622310309</c:v>
                </c:pt>
                <c:pt idx="9801">
                  <c:v>0.498559314155057</c:v>
                </c:pt>
                <c:pt idx="9802">
                  <c:v>0.50453598302127101</c:v>
                </c:pt>
                <c:pt idx="9803">
                  <c:v>0.65269193556085103</c:v>
                </c:pt>
                <c:pt idx="9804">
                  <c:v>0.62393164652268196</c:v>
                </c:pt>
                <c:pt idx="9805">
                  <c:v>0.60333626618143299</c:v>
                </c:pt>
                <c:pt idx="9806">
                  <c:v>0.58274088584018302</c:v>
                </c:pt>
                <c:pt idx="9807">
                  <c:v>0.56214550549893405</c:v>
                </c:pt>
                <c:pt idx="9808">
                  <c:v>0.56842079525902101</c:v>
                </c:pt>
                <c:pt idx="9809">
                  <c:v>0.57469608501910796</c:v>
                </c:pt>
                <c:pt idx="9810">
                  <c:v>0.58097137477919403</c:v>
                </c:pt>
                <c:pt idx="9811">
                  <c:v>0.58724666453928198</c:v>
                </c:pt>
                <c:pt idx="9812">
                  <c:v>0.60164780522225103</c:v>
                </c:pt>
                <c:pt idx="9813">
                  <c:v>0.61604894590522097</c:v>
                </c:pt>
                <c:pt idx="9814">
                  <c:v>0.63045008658819102</c:v>
                </c:pt>
                <c:pt idx="9815">
                  <c:v>0.64485122727115995</c:v>
                </c:pt>
                <c:pt idx="9816">
                  <c:v>0.59483808190073195</c:v>
                </c:pt>
                <c:pt idx="9817">
                  <c:v>0.54482493653030295</c:v>
                </c:pt>
                <c:pt idx="9818">
                  <c:v>0.494811791159875</c:v>
                </c:pt>
                <c:pt idx="9819">
                  <c:v>0.444798645789447</c:v>
                </c:pt>
                <c:pt idx="9820">
                  <c:v>1.50984337781995</c:v>
                </c:pt>
                <c:pt idx="9821">
                  <c:v>1.43200414736536</c:v>
                </c:pt>
                <c:pt idx="9822">
                  <c:v>1.5170605932050101</c:v>
                </c:pt>
                <c:pt idx="9823">
                  <c:v>1.51352555838971</c:v>
                </c:pt>
                <c:pt idx="9824">
                  <c:v>1.3812963558553299</c:v>
                </c:pt>
                <c:pt idx="9825">
                  <c:v>1.57531860283912</c:v>
                </c:pt>
                <c:pt idx="9826">
                  <c:v>1.77757983093359</c:v>
                </c:pt>
                <c:pt idx="9827">
                  <c:v>1.36658989897816</c:v>
                </c:pt>
                <c:pt idx="9828">
                  <c:v>1.2400650414777401</c:v>
                </c:pt>
                <c:pt idx="9829">
                  <c:v>1.10621617591025</c:v>
                </c:pt>
                <c:pt idx="9830">
                  <c:v>1.08121508668896</c:v>
                </c:pt>
                <c:pt idx="9831">
                  <c:v>0.95846856265841296</c:v>
                </c:pt>
                <c:pt idx="9832">
                  <c:v>0.64342273486563295</c:v>
                </c:pt>
                <c:pt idx="9833">
                  <c:v>0.36201514568647303</c:v>
                </c:pt>
                <c:pt idx="9834">
                  <c:v>0.28016863911609302</c:v>
                </c:pt>
                <c:pt idx="9835">
                  <c:v>0.16770503013619401</c:v>
                </c:pt>
                <c:pt idx="9836">
                  <c:v>0.180010969523037</c:v>
                </c:pt>
                <c:pt idx="9837">
                  <c:v>0.26461643162446902</c:v>
                </c:pt>
                <c:pt idx="9838">
                  <c:v>0.15182819591834201</c:v>
                </c:pt>
                <c:pt idx="9839">
                  <c:v>-0.15420802404349099</c:v>
                </c:pt>
                <c:pt idx="9840">
                  <c:v>-0.15792104534645399</c:v>
                </c:pt>
                <c:pt idx="9841">
                  <c:v>-0.378038252732601</c:v>
                </c:pt>
                <c:pt idx="9842">
                  <c:v>-0.46730750573712199</c:v>
                </c:pt>
                <c:pt idx="9843">
                  <c:v>-0.46579982169672401</c:v>
                </c:pt>
                <c:pt idx="9844">
                  <c:v>-0.48704062102394302</c:v>
                </c:pt>
                <c:pt idx="9845">
                  <c:v>-0.48976092575165497</c:v>
                </c:pt>
                <c:pt idx="9846">
                  <c:v>-0.42756152208166698</c:v>
                </c:pt>
                <c:pt idx="9847">
                  <c:v>-0.41275347269756402</c:v>
                </c:pt>
                <c:pt idx="9848">
                  <c:v>-0.38350999347027198</c:v>
                </c:pt>
                <c:pt idx="9849">
                  <c:v>-0.33778855202163199</c:v>
                </c:pt>
                <c:pt idx="9850">
                  <c:v>-0.35099296113526002</c:v>
                </c:pt>
                <c:pt idx="9851">
                  <c:v>-0.38067533247023499</c:v>
                </c:pt>
                <c:pt idx="9852">
                  <c:v>-0.40211872269453702</c:v>
                </c:pt>
                <c:pt idx="9853">
                  <c:v>-0.42975856165135401</c:v>
                </c:pt>
                <c:pt idx="9854">
                  <c:v>-0.476641743952948</c:v>
                </c:pt>
                <c:pt idx="9855">
                  <c:v>-0.48233002070117298</c:v>
                </c:pt>
                <c:pt idx="9856">
                  <c:v>-0.49837388335198501</c:v>
                </c:pt>
                <c:pt idx="9857">
                  <c:v>-0.520540122321557</c:v>
                </c:pt>
                <c:pt idx="9858">
                  <c:v>-0.52591782433068301</c:v>
                </c:pt>
                <c:pt idx="9859">
                  <c:v>-0.53953450745048404</c:v>
                </c:pt>
                <c:pt idx="9860">
                  <c:v>-0.55315119057028395</c:v>
                </c:pt>
                <c:pt idx="9861">
                  <c:v>-0.56676787369008397</c:v>
                </c:pt>
                <c:pt idx="9862">
                  <c:v>-0.60144415375404403</c:v>
                </c:pt>
                <c:pt idx="9863">
                  <c:v>-0.61964247159665797</c:v>
                </c:pt>
                <c:pt idx="9864">
                  <c:v>-0.63784078943927003</c:v>
                </c:pt>
                <c:pt idx="9865">
                  <c:v>-0.65603910728188297</c:v>
                </c:pt>
                <c:pt idx="9866">
                  <c:v>-0.66394471317276804</c:v>
                </c:pt>
                <c:pt idx="9867">
                  <c:v>-0.671850319063653</c:v>
                </c:pt>
                <c:pt idx="9868">
                  <c:v>-0.67975592495453796</c:v>
                </c:pt>
                <c:pt idx="9869">
                  <c:v>-0.68766153084542303</c:v>
                </c:pt>
                <c:pt idx="9870">
                  <c:v>-0.65879141317245404</c:v>
                </c:pt>
                <c:pt idx="9871">
                  <c:v>-0.62992129549948495</c:v>
                </c:pt>
                <c:pt idx="9872">
                  <c:v>-0.60105117782651596</c:v>
                </c:pt>
                <c:pt idx="9873">
                  <c:v>-0.57218106015354697</c:v>
                </c:pt>
                <c:pt idx="9874">
                  <c:v>-0.57382349083495898</c:v>
                </c:pt>
                <c:pt idx="9875">
                  <c:v>-0.57546592151637099</c:v>
                </c:pt>
                <c:pt idx="9876">
                  <c:v>-0.577108352197783</c:v>
                </c:pt>
                <c:pt idx="9877">
                  <c:v>-0.57875078287919501</c:v>
                </c:pt>
                <c:pt idx="9878">
                  <c:v>-0.66037830358551597</c:v>
                </c:pt>
                <c:pt idx="9879">
                  <c:v>-0.61222465889921496</c:v>
                </c:pt>
                <c:pt idx="9880">
                  <c:v>-0.56407101421291495</c:v>
                </c:pt>
                <c:pt idx="9881">
                  <c:v>-0.49943940730526698</c:v>
                </c:pt>
                <c:pt idx="9882">
                  <c:v>-0.44411987883089998</c:v>
                </c:pt>
                <c:pt idx="9883">
                  <c:v>-0.44647321813124902</c:v>
                </c:pt>
                <c:pt idx="9884">
                  <c:v>-0.448826557431597</c:v>
                </c:pt>
                <c:pt idx="9885">
                  <c:v>-0.45117989673194597</c:v>
                </c:pt>
                <c:pt idx="9886">
                  <c:v>-0.37831245254104701</c:v>
                </c:pt>
                <c:pt idx="9887">
                  <c:v>-0.28896704612879998</c:v>
                </c:pt>
                <c:pt idx="9888">
                  <c:v>-0.199621639716553</c:v>
                </c:pt>
                <c:pt idx="9889">
                  <c:v>-0.10823370092614799</c:v>
                </c:pt>
                <c:pt idx="9890">
                  <c:v>4.4443646326858804E-3</c:v>
                </c:pt>
                <c:pt idx="9891">
                  <c:v>0.11712243019151899</c:v>
                </c:pt>
                <c:pt idx="9892">
                  <c:v>0.25451743908237401</c:v>
                </c:pt>
                <c:pt idx="9893">
                  <c:v>0.36719550464120698</c:v>
                </c:pt>
                <c:pt idx="9894">
                  <c:v>0.37706467674816002</c:v>
                </c:pt>
                <c:pt idx="9895">
                  <c:v>0.41988977329780602</c:v>
                </c:pt>
                <c:pt idx="9896">
                  <c:v>0.44623690762610602</c:v>
                </c:pt>
                <c:pt idx="9897">
                  <c:v>0.49730098528642702</c:v>
                </c:pt>
                <c:pt idx="9898">
                  <c:v>0.45097703891202601</c:v>
                </c:pt>
                <c:pt idx="9899">
                  <c:v>0.51175984697638399</c:v>
                </c:pt>
                <c:pt idx="9900">
                  <c:v>0.46543590060198298</c:v>
                </c:pt>
                <c:pt idx="9901">
                  <c:v>0.42735093533825702</c:v>
                </c:pt>
                <c:pt idx="9902">
                  <c:v>0.44133703113207201</c:v>
                </c:pt>
                <c:pt idx="9903">
                  <c:v>1.2015142917685899</c:v>
                </c:pt>
                <c:pt idx="9904">
                  <c:v>0.67602447462408399</c:v>
                </c:pt>
                <c:pt idx="9905">
                  <c:v>0.78275596742722298</c:v>
                </c:pt>
                <c:pt idx="9906">
                  <c:v>0.92402004802357696</c:v>
                </c:pt>
                <c:pt idx="9907">
                  <c:v>0.95272687040190795</c:v>
                </c:pt>
                <c:pt idx="9908">
                  <c:v>1.03843468801546</c:v>
                </c:pt>
                <c:pt idx="9909">
                  <c:v>1.14878537654728</c:v>
                </c:pt>
                <c:pt idx="9910">
                  <c:v>1.1115666416841199</c:v>
                </c:pt>
                <c:pt idx="9911">
                  <c:v>1.0929424738342199</c:v>
                </c:pt>
                <c:pt idx="9912">
                  <c:v>1.07015916881425</c:v>
                </c:pt>
                <c:pt idx="9913">
                  <c:v>1.3839784890804201</c:v>
                </c:pt>
                <c:pt idx="9914">
                  <c:v>1.3172905170332501</c:v>
                </c:pt>
                <c:pt idx="9915">
                  <c:v>1.25060254498609</c:v>
                </c:pt>
                <c:pt idx="9916">
                  <c:v>1.18391457293892</c:v>
                </c:pt>
                <c:pt idx="9917">
                  <c:v>1.11722660089175</c:v>
                </c:pt>
                <c:pt idx="9918">
                  <c:v>1.0726710779114801</c:v>
                </c:pt>
                <c:pt idx="9919">
                  <c:v>1.59398499164556</c:v>
                </c:pt>
                <c:pt idx="9920">
                  <c:v>1.5494294686652901</c:v>
                </c:pt>
                <c:pt idx="9921">
                  <c:v>1.05648170107807</c:v>
                </c:pt>
                <c:pt idx="9922">
                  <c:v>1.04295165037037</c:v>
                </c:pt>
                <c:pt idx="9923">
                  <c:v>1.2352532034177099</c:v>
                </c:pt>
                <c:pt idx="9924">
                  <c:v>1.2502184295119101</c:v>
                </c:pt>
                <c:pt idx="9925">
                  <c:v>1.11664411592557</c:v>
                </c:pt>
                <c:pt idx="9926">
                  <c:v>1.0801821359599399</c:v>
                </c:pt>
                <c:pt idx="9927">
                  <c:v>1.11552694314149</c:v>
                </c:pt>
                <c:pt idx="9928">
                  <c:v>1.0817157373111801</c:v>
                </c:pt>
                <c:pt idx="9929">
                  <c:v>1.3128432936316401</c:v>
                </c:pt>
                <c:pt idx="9930">
                  <c:v>1.3163079656569301</c:v>
                </c:pt>
                <c:pt idx="9931">
                  <c:v>1.3188524438228999</c:v>
                </c:pt>
                <c:pt idx="9932">
                  <c:v>1.28731865902734</c:v>
                </c:pt>
                <c:pt idx="9933">
                  <c:v>1.3172360754763801</c:v>
                </c:pt>
                <c:pt idx="9934">
                  <c:v>1.2979585206461199</c:v>
                </c:pt>
                <c:pt idx="9935">
                  <c:v>1.29526351466415</c:v>
                </c:pt>
                <c:pt idx="9936">
                  <c:v>1.4371763492496099</c:v>
                </c:pt>
                <c:pt idx="9937">
                  <c:v>1.3952496768629701</c:v>
                </c:pt>
                <c:pt idx="9938">
                  <c:v>1.2759845444260201</c:v>
                </c:pt>
                <c:pt idx="9939">
                  <c:v>1.25189336589246</c:v>
                </c:pt>
                <c:pt idx="9940">
                  <c:v>1.15757783566022</c:v>
                </c:pt>
                <c:pt idx="9941">
                  <c:v>1.1435355117428001</c:v>
                </c:pt>
                <c:pt idx="9942">
                  <c:v>1.1429507599928801</c:v>
                </c:pt>
                <c:pt idx="9943">
                  <c:v>0.465526969574792</c:v>
                </c:pt>
                <c:pt idx="9944">
                  <c:v>0.23787049373694</c:v>
                </c:pt>
                <c:pt idx="9945">
                  <c:v>0.27024166642970798</c:v>
                </c:pt>
                <c:pt idx="9946">
                  <c:v>0.236549954519994</c:v>
                </c:pt>
                <c:pt idx="9947">
                  <c:v>0.27716243824956399</c:v>
                </c:pt>
                <c:pt idx="9948">
                  <c:v>0.25790615618303903</c:v>
                </c:pt>
                <c:pt idx="9949">
                  <c:v>0.149836176220285</c:v>
                </c:pt>
                <c:pt idx="9950">
                  <c:v>6.4082488813729799E-3</c:v>
                </c:pt>
                <c:pt idx="9951">
                  <c:v>5.3129708590481696E-3</c:v>
                </c:pt>
                <c:pt idx="9952">
                  <c:v>3.71736172794183E-2</c:v>
                </c:pt>
                <c:pt idx="9953">
                  <c:v>-4.4496377528461001E-2</c:v>
                </c:pt>
                <c:pt idx="9954">
                  <c:v>-0.15143470235797801</c:v>
                </c:pt>
                <c:pt idx="9955">
                  <c:v>-0.165627630178172</c:v>
                </c:pt>
                <c:pt idx="9956">
                  <c:v>-0.17770395320645299</c:v>
                </c:pt>
                <c:pt idx="9957">
                  <c:v>-0.28055721327965299</c:v>
                </c:pt>
                <c:pt idx="9958">
                  <c:v>-0.26903208302298098</c:v>
                </c:pt>
                <c:pt idx="9959">
                  <c:v>-0.32772608364927702</c:v>
                </c:pt>
                <c:pt idx="9960">
                  <c:v>-0.38422940706990699</c:v>
                </c:pt>
                <c:pt idx="9961">
                  <c:v>-0.26136431279065198</c:v>
                </c:pt>
                <c:pt idx="9962">
                  <c:v>-0.36692102430779799</c:v>
                </c:pt>
                <c:pt idx="9963">
                  <c:v>-0.373535890083105</c:v>
                </c:pt>
                <c:pt idx="9964">
                  <c:v>-0.39662871807976002</c:v>
                </c:pt>
                <c:pt idx="9965">
                  <c:v>-0.41352509734390003</c:v>
                </c:pt>
                <c:pt idx="9966">
                  <c:v>-0.37008934649608199</c:v>
                </c:pt>
                <c:pt idx="9967">
                  <c:v>-0.39475612173932001</c:v>
                </c:pt>
                <c:pt idx="9968">
                  <c:v>-0.45026221663334198</c:v>
                </c:pt>
                <c:pt idx="9969">
                  <c:v>-0.37175393655091599</c:v>
                </c:pt>
                <c:pt idx="9970">
                  <c:v>-0.33966560991952499</c:v>
                </c:pt>
                <c:pt idx="9971">
                  <c:v>-0.37560573696543498</c:v>
                </c:pt>
                <c:pt idx="9972">
                  <c:v>-0.22809760237085699</c:v>
                </c:pt>
                <c:pt idx="9973">
                  <c:v>-0.31966806481332599</c:v>
                </c:pt>
                <c:pt idx="9974">
                  <c:v>-0.314483717658256</c:v>
                </c:pt>
                <c:pt idx="9975">
                  <c:v>-0.34021276256772198</c:v>
                </c:pt>
                <c:pt idx="9976">
                  <c:v>-0.19489166411744399</c:v>
                </c:pt>
                <c:pt idx="9977">
                  <c:v>-0.29681407140113297</c:v>
                </c:pt>
                <c:pt idx="9978">
                  <c:v>-0.27751166572610603</c:v>
                </c:pt>
                <c:pt idx="9979">
                  <c:v>-0.32419518135022302</c:v>
                </c:pt>
                <c:pt idx="9980">
                  <c:v>-0.230741945679132</c:v>
                </c:pt>
                <c:pt idx="9981">
                  <c:v>-0.252634445557474</c:v>
                </c:pt>
                <c:pt idx="9982">
                  <c:v>-0.202146403373272</c:v>
                </c:pt>
                <c:pt idx="9983">
                  <c:v>-0.16813632341041801</c:v>
                </c:pt>
                <c:pt idx="9984">
                  <c:v>-0.17532114900093199</c:v>
                </c:pt>
                <c:pt idx="9985">
                  <c:v>-0.102232768276622</c:v>
                </c:pt>
                <c:pt idx="9986">
                  <c:v>4.8516916157459102E-2</c:v>
                </c:pt>
                <c:pt idx="9987">
                  <c:v>8.1735408652154895E-2</c:v>
                </c:pt>
                <c:pt idx="9988">
                  <c:v>0.182903061594686</c:v>
                </c:pt>
                <c:pt idx="9989">
                  <c:v>0.32942475726065501</c:v>
                </c:pt>
                <c:pt idx="9990">
                  <c:v>0.32453771032749701</c:v>
                </c:pt>
                <c:pt idx="9991">
                  <c:v>0.162887805050275</c:v>
                </c:pt>
                <c:pt idx="9992">
                  <c:v>0.34334340730825602</c:v>
                </c:pt>
                <c:pt idx="9993">
                  <c:v>0.57527020779272398</c:v>
                </c:pt>
                <c:pt idx="9994">
                  <c:v>0.56110917541571403</c:v>
                </c:pt>
                <c:pt idx="9995">
                  <c:v>0.55307051935746698</c:v>
                </c:pt>
                <c:pt idx="9996">
                  <c:v>0.54503186329921904</c:v>
                </c:pt>
                <c:pt idx="9997">
                  <c:v>0.53699320724097199</c:v>
                </c:pt>
                <c:pt idx="9998">
                  <c:v>0.53952109965862305</c:v>
                </c:pt>
                <c:pt idx="9999">
                  <c:v>0.54204899207627399</c:v>
                </c:pt>
                <c:pt idx="10000">
                  <c:v>0.54457688449392505</c:v>
                </c:pt>
                <c:pt idx="10001">
                  <c:v>0.547104776911577</c:v>
                </c:pt>
                <c:pt idx="10002">
                  <c:v>0.54469272146186398</c:v>
                </c:pt>
                <c:pt idx="10003">
                  <c:v>0.54228066601215197</c:v>
                </c:pt>
                <c:pt idx="10004">
                  <c:v>0.53986861056243995</c:v>
                </c:pt>
                <c:pt idx="10005">
                  <c:v>0.53745655511272805</c:v>
                </c:pt>
                <c:pt idx="10006">
                  <c:v>0.53724863763782205</c:v>
                </c:pt>
                <c:pt idx="10007">
                  <c:v>0.53704072016291604</c:v>
                </c:pt>
                <c:pt idx="10008">
                  <c:v>0.53683280268801004</c:v>
                </c:pt>
                <c:pt idx="10009">
                  <c:v>0.53662488521310403</c:v>
                </c:pt>
                <c:pt idx="10010">
                  <c:v>1.17829729480908</c:v>
                </c:pt>
                <c:pt idx="10011">
                  <c:v>1.1309973419042201</c:v>
                </c:pt>
                <c:pt idx="10012">
                  <c:v>1.1005561549209</c:v>
                </c:pt>
                <c:pt idx="10013">
                  <c:v>1.0863654921019601</c:v>
                </c:pt>
                <c:pt idx="10014">
                  <c:v>1.08237329765864</c:v>
                </c:pt>
                <c:pt idx="10015">
                  <c:v>1.1281217211658101</c:v>
                </c:pt>
                <c:pt idx="10016">
                  <c:v>1.1918564699290699</c:v>
                </c:pt>
                <c:pt idx="10017">
                  <c:v>1.6276367352818399</c:v>
                </c:pt>
                <c:pt idx="10018">
                  <c:v>1.4569123006904301</c:v>
                </c:pt>
                <c:pt idx="10019">
                  <c:v>1.6288432054247901</c:v>
                </c:pt>
                <c:pt idx="10020">
                  <c:v>1.49939296961622</c:v>
                </c:pt>
                <c:pt idx="10021">
                  <c:v>1.5865847995792299</c:v>
                </c:pt>
                <c:pt idx="10022">
                  <c:v>1.4951012760821201</c:v>
                </c:pt>
                <c:pt idx="10023">
                  <c:v>1.7173970114086801</c:v>
                </c:pt>
                <c:pt idx="10024">
                  <c:v>1.3449367878873699</c:v>
                </c:pt>
                <c:pt idx="10025">
                  <c:v>1.10877135140907</c:v>
                </c:pt>
                <c:pt idx="10026">
                  <c:v>1.0274597678089199</c:v>
                </c:pt>
                <c:pt idx="10027">
                  <c:v>0.78317843550077604</c:v>
                </c:pt>
                <c:pt idx="10028">
                  <c:v>0.72650972281889903</c:v>
                </c:pt>
                <c:pt idx="10029">
                  <c:v>0.73983792377872803</c:v>
                </c:pt>
                <c:pt idx="10030">
                  <c:v>0.83828699946767404</c:v>
                </c:pt>
                <c:pt idx="10031">
                  <c:v>0.68925468973424997</c:v>
                </c:pt>
                <c:pt idx="10032">
                  <c:v>0.44724954493452801</c:v>
                </c:pt>
                <c:pt idx="10033">
                  <c:v>0.36209177252405</c:v>
                </c:pt>
                <c:pt idx="10034">
                  <c:v>0.27868225995444001</c:v>
                </c:pt>
                <c:pt idx="10035">
                  <c:v>8.4609876717457802E-2</c:v>
                </c:pt>
                <c:pt idx="10036">
                  <c:v>4.50408230208326E-2</c:v>
                </c:pt>
                <c:pt idx="10037">
                  <c:v>-5.84768404124913E-2</c:v>
                </c:pt>
                <c:pt idx="10038">
                  <c:v>-2.6799910063331801E-2</c:v>
                </c:pt>
                <c:pt idx="10039">
                  <c:v>1.09993966045898E-2</c:v>
                </c:pt>
                <c:pt idx="10040">
                  <c:v>9.2110213617792105E-2</c:v>
                </c:pt>
                <c:pt idx="10041">
                  <c:v>0.119553934383127</c:v>
                </c:pt>
                <c:pt idx="10042">
                  <c:v>8.1706385167457499E-2</c:v>
                </c:pt>
                <c:pt idx="10043">
                  <c:v>2.3226957376083501E-2</c:v>
                </c:pt>
                <c:pt idx="10044">
                  <c:v>-7.0102782408635905E-2</c:v>
                </c:pt>
                <c:pt idx="10045">
                  <c:v>-0.17401032533720301</c:v>
                </c:pt>
                <c:pt idx="10046">
                  <c:v>-0.17188409259055601</c:v>
                </c:pt>
                <c:pt idx="10047">
                  <c:v>-0.21919174650795301</c:v>
                </c:pt>
                <c:pt idx="10048">
                  <c:v>-0.24382498947148501</c:v>
                </c:pt>
                <c:pt idx="10049">
                  <c:v>-0.173670303047537</c:v>
                </c:pt>
                <c:pt idx="10050">
                  <c:v>-0.17316287599218</c:v>
                </c:pt>
                <c:pt idx="10051">
                  <c:v>-0.16441646782614899</c:v>
                </c:pt>
                <c:pt idx="10052">
                  <c:v>-0.15355345486820701</c:v>
                </c:pt>
                <c:pt idx="10053">
                  <c:v>-0.128329084480829</c:v>
                </c:pt>
                <c:pt idx="10054">
                  <c:v>-0.113209484672969</c:v>
                </c:pt>
                <c:pt idx="10055">
                  <c:v>-9.8089884865107793E-2</c:v>
                </c:pt>
                <c:pt idx="10056">
                  <c:v>-8.2970285057247004E-2</c:v>
                </c:pt>
                <c:pt idx="10057">
                  <c:v>-6.7850685249386297E-2</c:v>
                </c:pt>
                <c:pt idx="10058">
                  <c:v>-0.42027399859590497</c:v>
                </c:pt>
                <c:pt idx="10059">
                  <c:v>-0.50722438044825202</c:v>
                </c:pt>
                <c:pt idx="10060">
                  <c:v>-0.55297985674723105</c:v>
                </c:pt>
                <c:pt idx="10061">
                  <c:v>-0.56782194098167404</c:v>
                </c:pt>
                <c:pt idx="10062">
                  <c:v>-0.52895433178648199</c:v>
                </c:pt>
                <c:pt idx="10063">
                  <c:v>-0.53755737010664095</c:v>
                </c:pt>
                <c:pt idx="10064">
                  <c:v>-0.53164568535414403</c:v>
                </c:pt>
                <c:pt idx="10065">
                  <c:v>-0.51545770792852896</c:v>
                </c:pt>
                <c:pt idx="10066">
                  <c:v>-0.43342607611906497</c:v>
                </c:pt>
                <c:pt idx="10067">
                  <c:v>-0.41330052166814302</c:v>
                </c:pt>
                <c:pt idx="10068">
                  <c:v>-0.39725481115782302</c:v>
                </c:pt>
                <c:pt idx="10069">
                  <c:v>-0.375012651914988</c:v>
                </c:pt>
                <c:pt idx="10070">
                  <c:v>-0.39010721103634599</c:v>
                </c:pt>
                <c:pt idx="10071">
                  <c:v>-0.339289921272314</c:v>
                </c:pt>
                <c:pt idx="10072">
                  <c:v>-0.39353685356888202</c:v>
                </c:pt>
                <c:pt idx="10073">
                  <c:v>-0.36955311192878298</c:v>
                </c:pt>
                <c:pt idx="10074">
                  <c:v>-0.34815172851791798</c:v>
                </c:pt>
                <c:pt idx="10075">
                  <c:v>-0.28555543955368401</c:v>
                </c:pt>
                <c:pt idx="10076">
                  <c:v>-0.28887099947483902</c:v>
                </c:pt>
                <c:pt idx="10077">
                  <c:v>-0.27570859717464702</c:v>
                </c:pt>
                <c:pt idx="10078">
                  <c:v>-0.239765199775441</c:v>
                </c:pt>
                <c:pt idx="10079">
                  <c:v>-0.170865877933539</c:v>
                </c:pt>
                <c:pt idx="10080">
                  <c:v>-0.124566894631746</c:v>
                </c:pt>
                <c:pt idx="10081">
                  <c:v>-8.2501120913777995E-2</c:v>
                </c:pt>
                <c:pt idx="10082">
                  <c:v>1.150104911238E-2</c:v>
                </c:pt>
                <c:pt idx="10083">
                  <c:v>9.7264238027863395E-2</c:v>
                </c:pt>
                <c:pt idx="10084">
                  <c:v>0.29837316249278001</c:v>
                </c:pt>
                <c:pt idx="10085">
                  <c:v>0.32858008842545999</c:v>
                </c:pt>
                <c:pt idx="10086">
                  <c:v>0.32995785653327703</c:v>
                </c:pt>
                <c:pt idx="10087">
                  <c:v>0.38697118085336502</c:v>
                </c:pt>
                <c:pt idx="10088">
                  <c:v>0.43370299168462001</c:v>
                </c:pt>
                <c:pt idx="10089">
                  <c:v>0.501071901907295</c:v>
                </c:pt>
                <c:pt idx="10090">
                  <c:v>0.47967518359848599</c:v>
                </c:pt>
                <c:pt idx="10091">
                  <c:v>0.43152421039521</c:v>
                </c:pt>
                <c:pt idx="10092">
                  <c:v>0.55449745296543296</c:v>
                </c:pt>
                <c:pt idx="10093">
                  <c:v>0.49599089385957201</c:v>
                </c:pt>
                <c:pt idx="10094">
                  <c:v>0.73207454259531701</c:v>
                </c:pt>
                <c:pt idx="10095">
                  <c:v>0.76180808067973405</c:v>
                </c:pt>
                <c:pt idx="10096">
                  <c:v>1.0021301598150201</c:v>
                </c:pt>
                <c:pt idx="10097">
                  <c:v>1.06088792322903</c:v>
                </c:pt>
                <c:pt idx="10098">
                  <c:v>1.2540801297201001</c:v>
                </c:pt>
                <c:pt idx="10099">
                  <c:v>1.1110513253063301</c:v>
                </c:pt>
                <c:pt idx="10100">
                  <c:v>1.221700355047439</c:v>
                </c:pt>
                <c:pt idx="10101">
                  <c:v>1.2745972237843599</c:v>
                </c:pt>
                <c:pt idx="10102">
                  <c:v>1.2153290558976391</c:v>
                </c:pt>
                <c:pt idx="10103">
                  <c:v>1.1745020893809599</c:v>
                </c:pt>
                <c:pt idx="10104">
                  <c:v>1.2245365739543901</c:v>
                </c:pt>
                <c:pt idx="10105">
                  <c:v>1.26428954503897</c:v>
                </c:pt>
                <c:pt idx="10106">
                  <c:v>1.3190920095577601</c:v>
                </c:pt>
                <c:pt idx="10107">
                  <c:v>1.3181848454505201</c:v>
                </c:pt>
                <c:pt idx="10108">
                  <c:v>1.36474832885863</c:v>
                </c:pt>
                <c:pt idx="10109">
                  <c:v>1.2565017514399499</c:v>
                </c:pt>
                <c:pt idx="10110">
                  <c:v>1.42822097031742</c:v>
                </c:pt>
                <c:pt idx="10111">
                  <c:v>1.3380974463430999</c:v>
                </c:pt>
                <c:pt idx="10112">
                  <c:v>1.34487845654817</c:v>
                </c:pt>
                <c:pt idx="10113">
                  <c:v>1.5599884790003899</c:v>
                </c:pt>
                <c:pt idx="10114">
                  <c:v>1.0539717086666101</c:v>
                </c:pt>
                <c:pt idx="10115">
                  <c:v>1.11774644320994</c:v>
                </c:pt>
                <c:pt idx="10116">
                  <c:v>1.05157620508599</c:v>
                </c:pt>
                <c:pt idx="10117">
                  <c:v>0.93982448618163505</c:v>
                </c:pt>
                <c:pt idx="10118">
                  <c:v>0.92746364376025803</c:v>
                </c:pt>
                <c:pt idx="10119">
                  <c:v>0.91102295739827799</c:v>
                </c:pt>
                <c:pt idx="10120">
                  <c:v>0.85157227116174705</c:v>
                </c:pt>
                <c:pt idx="10121">
                  <c:v>0.83339578370805101</c:v>
                </c:pt>
                <c:pt idx="10122">
                  <c:v>0.87485378871363395</c:v>
                </c:pt>
                <c:pt idx="10123">
                  <c:v>0.87557176427979799</c:v>
                </c:pt>
                <c:pt idx="10124">
                  <c:v>0.98952409141919595</c:v>
                </c:pt>
                <c:pt idx="10125">
                  <c:v>1.08472848590211</c:v>
                </c:pt>
                <c:pt idx="10126">
                  <c:v>1.04793163893523</c:v>
                </c:pt>
                <c:pt idx="10127">
                  <c:v>0.99698080001413303</c:v>
                </c:pt>
                <c:pt idx="10128">
                  <c:v>0.91679314947250401</c:v>
                </c:pt>
                <c:pt idx="10129">
                  <c:v>0.95006728856108402</c:v>
                </c:pt>
                <c:pt idx="10130">
                  <c:v>0.85488173499174203</c:v>
                </c:pt>
                <c:pt idx="10131">
                  <c:v>0.78229651996250904</c:v>
                </c:pt>
                <c:pt idx="10132">
                  <c:v>0.65211250957231404</c:v>
                </c:pt>
                <c:pt idx="10133">
                  <c:v>0.55692695600297204</c:v>
                </c:pt>
                <c:pt idx="10134">
                  <c:v>0.67426662511815705</c:v>
                </c:pt>
                <c:pt idx="10135">
                  <c:v>0.70913718989713603</c:v>
                </c:pt>
                <c:pt idx="10136">
                  <c:v>0.79760077851022904</c:v>
                </c:pt>
                <c:pt idx="10137">
                  <c:v>0.67554467767049697</c:v>
                </c:pt>
                <c:pt idx="10138">
                  <c:v>0.70425372113683304</c:v>
                </c:pt>
                <c:pt idx="10139">
                  <c:v>0.60914538907037397</c:v>
                </c:pt>
                <c:pt idx="10140">
                  <c:v>0.49771246042578898</c:v>
                </c:pt>
                <c:pt idx="10141">
                  <c:v>0.44183579476400697</c:v>
                </c:pt>
                <c:pt idx="10142">
                  <c:v>0.44780171892376502</c:v>
                </c:pt>
                <c:pt idx="10143">
                  <c:v>0.37946344744423799</c:v>
                </c:pt>
                <c:pt idx="10144">
                  <c:v>0.38542937160399598</c:v>
                </c:pt>
                <c:pt idx="10145">
                  <c:v>0.28814094720862299</c:v>
                </c:pt>
                <c:pt idx="10146">
                  <c:v>0.28063081137893903</c:v>
                </c:pt>
                <c:pt idx="10147">
                  <c:v>0.12247497270824</c:v>
                </c:pt>
                <c:pt idx="10148">
                  <c:v>0.11496483687855601</c:v>
                </c:pt>
                <c:pt idx="10149">
                  <c:v>-4.3191001792142802E-2</c:v>
                </c:pt>
                <c:pt idx="10150">
                  <c:v>-1.56337927595415E-2</c:v>
                </c:pt>
                <c:pt idx="10151">
                  <c:v>1.19234162730599E-2</c:v>
                </c:pt>
                <c:pt idx="10152">
                  <c:v>-2.45420568447921E-2</c:v>
                </c:pt>
                <c:pt idx="10153">
                  <c:v>1.12541332984836E-2</c:v>
                </c:pt>
                <c:pt idx="10154">
                  <c:v>-0.141880414205803</c:v>
                </c:pt>
                <c:pt idx="10155">
                  <c:v>-0.18979737400626701</c:v>
                </c:pt>
                <c:pt idx="10156">
                  <c:v>-0.25630890081999103</c:v>
                </c:pt>
                <c:pt idx="10157">
                  <c:v>-0.31662397890119998</c:v>
                </c:pt>
                <c:pt idx="10158">
                  <c:v>-0.34506885228189899</c:v>
                </c:pt>
                <c:pt idx="10159">
                  <c:v>-0.33639866404983199</c:v>
                </c:pt>
                <c:pt idx="10160">
                  <c:v>-0.34624897041727098</c:v>
                </c:pt>
                <c:pt idx="10161">
                  <c:v>-0.298352336596241</c:v>
                </c:pt>
                <c:pt idx="10162">
                  <c:v>-0.34190380172781798</c:v>
                </c:pt>
                <c:pt idx="10163">
                  <c:v>-0.36481816746797702</c:v>
                </c:pt>
                <c:pt idx="10164">
                  <c:v>-0.414492008918316</c:v>
                </c:pt>
                <c:pt idx="10165">
                  <c:v>-0.42508754960719802</c:v>
                </c:pt>
                <c:pt idx="10166">
                  <c:v>-0.29265459601683202</c:v>
                </c:pt>
                <c:pt idx="10167">
                  <c:v>-0.39529446793666301</c:v>
                </c:pt>
                <c:pt idx="10168">
                  <c:v>-0.33088996802359899</c:v>
                </c:pt>
                <c:pt idx="10169">
                  <c:v>-0.37366629496304798</c:v>
                </c:pt>
                <c:pt idx="10170">
                  <c:v>-0.31044711188345098</c:v>
                </c:pt>
                <c:pt idx="10171">
                  <c:v>-0.39531563070279502</c:v>
                </c:pt>
                <c:pt idx="10172">
                  <c:v>-0.28230045803846199</c:v>
                </c:pt>
                <c:pt idx="10173">
                  <c:v>-0.36548243399063102</c:v>
                </c:pt>
                <c:pt idx="10174">
                  <c:v>-0.366274598836064</c:v>
                </c:pt>
                <c:pt idx="10175">
                  <c:v>-0.28452880774724998</c:v>
                </c:pt>
                <c:pt idx="10176">
                  <c:v>-0.32644180573229697</c:v>
                </c:pt>
                <c:pt idx="10177">
                  <c:v>-0.30155346117346299</c:v>
                </c:pt>
                <c:pt idx="10178">
                  <c:v>-0.22096070880431601</c:v>
                </c:pt>
                <c:pt idx="10179">
                  <c:v>0.65918798350357199</c:v>
                </c:pt>
                <c:pt idx="10180">
                  <c:v>0.44392847044935801</c:v>
                </c:pt>
                <c:pt idx="10181">
                  <c:v>0.52379971466616404</c:v>
                </c:pt>
                <c:pt idx="10182">
                  <c:v>0.52536691170999195</c:v>
                </c:pt>
                <c:pt idx="10183">
                  <c:v>0.50229123783555196</c:v>
                </c:pt>
                <c:pt idx="10184">
                  <c:v>0.49357692139054798</c:v>
                </c:pt>
                <c:pt idx="10185">
                  <c:v>0.44752010527580299</c:v>
                </c:pt>
                <c:pt idx="10186">
                  <c:v>0.36683701015353698</c:v>
                </c:pt>
                <c:pt idx="10187">
                  <c:v>0.29053526944260399</c:v>
                </c:pt>
                <c:pt idx="10188">
                  <c:v>0.27803399364086401</c:v>
                </c:pt>
                <c:pt idx="10189">
                  <c:v>0.76359672879852203</c:v>
                </c:pt>
                <c:pt idx="10190">
                  <c:v>0.69758217632525599</c:v>
                </c:pt>
                <c:pt idx="10191">
                  <c:v>0.62960438470329705</c:v>
                </c:pt>
                <c:pt idx="10192">
                  <c:v>0.73714782571331094</c:v>
                </c:pt>
                <c:pt idx="10193">
                  <c:v>0.76811710064890504</c:v>
                </c:pt>
                <c:pt idx="10194">
                  <c:v>0.62656669584750502</c:v>
                </c:pt>
                <c:pt idx="10195">
                  <c:v>0.42068687760920898</c:v>
                </c:pt>
                <c:pt idx="10196">
                  <c:v>0.39872063875677899</c:v>
                </c:pt>
                <c:pt idx="10197">
                  <c:v>0.62650575576185197</c:v>
                </c:pt>
                <c:pt idx="10198">
                  <c:v>0.56420377484073803</c:v>
                </c:pt>
                <c:pt idx="10199">
                  <c:v>0.54286926141601899</c:v>
                </c:pt>
                <c:pt idx="10200">
                  <c:v>0.53000116715894796</c:v>
                </c:pt>
                <c:pt idx="10201">
                  <c:v>0.69046362832818198</c:v>
                </c:pt>
                <c:pt idx="10202">
                  <c:v>0.62840929158199799</c:v>
                </c:pt>
                <c:pt idx="10203">
                  <c:v>0.547681094593087</c:v>
                </c:pt>
                <c:pt idx="10204">
                  <c:v>0.46287305366357201</c:v>
                </c:pt>
                <c:pt idx="10205">
                  <c:v>0.43611868420897099</c:v>
                </c:pt>
                <c:pt idx="10206">
                  <c:v>0.54366937690545702</c:v>
                </c:pt>
                <c:pt idx="10207">
                  <c:v>0.47327550089161702</c:v>
                </c:pt>
                <c:pt idx="10208">
                  <c:v>0.67365088382689398</c:v>
                </c:pt>
                <c:pt idx="10209">
                  <c:v>0.63236052637212103</c:v>
                </c:pt>
                <c:pt idx="10210">
                  <c:v>0.58505854897509302</c:v>
                </c:pt>
                <c:pt idx="10211">
                  <c:v>0.45944660441193103</c:v>
                </c:pt>
                <c:pt idx="10212">
                  <c:v>0.38758104932610399</c:v>
                </c:pt>
                <c:pt idx="10213">
                  <c:v>0.276483827835598</c:v>
                </c:pt>
                <c:pt idx="10214">
                  <c:v>0.22843026743299299</c:v>
                </c:pt>
                <c:pt idx="10215">
                  <c:v>0.17841346788169599</c:v>
                </c:pt>
                <c:pt idx="10216">
                  <c:v>0.144948702965501</c:v>
                </c:pt>
                <c:pt idx="10217">
                  <c:v>0.10528748931679099</c:v>
                </c:pt>
                <c:pt idx="10218">
                  <c:v>8.13706229540756E-2</c:v>
                </c:pt>
                <c:pt idx="10219">
                  <c:v>0.1318320246444</c:v>
                </c:pt>
                <c:pt idx="10220">
                  <c:v>8.7505496947241995E-2</c:v>
                </c:pt>
                <c:pt idx="10221">
                  <c:v>5.1417950360758101E-2</c:v>
                </c:pt>
                <c:pt idx="10222">
                  <c:v>-4.6547003781977903E-2</c:v>
                </c:pt>
                <c:pt idx="10223">
                  <c:v>-0.109439428690107</c:v>
                </c:pt>
                <c:pt idx="10224">
                  <c:v>-0.19500626455209999</c:v>
                </c:pt>
                <c:pt idx="10225">
                  <c:v>-0.21458717911494701</c:v>
                </c:pt>
                <c:pt idx="10226">
                  <c:v>-0.11513649770359199</c:v>
                </c:pt>
                <c:pt idx="10227">
                  <c:v>-1.5685816292237201E-2</c:v>
                </c:pt>
                <c:pt idx="10228">
                  <c:v>8.3764865119118001E-2</c:v>
                </c:pt>
                <c:pt idx="10229">
                  <c:v>0.18321554653047301</c:v>
                </c:pt>
                <c:pt idx="10230">
                  <c:v>0.18321554653047301</c:v>
                </c:pt>
                <c:pt idx="10231">
                  <c:v>0.18321554653047301</c:v>
                </c:pt>
                <c:pt idx="10232">
                  <c:v>0.18321554653047301</c:v>
                </c:pt>
                <c:pt idx="10233">
                  <c:v>-0.161009401160598</c:v>
                </c:pt>
                <c:pt idx="10234">
                  <c:v>-0.14777738519644901</c:v>
                </c:pt>
                <c:pt idx="10235">
                  <c:v>-0.13454536923229901</c:v>
                </c:pt>
                <c:pt idx="10236">
                  <c:v>-0.12131335326815</c:v>
                </c:pt>
                <c:pt idx="10237">
                  <c:v>-0.108081337304001</c:v>
                </c:pt>
                <c:pt idx="10238">
                  <c:v>-0.105850607243568</c:v>
                </c:pt>
                <c:pt idx="10239">
                  <c:v>-0.10361987718313501</c:v>
                </c:pt>
                <c:pt idx="10240">
                  <c:v>-0.101389147122702</c:v>
                </c:pt>
                <c:pt idx="10241">
                  <c:v>-9.9158417062269494E-2</c:v>
                </c:pt>
                <c:pt idx="10242">
                  <c:v>-0.409264330417204</c:v>
                </c:pt>
                <c:pt idx="10243">
                  <c:v>-0.457537942551762</c:v>
                </c:pt>
                <c:pt idx="10244">
                  <c:v>-0.46869649307355399</c:v>
                </c:pt>
                <c:pt idx="10245">
                  <c:v>-0.49013655708417803</c:v>
                </c:pt>
                <c:pt idx="10246">
                  <c:v>-0.48026576979984598</c:v>
                </c:pt>
                <c:pt idx="10247">
                  <c:v>-0.43124260934030301</c:v>
                </c:pt>
                <c:pt idx="10248">
                  <c:v>-0.485241138563203</c:v>
                </c:pt>
                <c:pt idx="10249">
                  <c:v>-0.51044288051347697</c:v>
                </c:pt>
                <c:pt idx="10250">
                  <c:v>-0.52552043825144701</c:v>
                </c:pt>
                <c:pt idx="10251">
                  <c:v>-0.50559953916856304</c:v>
                </c:pt>
                <c:pt idx="10252">
                  <c:v>-0.51243811579585896</c:v>
                </c:pt>
                <c:pt idx="10253">
                  <c:v>-0.356465530174084</c:v>
                </c:pt>
                <c:pt idx="10254">
                  <c:v>-0.398266139791769</c:v>
                </c:pt>
                <c:pt idx="10255">
                  <c:v>-0.36394745944898499</c:v>
                </c:pt>
                <c:pt idx="10256">
                  <c:v>-0.315119276849258</c:v>
                </c:pt>
                <c:pt idx="10257">
                  <c:v>-0.233335169806836</c:v>
                </c:pt>
                <c:pt idx="10258">
                  <c:v>-0.27119285611159</c:v>
                </c:pt>
                <c:pt idx="10259">
                  <c:v>0.449840251177829</c:v>
                </c:pt>
                <c:pt idx="10260">
                  <c:v>-8.6908729288415199E-4</c:v>
                </c:pt>
                <c:pt idx="10261">
                  <c:v>0.23031442998860799</c:v>
                </c:pt>
                <c:pt idx="10262">
                  <c:v>0.40987338340039198</c:v>
                </c:pt>
                <c:pt idx="10263">
                  <c:v>0.54612082646689497</c:v>
                </c:pt>
                <c:pt idx="10264">
                  <c:v>0.356275406474165</c:v>
                </c:pt>
                <c:pt idx="10265">
                  <c:v>-1.4609341950833001E-2</c:v>
                </c:pt>
                <c:pt idx="10266">
                  <c:v>4.4234735619824703E-2</c:v>
                </c:pt>
                <c:pt idx="10267">
                  <c:v>0.13807727001133599</c:v>
                </c:pt>
                <c:pt idx="10268">
                  <c:v>0.21748437455965799</c:v>
                </c:pt>
                <c:pt idx="10269">
                  <c:v>0.254318404599292</c:v>
                </c:pt>
                <c:pt idx="10270">
                  <c:v>0.307857834917249</c:v>
                </c:pt>
                <c:pt idx="10271">
                  <c:v>0.37757371698582498</c:v>
                </c:pt>
                <c:pt idx="10272">
                  <c:v>0.40624283832853902</c:v>
                </c:pt>
                <c:pt idx="10273">
                  <c:v>0.85664552990651799</c:v>
                </c:pt>
                <c:pt idx="10274">
                  <c:v>0.90596803793395897</c:v>
                </c:pt>
                <c:pt idx="10275">
                  <c:v>0.800787216421043</c:v>
                </c:pt>
                <c:pt idx="10276">
                  <c:v>0.76371414181489705</c:v>
                </c:pt>
                <c:pt idx="10277">
                  <c:v>0.61241242084792102</c:v>
                </c:pt>
                <c:pt idx="10278">
                  <c:v>0.76430171392934099</c:v>
                </c:pt>
                <c:pt idx="10279">
                  <c:v>0.751332091567817</c:v>
                </c:pt>
                <c:pt idx="10280">
                  <c:v>0.95885694086150797</c:v>
                </c:pt>
                <c:pt idx="10281">
                  <c:v>0.81308189311048495</c:v>
                </c:pt>
                <c:pt idx="10282">
                  <c:v>0.73526122662301197</c:v>
                </c:pt>
                <c:pt idx="10283">
                  <c:v>0.77301895455766001</c:v>
                </c:pt>
                <c:pt idx="10284">
                  <c:v>0.72619097336419003</c:v>
                </c:pt>
                <c:pt idx="10285">
                  <c:v>0.89956967695420198</c:v>
                </c:pt>
                <c:pt idx="10286">
                  <c:v>0.83151007821113798</c:v>
                </c:pt>
                <c:pt idx="10287">
                  <c:v>0.90563498395715603</c:v>
                </c:pt>
                <c:pt idx="10288">
                  <c:v>0.86660483135940503</c:v>
                </c:pt>
                <c:pt idx="10289">
                  <c:v>0.83184023638321802</c:v>
                </c:pt>
                <c:pt idx="10290">
                  <c:v>0.92913199805049995</c:v>
                </c:pt>
                <c:pt idx="10291">
                  <c:v>0.97729660434018095</c:v>
                </c:pt>
                <c:pt idx="10292">
                  <c:v>0.95900997158534096</c:v>
                </c:pt>
                <c:pt idx="10293">
                  <c:v>1.0732023703760301</c:v>
                </c:pt>
                <c:pt idx="10294">
                  <c:v>0.87353621711357599</c:v>
                </c:pt>
                <c:pt idx="10295">
                  <c:v>0.88250580738472695</c:v>
                </c:pt>
                <c:pt idx="10296">
                  <c:v>0.92035147815796903</c:v>
                </c:pt>
                <c:pt idx="10297">
                  <c:v>0.65710522595309895</c:v>
                </c:pt>
                <c:pt idx="10298">
                  <c:v>0.54285338954270801</c:v>
                </c:pt>
                <c:pt idx="10299">
                  <c:v>0.558541304983874</c:v>
                </c:pt>
                <c:pt idx="10300">
                  <c:v>0.58262156717893498</c:v>
                </c:pt>
                <c:pt idx="10301">
                  <c:v>0.74803531104865395</c:v>
                </c:pt>
                <c:pt idx="10302">
                  <c:v>0.65576544923663904</c:v>
                </c:pt>
                <c:pt idx="10303">
                  <c:v>0.69539857842487196</c:v>
                </c:pt>
                <c:pt idx="10304">
                  <c:v>0.82785639785189502</c:v>
                </c:pt>
                <c:pt idx="10305">
                  <c:v>0.84925468191113596</c:v>
                </c:pt>
                <c:pt idx="10306">
                  <c:v>0.57146772344883201</c:v>
                </c:pt>
                <c:pt idx="10307">
                  <c:v>0.59286600750807295</c:v>
                </c:pt>
                <c:pt idx="10308">
                  <c:v>0.54403993986863197</c:v>
                </c:pt>
                <c:pt idx="10309">
                  <c:v>0.533720753653248</c:v>
                </c:pt>
                <c:pt idx="10310">
                  <c:v>0.39951011949131598</c:v>
                </c:pt>
                <c:pt idx="10311">
                  <c:v>0.42426346251053998</c:v>
                </c:pt>
                <c:pt idx="10312">
                  <c:v>0.31068992774002402</c:v>
                </c:pt>
                <c:pt idx="10313">
                  <c:v>0.29919244745615098</c:v>
                </c:pt>
                <c:pt idx="10314">
                  <c:v>0.22790549460564899</c:v>
                </c:pt>
                <c:pt idx="10315">
                  <c:v>0.19781344730851599</c:v>
                </c:pt>
                <c:pt idx="10316">
                  <c:v>0.16560479521947</c:v>
                </c:pt>
                <c:pt idx="10317">
                  <c:v>8.2890546126506703E-2</c:v>
                </c:pt>
                <c:pt idx="10318">
                  <c:v>9.5038298834778406E-2</c:v>
                </c:pt>
                <c:pt idx="10319">
                  <c:v>0.100989602810535</c:v>
                </c:pt>
                <c:pt idx="10320">
                  <c:v>0.17088429570727801</c:v>
                </c:pt>
                <c:pt idx="10321">
                  <c:v>8.8420382670456502E-2</c:v>
                </c:pt>
                <c:pt idx="10322">
                  <c:v>3.0673412965656701E-2</c:v>
                </c:pt>
                <c:pt idx="10323">
                  <c:v>-4.3991457852799497E-3</c:v>
                </c:pt>
                <c:pt idx="10324">
                  <c:v>1.4195391711650299E-2</c:v>
                </c:pt>
                <c:pt idx="10325">
                  <c:v>1.93882514390336E-2</c:v>
                </c:pt>
                <c:pt idx="10326">
                  <c:v>-1.66878668007042E-2</c:v>
                </c:pt>
                <c:pt idx="10327">
                  <c:v>1.9344312577462702E-2</c:v>
                </c:pt>
                <c:pt idx="10328">
                  <c:v>1.6298191194172602E-2</c:v>
                </c:pt>
                <c:pt idx="10329">
                  <c:v>-2.4314718738397199E-3</c:v>
                </c:pt>
                <c:pt idx="10330">
                  <c:v>8.6093764324414998E-2</c:v>
                </c:pt>
                <c:pt idx="10331">
                  <c:v>-5.2214843876854697E-2</c:v>
                </c:pt>
                <c:pt idx="10332">
                  <c:v>0.102148168793036</c:v>
                </c:pt>
                <c:pt idx="10333">
                  <c:v>2.1483525855590102E-3</c:v>
                </c:pt>
                <c:pt idx="10334">
                  <c:v>-2.7854549980211099E-2</c:v>
                </c:pt>
                <c:pt idx="10335">
                  <c:v>0.12566488150826099</c:v>
                </c:pt>
                <c:pt idx="10336">
                  <c:v>9.3619446564331799E-2</c:v>
                </c:pt>
                <c:pt idx="10337">
                  <c:v>6.0459245274396799E-2</c:v>
                </c:pt>
                <c:pt idx="10338">
                  <c:v>9.1168360491693204E-2</c:v>
                </c:pt>
                <c:pt idx="10339">
                  <c:v>0.17758710433501501</c:v>
                </c:pt>
                <c:pt idx="10340">
                  <c:v>0.222731649395501</c:v>
                </c:pt>
                <c:pt idx="10341">
                  <c:v>0.21636658387160301</c:v>
                </c:pt>
                <c:pt idx="10342">
                  <c:v>0.228522012947211</c:v>
                </c:pt>
                <c:pt idx="10343">
                  <c:v>0.32102472075139799</c:v>
                </c:pt>
                <c:pt idx="10344">
                  <c:v>0.37043813545156501</c:v>
                </c:pt>
                <c:pt idx="10345">
                  <c:v>0.40535596072670599</c:v>
                </c:pt>
                <c:pt idx="10346">
                  <c:v>0.62780189158293898</c:v>
                </c:pt>
                <c:pt idx="10347">
                  <c:v>0.78441004596753605</c:v>
                </c:pt>
                <c:pt idx="10348">
                  <c:v>0.80080737664317003</c:v>
                </c:pt>
                <c:pt idx="10349">
                  <c:v>0.76977892969503103</c:v>
                </c:pt>
                <c:pt idx="10350">
                  <c:v>0.74086708753880404</c:v>
                </c:pt>
                <c:pt idx="10351">
                  <c:v>0.84778993549591997</c:v>
                </c:pt>
                <c:pt idx="10352">
                  <c:v>1.01056533609086</c:v>
                </c:pt>
                <c:pt idx="10353">
                  <c:v>1.1223227664336</c:v>
                </c:pt>
                <c:pt idx="10354">
                  <c:v>1.0504097178945999</c:v>
                </c:pt>
                <c:pt idx="10355">
                  <c:v>0.97849666935559598</c:v>
                </c:pt>
                <c:pt idx="10356">
                  <c:v>0.90658362081659305</c:v>
                </c:pt>
                <c:pt idx="10357">
                  <c:v>0.98645144944346796</c:v>
                </c:pt>
                <c:pt idx="10358">
                  <c:v>1.0663192780703401</c:v>
                </c:pt>
                <c:pt idx="10359">
                  <c:v>1.14618710669722</c:v>
                </c:pt>
                <c:pt idx="10360">
                  <c:v>1.2260549353240899</c:v>
                </c:pt>
                <c:pt idx="10361">
                  <c:v>1.14625964211273</c:v>
                </c:pt>
                <c:pt idx="10362">
                  <c:v>1.0664643489013601</c:v>
                </c:pt>
                <c:pt idx="10363">
                  <c:v>0.98666905568999097</c:v>
                </c:pt>
                <c:pt idx="10364">
                  <c:v>0.90687376247862295</c:v>
                </c:pt>
                <c:pt idx="10365">
                  <c:v>0.90087390425357905</c:v>
                </c:pt>
                <c:pt idx="10366">
                  <c:v>0.89487404602853404</c:v>
                </c:pt>
                <c:pt idx="10367">
                  <c:v>0.88887418780349003</c:v>
                </c:pt>
                <c:pt idx="10368">
                  <c:v>0.88287432957844603</c:v>
                </c:pt>
                <c:pt idx="10369">
                  <c:v>1.46196236462801</c:v>
                </c:pt>
                <c:pt idx="10370">
                  <c:v>1.3475268439939601</c:v>
                </c:pt>
                <c:pt idx="10371">
                  <c:v>1.2330913233598999</c:v>
                </c:pt>
                <c:pt idx="10372">
                  <c:v>1.11865580272584</c:v>
                </c:pt>
                <c:pt idx="10373">
                  <c:v>1.1486427505063901</c:v>
                </c:pt>
                <c:pt idx="10374">
                  <c:v>1.63905410924049</c:v>
                </c:pt>
                <c:pt idx="10375">
                  <c:v>1.6276927858244501</c:v>
                </c:pt>
                <c:pt idx="10376">
                  <c:v>1.6350793950648901</c:v>
                </c:pt>
                <c:pt idx="10377">
                  <c:v>1.5911288275783699</c:v>
                </c:pt>
                <c:pt idx="10378">
                  <c:v>1.51830217958975</c:v>
                </c:pt>
                <c:pt idx="10379">
                  <c:v>1.4743516121032301</c:v>
                </c:pt>
                <c:pt idx="10380">
                  <c:v>1.5128701489529199</c:v>
                </c:pt>
                <c:pt idx="10381">
                  <c:v>1.5528441323385</c:v>
                </c:pt>
                <c:pt idx="10382">
                  <c:v>1.8505810146352799</c:v>
                </c:pt>
                <c:pt idx="10383">
                  <c:v>1.3600796735936</c:v>
                </c:pt>
                <c:pt idx="10384">
                  <c:v>1.3386817489640599</c:v>
                </c:pt>
                <c:pt idx="10385">
                  <c:v>1.3595875639021999</c:v>
                </c:pt>
                <c:pt idx="10386">
                  <c:v>1.46219565496045</c:v>
                </c:pt>
                <c:pt idx="10387">
                  <c:v>1.4865678512663101</c:v>
                </c:pt>
                <c:pt idx="10388">
                  <c:v>1.4987745881641199</c:v>
                </c:pt>
                <c:pt idx="10389">
                  <c:v>1.3649894384964401</c:v>
                </c:pt>
                <c:pt idx="10390">
                  <c:v>0.847231192519599</c:v>
                </c:pt>
                <c:pt idx="10391">
                  <c:v>1.50853513334039</c:v>
                </c:pt>
                <c:pt idx="10392">
                  <c:v>1.405471672709169</c:v>
                </c:pt>
                <c:pt idx="10393">
                  <c:v>1.1995686528209599</c:v>
                </c:pt>
                <c:pt idx="10394">
                  <c:v>1.2517352631304</c:v>
                </c:pt>
                <c:pt idx="10395">
                  <c:v>1.3513725209551799</c:v>
                </c:pt>
                <c:pt idx="10396">
                  <c:v>1.32719240324717</c:v>
                </c:pt>
                <c:pt idx="10397">
                  <c:v>1.12947617965158</c:v>
                </c:pt>
                <c:pt idx="10398">
                  <c:v>0.79154391153131598</c:v>
                </c:pt>
                <c:pt idx="10399">
                  <c:v>0.58128664564318699</c:v>
                </c:pt>
                <c:pt idx="10400">
                  <c:v>0.63340107113456501</c:v>
                </c:pt>
                <c:pt idx="10401">
                  <c:v>0.60204162547606799</c:v>
                </c:pt>
                <c:pt idx="10402">
                  <c:v>0.57068217981756997</c:v>
                </c:pt>
                <c:pt idx="10403">
                  <c:v>0.53932273415907295</c:v>
                </c:pt>
                <c:pt idx="10404">
                  <c:v>0.50796328850057504</c:v>
                </c:pt>
                <c:pt idx="10405">
                  <c:v>0.51705336522758705</c:v>
                </c:pt>
                <c:pt idx="10406">
                  <c:v>0.23921339370200401</c:v>
                </c:pt>
                <c:pt idx="10407">
                  <c:v>0.20491788766998101</c:v>
                </c:pt>
                <c:pt idx="10408">
                  <c:v>0.31710894730890199</c:v>
                </c:pt>
                <c:pt idx="10409">
                  <c:v>0.32372509543200201</c:v>
                </c:pt>
                <c:pt idx="10410">
                  <c:v>0.33034124355510103</c:v>
                </c:pt>
                <c:pt idx="10411">
                  <c:v>0.26892893800089901</c:v>
                </c:pt>
                <c:pt idx="10412">
                  <c:v>0.12905852045305399</c:v>
                </c:pt>
                <c:pt idx="10413">
                  <c:v>0.16815746238919599</c:v>
                </c:pt>
                <c:pt idx="10414">
                  <c:v>0.15774844524754</c:v>
                </c:pt>
                <c:pt idx="10415">
                  <c:v>8.1353506806740694E-2</c:v>
                </c:pt>
                <c:pt idx="10416">
                  <c:v>4.4110941541152603E-2</c:v>
                </c:pt>
                <c:pt idx="10417">
                  <c:v>0.136717300009776</c:v>
                </c:pt>
                <c:pt idx="10418">
                  <c:v>9.9315055028802501E-2</c:v>
                </c:pt>
                <c:pt idx="10419">
                  <c:v>8.8746358171762796E-2</c:v>
                </c:pt>
                <c:pt idx="10420">
                  <c:v>4.3105132080115599E-2</c:v>
                </c:pt>
                <c:pt idx="10421">
                  <c:v>-3.9716291180046902E-2</c:v>
                </c:pt>
                <c:pt idx="10422">
                  <c:v>-3.7957226127805298E-2</c:v>
                </c:pt>
                <c:pt idx="10423">
                  <c:v>6.4860289458186796E-2</c:v>
                </c:pt>
                <c:pt idx="10424">
                  <c:v>0.10993086485571001</c:v>
                </c:pt>
                <c:pt idx="10425">
                  <c:v>9.5919418013071201E-4</c:v>
                </c:pt>
                <c:pt idx="10426">
                  <c:v>-3.1745041707472603E-2</c:v>
                </c:pt>
                <c:pt idx="10427">
                  <c:v>-6.4375205181321393E-2</c:v>
                </c:pt>
                <c:pt idx="10428">
                  <c:v>-3.1093519769780299E-2</c:v>
                </c:pt>
                <c:pt idx="10429">
                  <c:v>-4.9463136916482298E-2</c:v>
                </c:pt>
                <c:pt idx="10430">
                  <c:v>-7.6071735173857596E-2</c:v>
                </c:pt>
                <c:pt idx="10431">
                  <c:v>-3.0646108227081598E-2</c:v>
                </c:pt>
                <c:pt idx="10432">
                  <c:v>4.3729671635539098E-2</c:v>
                </c:pt>
                <c:pt idx="10433">
                  <c:v>0.106487518740016</c:v>
                </c:pt>
                <c:pt idx="10434">
                  <c:v>1.63682449152713E-4</c:v>
                </c:pt>
                <c:pt idx="10435">
                  <c:v>-3.1384641592685399E-3</c:v>
                </c:pt>
                <c:pt idx="10436">
                  <c:v>9.4543767352307406E-2</c:v>
                </c:pt>
                <c:pt idx="10437">
                  <c:v>0.10193340662261099</c:v>
                </c:pt>
                <c:pt idx="10438">
                  <c:v>0.12565286328675501</c:v>
                </c:pt>
                <c:pt idx="10439">
                  <c:v>0.19064129791802101</c:v>
                </c:pt>
                <c:pt idx="10440">
                  <c:v>0.32168972626218501</c:v>
                </c:pt>
                <c:pt idx="10441">
                  <c:v>0.33608524067836199</c:v>
                </c:pt>
                <c:pt idx="10442">
                  <c:v>0.47829868133846998</c:v>
                </c:pt>
                <c:pt idx="10443">
                  <c:v>0.60410823219098497</c:v>
                </c:pt>
                <c:pt idx="10444">
                  <c:v>0.69484525380889295</c:v>
                </c:pt>
                <c:pt idx="10445">
                  <c:v>0.655467879951667</c:v>
                </c:pt>
                <c:pt idx="10446">
                  <c:v>0.53982829212217898</c:v>
                </c:pt>
                <c:pt idx="10447">
                  <c:v>0.72086609669070101</c:v>
                </c:pt>
                <c:pt idx="10448">
                  <c:v>0.926991206660013</c:v>
                </c:pt>
                <c:pt idx="10449">
                  <c:v>0.96611122647163805</c:v>
                </c:pt>
                <c:pt idx="10450">
                  <c:v>0.94551584613038797</c:v>
                </c:pt>
                <c:pt idx="10451">
                  <c:v>0.924920465789139</c:v>
                </c:pt>
                <c:pt idx="10452">
                  <c:v>0.90432508544788903</c:v>
                </c:pt>
                <c:pt idx="10453">
                  <c:v>0.91060037520797699</c:v>
                </c:pt>
                <c:pt idx="10454">
                  <c:v>0.91687566496806405</c:v>
                </c:pt>
                <c:pt idx="10455">
                  <c:v>0.92315095472815001</c:v>
                </c:pt>
                <c:pt idx="10456">
                  <c:v>0.92942624448823796</c:v>
                </c:pt>
                <c:pt idx="10457">
                  <c:v>0.94382738517120701</c:v>
                </c:pt>
                <c:pt idx="10458">
                  <c:v>0.95822852585417695</c:v>
                </c:pt>
                <c:pt idx="10459">
                  <c:v>0.972629666537146</c:v>
                </c:pt>
                <c:pt idx="10460">
                  <c:v>0.98703080722011605</c:v>
                </c:pt>
                <c:pt idx="10461">
                  <c:v>0.93701766184968804</c:v>
                </c:pt>
                <c:pt idx="10462">
                  <c:v>0.88700451647925904</c:v>
                </c:pt>
                <c:pt idx="10463">
                  <c:v>0.83699137110883104</c:v>
                </c:pt>
                <c:pt idx="10464">
                  <c:v>0.78697822573840304</c:v>
                </c:pt>
                <c:pt idx="10465">
                  <c:v>1.2205684760373701</c:v>
                </c:pt>
                <c:pt idx="10466">
                  <c:v>1.67162735537725</c:v>
                </c:pt>
                <c:pt idx="10467">
                  <c:v>1.9898831224393101</c:v>
                </c:pt>
                <c:pt idx="10468">
                  <c:v>1.20369285044518</c:v>
                </c:pt>
                <c:pt idx="10469">
                  <c:v>1.2553031548829201</c:v>
                </c:pt>
                <c:pt idx="10470">
                  <c:v>1.0705291946194999</c:v>
                </c:pt>
                <c:pt idx="10471">
                  <c:v>0.52187462646350202</c:v>
                </c:pt>
                <c:pt idx="10472">
                  <c:v>0.31980187593064102</c:v>
                </c:pt>
                <c:pt idx="10473">
                  <c:v>0.42474053856090399</c:v>
                </c:pt>
                <c:pt idx="10474">
                  <c:v>0.439045188158042</c:v>
                </c:pt>
                <c:pt idx="10475">
                  <c:v>0.56703906544236404</c:v>
                </c:pt>
                <c:pt idx="10476">
                  <c:v>0.694657359842204</c:v>
                </c:pt>
                <c:pt idx="10477">
                  <c:v>0.76399072545625701</c:v>
                </c:pt>
                <c:pt idx="10478">
                  <c:v>0.93416554517851402</c:v>
                </c:pt>
                <c:pt idx="10479">
                  <c:v>0.96608233870907201</c:v>
                </c:pt>
                <c:pt idx="10480">
                  <c:v>1.03504012143864</c:v>
                </c:pt>
                <c:pt idx="10481">
                  <c:v>1.40433746418321</c:v>
                </c:pt>
                <c:pt idx="10482">
                  <c:v>1.50364722796081</c:v>
                </c:pt>
                <c:pt idx="10483">
                  <c:v>1.61709091111088</c:v>
                </c:pt>
                <c:pt idx="10484">
                  <c:v>1.67278243325676</c:v>
                </c:pt>
                <c:pt idx="10485">
                  <c:v>1.48757916864628</c:v>
                </c:pt>
                <c:pt idx="10486">
                  <c:v>1.39112075033399</c:v>
                </c:pt>
                <c:pt idx="10487">
                  <c:v>1.4533247987321289</c:v>
                </c:pt>
                <c:pt idx="10488">
                  <c:v>1.35686638041985</c:v>
                </c:pt>
                <c:pt idx="10489">
                  <c:v>1.2820325572585201</c:v>
                </c:pt>
                <c:pt idx="10490">
                  <c:v>1.2772697201526499</c:v>
                </c:pt>
                <c:pt idx="10491">
                  <c:v>0.87996278094302105</c:v>
                </c:pt>
                <c:pt idx="10492">
                  <c:v>0.90007025281239295</c:v>
                </c:pt>
                <c:pt idx="10493">
                  <c:v>0.92931373203968504</c:v>
                </c:pt>
                <c:pt idx="10494">
                  <c:v>0.99166650135289303</c:v>
                </c:pt>
                <c:pt idx="10495">
                  <c:v>0.92619612360645698</c:v>
                </c:pt>
                <c:pt idx="10496">
                  <c:v>0.95543960283374996</c:v>
                </c:pt>
                <c:pt idx="10497">
                  <c:v>0.92575723149877398</c:v>
                </c:pt>
                <c:pt idx="10498">
                  <c:v>0.64640279753576502</c:v>
                </c:pt>
                <c:pt idx="10499">
                  <c:v>0.61672042620079004</c:v>
                </c:pt>
                <c:pt idx="10500">
                  <c:v>0.41787185742529298</c:v>
                </c:pt>
                <c:pt idx="10501">
                  <c:v>0.33576278024586997</c:v>
                </c:pt>
                <c:pt idx="10502">
                  <c:v>0.25781284023651901</c:v>
                </c:pt>
                <c:pt idx="10503">
                  <c:v>0.19021848612975201</c:v>
                </c:pt>
                <c:pt idx="10504">
                  <c:v>0.254601195436988</c:v>
                </c:pt>
                <c:pt idx="10505">
                  <c:v>0.16260047273729999</c:v>
                </c:pt>
                <c:pt idx="10506">
                  <c:v>0.13651159892300099</c:v>
                </c:pt>
                <c:pt idx="10507">
                  <c:v>7.3386956725405003E-2</c:v>
                </c:pt>
                <c:pt idx="10508">
                  <c:v>4.9414687703018302E-2</c:v>
                </c:pt>
                <c:pt idx="10509">
                  <c:v>5.8049917984339498E-2</c:v>
                </c:pt>
                <c:pt idx="10510">
                  <c:v>5.6329562363073703E-2</c:v>
                </c:pt>
                <c:pt idx="10511">
                  <c:v>1.9610749920955101E-2</c:v>
                </c:pt>
                <c:pt idx="10512">
                  <c:v>3.4549644565006802E-3</c:v>
                </c:pt>
                <c:pt idx="10513">
                  <c:v>-9.9312643235620099E-2</c:v>
                </c:pt>
                <c:pt idx="10514">
                  <c:v>-0.12989266008036801</c:v>
                </c:pt>
                <c:pt idx="10515">
                  <c:v>-0.148153851873839</c:v>
                </c:pt>
                <c:pt idx="10516">
                  <c:v>-0.19725436331809301</c:v>
                </c:pt>
                <c:pt idx="10517">
                  <c:v>-0.118876286567327</c:v>
                </c:pt>
                <c:pt idx="10518">
                  <c:v>-0.15599209019350199</c:v>
                </c:pt>
                <c:pt idx="10519">
                  <c:v>-0.13747755842312001</c:v>
                </c:pt>
                <c:pt idx="10520">
                  <c:v>-0.108607440750151</c:v>
                </c:pt>
                <c:pt idx="10521">
                  <c:v>-5.8699379975607403E-2</c:v>
                </c:pt>
                <c:pt idx="10522">
                  <c:v>-0.111892302112975</c:v>
                </c:pt>
                <c:pt idx="10523">
                  <c:v>-0.144448124858922</c:v>
                </c:pt>
                <c:pt idx="10524">
                  <c:v>-0.13996817922157301</c:v>
                </c:pt>
                <c:pt idx="10525">
                  <c:v>-5.0545556568150199E-2</c:v>
                </c:pt>
                <c:pt idx="10526">
                  <c:v>-5.8022247278407699E-2</c:v>
                </c:pt>
                <c:pt idx="10527">
                  <c:v>-4.2824527034801399E-2</c:v>
                </c:pt>
                <c:pt idx="10528">
                  <c:v>-5.0264682510871902E-3</c:v>
                </c:pt>
                <c:pt idx="10529">
                  <c:v>6.6771022444627598E-2</c:v>
                </c:pt>
                <c:pt idx="10530">
                  <c:v>1.7100401272147899E-2</c:v>
                </c:pt>
                <c:pt idx="10531">
                  <c:v>-3.4686824692242997E-2</c:v>
                </c:pt>
                <c:pt idx="10532">
                  <c:v>-3.7040163992591899E-2</c:v>
                </c:pt>
                <c:pt idx="10533">
                  <c:v>4.1949656517068702E-2</c:v>
                </c:pt>
                <c:pt idx="10534">
                  <c:v>0.106578119597295</c:v>
                </c:pt>
                <c:pt idx="10535">
                  <c:v>0.23711843156290999</c:v>
                </c:pt>
                <c:pt idx="10536">
                  <c:v>0.25442961277100501</c:v>
                </c:pt>
                <c:pt idx="10537">
                  <c:v>0.34851311131657903</c:v>
                </c:pt>
                <c:pt idx="10538">
                  <c:v>0.461191176875413</c:v>
                </c:pt>
                <c:pt idx="10539">
                  <c:v>0.57386924243424597</c:v>
                </c:pt>
                <c:pt idx="10540">
                  <c:v>0.68654730799307995</c:v>
                </c:pt>
                <c:pt idx="10541">
                  <c:v>0.715011047113291</c:v>
                </c:pt>
                <c:pt idx="10542">
                  <c:v>0.64234226328599797</c:v>
                </c:pt>
                <c:pt idx="10543">
                  <c:v>0.77382769208865299</c:v>
                </c:pt>
                <c:pt idx="10544">
                  <c:v>0.936231733771557</c:v>
                </c:pt>
                <c:pt idx="10545">
                  <c:v>0.988923705552748</c:v>
                </c:pt>
                <c:pt idx="10546">
                  <c:v>1.1220422492919899</c:v>
                </c:pt>
                <c:pt idx="10547">
                  <c:v>1.2634790673713701</c:v>
                </c:pt>
                <c:pt idx="10548">
                  <c:v>1.40914909503457</c:v>
                </c:pt>
                <c:pt idx="10549">
                  <c:v>1.5284320717616799</c:v>
                </c:pt>
                <c:pt idx="10550">
                  <c:v>1.54241816755549</c:v>
                </c:pt>
                <c:pt idx="10551">
                  <c:v>0.88352302787281001</c:v>
                </c:pt>
                <c:pt idx="10552">
                  <c:v>0.89750912366662505</c:v>
                </c:pt>
                <c:pt idx="10553">
                  <c:v>0.94391120246174298</c:v>
                </c:pt>
                <c:pt idx="10554">
                  <c:v>0.99031328125686102</c:v>
                </c:pt>
                <c:pt idx="10555">
                  <c:v>1.0367153600519801</c:v>
                </c:pt>
                <c:pt idx="10556">
                  <c:v>1.0831174388471001</c:v>
                </c:pt>
                <c:pt idx="10557">
                  <c:v>1.0149060186899399</c:v>
                </c:pt>
                <c:pt idx="10558">
                  <c:v>0.94669459853277504</c:v>
                </c:pt>
                <c:pt idx="10559">
                  <c:v>0.87848317837561396</c:v>
                </c:pt>
                <c:pt idx="10560">
                  <c:v>0.81027175821845299</c:v>
                </c:pt>
                <c:pt idx="10561">
                  <c:v>2.2504581639916301</c:v>
                </c:pt>
                <c:pt idx="10562">
                  <c:v>1.7977240490439499</c:v>
                </c:pt>
                <c:pt idx="10563">
                  <c:v>1.68341206383821</c:v>
                </c:pt>
                <c:pt idx="10564">
                  <c:v>1.5631310679569299</c:v>
                </c:pt>
                <c:pt idx="10565">
                  <c:v>1.0248989199253999</c:v>
                </c:pt>
                <c:pt idx="10566">
                  <c:v>0.44646613261359003</c:v>
                </c:pt>
                <c:pt idx="10567">
                  <c:v>0.50939294695656301</c:v>
                </c:pt>
                <c:pt idx="10568">
                  <c:v>0.95193157577912801</c:v>
                </c:pt>
                <c:pt idx="10569">
                  <c:v>1.35247762702845</c:v>
                </c:pt>
                <c:pt idx="10570">
                  <c:v>0.69280493329158099</c:v>
                </c:pt>
                <c:pt idx="10571">
                  <c:v>0.637244297216365</c:v>
                </c:pt>
                <c:pt idx="10572">
                  <c:v>0.524386376250913</c:v>
                </c:pt>
                <c:pt idx="10573">
                  <c:v>0.66721874157141403</c:v>
                </c:pt>
                <c:pt idx="10574">
                  <c:v>0.92366104134963101</c:v>
                </c:pt>
                <c:pt idx="10575">
                  <c:v>1.07692828580218</c:v>
                </c:pt>
                <c:pt idx="10576">
                  <c:v>1.25483840117301</c:v>
                </c:pt>
                <c:pt idx="10577">
                  <c:v>1.4849939935860299</c:v>
                </c:pt>
                <c:pt idx="10578">
                  <c:v>1.5829398637123699</c:v>
                </c:pt>
                <c:pt idx="10579">
                  <c:v>1.6086981429913301</c:v>
                </c:pt>
                <c:pt idx="10580">
                  <c:v>1.6943251880663901</c:v>
                </c:pt>
                <c:pt idx="10581">
                  <c:v>1.63191478193154</c:v>
                </c:pt>
                <c:pt idx="10582">
                  <c:v>1.5549896527240401</c:v>
                </c:pt>
                <c:pt idx="10583">
                  <c:v>1.2922617773957401</c:v>
                </c:pt>
                <c:pt idx="10584">
                  <c:v>1.2588808174062001</c:v>
                </c:pt>
                <c:pt idx="10585">
                  <c:v>1.1210211179559999</c:v>
                </c:pt>
                <c:pt idx="10586">
                  <c:v>0.97295919824642096</c:v>
                </c:pt>
                <c:pt idx="10587">
                  <c:v>1.0024610435469801</c:v>
                </c:pt>
                <c:pt idx="10588">
                  <c:v>0.94110143775743105</c:v>
                </c:pt>
                <c:pt idx="10589">
                  <c:v>0.85766677797110302</c:v>
                </c:pt>
                <c:pt idx="10590">
                  <c:v>0.80333563674384301</c:v>
                </c:pt>
                <c:pt idx="10591">
                  <c:v>0.83147359985278801</c:v>
                </c:pt>
                <c:pt idx="10592">
                  <c:v>0.71107724409691597</c:v>
                </c:pt>
                <c:pt idx="10593">
                  <c:v>0.67103571781146398</c:v>
                </c:pt>
                <c:pt idx="10594">
                  <c:v>0.59191589076455597</c:v>
                </c:pt>
                <c:pt idx="10595">
                  <c:v>0.47356439731297001</c:v>
                </c:pt>
                <c:pt idx="10596">
                  <c:v>0.35732950865329699</c:v>
                </c:pt>
                <c:pt idx="10597">
                  <c:v>0.31080611549377901</c:v>
                </c:pt>
                <c:pt idx="10598">
                  <c:v>0.249921364904826</c:v>
                </c:pt>
                <c:pt idx="10599">
                  <c:v>0.213753557647894</c:v>
                </c:pt>
                <c:pt idx="10600">
                  <c:v>0.16110778816961399</c:v>
                </c:pt>
                <c:pt idx="10601">
                  <c:v>9.7480973685378003E-2</c:v>
                </c:pt>
                <c:pt idx="10602">
                  <c:v>3.8013296371212403E-2</c:v>
                </c:pt>
                <c:pt idx="10603">
                  <c:v>-9.1355558916763092E-3</c:v>
                </c:pt>
                <c:pt idx="10604">
                  <c:v>-6.4523389265238901E-2</c:v>
                </c:pt>
                <c:pt idx="10605">
                  <c:v>-7.7715202340587694E-2</c:v>
                </c:pt>
                <c:pt idx="10606">
                  <c:v>-9.3023620207848198E-2</c:v>
                </c:pt>
                <c:pt idx="10607">
                  <c:v>-8.1498489951175895E-2</c:v>
                </c:pt>
                <c:pt idx="10608">
                  <c:v>-6.9973359694503703E-2</c:v>
                </c:pt>
                <c:pt idx="10609">
                  <c:v>-9.30661876911585E-2</c:v>
                </c:pt>
                <c:pt idx="10610">
                  <c:v>-0.11615901568781301</c:v>
                </c:pt>
                <c:pt idx="10611">
                  <c:v>-0.139251843684468</c:v>
                </c:pt>
                <c:pt idx="10612">
                  <c:v>-0.16234467168112299</c:v>
                </c:pt>
                <c:pt idx="10613">
                  <c:v>-0.118908920833305</c:v>
                </c:pt>
                <c:pt idx="10614">
                  <c:v>-7.5473169985487795E-2</c:v>
                </c:pt>
                <c:pt idx="10615">
                  <c:v>-3.2037419137670102E-2</c:v>
                </c:pt>
                <c:pt idx="10616">
                  <c:v>1.13983317101476E-2</c:v>
                </c:pt>
                <c:pt idx="10617">
                  <c:v>4.3486658341539301E-2</c:v>
                </c:pt>
                <c:pt idx="10618">
                  <c:v>7.5574984972930997E-2</c:v>
                </c:pt>
                <c:pt idx="10619">
                  <c:v>0.10766331160432301</c:v>
                </c:pt>
                <c:pt idx="10620">
                  <c:v>0.13975163823571399</c:v>
                </c:pt>
                <c:pt idx="10621">
                  <c:v>0.144935985390785</c:v>
                </c:pt>
                <c:pt idx="10622">
                  <c:v>5.7374935536530697E-2</c:v>
                </c:pt>
                <c:pt idx="10623">
                  <c:v>3.1645890627063897E-2</c:v>
                </c:pt>
                <c:pt idx="10624">
                  <c:v>3.6830237782133998E-2</c:v>
                </c:pt>
                <c:pt idx="10625">
                  <c:v>2.3176719014466499E-2</c:v>
                </c:pt>
                <c:pt idx="10626">
                  <c:v>4.0362519897580301E-2</c:v>
                </c:pt>
                <c:pt idx="10627">
                  <c:v>5.9664925572607101E-2</c:v>
                </c:pt>
                <c:pt idx="10628">
                  <c:v>6.2489369026286698E-2</c:v>
                </c:pt>
                <c:pt idx="10629">
                  <c:v>0.25734737208952102</c:v>
                </c:pt>
                <c:pt idx="10630">
                  <c:v>0.146987491173344</c:v>
                </c:pt>
                <c:pt idx="10631">
                  <c:v>0.197475533357546</c:v>
                </c:pt>
                <c:pt idx="10632">
                  <c:v>0.26444153776309498</c:v>
                </c:pt>
                <c:pt idx="10633">
                  <c:v>0.408920701050907</c:v>
                </c:pt>
                <c:pt idx="10634">
                  <c:v>0.66488797318880899</c:v>
                </c:pt>
                <c:pt idx="10635">
                  <c:v>0.66507124801134199</c:v>
                </c:pt>
                <c:pt idx="10636">
                  <c:v>0.737368041267494</c:v>
                </c:pt>
                <c:pt idx="10637">
                  <c:v>0.69121201636721297</c:v>
                </c:pt>
                <c:pt idx="10638">
                  <c:v>0.69434173330346705</c:v>
                </c:pt>
                <c:pt idx="10639">
                  <c:v>0.78824838728463897</c:v>
                </c:pt>
                <c:pt idx="10640">
                  <c:v>0.85758624276129802</c:v>
                </c:pt>
                <c:pt idx="10641">
                  <c:v>0.97743958536073505</c:v>
                </c:pt>
                <c:pt idx="10642">
                  <c:v>0.969400929302488</c:v>
                </c:pt>
                <c:pt idx="10643">
                  <c:v>0.96136227324423995</c:v>
                </c:pt>
                <c:pt idx="10644">
                  <c:v>0.95332361718599201</c:v>
                </c:pt>
                <c:pt idx="10645">
                  <c:v>0.95585150960364396</c:v>
                </c:pt>
                <c:pt idx="10646">
                  <c:v>0.95837940202129501</c:v>
                </c:pt>
                <c:pt idx="10647">
                  <c:v>0.96090729443894596</c:v>
                </c:pt>
                <c:pt idx="10648">
                  <c:v>0.96343518685659701</c:v>
                </c:pt>
                <c:pt idx="10649">
                  <c:v>0.961023131406885</c:v>
                </c:pt>
                <c:pt idx="10650">
                  <c:v>0.95861107595717299</c:v>
                </c:pt>
                <c:pt idx="10651">
                  <c:v>0.95619902050746097</c:v>
                </c:pt>
                <c:pt idx="10652">
                  <c:v>0.95378696505774896</c:v>
                </c:pt>
                <c:pt idx="10653">
                  <c:v>0.95357904758284295</c:v>
                </c:pt>
                <c:pt idx="10654">
                  <c:v>0.95337113010793695</c:v>
                </c:pt>
                <c:pt idx="10655">
                  <c:v>0.95316321263303005</c:v>
                </c:pt>
                <c:pt idx="10656">
                  <c:v>0.95295529515812405</c:v>
                </c:pt>
                <c:pt idx="10657">
                  <c:v>1.5499080078664</c:v>
                </c:pt>
                <c:pt idx="10658">
                  <c:v>1.5152336112992599</c:v>
                </c:pt>
                <c:pt idx="10659">
                  <c:v>1.5363481365876099</c:v>
                </c:pt>
                <c:pt idx="10660">
                  <c:v>1.5164951943795699</c:v>
                </c:pt>
                <c:pt idx="10661">
                  <c:v>1.55928611246497</c:v>
                </c:pt>
                <c:pt idx="10662">
                  <c:v>1.8896849828392701</c:v>
                </c:pt>
                <c:pt idx="10663">
                  <c:v>1.98895235776679</c:v>
                </c:pt>
                <c:pt idx="10664">
                  <c:v>2.1748479742005991</c:v>
                </c:pt>
                <c:pt idx="10665">
                  <c:v>2.0535574262732301</c:v>
                </c:pt>
                <c:pt idx="10666">
                  <c:v>1.65609329227782</c:v>
                </c:pt>
                <c:pt idx="10667">
                  <c:v>1.6217377171431699</c:v>
                </c:pt>
                <c:pt idx="10668">
                  <c:v>1.5296299810043399</c:v>
                </c:pt>
                <c:pt idx="10669">
                  <c:v>1.56777947807234</c:v>
                </c:pt>
                <c:pt idx="10670">
                  <c:v>1.4977434403833201</c:v>
                </c:pt>
                <c:pt idx="10671">
                  <c:v>1.0731933352469301</c:v>
                </c:pt>
                <c:pt idx="10672">
                  <c:v>0.51131061859388005</c:v>
                </c:pt>
                <c:pt idx="10673">
                  <c:v>0.14358749363741799</c:v>
                </c:pt>
                <c:pt idx="10674">
                  <c:v>9.6972856387398707E-2</c:v>
                </c:pt>
                <c:pt idx="10675">
                  <c:v>1.0213083901133999</c:v>
                </c:pt>
                <c:pt idx="10676">
                  <c:v>1.2080412189132901</c:v>
                </c:pt>
                <c:pt idx="10677">
                  <c:v>1.13308566676217</c:v>
                </c:pt>
                <c:pt idx="10678">
                  <c:v>1.02532755581159</c:v>
                </c:pt>
                <c:pt idx="10679">
                  <c:v>0.98129061654072303</c:v>
                </c:pt>
                <c:pt idx="10680">
                  <c:v>1.10037679162109</c:v>
                </c:pt>
                <c:pt idx="10681">
                  <c:v>1.1970232317380001</c:v>
                </c:pt>
                <c:pt idx="10682">
                  <c:v>1.0522313695218399</c:v>
                </c:pt>
                <c:pt idx="10683">
                  <c:v>1.04766077264607</c:v>
                </c:pt>
                <c:pt idx="10684">
                  <c:v>0.92562261461323803</c:v>
                </c:pt>
                <c:pt idx="10685">
                  <c:v>0.97989988350250701</c:v>
                </c:pt>
                <c:pt idx="10686">
                  <c:v>1.0774145903232999</c:v>
                </c:pt>
                <c:pt idx="10687">
                  <c:v>1.13169185921257</c:v>
                </c:pt>
                <c:pt idx="10688">
                  <c:v>1.1859691281018401</c:v>
                </c:pt>
                <c:pt idx="10689">
                  <c:v>0.69639624597296002</c:v>
                </c:pt>
                <c:pt idx="10690">
                  <c:v>0.689541382051295</c:v>
                </c:pt>
                <c:pt idx="10691">
                  <c:v>0.694931270767153</c:v>
                </c:pt>
                <c:pt idx="10692">
                  <c:v>0.68807640684548699</c:v>
                </c:pt>
                <c:pt idx="10693">
                  <c:v>0.43629736738027403</c:v>
                </c:pt>
                <c:pt idx="10694">
                  <c:v>0.55618745093899502</c:v>
                </c:pt>
                <c:pt idx="10695">
                  <c:v>0.57486571832074296</c:v>
                </c:pt>
                <c:pt idx="10696">
                  <c:v>0.48628386562051101</c:v>
                </c:pt>
                <c:pt idx="10697">
                  <c:v>0.43312419642800098</c:v>
                </c:pt>
                <c:pt idx="10698">
                  <c:v>0.363486565014143</c:v>
                </c:pt>
                <c:pt idx="10699">
                  <c:v>0.28961572401646102</c:v>
                </c:pt>
                <c:pt idx="10700">
                  <c:v>0.23449281567525901</c:v>
                </c:pt>
                <c:pt idx="10701">
                  <c:v>0.28052580754765699</c:v>
                </c:pt>
                <c:pt idx="10702">
                  <c:v>0.29987861693934198</c:v>
                </c:pt>
                <c:pt idx="10703">
                  <c:v>0.31318312242601898</c:v>
                </c:pt>
                <c:pt idx="10704">
                  <c:v>-5.7643244174307898E-2</c:v>
                </c:pt>
                <c:pt idx="10705">
                  <c:v>-0.167748763785525</c:v>
                </c:pt>
                <c:pt idx="10706">
                  <c:v>-0.27321964023737899</c:v>
                </c:pt>
                <c:pt idx="10707">
                  <c:v>-0.29418410079058299</c:v>
                </c:pt>
                <c:pt idx="10708">
                  <c:v>-0.24292359413035999</c:v>
                </c:pt>
                <c:pt idx="10709">
                  <c:v>-0.22461901191283201</c:v>
                </c:pt>
                <c:pt idx="10710">
                  <c:v>-0.23103137302732599</c:v>
                </c:pt>
                <c:pt idx="10711">
                  <c:v>-0.21272679080979801</c:v>
                </c:pt>
                <c:pt idx="10712">
                  <c:v>-0.116259729157146</c:v>
                </c:pt>
                <c:pt idx="10713">
                  <c:v>-0.15380704248093899</c:v>
                </c:pt>
                <c:pt idx="10714">
                  <c:v>2.71664350703631E-2</c:v>
                </c:pt>
                <c:pt idx="10715">
                  <c:v>-8.04466434931774E-2</c:v>
                </c:pt>
                <c:pt idx="10716">
                  <c:v>-3.9910867217977597E-2</c:v>
                </c:pt>
                <c:pt idx="10717">
                  <c:v>-3.8527464117988103E-2</c:v>
                </c:pt>
                <c:pt idx="10718">
                  <c:v>-5.5738628031258203E-2</c:v>
                </c:pt>
                <c:pt idx="10719">
                  <c:v>-6.8790654774457394E-2</c:v>
                </c:pt>
                <c:pt idx="10720">
                  <c:v>-5.5628252474265602E-2</c:v>
                </c:pt>
                <c:pt idx="10721">
                  <c:v>-5.0704831284747703E-2</c:v>
                </c:pt>
                <c:pt idx="10722">
                  <c:v>8.61163600893044E-2</c:v>
                </c:pt>
                <c:pt idx="10723">
                  <c:v>-1.8183577951848801E-2</c:v>
                </c:pt>
                <c:pt idx="10724">
                  <c:v>1.15633707148423E-2</c:v>
                </c:pt>
                <c:pt idx="10725">
                  <c:v>9.0744206045576203E-2</c:v>
                </c:pt>
                <c:pt idx="10726">
                  <c:v>0.215273863284036</c:v>
                </c:pt>
                <c:pt idx="10727">
                  <c:v>0.19354439290852701</c:v>
                </c:pt>
                <c:pt idx="10728">
                  <c:v>0.30606705753419</c:v>
                </c:pt>
                <c:pt idx="10729">
                  <c:v>0.41654718978169503</c:v>
                </c:pt>
                <c:pt idx="10730">
                  <c:v>0.57441867631508503</c:v>
                </c:pt>
                <c:pt idx="10731">
                  <c:v>0.660255937644322</c:v>
                </c:pt>
                <c:pt idx="10732">
                  <c:v>0.62452386495508705</c:v>
                </c:pt>
                <c:pt idx="10733">
                  <c:v>0.64850719241872601</c:v>
                </c:pt>
                <c:pt idx="10734">
                  <c:v>0.75291187102469903</c:v>
                </c:pt>
                <c:pt idx="10735">
                  <c:v>0.71725387074921698</c:v>
                </c:pt>
                <c:pt idx="10736">
                  <c:v>0.65874731164335598</c:v>
                </c:pt>
                <c:pt idx="10737">
                  <c:v>0.60024075253749398</c:v>
                </c:pt>
                <c:pt idx="10738">
                  <c:v>0.54173419343163298</c:v>
                </c:pt>
                <c:pt idx="10739">
                  <c:v>0.48322763432577198</c:v>
                </c:pt>
                <c:pt idx="10740">
                  <c:v>0.488244229078168</c:v>
                </c:pt>
                <c:pt idx="10741">
                  <c:v>0.49326082383056502</c:v>
                </c:pt>
                <c:pt idx="10742">
                  <c:v>0.49827741858296098</c:v>
                </c:pt>
                <c:pt idx="10743">
                  <c:v>0.50329401333535795</c:v>
                </c:pt>
                <c:pt idx="10744">
                  <c:v>0.51499597651891504</c:v>
                </c:pt>
                <c:pt idx="10745">
                  <c:v>0.52669793970247103</c:v>
                </c:pt>
                <c:pt idx="10746">
                  <c:v>0.53839990288602801</c:v>
                </c:pt>
                <c:pt idx="10747">
                  <c:v>0.550101866069585</c:v>
                </c:pt>
                <c:pt idx="10748">
                  <c:v>0.52167301783365005</c:v>
                </c:pt>
                <c:pt idx="10749">
                  <c:v>0.493244169597715</c:v>
                </c:pt>
                <c:pt idx="10750">
                  <c:v>0.46481532136178</c:v>
                </c:pt>
                <c:pt idx="10751">
                  <c:v>0.436386473125845</c:v>
                </c:pt>
                <c:pt idx="10752">
                  <c:v>0.96313843067368499</c:v>
                </c:pt>
                <c:pt idx="10753">
                  <c:v>0.97258685246903198</c:v>
                </c:pt>
                <c:pt idx="10754">
                  <c:v>1.0604245346599801</c:v>
                </c:pt>
                <c:pt idx="10755">
                  <c:v>1.15627375990463</c:v>
                </c:pt>
                <c:pt idx="10756">
                  <c:v>1.05186295091462</c:v>
                </c:pt>
                <c:pt idx="10757">
                  <c:v>1.0318104129957599</c:v>
                </c:pt>
                <c:pt idx="10758">
                  <c:v>1.04675633189774</c:v>
                </c:pt>
                <c:pt idx="10759">
                  <c:v>1.09496490652887</c:v>
                </c:pt>
                <c:pt idx="10760">
                  <c:v>1.1402191464726901</c:v>
                </c:pt>
                <c:pt idx="10761">
                  <c:v>1.1729219024925499</c:v>
                </c:pt>
                <c:pt idx="10762">
                  <c:v>1.22641512354704</c:v>
                </c:pt>
                <c:pt idx="10763">
                  <c:v>1.2900364924471399</c:v>
                </c:pt>
                <c:pt idx="10764">
                  <c:v>1.25318614475072</c:v>
                </c:pt>
                <c:pt idx="10765">
                  <c:v>1.1896556145735899</c:v>
                </c:pt>
                <c:pt idx="10766">
                  <c:v>1.2849409167501</c:v>
                </c:pt>
                <c:pt idx="10767">
                  <c:v>1.40244575376653</c:v>
                </c:pt>
                <c:pt idx="10768">
                  <c:v>1.3766369124952</c:v>
                </c:pt>
                <c:pt idx="10769">
                  <c:v>1.4863560300507701</c:v>
                </c:pt>
                <c:pt idx="10770">
                  <c:v>1.56523582795556</c:v>
                </c:pt>
                <c:pt idx="10771">
                  <c:v>1.64788873851452</c:v>
                </c:pt>
                <c:pt idx="10772">
                  <c:v>1.60269954479374</c:v>
                </c:pt>
                <c:pt idx="10773">
                  <c:v>1.4974089264041801</c:v>
                </c:pt>
                <c:pt idx="10774">
                  <c:v>1.2484306613065099</c:v>
                </c:pt>
                <c:pt idx="10775">
                  <c:v>1.36233351701264</c:v>
                </c:pt>
                <c:pt idx="10776">
                  <c:v>1.05262250246363</c:v>
                </c:pt>
                <c:pt idx="10777">
                  <c:v>0.96355932521304599</c:v>
                </c:pt>
                <c:pt idx="10778">
                  <c:v>0.75279537722158196</c:v>
                </c:pt>
                <c:pt idx="10779">
                  <c:v>0.65760982365223997</c:v>
                </c:pt>
                <c:pt idx="10780">
                  <c:v>0.74607341226533297</c:v>
                </c:pt>
                <c:pt idx="10781">
                  <c:v>0.69212505833237103</c:v>
                </c:pt>
                <c:pt idx="10782">
                  <c:v>0.656771271412669</c:v>
                </c:pt>
                <c:pt idx="10783">
                  <c:v>0.71416810231800398</c:v>
                </c:pt>
                <c:pt idx="10784">
                  <c:v>0.62510807415655201</c:v>
                </c:pt>
                <c:pt idx="10785">
                  <c:v>0.61881866080203496</c:v>
                </c:pt>
                <c:pt idx="10786">
                  <c:v>0.53815097939447798</c:v>
                </c:pt>
                <c:pt idx="10787">
                  <c:v>0.57502493155773404</c:v>
                </c:pt>
                <c:pt idx="10788">
                  <c:v>0.50668666007820695</c:v>
                </c:pt>
                <c:pt idx="10789">
                  <c:v>0.47946922173829498</c:v>
                </c:pt>
                <c:pt idx="10790">
                  <c:v>0.47931276957929098</c:v>
                </c:pt>
                <c:pt idx="10791">
                  <c:v>0.427605825964333</c:v>
                </c:pt>
                <c:pt idx="10792">
                  <c:v>0.40550689464823902</c:v>
                </c:pt>
                <c:pt idx="10793">
                  <c:v>0.47025842207968099</c:v>
                </c:pt>
                <c:pt idx="10794">
                  <c:v>0.46274828624999698</c:v>
                </c:pt>
                <c:pt idx="10795">
                  <c:v>0.45523815042031301</c:v>
                </c:pt>
                <c:pt idx="10796">
                  <c:v>0.50138992646617497</c:v>
                </c:pt>
                <c:pt idx="10797">
                  <c:v>0.52070815438810203</c:v>
                </c:pt>
                <c:pt idx="10798">
                  <c:v>0.43269218981429503</c:v>
                </c:pt>
                <c:pt idx="10799">
                  <c:v>0.43553245551487502</c:v>
                </c:pt>
                <c:pt idx="10800">
                  <c:v>0.37310077264175501</c:v>
                </c:pt>
                <c:pt idx="10801">
                  <c:v>0.37469177191908698</c:v>
                </c:pt>
                <c:pt idx="10802">
                  <c:v>0.32873805126731298</c:v>
                </c:pt>
                <c:pt idx="10803">
                  <c:v>0.311734483531386</c:v>
                </c:pt>
                <c:pt idx="10804">
                  <c:v>0.31836213938529401</c:v>
                </c:pt>
                <c:pt idx="10805">
                  <c:v>0.22604794949736301</c:v>
                </c:pt>
                <c:pt idx="10806">
                  <c:v>0.21408103833801201</c:v>
                </c:pt>
                <c:pt idx="10807">
                  <c:v>0.26190359974528898</c:v>
                </c:pt>
                <c:pt idx="10808">
                  <c:v>0.28857126549668</c:v>
                </c:pt>
                <c:pt idx="10809">
                  <c:v>0.187272860176632</c:v>
                </c:pt>
                <c:pt idx="10810">
                  <c:v>0.184990373012177</c:v>
                </c:pt>
                <c:pt idx="10811">
                  <c:v>0.15172042136943201</c:v>
                </c:pt>
                <c:pt idx="10812">
                  <c:v>0.123305451859419</c:v>
                </c:pt>
                <c:pt idx="10813">
                  <c:v>0.16715214561053199</c:v>
                </c:pt>
                <c:pt idx="10814">
                  <c:v>0.114020232768498</c:v>
                </c:pt>
                <c:pt idx="10815">
                  <c:v>8.5605263258483499E-2</c:v>
                </c:pt>
                <c:pt idx="10816">
                  <c:v>0.14911247684502199</c:v>
                </c:pt>
                <c:pt idx="10817">
                  <c:v>0.16318580376751601</c:v>
                </c:pt>
                <c:pt idx="10818">
                  <c:v>0.18149234027383501</c:v>
                </c:pt>
                <c:pt idx="10819">
                  <c:v>0.16260974275363499</c:v>
                </c:pt>
                <c:pt idx="10820">
                  <c:v>9.9985572963416494E-2</c:v>
                </c:pt>
                <c:pt idx="10821">
                  <c:v>9.1028499421063502E-2</c:v>
                </c:pt>
                <c:pt idx="10822">
                  <c:v>0.13150531254275499</c:v>
                </c:pt>
                <c:pt idx="10823">
                  <c:v>0.122548239000402</c:v>
                </c:pt>
                <c:pt idx="10824">
                  <c:v>0.18870556152636001</c:v>
                </c:pt>
                <c:pt idx="10825">
                  <c:v>0.25690541643047599</c:v>
                </c:pt>
                <c:pt idx="10826">
                  <c:v>0.40560069489067901</c:v>
                </c:pt>
                <c:pt idx="10827">
                  <c:v>0.45528005519528802</c:v>
                </c:pt>
                <c:pt idx="10828">
                  <c:v>0.37716574795049501</c:v>
                </c:pt>
                <c:pt idx="10829">
                  <c:v>0.26201567232240403</c:v>
                </c:pt>
                <c:pt idx="10830">
                  <c:v>0.210734913201545</c:v>
                </c:pt>
                <c:pt idx="10831">
                  <c:v>0.19029347373146799</c:v>
                </c:pt>
                <c:pt idx="10832">
                  <c:v>0.20376600547970999</c:v>
                </c:pt>
                <c:pt idx="10833">
                  <c:v>0.262661431549431</c:v>
                </c:pt>
                <c:pt idx="10834">
                  <c:v>0.42889105011488599</c:v>
                </c:pt>
                <c:pt idx="10835">
                  <c:v>0.62618742638809899</c:v>
                </c:pt>
                <c:pt idx="10836">
                  <c:v>0.84707723531833301</c:v>
                </c:pt>
                <c:pt idx="10837">
                  <c:v>1.03100534827902</c:v>
                </c:pt>
                <c:pt idx="10838">
                  <c:v>1.1426717979785801</c:v>
                </c:pt>
                <c:pt idx="10839">
                  <c:v>1.2129899764815599</c:v>
                </c:pt>
                <c:pt idx="10840">
                  <c:v>1.13095458400439</c:v>
                </c:pt>
                <c:pt idx="10841">
                  <c:v>1.04891919152722</c:v>
                </c:pt>
                <c:pt idx="10842">
                  <c:v>0.96688379905005395</c:v>
                </c:pt>
                <c:pt idx="10843">
                  <c:v>0.88484840657288699</c:v>
                </c:pt>
                <c:pt idx="10844">
                  <c:v>0.892606132356075</c:v>
                </c:pt>
                <c:pt idx="10845">
                  <c:v>0.90036385813926201</c:v>
                </c:pt>
                <c:pt idx="10846">
                  <c:v>0.90812158392245002</c:v>
                </c:pt>
                <c:pt idx="10847">
                  <c:v>0.91587930970563702</c:v>
                </c:pt>
                <c:pt idx="10848">
                  <c:v>0.89892601214995904</c:v>
                </c:pt>
                <c:pt idx="10849">
                  <c:v>0.88197271459428095</c:v>
                </c:pt>
                <c:pt idx="10850">
                  <c:v>0.86501941703860297</c:v>
                </c:pt>
                <c:pt idx="10851">
                  <c:v>0.84806611948292498</c:v>
                </c:pt>
                <c:pt idx="10852">
                  <c:v>1.2383111660443</c:v>
                </c:pt>
                <c:pt idx="10853">
                  <c:v>1.039933071708</c:v>
                </c:pt>
                <c:pt idx="10854">
                  <c:v>1.13477120921771</c:v>
                </c:pt>
                <c:pt idx="10855">
                  <c:v>1.22310616670846</c:v>
                </c:pt>
                <c:pt idx="10856">
                  <c:v>1.17583954689167</c:v>
                </c:pt>
                <c:pt idx="10857">
                  <c:v>1.22571012012697</c:v>
                </c:pt>
                <c:pt idx="10858">
                  <c:v>1.1824492718370301</c:v>
                </c:pt>
                <c:pt idx="10859">
                  <c:v>0.980219225550224</c:v>
                </c:pt>
                <c:pt idx="10860">
                  <c:v>0.933689409008994</c:v>
                </c:pt>
                <c:pt idx="10861">
                  <c:v>0.99646224492790303</c:v>
                </c:pt>
                <c:pt idx="10862">
                  <c:v>0.97645924522416405</c:v>
                </c:pt>
                <c:pt idx="10863">
                  <c:v>0.66346745173139599</c:v>
                </c:pt>
                <c:pt idx="10864">
                  <c:v>0.70638827932981796</c:v>
                </c:pt>
                <c:pt idx="10865">
                  <c:v>0.88332870272039998</c:v>
                </c:pt>
                <c:pt idx="10866">
                  <c:v>0.85602517862013905</c:v>
                </c:pt>
                <c:pt idx="10867">
                  <c:v>0.90302585015916503</c:v>
                </c:pt>
                <c:pt idx="10868">
                  <c:v>0.80581969094890604</c:v>
                </c:pt>
                <c:pt idx="10869">
                  <c:v>0.63823581439674404</c:v>
                </c:pt>
                <c:pt idx="10870">
                  <c:v>0.59265943987190794</c:v>
                </c:pt>
                <c:pt idx="10871">
                  <c:v>0.54881886643878697</c:v>
                </c:pt>
                <c:pt idx="10872">
                  <c:v>0.54290776950506403</c:v>
                </c:pt>
                <c:pt idx="10873">
                  <c:v>0.586203121178408</c:v>
                </c:pt>
                <c:pt idx="10874">
                  <c:v>0.72655637267436801</c:v>
                </c:pt>
                <c:pt idx="10875">
                  <c:v>0.65034685162820904</c:v>
                </c:pt>
                <c:pt idx="10876">
                  <c:v>0.65474873133035805</c:v>
                </c:pt>
                <c:pt idx="10877">
                  <c:v>0.64055604401924604</c:v>
                </c:pt>
                <c:pt idx="10878">
                  <c:v>0.60376301816802602</c:v>
                </c:pt>
                <c:pt idx="10879">
                  <c:v>0.562736782732981</c:v>
                </c:pt>
                <c:pt idx="10880">
                  <c:v>0.57039285095640102</c:v>
                </c:pt>
                <c:pt idx="10881">
                  <c:v>0.56988401048290105</c:v>
                </c:pt>
                <c:pt idx="10882">
                  <c:v>0.50346332112401104</c:v>
                </c:pt>
                <c:pt idx="10883">
                  <c:v>0.47204108858597399</c:v>
                </c:pt>
                <c:pt idx="10884">
                  <c:v>0.41516829778056402</c:v>
                </c:pt>
                <c:pt idx="10885">
                  <c:v>0.366534488085828</c:v>
                </c:pt>
                <c:pt idx="10886">
                  <c:v>0.32001728318300399</c:v>
                </c:pt>
                <c:pt idx="10887">
                  <c:v>0.27969652701269698</c:v>
                </c:pt>
                <c:pt idx="10888">
                  <c:v>0.20856512099389399</c:v>
                </c:pt>
                <c:pt idx="10889">
                  <c:v>0.139550319767002</c:v>
                </c:pt>
                <c:pt idx="10890">
                  <c:v>8.0817032028943997E-2</c:v>
                </c:pt>
                <c:pt idx="10891">
                  <c:v>5.2997136355421602E-2</c:v>
                </c:pt>
                <c:pt idx="10892">
                  <c:v>0.15244781776677699</c:v>
                </c:pt>
                <c:pt idx="10893">
                  <c:v>0.25189849917813201</c:v>
                </c:pt>
                <c:pt idx="10894">
                  <c:v>0.351349180589487</c:v>
                </c:pt>
                <c:pt idx="10895">
                  <c:v>0.45079986200084199</c:v>
                </c:pt>
                <c:pt idx="10896">
                  <c:v>0.45079986200084199</c:v>
                </c:pt>
                <c:pt idx="10897">
                  <c:v>0.45079986200084199</c:v>
                </c:pt>
                <c:pt idx="10898">
                  <c:v>0.45079986200084199</c:v>
                </c:pt>
                <c:pt idx="10899">
                  <c:v>0.10657491430977099</c:v>
                </c:pt>
                <c:pt idx="10900">
                  <c:v>0.119806930273921</c:v>
                </c:pt>
                <c:pt idx="10901">
                  <c:v>0.13303894623807</c:v>
                </c:pt>
                <c:pt idx="10902">
                  <c:v>0.146270962202219</c:v>
                </c:pt>
                <c:pt idx="10903">
                  <c:v>0.15950297816636799</c:v>
                </c:pt>
                <c:pt idx="10904">
                  <c:v>0.161733708226801</c:v>
                </c:pt>
                <c:pt idx="10905">
                  <c:v>0.163964438287234</c:v>
                </c:pt>
                <c:pt idx="10906">
                  <c:v>0.16619516834766701</c:v>
                </c:pt>
                <c:pt idx="10907">
                  <c:v>-5.8185728750162001E-2</c:v>
                </c:pt>
                <c:pt idx="10908">
                  <c:v>2.9671638883638499E-2</c:v>
                </c:pt>
                <c:pt idx="10909">
                  <c:v>-1.8601973250919002E-2</c:v>
                </c:pt>
                <c:pt idx="10910">
                  <c:v>-9.1666601131252107E-2</c:v>
                </c:pt>
                <c:pt idx="10911">
                  <c:v>-0.11310666514187701</c:v>
                </c:pt>
                <c:pt idx="10912">
                  <c:v>2.2539516008228701E-2</c:v>
                </c:pt>
                <c:pt idx="10913">
                  <c:v>-0.10160407168388499</c:v>
                </c:pt>
                <c:pt idx="10914">
                  <c:v>-0.124689208842248</c:v>
                </c:pt>
                <c:pt idx="10915">
                  <c:v>-9.8340459336568695E-2</c:v>
                </c:pt>
                <c:pt idx="10916">
                  <c:v>-0.113418017074537</c:v>
                </c:pt>
                <c:pt idx="10917">
                  <c:v>-6.2583725927117501E-2</c:v>
                </c:pt>
                <c:pt idx="10918">
                  <c:v>-7.9777888456999305E-2</c:v>
                </c:pt>
                <c:pt idx="10919">
                  <c:v>5.5636891002825699E-2</c:v>
                </c:pt>
                <c:pt idx="10920">
                  <c:v>3.40662306880055E-3</c:v>
                </c:pt>
                <c:pt idx="10921">
                  <c:v>3.7799375825339002E-2</c:v>
                </c:pt>
                <c:pt idx="10922">
                  <c:v>7.4229440144320799E-2</c:v>
                </c:pt>
                <c:pt idx="10923">
                  <c:v>0.26742758362308</c:v>
                </c:pt>
                <c:pt idx="10924">
                  <c:v>0.12851144678457499</c:v>
                </c:pt>
                <c:pt idx="10925">
                  <c:v>8.2340706955394E-2</c:v>
                </c:pt>
                <c:pt idx="10926">
                  <c:v>7.7438945093335806E-2</c:v>
                </c:pt>
                <c:pt idx="10927">
                  <c:v>0.29536525610395098</c:v>
                </c:pt>
                <c:pt idx="10928">
                  <c:v>0.51288817333878201</c:v>
                </c:pt>
                <c:pt idx="10929">
                  <c:v>0.58626334693584403</c:v>
                </c:pt>
                <c:pt idx="10930">
                  <c:v>0.61640630341709202</c:v>
                </c:pt>
                <c:pt idx="10931">
                  <c:v>0.57224506425905397</c:v>
                </c:pt>
                <c:pt idx="10932">
                  <c:v>0.67749982203155301</c:v>
                </c:pt>
                <c:pt idx="10933">
                  <c:v>0.82009707947379196</c:v>
                </c:pt>
                <c:pt idx="10934">
                  <c:v>0.72927279845236803</c:v>
                </c:pt>
                <c:pt idx="10935">
                  <c:v>0.74570863751292604</c:v>
                </c:pt>
                <c:pt idx="10936">
                  <c:v>0.76948018584897604</c:v>
                </c:pt>
                <c:pt idx="10937">
                  <c:v>1.0493529044182699</c:v>
                </c:pt>
                <c:pt idx="10938">
                  <c:v>1.01937806327698</c:v>
                </c:pt>
                <c:pt idx="10939">
                  <c:v>0.85727279307847404</c:v>
                </c:pt>
                <c:pt idx="10940">
                  <c:v>0.81964926183560205</c:v>
                </c:pt>
                <c:pt idx="10941">
                  <c:v>1.0856716207550701</c:v>
                </c:pt>
                <c:pt idx="10942">
                  <c:v>1.0670234602256601</c:v>
                </c:pt>
                <c:pt idx="10943">
                  <c:v>0.96529795360286597</c:v>
                </c:pt>
                <c:pt idx="10944">
                  <c:v>0.97380635977713403</c:v>
                </c:pt>
                <c:pt idx="10945">
                  <c:v>0.87474791458297996</c:v>
                </c:pt>
                <c:pt idx="10946">
                  <c:v>1.0463053626947201</c:v>
                </c:pt>
                <c:pt idx="10947">
                  <c:v>1.05881954039584</c:v>
                </c:pt>
                <c:pt idx="10948">
                  <c:v>1.0600579098205301</c:v>
                </c:pt>
                <c:pt idx="10949">
                  <c:v>1.05109405898585</c:v>
                </c:pt>
                <c:pt idx="10950">
                  <c:v>1.0171806059464701</c:v>
                </c:pt>
                <c:pt idx="10951">
                  <c:v>0.91138629334615495</c:v>
                </c:pt>
                <c:pt idx="10952">
                  <c:v>0.90167337376545198</c:v>
                </c:pt>
                <c:pt idx="10953">
                  <c:v>0.92749308034901901</c:v>
                </c:pt>
                <c:pt idx="10954">
                  <c:v>0.95293198323238903</c:v>
                </c:pt>
                <c:pt idx="10955">
                  <c:v>0.81508918530559904</c:v>
                </c:pt>
                <c:pt idx="10956">
                  <c:v>0.94311384617217098</c:v>
                </c:pt>
                <c:pt idx="10957">
                  <c:v>0.84633153257023797</c:v>
                </c:pt>
                <c:pt idx="10958">
                  <c:v>0.96596384668291502</c:v>
                </c:pt>
                <c:pt idx="10959">
                  <c:v>0.92662696279872303</c:v>
                </c:pt>
                <c:pt idx="10960">
                  <c:v>0.91869591594646804</c:v>
                </c:pt>
                <c:pt idx="10961">
                  <c:v>0.90653165951039105</c:v>
                </c:pt>
                <c:pt idx="10962">
                  <c:v>0.95635277366232097</c:v>
                </c:pt>
                <c:pt idx="10963">
                  <c:v>1.0515279305376899</c:v>
                </c:pt>
                <c:pt idx="10964">
                  <c:v>1.0232290935528501</c:v>
                </c:pt>
                <c:pt idx="10965">
                  <c:v>0.83642115550081098</c:v>
                </c:pt>
                <c:pt idx="10966">
                  <c:v>0.79391432672976003</c:v>
                </c:pt>
                <c:pt idx="10967">
                  <c:v>1.17434126441501</c:v>
                </c:pt>
                <c:pt idx="10968">
                  <c:v>1.15934322584861</c:v>
                </c:pt>
                <c:pt idx="10969">
                  <c:v>1.0737348110676299</c:v>
                </c:pt>
                <c:pt idx="10970">
                  <c:v>1.0895760921520099</c:v>
                </c:pt>
                <c:pt idx="10971">
                  <c:v>1.0020044382223401</c:v>
                </c:pt>
                <c:pt idx="10972">
                  <c:v>0.95689849263922899</c:v>
                </c:pt>
                <c:pt idx="10973">
                  <c:v>0.92630727012878</c:v>
                </c:pt>
                <c:pt idx="10974">
                  <c:v>0.85829425471912302</c:v>
                </c:pt>
                <c:pt idx="10975">
                  <c:v>0.76987679879073601</c:v>
                </c:pt>
                <c:pt idx="10976">
                  <c:v>0.669500239695341</c:v>
                </c:pt>
                <c:pt idx="10977">
                  <c:v>0.56073133384605001</c:v>
                </c:pt>
                <c:pt idx="10978">
                  <c:v>0.462397307128813</c:v>
                </c:pt>
                <c:pt idx="10979">
                  <c:v>0.36617988520348799</c:v>
                </c:pt>
                <c:pt idx="10980">
                  <c:v>0.25888209239495602</c:v>
                </c:pt>
                <c:pt idx="10981">
                  <c:v>0.211373772153052</c:v>
                </c:pt>
                <c:pt idx="10982">
                  <c:v>0.15774307559238801</c:v>
                </c:pt>
                <c:pt idx="10983">
                  <c:v>0.104112379031723</c:v>
                </c:pt>
                <c:pt idx="10984">
                  <c:v>2.4586445070547299E-2</c:v>
                </c:pt>
                <c:pt idx="10985">
                  <c:v>-9.5854461671899503E-3</c:v>
                </c:pt>
                <c:pt idx="10986">
                  <c:v>-2.1082926451063501E-2</c:v>
                </c:pt>
                <c:pt idx="10987">
                  <c:v>-3.2580406734936999E-2</c:v>
                </c:pt>
                <c:pt idx="10988">
                  <c:v>-2.86716351373387E-2</c:v>
                </c:pt>
                <c:pt idx="10989">
                  <c:v>-2.4762863539740301E-2</c:v>
                </c:pt>
                <c:pt idx="10990">
                  <c:v>-2.0854091942142002E-2</c:v>
                </c:pt>
                <c:pt idx="10991">
                  <c:v>-1.6945320344543598E-2</c:v>
                </c:pt>
                <c:pt idx="10992">
                  <c:v>-1.48287450689611E-2</c:v>
                </c:pt>
                <c:pt idx="10993">
                  <c:v>-1.2712169793378501E-2</c:v>
                </c:pt>
                <c:pt idx="10994">
                  <c:v>-1.0595594517796E-2</c:v>
                </c:pt>
                <c:pt idx="10995">
                  <c:v>-8.4790192422133908E-3</c:v>
                </c:pt>
                <c:pt idx="10996">
                  <c:v>2.1430783817192101E-2</c:v>
                </c:pt>
                <c:pt idx="10997">
                  <c:v>5.1340586876597497E-2</c:v>
                </c:pt>
                <c:pt idx="10998">
                  <c:v>8.1250389936003004E-2</c:v>
                </c:pt>
                <c:pt idx="10999">
                  <c:v>0.111160192995408</c:v>
                </c:pt>
                <c:pt idx="11000">
                  <c:v>0.106865959770585</c:v>
                </c:pt>
                <c:pt idx="11001">
                  <c:v>0.13560172340221099</c:v>
                </c:pt>
                <c:pt idx="11002">
                  <c:v>8.1799531099591899E-2</c:v>
                </c:pt>
                <c:pt idx="11003">
                  <c:v>9.3983260096116003E-2</c:v>
                </c:pt>
                <c:pt idx="11004">
                  <c:v>6.8134273884702806E-2</c:v>
                </c:pt>
                <c:pt idx="11005">
                  <c:v>3.2008995000170702E-2</c:v>
                </c:pt>
                <c:pt idx="11006">
                  <c:v>2.67230357664223E-2</c:v>
                </c:pt>
                <c:pt idx="11007">
                  <c:v>0.20503348300066901</c:v>
                </c:pt>
                <c:pt idx="11008">
                  <c:v>0.12644516657354099</c:v>
                </c:pt>
                <c:pt idx="11009">
                  <c:v>0.241660697689487</c:v>
                </c:pt>
                <c:pt idx="11010">
                  <c:v>0.28484200360128198</c:v>
                </c:pt>
                <c:pt idx="11011">
                  <c:v>0.34231059452875801</c:v>
                </c:pt>
                <c:pt idx="11012">
                  <c:v>0.33390299662670198</c:v>
                </c:pt>
                <c:pt idx="11013">
                  <c:v>0.29246540186819597</c:v>
                </c:pt>
                <c:pt idx="11014">
                  <c:v>0.27990388761178298</c:v>
                </c:pt>
                <c:pt idx="11015">
                  <c:v>0.31261712284934101</c:v>
                </c:pt>
                <c:pt idx="11016">
                  <c:v>0.44443426148816201</c:v>
                </c:pt>
                <c:pt idx="11017">
                  <c:v>0.59272936234833196</c:v>
                </c:pt>
                <c:pt idx="11018">
                  <c:v>0.69159057654445799</c:v>
                </c:pt>
                <c:pt idx="11019">
                  <c:v>0.80897228534009002</c:v>
                </c:pt>
                <c:pt idx="11020">
                  <c:v>0.78829942429453703</c:v>
                </c:pt>
                <c:pt idx="11021">
                  <c:v>0.69340166083916599</c:v>
                </c:pt>
                <c:pt idx="11022">
                  <c:v>0.886942308671131</c:v>
                </c:pt>
                <c:pt idx="11023">
                  <c:v>1.01056533609086</c:v>
                </c:pt>
                <c:pt idx="11024">
                  <c:v>0.97160821199454706</c:v>
                </c:pt>
                <c:pt idx="11025">
                  <c:v>0.89969516345554401</c:v>
                </c:pt>
                <c:pt idx="11026">
                  <c:v>0.82778211491654097</c:v>
                </c:pt>
                <c:pt idx="11027">
                  <c:v>0.75586906637753704</c:v>
                </c:pt>
                <c:pt idx="11028">
                  <c:v>0.83573689500441295</c:v>
                </c:pt>
                <c:pt idx="11029">
                  <c:v>0.91560472363128798</c:v>
                </c:pt>
                <c:pt idx="11030">
                  <c:v>0.995472552258163</c:v>
                </c:pt>
                <c:pt idx="11031">
                  <c:v>1.0753403808850399</c:v>
                </c:pt>
                <c:pt idx="11032">
                  <c:v>0.99554508767367</c:v>
                </c:pt>
                <c:pt idx="11033">
                  <c:v>0.91574979446230298</c:v>
                </c:pt>
                <c:pt idx="11034">
                  <c:v>0.83595450125093496</c:v>
                </c:pt>
                <c:pt idx="11035">
                  <c:v>0.75615920803956704</c:v>
                </c:pt>
                <c:pt idx="11036">
                  <c:v>0.75015934981452304</c:v>
                </c:pt>
                <c:pt idx="11037">
                  <c:v>0.74415949158947903</c:v>
                </c:pt>
                <c:pt idx="11038">
                  <c:v>0.73815963336443402</c:v>
                </c:pt>
                <c:pt idx="11039">
                  <c:v>0.73215977513939001</c:v>
                </c:pt>
                <c:pt idx="11040">
                  <c:v>1.28441345138393</c:v>
                </c:pt>
                <c:pt idx="11041">
                  <c:v>1.2835930860233</c:v>
                </c:pt>
                <c:pt idx="11042">
                  <c:v>1.8134066315488599</c:v>
                </c:pt>
                <c:pt idx="11043">
                  <c:v>1.59987067871403</c:v>
                </c:pt>
                <c:pt idx="11044">
                  <c:v>1.8548179666063001</c:v>
                </c:pt>
                <c:pt idx="11045">
                  <c:v>1.40761588250727</c:v>
                </c:pt>
                <c:pt idx="11046">
                  <c:v>1.43148045396906</c:v>
                </c:pt>
                <c:pt idx="11047">
                  <c:v>1.4901901166084801</c:v>
                </c:pt>
                <c:pt idx="11048">
                  <c:v>1.4485095195570901</c:v>
                </c:pt>
                <c:pt idx="11049">
                  <c:v>1.4745558657122799</c:v>
                </c:pt>
                <c:pt idx="11050">
                  <c:v>1.45154912890362</c:v>
                </c:pt>
                <c:pt idx="11051">
                  <c:v>1.45741847259705</c:v>
                </c:pt>
                <c:pt idx="11052">
                  <c:v>1.48869337794229</c:v>
                </c:pt>
                <c:pt idx="11053">
                  <c:v>1.4279844936785999</c:v>
                </c:pt>
                <c:pt idx="11054">
                  <c:v>1.5211706971981001</c:v>
                </c:pt>
                <c:pt idx="11055">
                  <c:v>1.4951535384688199</c:v>
                </c:pt>
                <c:pt idx="11056">
                  <c:v>1.51983246606113</c:v>
                </c:pt>
                <c:pt idx="11057">
                  <c:v>1.5627251569664899</c:v>
                </c:pt>
                <c:pt idx="11058">
                  <c:v>1.45934827862647</c:v>
                </c:pt>
                <c:pt idx="11059">
                  <c:v>1.5043575743237501</c:v>
                </c:pt>
                <c:pt idx="11060">
                  <c:v>1.30719371929169</c:v>
                </c:pt>
                <c:pt idx="11061">
                  <c:v>1.3113955995581701</c:v>
                </c:pt>
                <c:pt idx="11062">
                  <c:v>1.5519259369151399</c:v>
                </c:pt>
                <c:pt idx="11063">
                  <c:v>1.4840142987480001</c:v>
                </c:pt>
                <c:pt idx="11064">
                  <c:v>1.5691368335001199</c:v>
                </c:pt>
                <c:pt idx="11065">
                  <c:v>1.6543386614817199</c:v>
                </c:pt>
                <c:pt idx="11066">
                  <c:v>0.995196724829846</c:v>
                </c:pt>
                <c:pt idx="11067">
                  <c:v>0.76676743881528098</c:v>
                </c:pt>
                <c:pt idx="11068">
                  <c:v>0.71789226537094897</c:v>
                </c:pt>
                <c:pt idx="11069">
                  <c:v>0.73666996271943697</c:v>
                </c:pt>
                <c:pt idx="11070">
                  <c:v>0.56609401853422203</c:v>
                </c:pt>
                <c:pt idx="11071">
                  <c:v>0.26943594919679198</c:v>
                </c:pt>
                <c:pt idx="11072">
                  <c:v>-9.4048818840743106E-3</c:v>
                </c:pt>
                <c:pt idx="11073">
                  <c:v>-9.2314818998526393E-2</c:v>
                </c:pt>
                <c:pt idx="11074">
                  <c:v>0.35186348017602098</c:v>
                </c:pt>
                <c:pt idx="11075">
                  <c:v>0.17386410320335699</c:v>
                </c:pt>
                <c:pt idx="11076">
                  <c:v>0.26957720062093199</c:v>
                </c:pt>
                <c:pt idx="11077">
                  <c:v>0.20640561408681701</c:v>
                </c:pt>
                <c:pt idx="11078">
                  <c:v>0.22154399471883601</c:v>
                </c:pt>
                <c:pt idx="11079">
                  <c:v>5.1117508918454603E-2</c:v>
                </c:pt>
                <c:pt idx="11080">
                  <c:v>0.158718035161552</c:v>
                </c:pt>
                <c:pt idx="11081">
                  <c:v>0.19216773140858501</c:v>
                </c:pt>
                <c:pt idx="11082">
                  <c:v>0.22350082286370601</c:v>
                </c:pt>
                <c:pt idx="11083">
                  <c:v>0.17025342600642299</c:v>
                </c:pt>
                <c:pt idx="11084">
                  <c:v>0.13512746553274699</c:v>
                </c:pt>
                <c:pt idx="11085">
                  <c:v>0.21965452260608101</c:v>
                </c:pt>
                <c:pt idx="11086">
                  <c:v>0.19276754324307799</c:v>
                </c:pt>
                <c:pt idx="11087">
                  <c:v>9.7778037789019598E-2</c:v>
                </c:pt>
                <c:pt idx="11088">
                  <c:v>7.68537550293934E-2</c:v>
                </c:pt>
                <c:pt idx="11089">
                  <c:v>9.3192678710041096E-2</c:v>
                </c:pt>
                <c:pt idx="11090">
                  <c:v>4.2399422731132803E-3</c:v>
                </c:pt>
                <c:pt idx="11091">
                  <c:v>-7.2314675883070806E-2</c:v>
                </c:pt>
                <c:pt idx="11092">
                  <c:v>-4.7955272290720101E-2</c:v>
                </c:pt>
                <c:pt idx="11093">
                  <c:v>-6.8870618192342303E-2</c:v>
                </c:pt>
                <c:pt idx="11094">
                  <c:v>-9.4386853653842494E-3</c:v>
                </c:pt>
                <c:pt idx="11095">
                  <c:v>3.1472752862067598E-2</c:v>
                </c:pt>
                <c:pt idx="11096">
                  <c:v>-4.0309783786991502E-2</c:v>
                </c:pt>
                <c:pt idx="11097">
                  <c:v>-5.0339608720732197E-2</c:v>
                </c:pt>
                <c:pt idx="11098">
                  <c:v>9.8496972284963392E-3</c:v>
                </c:pt>
                <c:pt idx="11099">
                  <c:v>-7.4330957701307598E-2</c:v>
                </c:pt>
                <c:pt idx="11100">
                  <c:v>-8.2419061359176607E-2</c:v>
                </c:pt>
                <c:pt idx="11101">
                  <c:v>-6.9949358855096205E-2</c:v>
                </c:pt>
                <c:pt idx="11102">
                  <c:v>2.70267595476343E-2</c:v>
                </c:pt>
                <c:pt idx="11103">
                  <c:v>4.98520479543011E-2</c:v>
                </c:pt>
                <c:pt idx="11104">
                  <c:v>8.3813107786153099E-2</c:v>
                </c:pt>
                <c:pt idx="11105">
                  <c:v>9.9105528190991402E-2</c:v>
                </c:pt>
                <c:pt idx="11106">
                  <c:v>2.9891532697180302E-2</c:v>
                </c:pt>
                <c:pt idx="11107">
                  <c:v>1.2153956245569799E-2</c:v>
                </c:pt>
                <c:pt idx="11108">
                  <c:v>5.2425447544814603E-2</c:v>
                </c:pt>
                <c:pt idx="11109">
                  <c:v>7.6218976622711501E-2</c:v>
                </c:pt>
                <c:pt idx="11110">
                  <c:v>0.18444484918550599</c:v>
                </c:pt>
                <c:pt idx="11111">
                  <c:v>0.24119430270609801</c:v>
                </c:pt>
                <c:pt idx="11112">
                  <c:v>0.32369234321333101</c:v>
                </c:pt>
                <c:pt idx="11113">
                  <c:v>0.40619038372056399</c:v>
                </c:pt>
                <c:pt idx="11114">
                  <c:v>0.55460027311318805</c:v>
                </c:pt>
                <c:pt idx="11115">
                  <c:v>0.67005423806311704</c:v>
                </c:pt>
                <c:pt idx="11116">
                  <c:v>0.62659702026528796</c:v>
                </c:pt>
                <c:pt idx="11117">
                  <c:v>0.52539286227899096</c:v>
                </c:pt>
                <c:pt idx="11118">
                  <c:v>0.73734405891204802</c:v>
                </c:pt>
                <c:pt idx="11119">
                  <c:v>0.87514442554904304</c:v>
                </c:pt>
                <c:pt idx="11120">
                  <c:v>0.85454904520779396</c:v>
                </c:pt>
                <c:pt idx="11121">
                  <c:v>0.83395366486654399</c:v>
                </c:pt>
                <c:pt idx="11122">
                  <c:v>0.81335828452529502</c:v>
                </c:pt>
                <c:pt idx="11123">
                  <c:v>0.79276290418404505</c:v>
                </c:pt>
                <c:pt idx="11124">
                  <c:v>0.799038193944132</c:v>
                </c:pt>
                <c:pt idx="11125">
                  <c:v>0.80531348370421896</c:v>
                </c:pt>
                <c:pt idx="11126">
                  <c:v>0.81158877346430602</c:v>
                </c:pt>
                <c:pt idx="11127">
                  <c:v>0.81786406322439298</c:v>
                </c:pt>
                <c:pt idx="11128">
                  <c:v>0.83226520390736303</c:v>
                </c:pt>
                <c:pt idx="11129">
                  <c:v>0.84666634459033296</c:v>
                </c:pt>
                <c:pt idx="11130">
                  <c:v>0.86106748527330201</c:v>
                </c:pt>
                <c:pt idx="11131">
                  <c:v>0.87546862595627195</c:v>
                </c:pt>
                <c:pt idx="11132">
                  <c:v>0.82545548058584395</c:v>
                </c:pt>
                <c:pt idx="11133">
                  <c:v>0.77544233521541495</c:v>
                </c:pt>
                <c:pt idx="11134">
                  <c:v>0.72542918984498705</c:v>
                </c:pt>
                <c:pt idx="11135">
                  <c:v>1.6460430110358999</c:v>
                </c:pt>
                <c:pt idx="11136">
                  <c:v>1.80548294574431</c:v>
                </c:pt>
                <c:pt idx="11137">
                  <c:v>1.77284439236993</c:v>
                </c:pt>
                <c:pt idx="11138">
                  <c:v>1.75487392771144</c:v>
                </c:pt>
                <c:pt idx="11139">
                  <c:v>1.6851203127243</c:v>
                </c:pt>
                <c:pt idx="11140">
                  <c:v>1.7304548752000499</c:v>
                </c:pt>
                <c:pt idx="11141">
                  <c:v>1.8293824615099199</c:v>
                </c:pt>
                <c:pt idx="11142">
                  <c:v>1.89731736252578</c:v>
                </c:pt>
                <c:pt idx="11143">
                  <c:v>1.34980520547037</c:v>
                </c:pt>
                <c:pt idx="11144">
                  <c:v>1.3599559387131499</c:v>
                </c:pt>
                <c:pt idx="11145">
                  <c:v>1.3806156235017399</c:v>
                </c:pt>
                <c:pt idx="11146">
                  <c:v>1.43808363861665</c:v>
                </c:pt>
                <c:pt idx="11147">
                  <c:v>1.3695383801773899</c:v>
                </c:pt>
                <c:pt idx="11148">
                  <c:v>1.28814674972096</c:v>
                </c:pt>
                <c:pt idx="11149">
                  <c:v>1.2513423337718601</c:v>
                </c:pt>
                <c:pt idx="11150">
                  <c:v>1.17222067375057</c:v>
                </c:pt>
                <c:pt idx="11151">
                  <c:v>1.18765950505978</c:v>
                </c:pt>
                <c:pt idx="11152">
                  <c:v>1.2885517042858701</c:v>
                </c:pt>
                <c:pt idx="11153">
                  <c:v>1.37130943342837</c:v>
                </c:pt>
                <c:pt idx="11154">
                  <c:v>1.51393592836697</c:v>
                </c:pt>
                <c:pt idx="11155">
                  <c:v>1.70280614567515</c:v>
                </c:pt>
                <c:pt idx="11156">
                  <c:v>1.2264980331948701</c:v>
                </c:pt>
                <c:pt idx="11157">
                  <c:v>0.73613529457159599</c:v>
                </c:pt>
                <c:pt idx="11158">
                  <c:v>0.56779079588266601</c:v>
                </c:pt>
                <c:pt idx="11159">
                  <c:v>0.64882207016675397</c:v>
                </c:pt>
                <c:pt idx="11160">
                  <c:v>0.80053102256564501</c:v>
                </c:pt>
                <c:pt idx="11161">
                  <c:v>0.83726982229958502</c:v>
                </c:pt>
                <c:pt idx="11162">
                  <c:v>0.88171343380078104</c:v>
                </c:pt>
                <c:pt idx="11163">
                  <c:v>0.78223673972118302</c:v>
                </c:pt>
                <c:pt idx="11164">
                  <c:v>0.73286352049589798</c:v>
                </c:pt>
                <c:pt idx="11165">
                  <c:v>0.93830091557575501</c:v>
                </c:pt>
                <c:pt idx="11166">
                  <c:v>0.83964717532965005</c:v>
                </c:pt>
                <c:pt idx="11167">
                  <c:v>0.89149099309705004</c:v>
                </c:pt>
                <c:pt idx="11168">
                  <c:v>0.75862834562069903</c:v>
                </c:pt>
                <c:pt idx="11169">
                  <c:v>0.65675838343835002</c:v>
                </c:pt>
                <c:pt idx="11170">
                  <c:v>0.57129231106359601</c:v>
                </c:pt>
                <c:pt idx="11171">
                  <c:v>0.52513197750727303</c:v>
                </c:pt>
                <c:pt idx="11172">
                  <c:v>0.49056762025695599</c:v>
                </c:pt>
                <c:pt idx="11173">
                  <c:v>0.455929190592885</c:v>
                </c:pt>
                <c:pt idx="11174">
                  <c:v>0.34298079376267898</c:v>
                </c:pt>
                <c:pt idx="11175">
                  <c:v>0.26722153095899398</c:v>
                </c:pt>
                <c:pt idx="11176">
                  <c:v>0.21853231860458699</c:v>
                </c:pt>
                <c:pt idx="11177">
                  <c:v>0.25026967820822599</c:v>
                </c:pt>
                <c:pt idx="11178">
                  <c:v>0.21389929090509499</c:v>
                </c:pt>
                <c:pt idx="11179">
                  <c:v>0.21676057000664301</c:v>
                </c:pt>
                <c:pt idx="11180">
                  <c:v>0.19236580343151399</c:v>
                </c:pt>
                <c:pt idx="11181">
                  <c:v>0.17416748558890099</c:v>
                </c:pt>
                <c:pt idx="11182">
                  <c:v>0.155969167746288</c:v>
                </c:pt>
                <c:pt idx="11183">
                  <c:v>7.5864772545134504E-2</c:v>
                </c:pt>
                <c:pt idx="11184">
                  <c:v>6.79591666542496E-2</c:v>
                </c:pt>
                <c:pt idx="11185">
                  <c:v>4.9697974860778898E-2</c:v>
                </c:pt>
                <c:pt idx="11186">
                  <c:v>-3.6591670609994201E-2</c:v>
                </c:pt>
                <c:pt idx="11187">
                  <c:v>-5.2810330025306898E-2</c:v>
                </c:pt>
                <c:pt idx="11188">
                  <c:v>-1.7817836033576399E-2</c:v>
                </c:pt>
                <c:pt idx="11189">
                  <c:v>5.6480396776585701E-2</c:v>
                </c:pt>
                <c:pt idx="11190">
                  <c:v>0.11218406257348899</c:v>
                </c:pt>
                <c:pt idx="11191">
                  <c:v>8.5270479206678504E-2</c:v>
                </c:pt>
                <c:pt idx="11192">
                  <c:v>4.4475675350056199E-2</c:v>
                </c:pt>
                <c:pt idx="11193">
                  <c:v>4.2833244668644202E-2</c:v>
                </c:pt>
                <c:pt idx="11194">
                  <c:v>0.10921926766453401</c:v>
                </c:pt>
                <c:pt idx="11195">
                  <c:v>7.2578380162269002E-2</c:v>
                </c:pt>
                <c:pt idx="11196">
                  <c:v>6.0868479868186699E-2</c:v>
                </c:pt>
                <c:pt idx="11197">
                  <c:v>0.115144500873249</c:v>
                </c:pt>
                <c:pt idx="11198">
                  <c:v>0.14682018333820299</c:v>
                </c:pt>
                <c:pt idx="11199">
                  <c:v>0.22180737614843599</c:v>
                </c:pt>
                <c:pt idx="11200">
                  <c:v>0.18649811240539199</c:v>
                </c:pt>
                <c:pt idx="11201">
                  <c:v>0.18414477310504301</c:v>
                </c:pt>
                <c:pt idx="11202">
                  <c:v>0.18179143380469501</c:v>
                </c:pt>
                <c:pt idx="11203">
                  <c:v>0.2309885859603</c:v>
                </c:pt>
                <c:pt idx="11204">
                  <c:v>0.27709655444101999</c:v>
                </c:pt>
                <c:pt idx="11205">
                  <c:v>0.323130450507986</c:v>
                </c:pt>
                <c:pt idx="11206">
                  <c:v>0.41247585692023198</c:v>
                </c:pt>
                <c:pt idx="11207">
                  <c:v>0.485343301111131</c:v>
                </c:pt>
                <c:pt idx="11208">
                  <c:v>0.64957185812592</c:v>
                </c:pt>
                <c:pt idx="11209">
                  <c:v>0.77260550958733998</c:v>
                </c:pt>
                <c:pt idx="11210">
                  <c:v>0.80689953556628502</c:v>
                </c:pt>
                <c:pt idx="11211">
                  <c:v>0.90514217128192997</c:v>
                </c:pt>
                <c:pt idx="11212">
                  <c:v>0.90677236227820701</c:v>
                </c:pt>
                <c:pt idx="11213">
                  <c:v>0.92480644308207904</c:v>
                </c:pt>
                <c:pt idx="11214">
                  <c:v>0.95939255852105298</c:v>
                </c:pt>
                <c:pt idx="11215">
                  <c:v>0.98369716047119404</c:v>
                </c:pt>
                <c:pt idx="11216">
                  <c:v>0.95385117631814098</c:v>
                </c:pt>
                <c:pt idx="11217">
                  <c:v>0.90752722994374002</c:v>
                </c:pt>
                <c:pt idx="11218">
                  <c:v>0.86120328356933895</c:v>
                </c:pt>
                <c:pt idx="11219">
                  <c:v>0.81487933719493899</c:v>
                </c:pt>
                <c:pt idx="11220">
                  <c:v>0.82886543298875404</c:v>
                </c:pt>
                <c:pt idx="11221">
                  <c:v>0.84285152878256897</c:v>
                </c:pt>
                <c:pt idx="11222">
                  <c:v>0.85683762457638402</c:v>
                </c:pt>
                <c:pt idx="11223">
                  <c:v>0.87082372037019895</c:v>
                </c:pt>
                <c:pt idx="11224">
                  <c:v>0.91722579916531699</c:v>
                </c:pt>
                <c:pt idx="11225">
                  <c:v>0.96362787796043503</c:v>
                </c:pt>
                <c:pt idx="11226">
                  <c:v>1.01002995675555</c:v>
                </c:pt>
                <c:pt idx="11227">
                  <c:v>1.05643203555067</c:v>
                </c:pt>
                <c:pt idx="11228">
                  <c:v>0.98822061539351003</c:v>
                </c:pt>
                <c:pt idx="11229">
                  <c:v>0.92000919523634905</c:v>
                </c:pt>
                <c:pt idx="11230">
                  <c:v>0.85179777507918797</c:v>
                </c:pt>
                <c:pt idx="11231">
                  <c:v>0.783586354922027</c:v>
                </c:pt>
                <c:pt idx="11232">
                  <c:v>1.0326992908138299</c:v>
                </c:pt>
                <c:pt idx="11233">
                  <c:v>1.16405359670928</c:v>
                </c:pt>
                <c:pt idx="11234">
                  <c:v>1.0726486813300899</c:v>
                </c:pt>
                <c:pt idx="11235">
                  <c:v>0.90474889310595097</c:v>
                </c:pt>
                <c:pt idx="11236">
                  <c:v>1.1262641017456001</c:v>
                </c:pt>
                <c:pt idx="11237">
                  <c:v>0.98079827305908596</c:v>
                </c:pt>
                <c:pt idx="11238">
                  <c:v>0.87418330707705505</c:v>
                </c:pt>
                <c:pt idx="11239">
                  <c:v>1.0650125617091399</c:v>
                </c:pt>
                <c:pt idx="11240">
                  <c:v>1.31936833694254</c:v>
                </c:pt>
                <c:pt idx="11241">
                  <c:v>0.93976178032086399</c:v>
                </c:pt>
                <c:pt idx="11242">
                  <c:v>1.0102832693978601</c:v>
                </c:pt>
                <c:pt idx="11243">
                  <c:v>0.95925735337719797</c:v>
                </c:pt>
                <c:pt idx="11244">
                  <c:v>0.98447401271313195</c:v>
                </c:pt>
                <c:pt idx="11245">
                  <c:v>1.0017584222248299</c:v>
                </c:pt>
                <c:pt idx="11246">
                  <c:v>1.00399393932046</c:v>
                </c:pt>
                <c:pt idx="11247">
                  <c:v>0.89549251333496604</c:v>
                </c:pt>
                <c:pt idx="11248">
                  <c:v>0.92540992978400005</c:v>
                </c:pt>
                <c:pt idx="11249">
                  <c:v>0.97550434869478797</c:v>
                </c:pt>
                <c:pt idx="11250">
                  <c:v>0.73283741187352103</c:v>
                </c:pt>
                <c:pt idx="11251">
                  <c:v>0.38540776346238298</c:v>
                </c:pt>
                <c:pt idx="11252">
                  <c:v>0.201444731414163</c:v>
                </c:pt>
                <c:pt idx="11253">
                  <c:v>0.21719614761794501</c:v>
                </c:pt>
                <c:pt idx="11254">
                  <c:v>0.35759620903404998</c:v>
                </c:pt>
                <c:pt idx="11255">
                  <c:v>0.319902746231226</c:v>
                </c:pt>
                <c:pt idx="11256">
                  <c:v>0.41727967956586298</c:v>
                </c:pt>
                <c:pt idx="11257">
                  <c:v>0.40951309761042998</c:v>
                </c:pt>
                <c:pt idx="11258">
                  <c:v>0.29864553274309003</c:v>
                </c:pt>
                <c:pt idx="11259">
                  <c:v>0.23721185453978999</c:v>
                </c:pt>
                <c:pt idx="11260">
                  <c:v>0.31501114236975303</c:v>
                </c:pt>
                <c:pt idx="11261">
                  <c:v>0.34738231506252099</c:v>
                </c:pt>
                <c:pt idx="11262">
                  <c:v>0.44158549270007702</c:v>
                </c:pt>
                <c:pt idx="11263">
                  <c:v>0.48007904171160798</c:v>
                </c:pt>
                <c:pt idx="11264">
                  <c:v>0.50829340716043403</c:v>
                </c:pt>
                <c:pt idx="11265">
                  <c:v>0.365224970376827</c:v>
                </c:pt>
                <c:pt idx="11266">
                  <c:v>0.24075110060648</c:v>
                </c:pt>
                <c:pt idx="11267">
                  <c:v>0.233892936820699</c:v>
                </c:pt>
                <c:pt idx="11268">
                  <c:v>0.15441361921848501</c:v>
                </c:pt>
                <c:pt idx="11269">
                  <c:v>0.15331834119616</c:v>
                </c:pt>
                <c:pt idx="11270">
                  <c:v>0.17905661129776901</c:v>
                </c:pt>
                <c:pt idx="11271">
                  <c:v>9.9577293695555597E-2</c:v>
                </c:pt>
                <c:pt idx="11272">
                  <c:v>0.124690104693794</c:v>
                </c:pt>
                <c:pt idx="11273">
                  <c:v>5.0707704306971801E-2</c:v>
                </c:pt>
                <c:pt idx="11274">
                  <c:v>-4.6801290665901604E-3</c:v>
                </c:pt>
                <c:pt idx="11275">
                  <c:v>-1.8798984473029998E-2</c:v>
                </c:pt>
                <c:pt idx="11276">
                  <c:v>-7.2738542163577197E-3</c:v>
                </c:pt>
                <c:pt idx="11277">
                  <c:v>-6.1586500431321897E-2</c:v>
                </c:pt>
                <c:pt idx="11278">
                  <c:v>-7.9011523090495001E-2</c:v>
                </c:pt>
                <c:pt idx="11279">
                  <c:v>-9.8399784898359696E-2</c:v>
                </c:pt>
                <c:pt idx="11280">
                  <c:v>-0.156565142129622</c:v>
                </c:pt>
                <c:pt idx="11281">
                  <c:v>-0.154941026794255</c:v>
                </c:pt>
                <c:pt idx="11282">
                  <c:v>-0.25641789437079898</c:v>
                </c:pt>
                <c:pt idx="11283">
                  <c:v>-0.30218513332131602</c:v>
                </c:pt>
                <c:pt idx="11284">
                  <c:v>-0.23403243914147701</c:v>
                </c:pt>
                <c:pt idx="11285">
                  <c:v>-0.22566921752826699</c:v>
                </c:pt>
                <c:pt idx="11286">
                  <c:v>-0.217305995915056</c:v>
                </c:pt>
                <c:pt idx="11287">
                  <c:v>-0.215139223034361</c:v>
                </c:pt>
                <c:pt idx="11288">
                  <c:v>-0.166572934181622</c:v>
                </c:pt>
                <c:pt idx="11289">
                  <c:v>-0.124129021647644</c:v>
                </c:pt>
                <c:pt idx="11290">
                  <c:v>-0.135352205361534</c:v>
                </c:pt>
                <c:pt idx="11291">
                  <c:v>-0.125938289684005</c:v>
                </c:pt>
                <c:pt idx="11292">
                  <c:v>-0.104275980307587</c:v>
                </c:pt>
                <c:pt idx="11293">
                  <c:v>-0.11556959537386401</c:v>
                </c:pt>
                <c:pt idx="11294">
                  <c:v>-0.104262871900033</c:v>
                </c:pt>
                <c:pt idx="11295">
                  <c:v>-8.0483957731702999E-2</c:v>
                </c:pt>
                <c:pt idx="11296">
                  <c:v>-1.39207949004784E-3</c:v>
                </c:pt>
                <c:pt idx="11297">
                  <c:v>1.7910326184979002E-2</c:v>
                </c:pt>
                <c:pt idx="11298">
                  <c:v>3.7212731860005802E-2</c:v>
                </c:pt>
                <c:pt idx="11299">
                  <c:v>0.12869750756669199</c:v>
                </c:pt>
                <c:pt idx="11300">
                  <c:v>0.17918554975089401</c:v>
                </c:pt>
                <c:pt idx="11301">
                  <c:v>0.14509310362269201</c:v>
                </c:pt>
                <c:pt idx="11302">
                  <c:v>0.18114571596370599</c:v>
                </c:pt>
                <c:pt idx="11303">
                  <c:v>0.23163375814790799</c:v>
                </c:pt>
                <c:pt idx="11304">
                  <c:v>0.38435190254639201</c:v>
                </c:pt>
                <c:pt idx="11305">
                  <c:v>0.44432464993555398</c:v>
                </c:pt>
                <c:pt idx="11306">
                  <c:v>0.56408686989134404</c:v>
                </c:pt>
                <c:pt idx="11307">
                  <c:v>0.68384908984713499</c:v>
                </c:pt>
                <c:pt idx="11308">
                  <c:v>0.63149661621433795</c:v>
                </c:pt>
                <c:pt idx="11309">
                  <c:v>0.61829651575675204</c:v>
                </c:pt>
                <c:pt idx="11310">
                  <c:v>0.63600980736370305</c:v>
                </c:pt>
                <c:pt idx="11311">
                  <c:v>0.66400461245948506</c:v>
                </c:pt>
                <c:pt idx="11312">
                  <c:v>0.66632154230382301</c:v>
                </c:pt>
                <c:pt idx="11313">
                  <c:v>0.65828288624557596</c:v>
                </c:pt>
                <c:pt idx="11314">
                  <c:v>0.65024423018732802</c:v>
                </c:pt>
                <c:pt idx="11315">
                  <c:v>0.64220557412907997</c:v>
                </c:pt>
                <c:pt idx="11316">
                  <c:v>0.64473346654673103</c:v>
                </c:pt>
                <c:pt idx="11317">
                  <c:v>0.64726135896438297</c:v>
                </c:pt>
                <c:pt idx="11318">
                  <c:v>0.64978925138203403</c:v>
                </c:pt>
                <c:pt idx="11319">
                  <c:v>0.65231714379968497</c:v>
                </c:pt>
                <c:pt idx="11320">
                  <c:v>0.64990508834997296</c:v>
                </c:pt>
                <c:pt idx="11321">
                  <c:v>0.64749303290026095</c:v>
                </c:pt>
                <c:pt idx="11322">
                  <c:v>0.64508097745054904</c:v>
                </c:pt>
                <c:pt idx="11323">
                  <c:v>0.64266892200083603</c:v>
                </c:pt>
                <c:pt idx="11324">
                  <c:v>0.64246100452593002</c:v>
                </c:pt>
                <c:pt idx="11325">
                  <c:v>0.64225308705102402</c:v>
                </c:pt>
                <c:pt idx="11326">
                  <c:v>0.64204516957611801</c:v>
                </c:pt>
                <c:pt idx="11327">
                  <c:v>0.64183725210121201</c:v>
                </c:pt>
                <c:pt idx="11328">
                  <c:v>1.1808643655803299</c:v>
                </c:pt>
                <c:pt idx="11329">
                  <c:v>1.10484169781659</c:v>
                </c:pt>
                <c:pt idx="11330">
                  <c:v>0.983237549272448</c:v>
                </c:pt>
                <c:pt idx="11331">
                  <c:v>0.81862340085374996</c:v>
                </c:pt>
                <c:pt idx="11332">
                  <c:v>0.75257176340867304</c:v>
                </c:pt>
                <c:pt idx="11333">
                  <c:v>0.67004216374224801</c:v>
                </c:pt>
                <c:pt idx="11334">
                  <c:v>0.64941864143436501</c:v>
                </c:pt>
                <c:pt idx="11335">
                  <c:v>0.60196157100254699</c:v>
                </c:pt>
                <c:pt idx="11336">
                  <c:v>0.56125618149216405</c:v>
                </c:pt>
                <c:pt idx="11337">
                  <c:v>0.87536114908416995</c:v>
                </c:pt>
                <c:pt idx="11338">
                  <c:v>0.86972828880839304</c:v>
                </c:pt>
                <c:pt idx="11339">
                  <c:v>0.88669576707272602</c:v>
                </c:pt>
                <c:pt idx="11340">
                  <c:v>0.93558165374351099</c:v>
                </c:pt>
                <c:pt idx="11341">
                  <c:v>1.0277790507595801</c:v>
                </c:pt>
                <c:pt idx="11342">
                  <c:v>1.1010803702916501</c:v>
                </c:pt>
                <c:pt idx="11343">
                  <c:v>1.1602477704512699</c:v>
                </c:pt>
                <c:pt idx="11344">
                  <c:v>1.05399180546213</c:v>
                </c:pt>
                <c:pt idx="11345">
                  <c:v>1.18304654567159</c:v>
                </c:pt>
                <c:pt idx="11346">
                  <c:v>1.08918869896319</c:v>
                </c:pt>
                <c:pt idx="11347">
                  <c:v>1.0489979485026599</c:v>
                </c:pt>
                <c:pt idx="11348">
                  <c:v>1.0444201136934499</c:v>
                </c:pt>
                <c:pt idx="11349">
                  <c:v>1.0065796231551001</c:v>
                </c:pt>
                <c:pt idx="11350">
                  <c:v>1.01001333139959</c:v>
                </c:pt>
                <c:pt idx="11351">
                  <c:v>0.76195988269486403</c:v>
                </c:pt>
                <c:pt idx="11352">
                  <c:v>0.85028804847163697</c:v>
                </c:pt>
                <c:pt idx="11353">
                  <c:v>-9.5134123866910003E-2</c:v>
                </c:pt>
                <c:pt idx="11354">
                  <c:v>-0.180131292700728</c:v>
                </c:pt>
                <c:pt idx="11355">
                  <c:v>-0.17850544084398501</c:v>
                </c:pt>
                <c:pt idx="11356">
                  <c:v>-9.5352091452623994E-2</c:v>
                </c:pt>
                <c:pt idx="11357">
                  <c:v>-4.10748225633552E-2</c:v>
                </c:pt>
                <c:pt idx="11358">
                  <c:v>-3.1273710679263502E-3</c:v>
                </c:pt>
                <c:pt idx="11359">
                  <c:v>-5.4438051951248199E-2</c:v>
                </c:pt>
                <c:pt idx="11360">
                  <c:v>5.0417410218438402E-2</c:v>
                </c:pt>
                <c:pt idx="11361">
                  <c:v>0.13018556698733499</c:v>
                </c:pt>
                <c:pt idx="11362">
                  <c:v>0.12333070306567</c:v>
                </c:pt>
                <c:pt idx="11363">
                  <c:v>-5.6844274650874299E-2</c:v>
                </c:pt>
                <c:pt idx="11364">
                  <c:v>-3.8166007269126202E-2</c:v>
                </c:pt>
                <c:pt idx="11365">
                  <c:v>-5.0401131951914001E-2</c:v>
                </c:pt>
                <c:pt idx="11366">
                  <c:v>-3.17228645701658E-2</c:v>
                </c:pt>
                <c:pt idx="11367">
                  <c:v>5.2941324110725503E-2</c:v>
                </c:pt>
                <c:pt idx="11368">
                  <c:v>4.5209770055408702E-2</c:v>
                </c:pt>
                <c:pt idx="11369">
                  <c:v>-9.6536158976354397E-2</c:v>
                </c:pt>
                <c:pt idx="11370">
                  <c:v>-0.15377567210946799</c:v>
                </c:pt>
                <c:pt idx="11371">
                  <c:v>-0.221296698731414</c:v>
                </c:pt>
                <c:pt idx="11372">
                  <c:v>-0.15666913984575701</c:v>
                </c:pt>
                <c:pt idx="11373">
                  <c:v>-0.14154954003789599</c:v>
                </c:pt>
                <c:pt idx="11374">
                  <c:v>-0.231568234704389</c:v>
                </c:pt>
                <c:pt idx="11375">
                  <c:v>-0.24328218302046201</c:v>
                </c:pt>
                <c:pt idx="11376">
                  <c:v>-0.23129071913097099</c:v>
                </c:pt>
                <c:pt idx="11377">
                  <c:v>-0.25837755600293599</c:v>
                </c:pt>
                <c:pt idx="11378">
                  <c:v>-0.25455100081036602</c:v>
                </c:pt>
                <c:pt idx="11379">
                  <c:v>-0.35389950094345801</c:v>
                </c:pt>
                <c:pt idx="11380">
                  <c:v>-0.317074424126424</c:v>
                </c:pt>
                <c:pt idx="11381">
                  <c:v>-0.28229187968754899</c:v>
                </c:pt>
                <c:pt idx="11382">
                  <c:v>-0.26194476509186299</c:v>
                </c:pt>
                <c:pt idx="11383">
                  <c:v>-6.42769859901626E-2</c:v>
                </c:pt>
                <c:pt idx="11384">
                  <c:v>-0.173932596931862</c:v>
                </c:pt>
                <c:pt idx="11385">
                  <c:v>-0.14140892420019499</c:v>
                </c:pt>
                <c:pt idx="11386">
                  <c:v>-0.13980386434877801</c:v>
                </c:pt>
                <c:pt idx="11387">
                  <c:v>-0.14023611605980599</c:v>
                </c:pt>
                <c:pt idx="11388">
                  <c:v>-0.122374750738469</c:v>
                </c:pt>
                <c:pt idx="11389">
                  <c:v>-3.8601536531741497E-2</c:v>
                </c:pt>
                <c:pt idx="11390">
                  <c:v>-3.7218133431752003E-2</c:v>
                </c:pt>
                <c:pt idx="11391">
                  <c:v>-1.9356768110414702E-2</c:v>
                </c:pt>
                <c:pt idx="11392">
                  <c:v>-6.1943658102229602E-3</c:v>
                </c:pt>
                <c:pt idx="11393">
                  <c:v>6.9680364899688298E-3</c:v>
                </c:pt>
                <c:pt idx="11394">
                  <c:v>3.6524765688127898E-3</c:v>
                </c:pt>
                <c:pt idx="11395">
                  <c:v>3.3691664765685099E-4</c:v>
                </c:pt>
                <c:pt idx="11396">
                  <c:v>3.6280314046864E-2</c:v>
                </c:pt>
                <c:pt idx="11397">
                  <c:v>0.12165759811011299</c:v>
                </c:pt>
                <c:pt idx="11398">
                  <c:v>0.17407895773066701</c:v>
                </c:pt>
                <c:pt idx="11399">
                  <c:v>0.226500317351222</c:v>
                </c:pt>
                <c:pt idx="11400">
                  <c:v>0.30402452515603201</c:v>
                </c:pt>
                <c:pt idx="11401">
                  <c:v>0.38978771407151502</c:v>
                </c:pt>
                <c:pt idx="11402">
                  <c:v>0.48378988409767298</c:v>
                </c:pt>
                <c:pt idx="11403">
                  <c:v>0.58391443044259295</c:v>
                </c:pt>
                <c:pt idx="11404">
                  <c:v>0.66571877050845596</c:v>
                </c:pt>
                <c:pt idx="11405">
                  <c:v>0.69597261911836406</c:v>
                </c:pt>
                <c:pt idx="11406">
                  <c:v>0.74482103474153305</c:v>
                </c:pt>
                <c:pt idx="11407">
                  <c:v>0.78951031319463105</c:v>
                </c:pt>
                <c:pt idx="11408">
                  <c:v>0.71452579186742204</c:v>
                </c:pt>
                <c:pt idx="11409">
                  <c:v>0.76312598720031899</c:v>
                </c:pt>
                <c:pt idx="11410">
                  <c:v>0.76652550545299902</c:v>
                </c:pt>
                <c:pt idx="11411">
                  <c:v>0.75752690542493295</c:v>
                </c:pt>
                <c:pt idx="11412">
                  <c:v>0.76254350017732997</c:v>
                </c:pt>
                <c:pt idx="11413">
                  <c:v>0.86249616914471605</c:v>
                </c:pt>
                <c:pt idx="11414">
                  <c:v>1.0965425063180201</c:v>
                </c:pt>
                <c:pt idx="11415">
                  <c:v>1.14698721620761</c:v>
                </c:pt>
                <c:pt idx="11416">
                  <c:v>1.15868917939116</c:v>
                </c:pt>
                <c:pt idx="11417">
                  <c:v>1.1683486101965599</c:v>
                </c:pt>
                <c:pt idx="11418">
                  <c:v>1.2665995216569299</c:v>
                </c:pt>
                <c:pt idx="11419">
                  <c:v>1.33000534193966</c:v>
                </c:pt>
                <c:pt idx="11420">
                  <c:v>1.2934115850068</c:v>
                </c:pt>
                <c:pt idx="11421">
                  <c:v>1.3352811608833</c:v>
                </c:pt>
                <c:pt idx="11422">
                  <c:v>1.32945265118748</c:v>
                </c:pt>
                <c:pt idx="11423">
                  <c:v>1.30525701253537</c:v>
                </c:pt>
                <c:pt idx="11424">
                  <c:v>1.37442083448359</c:v>
                </c:pt>
                <c:pt idx="11425">
                  <c:v>1.38591178865709</c:v>
                </c:pt>
                <c:pt idx="11426">
                  <c:v>1.3829620921717001</c:v>
                </c:pt>
                <c:pt idx="11427">
                  <c:v>1.3469823988298499</c:v>
                </c:pt>
                <c:pt idx="11428">
                  <c:v>1.4136321748310099</c:v>
                </c:pt>
                <c:pt idx="11429">
                  <c:v>1.1686985900298901</c:v>
                </c:pt>
                <c:pt idx="11430">
                  <c:v>1.1773687669699</c:v>
                </c:pt>
                <c:pt idx="11431">
                  <c:v>1.1695326119438301</c:v>
                </c:pt>
                <c:pt idx="11432">
                  <c:v>1.15120275884691</c:v>
                </c:pt>
                <c:pt idx="11433">
                  <c:v>1.13287290574999</c:v>
                </c:pt>
                <c:pt idx="11434">
                  <c:v>1.1270877012972</c:v>
                </c:pt>
                <c:pt idx="11435">
                  <c:v>1.1213024968444101</c:v>
                </c:pt>
                <c:pt idx="11436">
                  <c:v>1.1281428487293299</c:v>
                </c:pt>
                <c:pt idx="11437">
                  <c:v>1.1223576442765399</c:v>
                </c:pt>
                <c:pt idx="11438">
                  <c:v>1.1081611358497701</c:v>
                </c:pt>
                <c:pt idx="11439">
                  <c:v>1.0444514475294799</c:v>
                </c:pt>
                <c:pt idx="11440">
                  <c:v>0.900315187251156</c:v>
                </c:pt>
                <c:pt idx="11441">
                  <c:v>0.853083461152223</c:v>
                </c:pt>
                <c:pt idx="11442">
                  <c:v>0.61760256982873896</c:v>
                </c:pt>
                <c:pt idx="11443">
                  <c:v>0.646234391792191</c:v>
                </c:pt>
                <c:pt idx="11444">
                  <c:v>0.51605038140199599</c:v>
                </c:pt>
                <c:pt idx="11445">
                  <c:v>0.53644322225477503</c:v>
                </c:pt>
                <c:pt idx="11446">
                  <c:v>0.507211811653835</c:v>
                </c:pt>
                <c:pt idx="11447">
                  <c:v>0.48621938216356803</c:v>
                </c:pt>
                <c:pt idx="11448">
                  <c:v>0.49213979402670099</c:v>
                </c:pt>
                <c:pt idx="11449">
                  <c:v>0.48354548281717802</c:v>
                </c:pt>
                <c:pt idx="11450">
                  <c:v>0.47907116378384501</c:v>
                </c:pt>
                <c:pt idx="11451">
                  <c:v>0.43135940681898299</c:v>
                </c:pt>
                <c:pt idx="11452">
                  <c:v>0.38153104506220997</c:v>
                </c:pt>
                <c:pt idx="11453">
                  <c:v>0.30713910561663599</c:v>
                </c:pt>
                <c:pt idx="11454">
                  <c:v>0.234720990196506</c:v>
                </c:pt>
                <c:pt idx="11455">
                  <c:v>0.19525879921907</c:v>
                </c:pt>
                <c:pt idx="11456">
                  <c:v>0.13931864602028701</c:v>
                </c:pt>
                <c:pt idx="11457">
                  <c:v>0.128806607958698</c:v>
                </c:pt>
                <c:pt idx="11458">
                  <c:v>9.4462924005080398E-2</c:v>
                </c:pt>
                <c:pt idx="11459">
                  <c:v>3.5402296719441902E-2</c:v>
                </c:pt>
                <c:pt idx="11460">
                  <c:v>-7.1803683448494696E-3</c:v>
                </c:pt>
                <c:pt idx="11461">
                  <c:v>-7.4479976741161802E-2</c:v>
                </c:pt>
                <c:pt idx="11462">
                  <c:v>-5.5161748819234899E-2</c:v>
                </c:pt>
                <c:pt idx="11463">
                  <c:v>-2.7604539786633599E-2</c:v>
                </c:pt>
                <c:pt idx="11464" formatCode="0.00E+00">
                  <c:v>-4.7330754032320899E-5</c:v>
                </c:pt>
                <c:pt idx="11465">
                  <c:v>2.7509878278568999E-2</c:v>
                </c:pt>
                <c:pt idx="11466">
                  <c:v>1.05063105426413E-2</c:v>
                </c:pt>
                <c:pt idx="11467">
                  <c:v>-6.4972571932863897E-3</c:v>
                </c:pt>
                <c:pt idx="11468">
                  <c:v>-2.3500824929214102E-2</c:v>
                </c:pt>
                <c:pt idx="11469">
                  <c:v>-4.0504392665141803E-2</c:v>
                </c:pt>
                <c:pt idx="11470">
                  <c:v>-3.3876736811233599E-2</c:v>
                </c:pt>
                <c:pt idx="11471">
                  <c:v>-2.7249080957325301E-2</c:v>
                </c:pt>
                <c:pt idx="11472">
                  <c:v>-2.06214251034171E-2</c:v>
                </c:pt>
                <c:pt idx="11473">
                  <c:v>-1.3993769249508899E-2</c:v>
                </c:pt>
                <c:pt idx="11474">
                  <c:v>-1.4233724035805201E-2</c:v>
                </c:pt>
                <c:pt idx="11475">
                  <c:v>-1.44736788221015E-2</c:v>
                </c:pt>
                <c:pt idx="11476">
                  <c:v>-1.4713633608397799E-2</c:v>
                </c:pt>
                <c:pt idx="11477">
                  <c:v>-1.4953588394694199E-2</c:v>
                </c:pt>
                <c:pt idx="11478">
                  <c:v>-0.148506852379062</c:v>
                </c:pt>
                <c:pt idx="11479">
                  <c:v>-0.150088273765142</c:v>
                </c:pt>
                <c:pt idx="11480">
                  <c:v>-0.112517321976011</c:v>
                </c:pt>
                <c:pt idx="11481">
                  <c:v>-8.9307727616315599E-2</c:v>
                </c:pt>
                <c:pt idx="11482">
                  <c:v>-0.13298134088229099</c:v>
                </c:pt>
                <c:pt idx="11483">
                  <c:v>-0.14158242491365999</c:v>
                </c:pt>
                <c:pt idx="11484">
                  <c:v>-0.111031135769817</c:v>
                </c:pt>
                <c:pt idx="11485">
                  <c:v>-4.0642670104905102E-3</c:v>
                </c:pt>
                <c:pt idx="11486">
                  <c:v>-0.116196395878506</c:v>
                </c:pt>
                <c:pt idx="11487">
                  <c:v>-0.149944485166633</c:v>
                </c:pt>
                <c:pt idx="11488">
                  <c:v>-0.10742513966678401</c:v>
                </c:pt>
                <c:pt idx="11489">
                  <c:v>-0.12046727796545301</c:v>
                </c:pt>
                <c:pt idx="11490">
                  <c:v>-8.5223347504032695E-2</c:v>
                </c:pt>
                <c:pt idx="11491">
                  <c:v>3.6735711645296598E-2</c:v>
                </c:pt>
                <c:pt idx="11492">
                  <c:v>0.10289303417125401</c:v>
                </c:pt>
                <c:pt idx="11493">
                  <c:v>9.2807180603763403E-2</c:v>
                </c:pt>
                <c:pt idx="11494">
                  <c:v>8.6880464206343697E-2</c:v>
                </c:pt>
                <c:pt idx="11495">
                  <c:v>-3.2159016256723003E-2</c:v>
                </c:pt>
                <c:pt idx="11496">
                  <c:v>-1.23418909484582E-2</c:v>
                </c:pt>
                <c:pt idx="11497">
                  <c:v>0.108459612479804</c:v>
                </c:pt>
                <c:pt idx="11498">
                  <c:v>0.25609466403199899</c:v>
                </c:pt>
                <c:pt idx="11499">
                  <c:v>0.399649871643591</c:v>
                </c:pt>
                <c:pt idx="11500">
                  <c:v>0.46996805014656301</c:v>
                </c:pt>
                <c:pt idx="11501">
                  <c:v>0.82706813207462204</c:v>
                </c:pt>
                <c:pt idx="11502">
                  <c:v>0.89738631057759399</c:v>
                </c:pt>
                <c:pt idx="11503">
                  <c:v>0.91411146524645304</c:v>
                </c:pt>
                <c:pt idx="11504">
                  <c:v>0.83207607276928597</c:v>
                </c:pt>
                <c:pt idx="11505">
                  <c:v>0.90688805268136197</c:v>
                </c:pt>
                <c:pt idx="11506">
                  <c:v>0.92599040396741406</c:v>
                </c:pt>
                <c:pt idx="11507">
                  <c:v>0.84607161628215899</c:v>
                </c:pt>
                <c:pt idx="11508">
                  <c:v>0.86622746034608999</c:v>
                </c:pt>
                <c:pt idx="11509">
                  <c:v>0.95864496767114904</c:v>
                </c:pt>
                <c:pt idx="11510">
                  <c:v>1.0427494214717801</c:v>
                </c:pt>
                <c:pt idx="11511">
                  <c:v>0.95768245701617705</c:v>
                </c:pt>
                <c:pt idx="11512">
                  <c:v>1.11186381686542</c:v>
                </c:pt>
                <c:pt idx="11513">
                  <c:v>0.93413144780740698</c:v>
                </c:pt>
                <c:pt idx="11514">
                  <c:v>0.98929166868534701</c:v>
                </c:pt>
                <c:pt idx="11515">
                  <c:v>1.13138164154029</c:v>
                </c:pt>
                <c:pt idx="11516">
                  <c:v>1.0383004281372801</c:v>
                </c:pt>
                <c:pt idx="11517">
                  <c:v>1.11439063299051</c:v>
                </c:pt>
                <c:pt idx="11518">
                  <c:v>1.1286488328989499</c:v>
                </c:pt>
                <c:pt idx="11519">
                  <c:v>0.998452557883172</c:v>
                </c:pt>
                <c:pt idx="11520">
                  <c:v>1.2444073907280999</c:v>
                </c:pt>
                <c:pt idx="11521">
                  <c:v>1.1204873116074301</c:v>
                </c:pt>
                <c:pt idx="11522">
                  <c:v>0.97215702044118102</c:v>
                </c:pt>
                <c:pt idx="11523">
                  <c:v>1.1311028080796399</c:v>
                </c:pt>
                <c:pt idx="11524">
                  <c:v>0.71500481085925105</c:v>
                </c:pt>
                <c:pt idx="11525">
                  <c:v>0.497033605626652</c:v>
                </c:pt>
                <c:pt idx="11526">
                  <c:v>0.48526958703358702</c:v>
                </c:pt>
                <c:pt idx="11527">
                  <c:v>-0.29031641135553998</c:v>
                </c:pt>
                <c:pt idx="11528">
                  <c:v>-0.30741249438072199</c:v>
                </c:pt>
                <c:pt idx="11529">
                  <c:v>-0.27076740874428301</c:v>
                </c:pt>
                <c:pt idx="11530">
                  <c:v>-2.3914585757175599E-2</c:v>
                </c:pt>
                <c:pt idx="11531">
                  <c:v>1.2730499879263399E-2</c:v>
                </c:pt>
                <c:pt idx="11532">
                  <c:v>0.43980762649835697</c:v>
                </c:pt>
                <c:pt idx="11533">
                  <c:v>0.528705723879631</c:v>
                </c:pt>
                <c:pt idx="11534">
                  <c:v>0.11138093310139401</c:v>
                </c:pt>
                <c:pt idx="11535">
                  <c:v>0.18553686935303501</c:v>
                </c:pt>
                <c:pt idx="11536">
                  <c:v>0.30313641666566499</c:v>
                </c:pt>
                <c:pt idx="11537">
                  <c:v>0.50365994442844897</c:v>
                </c:pt>
                <c:pt idx="11538">
                  <c:v>0.40258011440704899</c:v>
                </c:pt>
                <c:pt idx="11539">
                  <c:v>0.35955395586055999</c:v>
                </c:pt>
                <c:pt idx="11540">
                  <c:v>0.38224889210523899</c:v>
                </c:pt>
                <c:pt idx="11541">
                  <c:v>0.18664525471608301</c:v>
                </c:pt>
                <c:pt idx="11542">
                  <c:v>0.110699855689653</c:v>
                </c:pt>
                <c:pt idx="11543">
                  <c:v>8.4188343327263895E-2</c:v>
                </c:pt>
                <c:pt idx="11544">
                  <c:v>5.4882715581139198E-2</c:v>
                </c:pt>
                <c:pt idx="11545">
                  <c:v>6.4655388596471394E-2</c:v>
                </c:pt>
                <c:pt idx="11546">
                  <c:v>5.3944327863606902E-2</c:v>
                </c:pt>
                <c:pt idx="11547">
                  <c:v>8.4428172684110597E-2</c:v>
                </c:pt>
                <c:pt idx="11548">
                  <c:v>6.2627911113308093E-2</c:v>
                </c:pt>
                <c:pt idx="11549">
                  <c:v>4.2944254334418099E-2</c:v>
                </c:pt>
                <c:pt idx="11550">
                  <c:v>3.7621954984963298E-2</c:v>
                </c:pt>
                <c:pt idx="11551">
                  <c:v>1.99808305842318E-2</c:v>
                </c:pt>
                <c:pt idx="11552">
                  <c:v>-1.6078046199963902E-2</c:v>
                </c:pt>
                <c:pt idx="11553">
                  <c:v>-8.9251984596925599E-2</c:v>
                </c:pt>
                <c:pt idx="11554">
                  <c:v>-0.15826678582381701</c:v>
                </c:pt>
                <c:pt idx="11555">
                  <c:v>-0.208761092451201</c:v>
                </c:pt>
                <c:pt idx="11556">
                  <c:v>-0.134027354371868</c:v>
                </c:pt>
                <c:pt idx="11557">
                  <c:v>-2.02153155310766E-2</c:v>
                </c:pt>
                <c:pt idx="11558">
                  <c:v>7.9235365880278505E-2</c:v>
                </c:pt>
                <c:pt idx="11559">
                  <c:v>0.17868604729163401</c:v>
                </c:pt>
                <c:pt idx="11560">
                  <c:v>0.17868604729163401</c:v>
                </c:pt>
                <c:pt idx="11561">
                  <c:v>0.17868604729163401</c:v>
                </c:pt>
                <c:pt idx="11562">
                  <c:v>0.17868604729163401</c:v>
                </c:pt>
                <c:pt idx="11563">
                  <c:v>-0.165538900399437</c:v>
                </c:pt>
                <c:pt idx="11564">
                  <c:v>-0.152306884435288</c:v>
                </c:pt>
                <c:pt idx="11565">
                  <c:v>-0.13907486847113901</c:v>
                </c:pt>
                <c:pt idx="11566">
                  <c:v>-0.12584285250698901</c:v>
                </c:pt>
                <c:pt idx="11567">
                  <c:v>-0.11261083654284</c:v>
                </c:pt>
                <c:pt idx="11568">
                  <c:v>-0.11038010648240699</c:v>
                </c:pt>
                <c:pt idx="11569">
                  <c:v>-0.108149376421975</c:v>
                </c:pt>
                <c:pt idx="11570">
                  <c:v>-0.105918646361542</c:v>
                </c:pt>
                <c:pt idx="11571">
                  <c:v>-0.103687916301109</c:v>
                </c:pt>
                <c:pt idx="11572">
                  <c:v>-0.100411036979712</c:v>
                </c:pt>
                <c:pt idx="11573">
                  <c:v>-0.261987852285545</c:v>
                </c:pt>
                <c:pt idx="11574">
                  <c:v>-0.29166689740684199</c:v>
                </c:pt>
                <c:pt idx="11575">
                  <c:v>-0.18113511881917799</c:v>
                </c:pt>
                <c:pt idx="11576">
                  <c:v>-0.28668413949803201</c:v>
                </c:pt>
                <c:pt idx="11577">
                  <c:v>-0.32836384366965499</c:v>
                </c:pt>
                <c:pt idx="11578">
                  <c:v>-0.35144898082801801</c:v>
                </c:pt>
                <c:pt idx="11579">
                  <c:v>-0.33333921243301201</c:v>
                </c:pt>
                <c:pt idx="11580">
                  <c:v>-0.356655751281655</c:v>
                </c:pt>
                <c:pt idx="11581">
                  <c:v>-0.36969077664146699</c:v>
                </c:pt>
                <c:pt idx="11582">
                  <c:v>-0.335334447715393</c:v>
                </c:pt>
                <c:pt idx="11583">
                  <c:v>-0.31745608101066802</c:v>
                </c:pt>
                <c:pt idx="11584">
                  <c:v>-0.25214993618959303</c:v>
                </c:pt>
                <c:pt idx="11585">
                  <c:v>-0.186843791368519</c:v>
                </c:pt>
                <c:pt idx="11586">
                  <c:v>-0.13801560876879301</c:v>
                </c:pt>
                <c:pt idx="11587">
                  <c:v>-7.2709463947718198E-2</c:v>
                </c:pt>
                <c:pt idx="11588">
                  <c:v>-0.118806131363145</c:v>
                </c:pt>
                <c:pt idx="11589">
                  <c:v>-0.156663817667899</c:v>
                </c:pt>
                <c:pt idx="11590">
                  <c:v>-0.194521503972653</c:v>
                </c:pt>
                <c:pt idx="11591">
                  <c:v>-0.20153987062662401</c:v>
                </c:pt>
                <c:pt idx="11592">
                  <c:v>-9.7552815435754503E-2</c:v>
                </c:pt>
                <c:pt idx="11593">
                  <c:v>-0.24058704873759101</c:v>
                </c:pt>
                <c:pt idx="11594">
                  <c:v>-0.165248635991839</c:v>
                </c:pt>
                <c:pt idx="11595">
                  <c:v>4.4183444959826901E-2</c:v>
                </c:pt>
                <c:pt idx="11596">
                  <c:v>0.114513818325226</c:v>
                </c:pt>
                <c:pt idx="11597">
                  <c:v>0.30238582526143698</c:v>
                </c:pt>
                <c:pt idx="11598">
                  <c:v>0.29425808663319403</c:v>
                </c:pt>
                <c:pt idx="11599">
                  <c:v>0.43670197843221198</c:v>
                </c:pt>
                <c:pt idx="11600">
                  <c:v>0.61520429436559398</c:v>
                </c:pt>
                <c:pt idx="11601">
                  <c:v>0.51296778996318304</c:v>
                </c:pt>
                <c:pt idx="11602">
                  <c:v>0.59033236213334594</c:v>
                </c:pt>
                <c:pt idx="11603">
                  <c:v>1.0765656329853901</c:v>
                </c:pt>
                <c:pt idx="11604">
                  <c:v>0.30791142843340502</c:v>
                </c:pt>
                <c:pt idx="11605">
                  <c:v>0.365382557864458</c:v>
                </c:pt>
                <c:pt idx="11606">
                  <c:v>0.42081115491735199</c:v>
                </c:pt>
                <c:pt idx="11607">
                  <c:v>0.45575601822204898</c:v>
                </c:pt>
                <c:pt idx="11608">
                  <c:v>0.488753929671364</c:v>
                </c:pt>
                <c:pt idx="11609">
                  <c:v>0.51963523632876596</c:v>
                </c:pt>
                <c:pt idx="11610">
                  <c:v>0.53615518555673203</c:v>
                </c:pt>
                <c:pt idx="11611">
                  <c:v>0.55668090631154798</c:v>
                </c:pt>
                <c:pt idx="11612">
                  <c:v>0.52307418455860699</c:v>
                </c:pt>
                <c:pt idx="11613">
                  <c:v>0.51607357287262301</c:v>
                </c:pt>
                <c:pt idx="11614">
                  <c:v>0.48223941306270701</c:v>
                </c:pt>
                <c:pt idx="11615">
                  <c:v>0.46511065353111303</c:v>
                </c:pt>
                <c:pt idx="11616">
                  <c:v>0.48026804292565101</c:v>
                </c:pt>
                <c:pt idx="11617">
                  <c:v>0.49308138947130298</c:v>
                </c:pt>
                <c:pt idx="11618">
                  <c:v>0.433855289997088</c:v>
                </c:pt>
                <c:pt idx="11619">
                  <c:v>0.42202576562447303</c:v>
                </c:pt>
                <c:pt idx="11620">
                  <c:v>0.37271409953788998</c:v>
                </c:pt>
                <c:pt idx="11621">
                  <c:v>0.84987720716742399</c:v>
                </c:pt>
                <c:pt idx="11622">
                  <c:v>1.2648475787337301</c:v>
                </c:pt>
                <c:pt idx="11623">
                  <c:v>1.0831728247172401</c:v>
                </c:pt>
                <c:pt idx="11624">
                  <c:v>0.60001598513409504</c:v>
                </c:pt>
                <c:pt idx="11625">
                  <c:v>0.50364682327009602</c:v>
                </c:pt>
                <c:pt idx="11626">
                  <c:v>0.63601633498769805</c:v>
                </c:pt>
                <c:pt idx="11627">
                  <c:v>0.72310587639561497</c:v>
                </c:pt>
                <c:pt idx="11628">
                  <c:v>0.64975972797378101</c:v>
                </c:pt>
                <c:pt idx="11629">
                  <c:v>0.68760539874702398</c:v>
                </c:pt>
                <c:pt idx="11630">
                  <c:v>0.78304986488122896</c:v>
                </c:pt>
                <c:pt idx="11631">
                  <c:v>0.763756837223172</c:v>
                </c:pt>
                <c:pt idx="11632">
                  <c:v>0.94216176991789702</c:v>
                </c:pt>
                <c:pt idx="11633">
                  <c:v>0.72653953087159895</c:v>
                </c:pt>
                <c:pt idx="11634">
                  <c:v>0.46314513383922101</c:v>
                </c:pt>
                <c:pt idx="11635">
                  <c:v>0.25403129562759402</c:v>
                </c:pt>
                <c:pt idx="11636">
                  <c:v>0.283763715027191</c:v>
                </c:pt>
                <c:pt idx="11637">
                  <c:v>0.28015940628389602</c:v>
                </c:pt>
                <c:pt idx="11638">
                  <c:v>0.25584392573543002</c:v>
                </c:pt>
                <c:pt idx="11639">
                  <c:v>0.26622539153708902</c:v>
                </c:pt>
                <c:pt idx="11640">
                  <c:v>0.28762367559633001</c:v>
                </c:pt>
                <c:pt idx="11641">
                  <c:v>0.32149415035006901</c:v>
                </c:pt>
                <c:pt idx="11642">
                  <c:v>0.202750462298388</c:v>
                </c:pt>
                <c:pt idx="11643">
                  <c:v>6.5412207233448094E-2</c:v>
                </c:pt>
                <c:pt idx="11644">
                  <c:v>0.11518400405542201</c:v>
                </c:pt>
                <c:pt idx="11645">
                  <c:v>0.12534855158823399</c:v>
                </c:pt>
                <c:pt idx="11646">
                  <c:v>4.4810234489882403E-2</c:v>
                </c:pt>
                <c:pt idx="11647">
                  <c:v>5.0894938082092098E-2</c:v>
                </c:pt>
                <c:pt idx="11648">
                  <c:v>4.3249285636112397E-3</c:v>
                </c:pt>
                <c:pt idx="11649">
                  <c:v>9.3811826399735496E-2</c:v>
                </c:pt>
                <c:pt idx="11650">
                  <c:v>8.23143461158619E-2</c:v>
                </c:pt>
                <c:pt idx="11651">
                  <c:v>-5.7223277653204098E-2</c:v>
                </c:pt>
                <c:pt idx="11652">
                  <c:v>-8.0148054179539296E-2</c:v>
                </c:pt>
                <c:pt idx="11653">
                  <c:v>-0.11131181181654801</c:v>
                </c:pt>
                <c:pt idx="11654">
                  <c:v>-0.132194055964725</c:v>
                </c:pt>
                <c:pt idx="11655">
                  <c:v>-0.12828528436712699</c:v>
                </c:pt>
                <c:pt idx="11656">
                  <c:v>-0.16532108226675499</c:v>
                </c:pt>
                <c:pt idx="11657">
                  <c:v>-0.175602625271916</c:v>
                </c:pt>
                <c:pt idx="11658">
                  <c:v>-0.21263842317154399</c:v>
                </c:pt>
                <c:pt idx="11659">
                  <c:v>-0.22087743379854699</c:v>
                </c:pt>
                <c:pt idx="11660">
                  <c:v>-0.190967630739142</c:v>
                </c:pt>
                <c:pt idx="11661">
                  <c:v>-0.19401375212243099</c:v>
                </c:pt>
                <c:pt idx="11662">
                  <c:v>-0.164103949063026</c:v>
                </c:pt>
                <c:pt idx="11663">
                  <c:v>-0.117716183782273</c:v>
                </c:pt>
                <c:pt idx="11664">
                  <c:v>-0.13848837922844401</c:v>
                </c:pt>
                <c:pt idx="11665">
                  <c:v>-0.15926057467461499</c:v>
                </c:pt>
                <c:pt idx="11666">
                  <c:v>-0.18827175123145901</c:v>
                </c:pt>
                <c:pt idx="11667">
                  <c:v>-0.207001414299471</c:v>
                </c:pt>
                <c:pt idx="11668">
                  <c:v>-0.187496357787445</c:v>
                </c:pt>
                <c:pt idx="11669">
                  <c:v>-7.7362509058007706E-2</c:v>
                </c:pt>
                <c:pt idx="11670">
                  <c:v>-9.0813376988677294E-2</c:v>
                </c:pt>
                <c:pt idx="11671">
                  <c:v>-7.1308320476651393E-2</c:v>
                </c:pt>
                <c:pt idx="11672">
                  <c:v>-5.5266760247475698E-3</c:v>
                </c:pt>
                <c:pt idx="11673">
                  <c:v>7.6732930648504005E-2</c:v>
                </c:pt>
                <c:pt idx="11674">
                  <c:v>0.14251457510040799</c:v>
                </c:pt>
                <c:pt idx="11675">
                  <c:v>0.32364195510174498</c:v>
                </c:pt>
                <c:pt idx="11676">
                  <c:v>0.26791707532755699</c:v>
                </c:pt>
                <c:pt idx="11677">
                  <c:v>0.24295744279039999</c:v>
                </c:pt>
                <c:pt idx="11678">
                  <c:v>0.246873890755334</c:v>
                </c:pt>
                <c:pt idx="11679">
                  <c:v>0.27346474967413098</c:v>
                </c:pt>
                <c:pt idx="11680">
                  <c:v>0.40528188831295198</c:v>
                </c:pt>
                <c:pt idx="11681">
                  <c:v>0.52266359710858401</c:v>
                </c:pt>
                <c:pt idx="11682">
                  <c:v>0.73490208688973901</c:v>
                </c:pt>
                <c:pt idx="11683">
                  <c:v>0.78221280962991102</c:v>
                </c:pt>
                <c:pt idx="11684">
                  <c:v>0.75534349985184202</c:v>
                </c:pt>
                <c:pt idx="11685">
                  <c:v>0.72643165769561502</c:v>
                </c:pt>
                <c:pt idx="11686">
                  <c:v>0.73659811630084404</c:v>
                </c:pt>
                <c:pt idx="11687">
                  <c:v>0.88501215946634404</c:v>
                </c:pt>
                <c:pt idx="11688">
                  <c:v>0.821338092038015</c:v>
                </c:pt>
                <c:pt idx="11689">
                  <c:v>0.79885893016305398</c:v>
                </c:pt>
                <c:pt idx="11690">
                  <c:v>0.84448229437914901</c:v>
                </c:pt>
                <c:pt idx="11691">
                  <c:v>0.98496766039648098</c:v>
                </c:pt>
                <c:pt idx="11692">
                  <c:v>1.2505537210989801</c:v>
                </c:pt>
                <c:pt idx="11693">
                  <c:v>0.92859542122206296</c:v>
                </c:pt>
                <c:pt idx="11694">
                  <c:v>1.0578971365129799</c:v>
                </c:pt>
                <c:pt idx="11695">
                  <c:v>1.16248190847188</c:v>
                </c:pt>
                <c:pt idx="11696">
                  <c:v>1.08911050205</c:v>
                </c:pt>
                <c:pt idx="11697">
                  <c:v>0.97309945782233898</c:v>
                </c:pt>
                <c:pt idx="11698">
                  <c:v>0.92648752711064197</c:v>
                </c:pt>
                <c:pt idx="11699">
                  <c:v>0.90852423884406097</c:v>
                </c:pt>
                <c:pt idx="11700">
                  <c:v>0.96246721882886699</c:v>
                </c:pt>
                <c:pt idx="11701">
                  <c:v>1.04521220690201</c:v>
                </c:pt>
                <c:pt idx="11702">
                  <c:v>1.6545112619207401</c:v>
                </c:pt>
                <c:pt idx="11703">
                  <c:v>1.79515655582557</c:v>
                </c:pt>
                <c:pt idx="11704">
                  <c:v>1.86879375174745</c:v>
                </c:pt>
                <c:pt idx="11705">
                  <c:v>2.0474263181318899</c:v>
                </c:pt>
                <c:pt idx="11706">
                  <c:v>1.13377830486819</c:v>
                </c:pt>
                <c:pt idx="11707">
                  <c:v>1.1299889628454201</c:v>
                </c:pt>
                <c:pt idx="11708">
                  <c:v>1.2693578563155701</c:v>
                </c:pt>
                <c:pt idx="11709">
                  <c:v>1.46004980318471</c:v>
                </c:pt>
                <c:pt idx="11710">
                  <c:v>1.3493553886952101</c:v>
                </c:pt>
                <c:pt idx="11711">
                  <c:v>1.14296402102839</c:v>
                </c:pt>
                <c:pt idx="11712">
                  <c:v>1.3179307105642999</c:v>
                </c:pt>
                <c:pt idx="11713">
                  <c:v>1.69530618068811</c:v>
                </c:pt>
                <c:pt idx="11714">
                  <c:v>1.5440161998901401</c:v>
                </c:pt>
                <c:pt idx="11715">
                  <c:v>1.50333095244499</c:v>
                </c:pt>
                <c:pt idx="11716">
                  <c:v>1.79071224883918</c:v>
                </c:pt>
                <c:pt idx="11717">
                  <c:v>1.62220385433438</c:v>
                </c:pt>
                <c:pt idx="11718">
                  <c:v>1.45157885503767</c:v>
                </c:pt>
                <c:pt idx="11719">
                  <c:v>1.36248926171332</c:v>
                </c:pt>
                <c:pt idx="11720">
                  <c:v>1.1040008120757601</c:v>
                </c:pt>
                <c:pt idx="11721">
                  <c:v>0.80824915599793401</c:v>
                </c:pt>
                <c:pt idx="11722">
                  <c:v>0.87169965306525199</c:v>
                </c:pt>
                <c:pt idx="11723">
                  <c:v>1.3180276669270401</c:v>
                </c:pt>
                <c:pt idx="11724">
                  <c:v>1.32034038045858</c:v>
                </c:pt>
                <c:pt idx="11725">
                  <c:v>1.47950568719507</c:v>
                </c:pt>
                <c:pt idx="11726">
                  <c:v>1.1367397253225</c:v>
                </c:pt>
                <c:pt idx="11727">
                  <c:v>0.95963871352262897</c:v>
                </c:pt>
                <c:pt idx="11728">
                  <c:v>1.00152381034323</c:v>
                </c:pt>
                <c:pt idx="11729">
                  <c:v>0.90099696461777701</c:v>
                </c:pt>
                <c:pt idx="11730">
                  <c:v>0.98838946980504006</c:v>
                </c:pt>
                <c:pt idx="11731">
                  <c:v>0.99915562409982905</c:v>
                </c:pt>
                <c:pt idx="11732">
                  <c:v>0.90870474140193203</c:v>
                </c:pt>
                <c:pt idx="11733">
                  <c:v>0.92786324245061502</c:v>
                </c:pt>
                <c:pt idx="11734">
                  <c:v>0.93439618716158002</c:v>
                </c:pt>
                <c:pt idx="11735">
                  <c:v>0.83485492218255797</c:v>
                </c:pt>
                <c:pt idx="11736">
                  <c:v>0.71263924624967501</c:v>
                </c:pt>
                <c:pt idx="11737">
                  <c:v>0.68127980059117699</c:v>
                </c:pt>
                <c:pt idx="11738">
                  <c:v>0.60857208373608895</c:v>
                </c:pt>
                <c:pt idx="11739">
                  <c:v>0.51244457275928001</c:v>
                </c:pt>
                <c:pt idx="11740">
                  <c:v>0.49681770615427001</c:v>
                </c:pt>
                <c:pt idx="11741">
                  <c:v>2.7740147175761499E-2</c:v>
                </c:pt>
                <c:pt idx="11742">
                  <c:v>-8.59789123442041E-3</c:v>
                </c:pt>
                <c:pt idx="11743">
                  <c:v>-4.1134116286530999E-2</c:v>
                </c:pt>
                <c:pt idx="11744">
                  <c:v>-4.4873554066017597E-2</c:v>
                </c:pt>
                <c:pt idx="11745">
                  <c:v>-2.1779443721570101E-2</c:v>
                </c:pt>
                <c:pt idx="11746">
                  <c:v>-1.51632955984704E-2</c:v>
                </c:pt>
                <c:pt idx="11747">
                  <c:v>-2.55723127401256E-2</c:v>
                </c:pt>
                <c:pt idx="11748">
                  <c:v>-3.5981329881780801E-2</c:v>
                </c:pt>
                <c:pt idx="11749">
                  <c:v>-4.6390347023436002E-2</c:v>
                </c:pt>
                <c:pt idx="11750">
                  <c:v>-5.67993641650913E-2</c:v>
                </c:pt>
                <c:pt idx="11751">
                  <c:v>-6.7368061022130998E-2</c:v>
                </c:pt>
                <c:pt idx="11752">
                  <c:v>-7.7936757879170801E-2</c:v>
                </c:pt>
                <c:pt idx="11753">
                  <c:v>-8.8505454736210604E-2</c:v>
                </c:pt>
                <c:pt idx="11754">
                  <c:v>-9.9074151593250406E-2</c:v>
                </c:pt>
                <c:pt idx="11755">
                  <c:v>-7.2598143208987803E-2</c:v>
                </c:pt>
                <c:pt idx="11756">
                  <c:v>-4.61221348247252E-2</c:v>
                </c:pt>
                <c:pt idx="11757">
                  <c:v>-1.96461264404626E-2</c:v>
                </c:pt>
                <c:pt idx="11758">
                  <c:v>6.8298819437999196E-3</c:v>
                </c:pt>
                <c:pt idx="11759">
                  <c:v>-1.08333819802778E-3</c:v>
                </c:pt>
                <c:pt idx="11760">
                  <c:v>-8.9965583398554892E-3</c:v>
                </c:pt>
                <c:pt idx="11761">
                  <c:v>-8.7448697847632793E-3</c:v>
                </c:pt>
                <c:pt idx="11762">
                  <c:v>-4.9614014369285898E-2</c:v>
                </c:pt>
                <c:pt idx="11763">
                  <c:v>5.9760222314189398E-2</c:v>
                </c:pt>
                <c:pt idx="11764">
                  <c:v>6.2022483743191498E-2</c:v>
                </c:pt>
                <c:pt idx="11765">
                  <c:v>1.8861850850714401E-2</c:v>
                </c:pt>
                <c:pt idx="11766">
                  <c:v>6.0207633856886898E-2</c:v>
                </c:pt>
                <c:pt idx="11767">
                  <c:v>0.18487155831990401</c:v>
                </c:pt>
                <c:pt idx="11768">
                  <c:v>9.9105528190991402E-2</c:v>
                </c:pt>
                <c:pt idx="11769">
                  <c:v>4.8412027296685402E-2</c:v>
                </c:pt>
                <c:pt idx="11770">
                  <c:v>8.0182409922871498E-2</c:v>
                </c:pt>
                <c:pt idx="11771">
                  <c:v>0.169961860299913</c:v>
                </c:pt>
                <c:pt idx="11772">
                  <c:v>0.15868286014320401</c:v>
                </c:pt>
                <c:pt idx="11773">
                  <c:v>0.20711926013936799</c:v>
                </c:pt>
                <c:pt idx="11774">
                  <c:v>0.247390751438613</c:v>
                </c:pt>
                <c:pt idx="11775">
                  <c:v>0.35460573527786798</c:v>
                </c:pt>
                <c:pt idx="11776">
                  <c:v>0.58540543577722903</c:v>
                </c:pt>
                <c:pt idx="11777">
                  <c:v>0.65149958647686901</c:v>
                </c:pt>
                <c:pt idx="11778">
                  <c:v>0.69484525380889295</c:v>
                </c:pt>
                <c:pt idx="11779">
                  <c:v>0.684343960453759</c:v>
                </c:pt>
                <c:pt idx="11780">
                  <c:v>0.66348708119604005</c:v>
                </c:pt>
                <c:pt idx="11781">
                  <c:v>0.652985787840906</c:v>
                </c:pt>
                <c:pt idx="11782">
                  <c:v>0.80726411669924802</c:v>
                </c:pt>
                <c:pt idx="11783">
                  <c:v>0.93315530202894303</c:v>
                </c:pt>
                <c:pt idx="11784">
                  <c:v>0.98073652019250401</c:v>
                </c:pt>
                <c:pt idx="11785">
                  <c:v>0.72339614403166796</c:v>
                </c:pt>
                <c:pt idx="11786">
                  <c:v>0.75639378752453101</c:v>
                </c:pt>
                <c:pt idx="11787">
                  <c:v>0.797815678932979</c:v>
                </c:pt>
                <c:pt idx="11788">
                  <c:v>0.77210320644488495</c:v>
                </c:pt>
                <c:pt idx="11789">
                  <c:v>0.83620472962290904</c:v>
                </c:pt>
                <c:pt idx="11790">
                  <c:v>0.88995066689834801</c:v>
                </c:pt>
                <c:pt idx="11791">
                  <c:v>0.94570007877790696</c:v>
                </c:pt>
                <c:pt idx="11792">
                  <c:v>1.04257032379708</c:v>
                </c:pt>
                <c:pt idx="11793">
                  <c:v>1.12092007421675</c:v>
                </c:pt>
                <c:pt idx="11794">
                  <c:v>1.8414815792335899</c:v>
                </c:pt>
                <c:pt idx="11795">
                  <c:v>1.7583591437772501</c:v>
                </c:pt>
                <c:pt idx="11796">
                  <c:v>1.69398464097738</c:v>
                </c:pt>
                <c:pt idx="11797">
                  <c:v>1.8419397011358101</c:v>
                </c:pt>
                <c:pt idx="11798">
                  <c:v>1.7838409402979301</c:v>
                </c:pt>
                <c:pt idx="11799">
                  <c:v>1.73895763428603</c:v>
                </c:pt>
                <c:pt idx="11800">
                  <c:v>1.7826658089291001</c:v>
                </c:pt>
                <c:pt idx="11801">
                  <c:v>1.80589024982397</c:v>
                </c:pt>
                <c:pt idx="11802">
                  <c:v>1.88686685172303</c:v>
                </c:pt>
                <c:pt idx="11803">
                  <c:v>1.7590242244156999</c:v>
                </c:pt>
                <c:pt idx="11804">
                  <c:v>1.25557033333992</c:v>
                </c:pt>
                <c:pt idx="11805">
                  <c:v>0.86346684791814099</c:v>
                </c:pt>
                <c:pt idx="11806">
                  <c:v>1.47202007297291</c:v>
                </c:pt>
                <c:pt idx="11807">
                  <c:v>1.4841340453643801</c:v>
                </c:pt>
                <c:pt idx="11808">
                  <c:v>1.25473564300903</c:v>
                </c:pt>
                <c:pt idx="11809">
                  <c:v>0.55888540905796802</c:v>
                </c:pt>
                <c:pt idx="11810">
                  <c:v>0.40606639359274399</c:v>
                </c:pt>
                <c:pt idx="11811">
                  <c:v>0.29353393301480302</c:v>
                </c:pt>
                <c:pt idx="11812">
                  <c:v>0.15212539193477001</c:v>
                </c:pt>
                <c:pt idx="11813">
                  <c:v>0.11586036614480601</c:v>
                </c:pt>
                <c:pt idx="11814">
                  <c:v>6.10748457553347E-2</c:v>
                </c:pt>
                <c:pt idx="11815">
                  <c:v>0.116766367901214</c:v>
                </c:pt>
                <c:pt idx="11816">
                  <c:v>0.228014153029897</c:v>
                </c:pt>
                <c:pt idx="11817">
                  <c:v>0.320820736788542</c:v>
                </c:pt>
                <c:pt idx="11818">
                  <c:v>0.32291923510030701</c:v>
                </c:pt>
                <c:pt idx="11819">
                  <c:v>0.251177760120042</c:v>
                </c:pt>
                <c:pt idx="11820">
                  <c:v>0.14648036069708101</c:v>
                </c:pt>
                <c:pt idx="11821">
                  <c:v>5.8260923495467798E-2</c:v>
                </c:pt>
                <c:pt idx="11822">
                  <c:v>7.1565479066207404E-3</c:v>
                </c:pt>
                <c:pt idx="11823">
                  <c:v>2.7110654132771399E-2</c:v>
                </c:pt>
                <c:pt idx="11824">
                  <c:v>3.8825779248247497E-2</c:v>
                </c:pt>
                <c:pt idx="11825">
                  <c:v>4.8498371985565197E-2</c:v>
                </c:pt>
                <c:pt idx="11826">
                  <c:v>4.3735534879694199E-2</c:v>
                </c:pt>
                <c:pt idx="11827">
                  <c:v>8.9456976328334298E-2</c:v>
                </c:pt>
                <c:pt idx="11828">
                  <c:v>0.118700455555627</c:v>
                </c:pt>
                <c:pt idx="11829">
                  <c:v>0.114988010340225</c:v>
                </c:pt>
                <c:pt idx="11830">
                  <c:v>0.144231489567517</c:v>
                </c:pt>
                <c:pt idx="11831">
                  <c:v>9.8071156011193997E-2</c:v>
                </c:pt>
                <c:pt idx="11832">
                  <c:v>6.8388784676218603E-2</c:v>
                </c:pt>
                <c:pt idx="11833">
                  <c:v>3.0467432230568799E-2</c:v>
                </c:pt>
                <c:pt idx="11834">
                  <c:v>2.8275932737520698E-3</c:v>
                </c:pt>
                <c:pt idx="11835">
                  <c:v>5.3782976362012104E-3</c:v>
                </c:pt>
                <c:pt idx="11836">
                  <c:v>-8.5489602226985206E-3</c:v>
                </c:pt>
                <c:pt idx="11837">
                  <c:v>-5.9591279694363002E-2</c:v>
                </c:pt>
                <c:pt idx="11838">
                  <c:v>-8.1757518663936005E-2</c:v>
                </c:pt>
                <c:pt idx="11839">
                  <c:v>-8.7135220673061897E-2</c:v>
                </c:pt>
                <c:pt idx="11840">
                  <c:v>-0.100751903792862</c:v>
                </c:pt>
                <c:pt idx="11841">
                  <c:v>-9.7890624691314904E-2</c:v>
                </c:pt>
                <c:pt idx="11842">
                  <c:v>-9.50293455897675E-2</c:v>
                </c:pt>
                <c:pt idx="11843">
                  <c:v>-0.11322766343238</c:v>
                </c:pt>
                <c:pt idx="11844">
                  <c:v>-0.16438190571768799</c:v>
                </c:pt>
                <c:pt idx="11845">
                  <c:v>-0.19701565340349</c:v>
                </c:pt>
                <c:pt idx="11846">
                  <c:v>-0.256408876799472</c:v>
                </c:pt>
                <c:pt idx="11847">
                  <c:v>-0.28079244491170402</c:v>
                </c:pt>
                <c:pt idx="11848">
                  <c:v>-0.31341499413460999</c:v>
                </c:pt>
                <c:pt idx="11849">
                  <c:v>-0.33779856224684301</c:v>
                </c:pt>
                <c:pt idx="11850">
                  <c:v>-0.36218213035907598</c:v>
                </c:pt>
                <c:pt idx="11851">
                  <c:v>-0.349789974907455</c:v>
                </c:pt>
                <c:pt idx="11852">
                  <c:v>-0.32091985723448502</c:v>
                </c:pt>
                <c:pt idx="11853">
                  <c:v>-0.28592736324275497</c:v>
                </c:pt>
                <c:pt idx="11854">
                  <c:v>-0.27353520779113299</c:v>
                </c:pt>
                <c:pt idx="11855">
                  <c:v>-0.27517763847254501</c:v>
                </c:pt>
                <c:pt idx="11856">
                  <c:v>-0.27682006915395702</c:v>
                </c:pt>
                <c:pt idx="11857">
                  <c:v>-0.27846249983536903</c:v>
                </c:pt>
                <c:pt idx="11858">
                  <c:v>-0.28010493051678098</c:v>
                </c:pt>
                <c:pt idx="11859">
                  <c:v>-0.25666822916250198</c:v>
                </c:pt>
                <c:pt idx="11860">
                  <c:v>-0.22499254669754901</c:v>
                </c:pt>
                <c:pt idx="11861">
                  <c:v>-0.16036093978990101</c:v>
                </c:pt>
                <c:pt idx="11862">
                  <c:v>-0.1122072951036</c:v>
                </c:pt>
                <c:pt idx="11863">
                  <c:v>-0.13103859662529599</c:v>
                </c:pt>
                <c:pt idx="11864">
                  <c:v>-0.13339193592564499</c:v>
                </c:pt>
                <c:pt idx="11865">
                  <c:v>-0.15222323744734101</c:v>
                </c:pt>
                <c:pt idx="11866">
                  <c:v>-0.17105453896903799</c:v>
                </c:pt>
                <c:pt idx="11867">
                  <c:v>-9.8187094778138806E-2</c:v>
                </c:pt>
                <c:pt idx="11868">
                  <c:v>-3.3558631697913302E-2</c:v>
                </c:pt>
                <c:pt idx="11869">
                  <c:v>2.2830850271638801E-2</c:v>
                </c:pt>
                <c:pt idx="11870">
                  <c:v>0.153371162237254</c:v>
                </c:pt>
                <c:pt idx="11871">
                  <c:v>0.22281178986455999</c:v>
                </c:pt>
                <c:pt idx="11872">
                  <c:v>0.31288951688328498</c:v>
                </c:pt>
                <c:pt idx="11873">
                  <c:v>0.39261165799942299</c:v>
                </c:pt>
                <c:pt idx="11874">
                  <c:v>0.50324719118009797</c:v>
                </c:pt>
                <c:pt idx="11875">
                  <c:v>0.51311636328705001</c:v>
                </c:pt>
                <c:pt idx="11876">
                  <c:v>0.59086584424379796</c:v>
                </c:pt>
                <c:pt idx="11877">
                  <c:v>0.617212978572097</c:v>
                </c:pt>
                <c:pt idx="11878">
                  <c:v>0.68475501845376596</c:v>
                </c:pt>
                <c:pt idx="11879">
                  <c:v>0.65490903430071201</c:v>
                </c:pt>
                <c:pt idx="11880">
                  <c:v>0.60858508792631105</c:v>
                </c:pt>
                <c:pt idx="11881">
                  <c:v>0.56226114155190998</c:v>
                </c:pt>
                <c:pt idx="11882">
                  <c:v>0.51593719517750902</c:v>
                </c:pt>
                <c:pt idx="11883">
                  <c:v>0.52992329097132396</c:v>
                </c:pt>
                <c:pt idx="11884">
                  <c:v>0.543909386765139</c:v>
                </c:pt>
                <c:pt idx="11885">
                  <c:v>0.55789548255895405</c:v>
                </c:pt>
                <c:pt idx="11886">
                  <c:v>0.57188157835276898</c:v>
                </c:pt>
                <c:pt idx="11887">
                  <c:v>0.61828365714788702</c:v>
                </c:pt>
                <c:pt idx="11888">
                  <c:v>0.66468573594300595</c:v>
                </c:pt>
                <c:pt idx="11889">
                  <c:v>0.71108781473812399</c:v>
                </c:pt>
                <c:pt idx="11890">
                  <c:v>0.75748989353324203</c:v>
                </c:pt>
                <c:pt idx="11891">
                  <c:v>0.68927847337608095</c:v>
                </c:pt>
                <c:pt idx="11892">
                  <c:v>0.62106705321891997</c:v>
                </c:pt>
                <c:pt idx="11893">
                  <c:v>0.552855633061759</c:v>
                </c:pt>
                <c:pt idx="11894">
                  <c:v>0.48464421290459803</c:v>
                </c:pt>
                <c:pt idx="11895">
                  <c:v>1.6870016217242101</c:v>
                </c:pt>
                <c:pt idx="11896">
                  <c:v>1.65115296932783</c:v>
                </c:pt>
                <c:pt idx="11897">
                  <c:v>1.5145473768684199</c:v>
                </c:pt>
                <c:pt idx="11898">
                  <c:v>1.5881547425753899</c:v>
                </c:pt>
                <c:pt idx="11899">
                  <c:v>1.6425462861526801</c:v>
                </c:pt>
                <c:pt idx="11900">
                  <c:v>1.65173715264974</c:v>
                </c:pt>
                <c:pt idx="11901">
                  <c:v>1.51843678337129</c:v>
                </c:pt>
                <c:pt idx="11902">
                  <c:v>1.4696480508072001</c:v>
                </c:pt>
                <c:pt idx="11903">
                  <c:v>1.6207494774854601</c:v>
                </c:pt>
                <c:pt idx="11904">
                  <c:v>1.5345717390007201</c:v>
                </c:pt>
                <c:pt idx="11905">
                  <c:v>1.4193157753543899</c:v>
                </c:pt>
                <c:pt idx="11906">
                  <c:v>1.2671468947547899</c:v>
                </c:pt>
                <c:pt idx="11907">
                  <c:v>1.15841803071232</c:v>
                </c:pt>
                <c:pt idx="11908">
                  <c:v>1.1300416662141399</c:v>
                </c:pt>
                <c:pt idx="11909">
                  <c:v>1.1471727100826199</c:v>
                </c:pt>
                <c:pt idx="11910">
                  <c:v>1.2507786298141601</c:v>
                </c:pt>
                <c:pt idx="11911">
                  <c:v>1.3404114464160699</c:v>
                </c:pt>
                <c:pt idx="11912">
                  <c:v>1.2979086131450399</c:v>
                </c:pt>
                <c:pt idx="11913">
                  <c:v>1.2515533739903799</c:v>
                </c:pt>
                <c:pt idx="11914">
                  <c:v>1.3334073064112799</c:v>
                </c:pt>
                <c:pt idx="11915">
                  <c:v>1.34742292152335</c:v>
                </c:pt>
                <c:pt idx="11916">
                  <c:v>1.3218208457148299</c:v>
                </c:pt>
                <c:pt idx="11917">
                  <c:v>1.24504908215055</c:v>
                </c:pt>
                <c:pt idx="11918">
                  <c:v>1.3946362142900799</c:v>
                </c:pt>
                <c:pt idx="11919">
                  <c:v>1.54583883033152</c:v>
                </c:pt>
                <c:pt idx="11920">
                  <c:v>1.51366203633051</c:v>
                </c:pt>
                <c:pt idx="11921">
                  <c:v>1.09059242727228</c:v>
                </c:pt>
                <c:pt idx="11922">
                  <c:v>1.3080136234855499</c:v>
                </c:pt>
                <c:pt idx="11923">
                  <c:v>1.36926087668041</c:v>
                </c:pt>
                <c:pt idx="11924">
                  <c:v>1.2880168940997501</c:v>
                </c:pt>
                <c:pt idx="11925">
                  <c:v>0.93911452363496395</c:v>
                </c:pt>
                <c:pt idx="11926">
                  <c:v>0.84131850641920103</c:v>
                </c:pt>
                <c:pt idx="11927">
                  <c:v>0.66514077954967799</c:v>
                </c:pt>
                <c:pt idx="11928">
                  <c:v>0.60657875866472</c:v>
                </c:pt>
                <c:pt idx="11929">
                  <c:v>0.35194291980155501</c:v>
                </c:pt>
                <c:pt idx="11930">
                  <c:v>0.23986716831195201</c:v>
                </c:pt>
                <c:pt idx="11931">
                  <c:v>0.16862683182041299</c:v>
                </c:pt>
                <c:pt idx="11932">
                  <c:v>9.9503100120785504E-2</c:v>
                </c:pt>
                <c:pt idx="11933">
                  <c:v>3.8618349531832297E-2</c:v>
                </c:pt>
                <c:pt idx="11934">
                  <c:v>-2.4383005849033398E-2</c:v>
                </c:pt>
                <c:pt idx="11935">
                  <c:v>-7.15318581119221E-2</c:v>
                </c:pt>
                <c:pt idx="11936">
                  <c:v>-0.10008614336155</c:v>
                </c:pt>
                <c:pt idx="11937">
                  <c:v>-0.13483687734369501</c:v>
                </c:pt>
                <c:pt idx="11938">
                  <c:v>-0.146913200371977</c:v>
                </c:pt>
                <c:pt idx="11939">
                  <c:v>-0.13538807011530399</c:v>
                </c:pt>
                <c:pt idx="11940">
                  <c:v>-0.123862939858632</c:v>
                </c:pt>
                <c:pt idx="11941">
                  <c:v>-0.11233780960196001</c:v>
                </c:pt>
                <c:pt idx="11942">
                  <c:v>-0.100812679345287</c:v>
                </c:pt>
                <c:pt idx="11943">
                  <c:v>-0.123905507341942</c:v>
                </c:pt>
                <c:pt idx="11944">
                  <c:v>-0.14699833533859699</c:v>
                </c:pt>
                <c:pt idx="11945">
                  <c:v>-0.17009116333525201</c:v>
                </c:pt>
                <c:pt idx="11946">
                  <c:v>-0.193183991331907</c:v>
                </c:pt>
                <c:pt idx="11947">
                  <c:v>-0.149748240484089</c:v>
                </c:pt>
                <c:pt idx="11948">
                  <c:v>-0.106312489636271</c:v>
                </c:pt>
                <c:pt idx="11949">
                  <c:v>-6.2876738788453804E-2</c:v>
                </c:pt>
                <c:pt idx="11950">
                  <c:v>-1.94409879406361E-2</c:v>
                </c:pt>
                <c:pt idx="11951">
                  <c:v>1.26473386907556E-2</c:v>
                </c:pt>
                <c:pt idx="11952">
                  <c:v>4.4735665322147303E-2</c:v>
                </c:pt>
                <c:pt idx="11953">
                  <c:v>7.4781459575380502E-2</c:v>
                </c:pt>
                <c:pt idx="11954">
                  <c:v>7.3913861764077896E-2</c:v>
                </c:pt>
                <c:pt idx="11955">
                  <c:v>0.17396021072038401</c:v>
                </c:pt>
                <c:pt idx="11956">
                  <c:v>9.4638141976803897E-2</c:v>
                </c:pt>
                <c:pt idx="11957">
                  <c:v>6.2633355105354296E-2</c:v>
                </c:pt>
                <c:pt idx="11958">
                  <c:v>5.9578721149751102E-2</c:v>
                </c:pt>
                <c:pt idx="11959">
                  <c:v>8.09977316166898E-2</c:v>
                </c:pt>
                <c:pt idx="11960">
                  <c:v>5.9105231738347801E-2</c:v>
                </c:pt>
                <c:pt idx="11961">
                  <c:v>8.4530013732136006E-2</c:v>
                </c:pt>
                <c:pt idx="11962">
                  <c:v>0.13686241626361201</c:v>
                </c:pt>
                <c:pt idx="11963">
                  <c:v>0.11319962845175099</c:v>
                </c:pt>
                <c:pt idx="11964">
                  <c:v>0.16368767063595299</c:v>
                </c:pt>
                <c:pt idx="11965">
                  <c:v>0.207979264087639</c:v>
                </c:pt>
                <c:pt idx="11966">
                  <c:v>0.33881458500042</c:v>
                </c:pt>
                <c:pt idx="11967">
                  <c:v>0.39478156086273197</c:v>
                </c:pt>
                <c:pt idx="11968">
                  <c:v>0.47947125158391601</c:v>
                </c:pt>
                <c:pt idx="11969">
                  <c:v>0.60535584785846697</c:v>
                </c:pt>
                <c:pt idx="11970">
                  <c:v>0.70864010559291002</c:v>
                </c:pt>
                <c:pt idx="11971">
                  <c:v>1.4048280604674099</c:v>
                </c:pt>
                <c:pt idx="11972">
                  <c:v>1.39162796000983</c:v>
                </c:pt>
                <c:pt idx="11973">
                  <c:v>1.34111179091991</c:v>
                </c:pt>
                <c:pt idx="11974">
                  <c:v>1.4177329164035399</c:v>
                </c:pt>
                <c:pt idx="11975">
                  <c:v>1.65141237684972</c:v>
                </c:pt>
                <c:pt idx="11976">
                  <c:v>1.8501726737045101</c:v>
                </c:pt>
                <c:pt idx="11977">
                  <c:v>1.72480334664876</c:v>
                </c:pt>
                <c:pt idx="11978">
                  <c:v>1.927569415030409</c:v>
                </c:pt>
                <c:pt idx="11979">
                  <c:v>1.14869857113439</c:v>
                </c:pt>
                <c:pt idx="11980">
                  <c:v>1.20827188627268</c:v>
                </c:pt>
                <c:pt idx="11981">
                  <c:v>1.3110826393425099</c:v>
                </c:pt>
                <c:pt idx="11982">
                  <c:v>1.38501731191024</c:v>
                </c:pt>
                <c:pt idx="11983">
                  <c:v>1.40779053667564</c:v>
                </c:pt>
                <c:pt idx="11984">
                  <c:v>1.43857530449474</c:v>
                </c:pt>
                <c:pt idx="11985">
                  <c:v>1.49415630887532</c:v>
                </c:pt>
                <c:pt idx="11986">
                  <c:v>1.5352966625970099</c:v>
                </c:pt>
                <c:pt idx="11987">
                  <c:v>2.29672388759451</c:v>
                </c:pt>
                <c:pt idx="11988">
                  <c:v>1.98561273187344</c:v>
                </c:pt>
                <c:pt idx="11989">
                  <c:v>2.1839842908854799</c:v>
                </c:pt>
                <c:pt idx="11990">
                  <c:v>1.5986322740318599</c:v>
                </c:pt>
                <c:pt idx="11991">
                  <c:v>1.25433400392738</c:v>
                </c:pt>
                <c:pt idx="11992">
                  <c:v>1.2337104816194999</c:v>
                </c:pt>
                <c:pt idx="11993">
                  <c:v>1.2234425452141999</c:v>
                </c:pt>
                <c:pt idx="11994">
                  <c:v>1.6378389555412101</c:v>
                </c:pt>
                <c:pt idx="11995">
                  <c:v>1.63220609526543</c:v>
                </c:pt>
                <c:pt idx="11996">
                  <c:v>1.95856625712639</c:v>
                </c:pt>
                <c:pt idx="11997">
                  <c:v>1.28065437163448</c:v>
                </c:pt>
                <c:pt idx="11998">
                  <c:v>1.20887700360062</c:v>
                </c:pt>
                <c:pt idx="11999">
                  <c:v>1.2597313502358101</c:v>
                </c:pt>
                <c:pt idx="12000">
                  <c:v>1.4097654223012399</c:v>
                </c:pt>
                <c:pt idx="12001">
                  <c:v>1.4332468306533701</c:v>
                </c:pt>
                <c:pt idx="12002">
                  <c:v>1.2613315143824899</c:v>
                </c:pt>
                <c:pt idx="12003">
                  <c:v>1.1323959176237799</c:v>
                </c:pt>
                <c:pt idx="12004">
                  <c:v>1.05547090925068</c:v>
                </c:pt>
                <c:pt idx="12005">
                  <c:v>1.2509080369066199</c:v>
                </c:pt>
                <c:pt idx="12006">
                  <c:v>1.30086590915208</c:v>
                </c:pt>
                <c:pt idx="12007">
                  <c:v>1.45283393626138</c:v>
                </c:pt>
                <c:pt idx="12008">
                  <c:v>1.5037382920212199</c:v>
                </c:pt>
                <c:pt idx="12009">
                  <c:v>1.45153644405344</c:v>
                </c:pt>
                <c:pt idx="12010">
                  <c:v>1.08828540462678</c:v>
                </c:pt>
                <c:pt idx="12011">
                  <c:v>1.0670834798864399</c:v>
                </c:pt>
                <c:pt idx="12012">
                  <c:v>1.07513843934839</c:v>
                </c:pt>
                <c:pt idx="12013">
                  <c:v>1.16550913750332</c:v>
                </c:pt>
                <c:pt idx="12014">
                  <c:v>1.1152777666176701</c:v>
                </c:pt>
                <c:pt idx="12015">
                  <c:v>0.87006306169895098</c:v>
                </c:pt>
                <c:pt idx="12016">
                  <c:v>0.83363224514134004</c:v>
                </c:pt>
                <c:pt idx="12017">
                  <c:v>0.73295130837630196</c:v>
                </c:pt>
                <c:pt idx="12018">
                  <c:v>0.72327996752887203</c:v>
                </c:pt>
                <c:pt idx="12019">
                  <c:v>0.65859887018926999</c:v>
                </c:pt>
                <c:pt idx="12020">
                  <c:v>0.55688200446636804</c:v>
                </c:pt>
                <c:pt idx="12021">
                  <c:v>0.50867886934811302</c:v>
                </c:pt>
                <c:pt idx="12022">
                  <c:v>0.396606417722625</c:v>
                </c:pt>
                <c:pt idx="12023">
                  <c:v>0.38021215586976698</c:v>
                </c:pt>
                <c:pt idx="12024">
                  <c:v>0.34733993179556</c:v>
                </c:pt>
                <c:pt idx="12025">
                  <c:v>0.33101974235645498</c:v>
                </c:pt>
                <c:pt idx="12026">
                  <c:v>0.386887143764722</c:v>
                </c:pt>
                <c:pt idx="12027">
                  <c:v>0.36267762748805799</c:v>
                </c:pt>
                <c:pt idx="12028">
                  <c:v>0.30551218676869701</c:v>
                </c:pt>
                <c:pt idx="12029">
                  <c:v>0.281302670492033</c:v>
                </c:pt>
                <c:pt idx="12030">
                  <c:v>0.25709315421536799</c:v>
                </c:pt>
                <c:pt idx="12031">
                  <c:v>0.27221275402322898</c:v>
                </c:pt>
                <c:pt idx="12032">
                  <c:v>0.28733235383108902</c:v>
                </c:pt>
                <c:pt idx="12033">
                  <c:v>0.30245195363895</c:v>
                </c:pt>
                <c:pt idx="12034">
                  <c:v>0.31757155344681098</c:v>
                </c:pt>
                <c:pt idx="12035">
                  <c:v>0.29660709289360698</c:v>
                </c:pt>
                <c:pt idx="12036">
                  <c:v>0.27564263234040298</c:v>
                </c:pt>
                <c:pt idx="12037">
                  <c:v>0.25467817178719898</c:v>
                </c:pt>
                <c:pt idx="12038">
                  <c:v>0.23371371123399501</c:v>
                </c:pt>
                <c:pt idx="12039">
                  <c:v>0.26849625567287</c:v>
                </c:pt>
                <c:pt idx="12040">
                  <c:v>0.30327880011174602</c:v>
                </c:pt>
                <c:pt idx="12041">
                  <c:v>0.33806134455062098</c:v>
                </c:pt>
                <c:pt idx="12042">
                  <c:v>0.372843888989496</c:v>
                </c:pt>
                <c:pt idx="12043">
                  <c:v>0.40332502934300501</c:v>
                </c:pt>
                <c:pt idx="12044">
                  <c:v>0.17831846203616</c:v>
                </c:pt>
                <c:pt idx="12045">
                  <c:v>0.14689352503112801</c:v>
                </c:pt>
                <c:pt idx="12046">
                  <c:v>0.160896703163289</c:v>
                </c:pt>
                <c:pt idx="12047">
                  <c:v>9.4251652585976398E-2</c:v>
                </c:pt>
                <c:pt idx="12048">
                  <c:v>7.9083021050864802E-2</c:v>
                </c:pt>
                <c:pt idx="12049">
                  <c:v>6.3988461929506496E-2</c:v>
                </c:pt>
                <c:pt idx="12050">
                  <c:v>0.114805751693539</c:v>
                </c:pt>
                <c:pt idx="12051">
                  <c:v>7.8534267329687699E-2</c:v>
                </c:pt>
                <c:pt idx="12052">
                  <c:v>5.45816080171143E-2</c:v>
                </c:pt>
                <c:pt idx="12053">
                  <c:v>3.4788085874611102E-2</c:v>
                </c:pt>
                <c:pt idx="12054">
                  <c:v>0.159290452197386</c:v>
                </c:pt>
                <c:pt idx="12055">
                  <c:v>0.13332777223805201</c:v>
                </c:pt>
                <c:pt idx="12056">
                  <c:v>0.12807626408389</c:v>
                </c:pt>
                <c:pt idx="12057">
                  <c:v>0.22169252925781299</c:v>
                </c:pt>
                <c:pt idx="12058">
                  <c:v>0.241157964435672</c:v>
                </c:pt>
                <c:pt idx="12059">
                  <c:v>0.40107198334722</c:v>
                </c:pt>
                <c:pt idx="12060">
                  <c:v>0.49507415337337801</c:v>
                </c:pt>
                <c:pt idx="12061">
                  <c:v>0.57259836117818796</c:v>
                </c:pt>
                <c:pt idx="12062">
                  <c:v>0.68307849342569305</c:v>
                </c:pt>
                <c:pt idx="12063">
                  <c:v>0.78967384923733097</c:v>
                </c:pt>
                <c:pt idx="12064">
                  <c:v>0.71894331972724301</c:v>
                </c:pt>
                <c:pt idx="12065">
                  <c:v>0.72236362021321798</c:v>
                </c:pt>
                <c:pt idx="12066">
                  <c:v>0.80621049265723999</c:v>
                </c:pt>
                <c:pt idx="12067">
                  <c:v>0.74770393355137799</c:v>
                </c:pt>
                <c:pt idx="12068">
                  <c:v>0.85835835107032399</c:v>
                </c:pt>
                <c:pt idx="12069">
                  <c:v>0.91111768357329204</c:v>
                </c:pt>
                <c:pt idx="12070">
                  <c:v>0.94951565864682497</c:v>
                </c:pt>
                <c:pt idx="12071">
                  <c:v>1.1608875848662601</c:v>
                </c:pt>
                <c:pt idx="12072">
                  <c:v>1.1637875748267501</c:v>
                </c:pt>
                <c:pt idx="12073">
                  <c:v>1.1873987365923999</c:v>
                </c:pt>
                <c:pt idx="12074">
                  <c:v>1.24819903238458</c:v>
                </c:pt>
                <c:pt idx="12075">
                  <c:v>1.3692036480282701</c:v>
                </c:pt>
                <c:pt idx="12076">
                  <c:v>1.57894788915444</c:v>
                </c:pt>
                <c:pt idx="12077">
                  <c:v>1.6134035565213301</c:v>
                </c:pt>
                <c:pt idx="12078">
                  <c:v>1.6560982049988899</c:v>
                </c:pt>
                <c:pt idx="12079">
                  <c:v>1.7308496329043299</c:v>
                </c:pt>
                <c:pt idx="12080">
                  <c:v>1.6157184707483701</c:v>
                </c:pt>
                <c:pt idx="12081">
                  <c:v>1.69046989865381</c:v>
                </c:pt>
                <c:pt idx="12082">
                  <c:v>1.8620517883248899</c:v>
                </c:pt>
                <c:pt idx="12083">
                  <c:v>1.6672562626294001</c:v>
                </c:pt>
                <c:pt idx="12084">
                  <c:v>1.68894943706227</c:v>
                </c:pt>
                <c:pt idx="12085">
                  <c:v>1.9870000774195999</c:v>
                </c:pt>
                <c:pt idx="12086">
                  <c:v>1.6807852944720501</c:v>
                </c:pt>
                <c:pt idx="12087">
                  <c:v>1.5719879102550001</c:v>
                </c:pt>
                <c:pt idx="12088">
                  <c:v>1.7601850913538299</c:v>
                </c:pt>
                <c:pt idx="12089">
                  <c:v>1.6576634490987501</c:v>
                </c:pt>
                <c:pt idx="12090">
                  <c:v>2.0785205612608499</c:v>
                </c:pt>
                <c:pt idx="12091">
                  <c:v>2.2703458809208001</c:v>
                </c:pt>
                <c:pt idx="12092">
                  <c:v>1.9647058004281801</c:v>
                </c:pt>
                <c:pt idx="12093">
                  <c:v>1.48275417346868</c:v>
                </c:pt>
                <c:pt idx="12094">
                  <c:v>1.3749289328617</c:v>
                </c:pt>
                <c:pt idx="12095">
                  <c:v>1.26203858843428</c:v>
                </c:pt>
                <c:pt idx="12096">
                  <c:v>1.278553826515</c:v>
                </c:pt>
                <c:pt idx="12097">
                  <c:v>1.1132668691860399</c:v>
                </c:pt>
                <c:pt idx="12098">
                  <c:v>0.748503343293492</c:v>
                </c:pt>
                <c:pt idx="12099">
                  <c:v>0.46839798447868197</c:v>
                </c:pt>
                <c:pt idx="12100">
                  <c:v>0.35338419997950299</c:v>
                </c:pt>
                <c:pt idx="12101">
                  <c:v>0.55645776698266802</c:v>
                </c:pt>
                <c:pt idx="12102">
                  <c:v>0.59610067766706798</c:v>
                </c:pt>
                <c:pt idx="12103">
                  <c:v>0.36745800149009</c:v>
                </c:pt>
                <c:pt idx="12104">
                  <c:v>0.36769692290650702</c:v>
                </c:pt>
                <c:pt idx="12105">
                  <c:v>0.38653041133618499</c:v>
                </c:pt>
                <c:pt idx="12106">
                  <c:v>0.45071794248930103</c:v>
                </c:pt>
                <c:pt idx="12107">
                  <c:v>0.74927812277201</c:v>
                </c:pt>
                <c:pt idx="12108">
                  <c:v>0.69317086996412502</c:v>
                </c:pt>
                <c:pt idx="12109">
                  <c:v>0.66397645850964104</c:v>
                </c:pt>
                <c:pt idx="12110">
                  <c:v>0.34617982849317303</c:v>
                </c:pt>
                <c:pt idx="12111">
                  <c:v>0.45724375564637498</c:v>
                </c:pt>
                <c:pt idx="12112">
                  <c:v>0.26731256677256199</c:v>
                </c:pt>
                <c:pt idx="12113">
                  <c:v>0.34126143231299699</c:v>
                </c:pt>
                <c:pt idx="12114">
                  <c:v>0.42972502092609</c:v>
                </c:pt>
                <c:pt idx="12115">
                  <c:v>0.29539024327066699</c:v>
                </c:pt>
                <c:pt idx="12116">
                  <c:v>0.324099286737003</c:v>
                </c:pt>
                <c:pt idx="12117">
                  <c:v>0.30738021506614599</c:v>
                </c:pt>
                <c:pt idx="12118">
                  <c:v>0.30713910561663599</c:v>
                </c:pt>
                <c:pt idx="12119">
                  <c:v>0.19972253337565199</c:v>
                </c:pt>
                <c:pt idx="12120">
                  <c:v>0.24899996788069101</c:v>
                </c:pt>
                <c:pt idx="12121">
                  <c:v>0.16010389023921301</c:v>
                </c:pt>
                <c:pt idx="12122">
                  <c:v>0.254809439881445</c:v>
                </c:pt>
                <c:pt idx="12123">
                  <c:v>0.156517146191129</c:v>
                </c:pt>
                <c:pt idx="12124">
                  <c:v>0.17788309086353701</c:v>
                </c:pt>
                <c:pt idx="12125">
                  <c:v>6.3112834951872601E-2</c:v>
                </c:pt>
                <c:pt idx="12126">
                  <c:v>0.17941485383927</c:v>
                </c:pt>
                <c:pt idx="12127">
                  <c:v>0.112035988656881</c:v>
                </c:pt>
                <c:pt idx="12128">
                  <c:v>5.3044249412674702E-2</c:v>
                </c:pt>
                <c:pt idx="12129">
                  <c:v>9.7079420666623797E-2</c:v>
                </c:pt>
                <c:pt idx="12130">
                  <c:v>7.9208514562031998E-2</c:v>
                </c:pt>
                <c:pt idx="12131">
                  <c:v>3.1291554761567197E-2</c:v>
                </c:pt>
                <c:pt idx="12132">
                  <c:v>4.7317983882088403E-2</c:v>
                </c:pt>
                <c:pt idx="12133">
                  <c:v>-3.7714037531140901E-2</c:v>
                </c:pt>
                <c:pt idx="12134">
                  <c:v>-7.3312172280328297E-2</c:v>
                </c:pt>
                <c:pt idx="12135">
                  <c:v>-3.1611987191813198E-2</c:v>
                </c:pt>
                <c:pt idx="12136">
                  <c:v>-7.6534822793859605E-2</c:v>
                </c:pt>
                <c:pt idx="12137">
                  <c:v>-0.102863091382647</c:v>
                </c:pt>
                <c:pt idx="12138">
                  <c:v>-0.114830002541998</c:v>
                </c:pt>
                <c:pt idx="12139">
                  <c:v>-8.2039960471845599E-2</c:v>
                </c:pt>
                <c:pt idx="12140">
                  <c:v>-0.131787874335939</c:v>
                </c:pt>
                <c:pt idx="12141">
                  <c:v>-0.164983753564929</c:v>
                </c:pt>
                <c:pt idx="12142">
                  <c:v>-0.16522370835122599</c:v>
                </c:pt>
                <c:pt idx="12143">
                  <c:v>-0.158492076212878</c:v>
                </c:pt>
                <c:pt idx="12144">
                  <c:v>-0.19514602683356599</c:v>
                </c:pt>
                <c:pt idx="12145">
                  <c:v>-0.24616133488368799</c:v>
                </c:pt>
                <c:pt idx="12146">
                  <c:v>-0.23126479404842001</c:v>
                </c:pt>
                <c:pt idx="12147">
                  <c:v>-0.151205545826782</c:v>
                </c:pt>
                <c:pt idx="12148">
                  <c:v>-0.22987761591361</c:v>
                </c:pt>
                <c:pt idx="12149">
                  <c:v>-0.21580428899111601</c:v>
                </c:pt>
                <c:pt idx="12150">
                  <c:v>-0.23672941888947399</c:v>
                </c:pt>
                <c:pt idx="12151">
                  <c:v>-0.204491586878457</c:v>
                </c:pt>
                <c:pt idx="12152">
                  <c:v>-0.19485409340755</c:v>
                </c:pt>
                <c:pt idx="12153">
                  <c:v>-0.17909422361788099</c:v>
                </c:pt>
                <c:pt idx="12154">
                  <c:v>-0.20664586417349301</c:v>
                </c:pt>
                <c:pt idx="12155">
                  <c:v>-0.15689243145512799</c:v>
                </c:pt>
                <c:pt idx="12156">
                  <c:v>-9.0735108929170805E-2</c:v>
                </c:pt>
                <c:pt idx="12157">
                  <c:v>1.39156928807782E-4</c:v>
                </c:pt>
                <c:pt idx="12158">
                  <c:v>6.62964794547653E-2</c:v>
                </c:pt>
                <c:pt idx="12159">
                  <c:v>0.101638741024468</c:v>
                </c:pt>
                <c:pt idx="12160">
                  <c:v>4.2119000792934402E-2</c:v>
                </c:pt>
                <c:pt idx="12161">
                  <c:v>0.14058985473232999</c:v>
                </c:pt>
                <c:pt idx="12162">
                  <c:v>0.12649822963799001</c:v>
                </c:pt>
                <c:pt idx="12163">
                  <c:v>0.17927127938894999</c:v>
                </c:pt>
                <c:pt idx="12164">
                  <c:v>0.27528176707143698</c:v>
                </c:pt>
                <c:pt idx="12165">
                  <c:v>0.44143731322313801</c:v>
                </c:pt>
                <c:pt idx="12166">
                  <c:v>0.49013051903349503</c:v>
                </c:pt>
                <c:pt idx="12167">
                  <c:v>0.79363757712744099</c:v>
                </c:pt>
                <c:pt idx="12168">
                  <c:v>0.97756569008812999</c:v>
                </c:pt>
                <c:pt idx="12169">
                  <c:v>1.18213090244024</c:v>
                </c:pt>
                <c:pt idx="12170">
                  <c:v>1.35358682470643</c:v>
                </c:pt>
                <c:pt idx="12171">
                  <c:v>1.0486388453113999</c:v>
                </c:pt>
                <c:pt idx="12172">
                  <c:v>1.06963036333239</c:v>
                </c:pt>
                <c:pt idx="12173">
                  <c:v>0.98759497085522596</c:v>
                </c:pt>
                <c:pt idx="12174">
                  <c:v>0.905559578378059</c:v>
                </c:pt>
                <c:pt idx="12175">
                  <c:v>0.91331730416124601</c:v>
                </c:pt>
                <c:pt idx="12176">
                  <c:v>0.92107502994443402</c:v>
                </c:pt>
                <c:pt idx="12177">
                  <c:v>0.92883275572762103</c:v>
                </c:pt>
                <c:pt idx="12178">
                  <c:v>0.93659048151080904</c:v>
                </c:pt>
                <c:pt idx="12179">
                  <c:v>0.91963718395513105</c:v>
                </c:pt>
                <c:pt idx="12180">
                  <c:v>0.90268388639945296</c:v>
                </c:pt>
                <c:pt idx="12181">
                  <c:v>0.88573058884377398</c:v>
                </c:pt>
                <c:pt idx="12182">
                  <c:v>0.868777291288096</c:v>
                </c:pt>
                <c:pt idx="12183">
                  <c:v>0.85204280590253001</c:v>
                </c:pt>
                <c:pt idx="12184">
                  <c:v>1.4281698918141801</c:v>
                </c:pt>
                <c:pt idx="12185">
                  <c:v>1.40123318616925</c:v>
                </c:pt>
                <c:pt idx="12186">
                  <c:v>1.431969348299029</c:v>
                </c:pt>
                <c:pt idx="12187">
                  <c:v>1.3456244277207901</c:v>
                </c:pt>
                <c:pt idx="12188">
                  <c:v>1.45725293348712</c:v>
                </c:pt>
                <c:pt idx="12189">
                  <c:v>1.28004656181878</c:v>
                </c:pt>
                <c:pt idx="12190">
                  <c:v>1.22870009806139</c:v>
                </c:pt>
                <c:pt idx="12191">
                  <c:v>1.24565879432719</c:v>
                </c:pt>
                <c:pt idx="12192">
                  <c:v>1.2794814773302601</c:v>
                </c:pt>
                <c:pt idx="12193">
                  <c:v>1.16861702653642</c:v>
                </c:pt>
                <c:pt idx="12194">
                  <c:v>1.2024397095394801</c:v>
                </c:pt>
                <c:pt idx="12195">
                  <c:v>1.15661569083972</c:v>
                </c:pt>
                <c:pt idx="12196">
                  <c:v>1.2034629967355199</c:v>
                </c:pt>
                <c:pt idx="12197">
                  <c:v>0.56076641439597696</c:v>
                </c:pt>
                <c:pt idx="12198">
                  <c:v>0.41765705781661999</c:v>
                </c:pt>
                <c:pt idx="12199">
                  <c:v>0.53119802611616096</c:v>
                </c:pt>
                <c:pt idx="12200">
                  <c:v>0.69810458019284105</c:v>
                </c:pt>
                <c:pt idx="12201">
                  <c:v>0.46899542998233401</c:v>
                </c:pt>
                <c:pt idx="12202">
                  <c:v>0.51382040961793296</c:v>
                </c:pt>
                <c:pt idx="12203">
                  <c:v>0.50367610310038702</c:v>
                </c:pt>
                <c:pt idx="12204">
                  <c:v>0.61915904562110402</c:v>
                </c:pt>
                <c:pt idx="12205">
                  <c:v>0.82777340966705504</c:v>
                </c:pt>
                <c:pt idx="12206">
                  <c:v>0.57453429295418301</c:v>
                </c:pt>
                <c:pt idx="12207">
                  <c:v>0.50062620549019698</c:v>
                </c:pt>
                <c:pt idx="12208">
                  <c:v>0.37267021807814799</c:v>
                </c:pt>
                <c:pt idx="12209">
                  <c:v>0.30087873540607402</c:v>
                </c:pt>
                <c:pt idx="12210">
                  <c:v>0.31344552380514201</c:v>
                </c:pt>
                <c:pt idx="12211">
                  <c:v>0.26985261104333602</c:v>
                </c:pt>
                <c:pt idx="12212">
                  <c:v>0.281815961264334</c:v>
                </c:pt>
                <c:pt idx="12213">
                  <c:v>0.12839666833039901</c:v>
                </c:pt>
                <c:pt idx="12214">
                  <c:v>-4.9438057464827503E-2</c:v>
                </c:pt>
                <c:pt idx="12215">
                  <c:v>-0.104194243478326</c:v>
                </c:pt>
                <c:pt idx="12216">
                  <c:v>-0.123877900257215</c:v>
                </c:pt>
                <c:pt idx="12217">
                  <c:v>-0.162156124049365</c:v>
                </c:pt>
                <c:pt idx="12218">
                  <c:v>-0.16536181860690799</c:v>
                </c:pt>
                <c:pt idx="12219">
                  <c:v>-0.220015262404364</c:v>
                </c:pt>
                <c:pt idx="12220">
                  <c:v>-0.27255210140990699</c:v>
                </c:pt>
                <c:pt idx="12221">
                  <c:v>-0.32508894041545</c:v>
                </c:pt>
                <c:pt idx="12222">
                  <c:v>-0.361147817199646</c:v>
                </c:pt>
                <c:pt idx="12223">
                  <c:v>-0.26169713578829001</c:v>
                </c:pt>
                <c:pt idx="12224">
                  <c:v>-0.162246454376935</c:v>
                </c:pt>
                <c:pt idx="12225">
                  <c:v>-6.2795772965580199E-2</c:v>
                </c:pt>
                <c:pt idx="12226">
                  <c:v>3.6654908445775E-2</c:v>
                </c:pt>
                <c:pt idx="12227">
                  <c:v>3.6654908445775E-2</c:v>
                </c:pt>
                <c:pt idx="12228">
                  <c:v>3.6654908445775E-2</c:v>
                </c:pt>
                <c:pt idx="12229">
                  <c:v>3.6654908445775E-2</c:v>
                </c:pt>
                <c:pt idx="12230">
                  <c:v>-0.30757003924529602</c:v>
                </c:pt>
                <c:pt idx="12231">
                  <c:v>-0.294338023281147</c:v>
                </c:pt>
                <c:pt idx="12232">
                  <c:v>-0.28110600731699698</c:v>
                </c:pt>
                <c:pt idx="12233">
                  <c:v>-0.26787399135284801</c:v>
                </c:pt>
                <c:pt idx="12234">
                  <c:v>-0.25464197538869898</c:v>
                </c:pt>
                <c:pt idx="12235">
                  <c:v>-0.25241124532826598</c:v>
                </c:pt>
                <c:pt idx="12236">
                  <c:v>-0.25018051526783303</c:v>
                </c:pt>
                <c:pt idx="12237">
                  <c:v>-0.34032482014795501</c:v>
                </c:pt>
                <c:pt idx="12238">
                  <c:v>-0.37309254690837501</c:v>
                </c:pt>
                <c:pt idx="12239">
                  <c:v>-0.38621955739457198</c:v>
                </c:pt>
                <c:pt idx="12240">
                  <c:v>-0.401463172672681</c:v>
                </c:pt>
                <c:pt idx="12241">
                  <c:v>-0.26212938599668001</c:v>
                </c:pt>
                <c:pt idx="12242">
                  <c:v>-0.230124571000698</c:v>
                </c:pt>
                <c:pt idx="12243">
                  <c:v>-0.22856683724079299</c:v>
                </c:pt>
                <c:pt idx="12244">
                  <c:v>-0.30320246585511101</c:v>
                </c:pt>
                <c:pt idx="12245">
                  <c:v>-0.38804553554450699</c:v>
                </c:pt>
                <c:pt idx="12246">
                  <c:v>-0.40486015155659999</c:v>
                </c:pt>
                <c:pt idx="12247">
                  <c:v>-0.43641567151591698</c:v>
                </c:pt>
                <c:pt idx="12248">
                  <c:v>-0.43501526703254001</c:v>
                </c:pt>
                <c:pt idx="12249">
                  <c:v>-0.42129603749788402</c:v>
                </c:pt>
                <c:pt idx="12250">
                  <c:v>-0.27960551607607698</c:v>
                </c:pt>
                <c:pt idx="12251">
                  <c:v>-0.20001208623932101</c:v>
                </c:pt>
                <c:pt idx="12252">
                  <c:v>-0.12449850034316901</c:v>
                </c:pt>
                <c:pt idx="12253">
                  <c:v>-0.180739760619756</c:v>
                </c:pt>
                <c:pt idx="12254">
                  <c:v>-0.16887849480528699</c:v>
                </c:pt>
                <c:pt idx="12255">
                  <c:v>-0.223214143331389</c:v>
                </c:pt>
                <c:pt idx="12256">
                  <c:v>-0.244593867414794</c:v>
                </c:pt>
                <c:pt idx="12257">
                  <c:v>-0.24533649210678299</c:v>
                </c:pt>
                <c:pt idx="12258">
                  <c:v>-0.17185421438895301</c:v>
                </c:pt>
                <c:pt idx="12259">
                  <c:v>-7.8958248422494895E-2</c:v>
                </c:pt>
                <c:pt idx="12260">
                  <c:v>-3.8692364911350099E-2</c:v>
                </c:pt>
                <c:pt idx="12261">
                  <c:v>0.104600429097951</c:v>
                </c:pt>
                <c:pt idx="12262">
                  <c:v>0.17381646552494101</c:v>
                </c:pt>
                <c:pt idx="12263">
                  <c:v>0.24618937126849899</c:v>
                </c:pt>
                <c:pt idx="12264">
                  <c:v>0.48553779724691098</c:v>
                </c:pt>
                <c:pt idx="12265">
                  <c:v>0.67968554614510501</c:v>
                </c:pt>
                <c:pt idx="12266">
                  <c:v>0.88411480853213098</c:v>
                </c:pt>
                <c:pt idx="12267">
                  <c:v>0.62223201277763796</c:v>
                </c:pt>
                <c:pt idx="12268">
                  <c:v>0.92605484646284297</c:v>
                </c:pt>
                <c:pt idx="12269">
                  <c:v>0.90039250813485106</c:v>
                </c:pt>
                <c:pt idx="12270">
                  <c:v>1.0044372627857301</c:v>
                </c:pt>
                <c:pt idx="12271">
                  <c:v>0.89092710045507495</c:v>
                </c:pt>
                <c:pt idx="12272">
                  <c:v>1.3703220676222101</c:v>
                </c:pt>
                <c:pt idx="12273">
                  <c:v>1.2445671526540301</c:v>
                </c:pt>
                <c:pt idx="12274">
                  <c:v>0.40624283832853902</c:v>
                </c:pt>
                <c:pt idx="12275">
                  <c:v>1.21531873452396</c:v>
                </c:pt>
                <c:pt idx="12276">
                  <c:v>1.08511423839258</c:v>
                </c:pt>
                <c:pt idx="12277">
                  <c:v>0.90147008407031204</c:v>
                </c:pt>
                <c:pt idx="12278">
                  <c:v>1.0437706479797599</c:v>
                </c:pt>
                <c:pt idx="12279">
                  <c:v>1.0308010256182401</c:v>
                </c:pt>
                <c:pt idx="12280">
                  <c:v>0.98880195711140395</c:v>
                </c:pt>
                <c:pt idx="12281">
                  <c:v>1.01491063551134</c:v>
                </c:pt>
                <c:pt idx="12282">
                  <c:v>1.0556874026271501</c:v>
                </c:pt>
                <c:pt idx="12283">
                  <c:v>1.03161312561701</c:v>
                </c:pt>
                <c:pt idx="12284">
                  <c:v>0.95991483544829703</c:v>
                </c:pt>
                <c:pt idx="12285">
                  <c:v>1.0039483053449301</c:v>
                </c:pt>
                <c:pt idx="12286">
                  <c:v>1.02106893388816</c:v>
                </c:pt>
                <c:pt idx="12287">
                  <c:v>1.0562689045159399</c:v>
                </c:pt>
                <c:pt idx="12288">
                  <c:v>1.0108096443129799</c:v>
                </c:pt>
                <c:pt idx="12289">
                  <c:v>0.99437983025534304</c:v>
                </c:pt>
                <c:pt idx="12290">
                  <c:v>1.13872908770004</c:v>
                </c:pt>
                <c:pt idx="12291">
                  <c:v>0.92224159054365396</c:v>
                </c:pt>
                <c:pt idx="12292">
                  <c:v>0.93283103829090697</c:v>
                </c:pt>
                <c:pt idx="12293">
                  <c:v>0.83804431187540196</c:v>
                </c:pt>
                <c:pt idx="12294">
                  <c:v>0.83654237262835296</c:v>
                </c:pt>
                <c:pt idx="12295">
                  <c:v>0.65147023566802598</c:v>
                </c:pt>
                <c:pt idx="12296">
                  <c:v>0.66043982593917605</c:v>
                </c:pt>
                <c:pt idx="12297">
                  <c:v>-0.114975590563401</c:v>
                </c:pt>
                <c:pt idx="12298">
                  <c:v>-0.114244981402924</c:v>
                </c:pt>
                <c:pt idx="12299">
                  <c:v>2.30644115496575E-2</c:v>
                </c:pt>
                <c:pt idx="12300">
                  <c:v>0.238757844082127</c:v>
                </c:pt>
                <c:pt idx="12301">
                  <c:v>0.26487541783963298</c:v>
                </c:pt>
                <c:pt idx="12302">
                  <c:v>0.22266302744910699</c:v>
                </c:pt>
                <c:pt idx="12303">
                  <c:v>0.23969581809723001</c:v>
                </c:pt>
                <c:pt idx="12304">
                  <c:v>0.26285098506411703</c:v>
                </c:pt>
                <c:pt idx="12305">
                  <c:v>0.27353396133650298</c:v>
                </c:pt>
                <c:pt idx="12306">
                  <c:v>0.27597795649821599</c:v>
                </c:pt>
                <c:pt idx="12307">
                  <c:v>0.223225410561394</c:v>
                </c:pt>
                <c:pt idx="12308">
                  <c:v>0.18271761726209401</c:v>
                </c:pt>
                <c:pt idx="12309">
                  <c:v>0.16904337208672801</c:v>
                </c:pt>
                <c:pt idx="12310">
                  <c:v>0.12241320246866599</c:v>
                </c:pt>
                <c:pt idx="12311">
                  <c:v>0.13068858326654201</c:v>
                </c:pt>
                <c:pt idx="12312">
                  <c:v>0.122486001843071</c:v>
                </c:pt>
                <c:pt idx="12313">
                  <c:v>0.14512274007038201</c:v>
                </c:pt>
                <c:pt idx="12314">
                  <c:v>0.120442196425562</c:v>
                </c:pt>
                <c:pt idx="12315">
                  <c:v>0.108944716141689</c:v>
                </c:pt>
                <c:pt idx="12316">
                  <c:v>9.7447235857815201E-2</c:v>
                </c:pt>
                <c:pt idx="12317">
                  <c:v>8.59497555739418E-2</c:v>
                </c:pt>
                <c:pt idx="12318">
                  <c:v>7.4452275290068204E-2</c:v>
                </c:pt>
                <c:pt idx="12319">
                  <c:v>7.8361046887666597E-2</c:v>
                </c:pt>
                <c:pt idx="12320">
                  <c:v>8.2269818485264906E-2</c:v>
                </c:pt>
                <c:pt idx="12321">
                  <c:v>8.6178590082863299E-2</c:v>
                </c:pt>
                <c:pt idx="12322">
                  <c:v>9.0087361680461595E-2</c:v>
                </c:pt>
                <c:pt idx="12323">
                  <c:v>9.2203936956044202E-2</c:v>
                </c:pt>
                <c:pt idx="12324">
                  <c:v>9.4320512231626699E-2</c:v>
                </c:pt>
                <c:pt idx="12325">
                  <c:v>9.6437087507209293E-2</c:v>
                </c:pt>
                <c:pt idx="12326">
                  <c:v>9.8553662782791901E-2</c:v>
                </c:pt>
                <c:pt idx="12327">
                  <c:v>0.12846346584219701</c:v>
                </c:pt>
                <c:pt idx="12328">
                  <c:v>0.158373268901603</c:v>
                </c:pt>
                <c:pt idx="12329">
                  <c:v>0.18828307196100799</c:v>
                </c:pt>
                <c:pt idx="12330">
                  <c:v>0.21819287502041401</c:v>
                </c:pt>
                <c:pt idx="12331">
                  <c:v>0.124238011772693</c:v>
                </c:pt>
                <c:pt idx="12332">
                  <c:v>3.9517206589823099E-2</c:v>
                </c:pt>
                <c:pt idx="12333">
                  <c:v>1.6628406351739799E-2</c:v>
                </c:pt>
                <c:pt idx="12334">
                  <c:v>5.7762288264110402E-2</c:v>
                </c:pt>
                <c:pt idx="12335">
                  <c:v>2.5716853320181199E-2</c:v>
                </c:pt>
                <c:pt idx="12336">
                  <c:v>-1.32132891231988E-4</c:v>
                </c:pt>
                <c:pt idx="12337">
                  <c:v>0.13487202481344801</c:v>
                </c:pt>
                <c:pt idx="12338">
                  <c:v>0.1461381002148</c:v>
                </c:pt>
                <c:pt idx="12339">
                  <c:v>0.13149317270865701</c:v>
                </c:pt>
                <c:pt idx="12340">
                  <c:v>0.197274817160561</c:v>
                </c:pt>
                <c:pt idx="12341">
                  <c:v>0.287773404944486</c:v>
                </c:pt>
                <c:pt idx="12342">
                  <c:v>0.39074418342290901</c:v>
                </c:pt>
                <c:pt idx="12343">
                  <c:v>0.320430508162312</c:v>
                </c:pt>
                <c:pt idx="12344">
                  <c:v>0.31807121416526302</c:v>
                </c:pt>
                <c:pt idx="12345">
                  <c:v>0.32818411086271299</c:v>
                </c:pt>
                <c:pt idx="12346">
                  <c:v>0.33829700756016201</c:v>
                </c:pt>
                <c:pt idx="12347">
                  <c:v>0.48659210842033102</c:v>
                </c:pt>
                <c:pt idx="12348">
                  <c:v>0.601931284837805</c:v>
                </c:pt>
                <c:pt idx="12349">
                  <c:v>0.76670434791932196</c:v>
                </c:pt>
                <c:pt idx="12350">
                  <c:v>0.96042756391668405</c:v>
                </c:pt>
                <c:pt idx="12351">
                  <c:v>0.87792269792634303</c:v>
                </c:pt>
                <c:pt idx="12352">
                  <c:v>0.84901085577011604</c:v>
                </c:pt>
                <c:pt idx="12353">
                  <c:v>0.897297894573716</c:v>
                </c:pt>
                <c:pt idx="12354">
                  <c:v>0.90134197686018402</c:v>
                </c:pt>
                <c:pt idx="12355">
                  <c:v>0.85414587165320199</c:v>
                </c:pt>
                <c:pt idx="12356">
                  <c:v>0.78223282311419895</c:v>
                </c:pt>
                <c:pt idx="12357">
                  <c:v>0.71031977457519502</c:v>
                </c:pt>
                <c:pt idx="12358">
                  <c:v>0.63840672603619197</c:v>
                </c:pt>
                <c:pt idx="12359">
                  <c:v>0.718274554663068</c:v>
                </c:pt>
                <c:pt idx="12360">
                  <c:v>0.79814238328994302</c:v>
                </c:pt>
                <c:pt idx="12361">
                  <c:v>0.87801021191681805</c:v>
                </c:pt>
                <c:pt idx="12362">
                  <c:v>0.95787804054369297</c:v>
                </c:pt>
                <c:pt idx="12363">
                  <c:v>0.87808274733232505</c:v>
                </c:pt>
                <c:pt idx="12364">
                  <c:v>0.79828745412095803</c:v>
                </c:pt>
                <c:pt idx="12365">
                  <c:v>0.71849216090959001</c:v>
                </c:pt>
                <c:pt idx="12366">
                  <c:v>0.63869686769822198</c:v>
                </c:pt>
                <c:pt idx="12367">
                  <c:v>0.63269700947317797</c:v>
                </c:pt>
                <c:pt idx="12368">
                  <c:v>0.62669715124813397</c:v>
                </c:pt>
                <c:pt idx="12369">
                  <c:v>0.62069729302308896</c:v>
                </c:pt>
                <c:pt idx="12370">
                  <c:v>0.61469743479804495</c:v>
                </c:pt>
                <c:pt idx="12371">
                  <c:v>1.23867860496029</c:v>
                </c:pt>
                <c:pt idx="12372">
                  <c:v>1.0953670038241401</c:v>
                </c:pt>
                <c:pt idx="12373">
                  <c:v>0.95417200747990505</c:v>
                </c:pt>
                <c:pt idx="12374">
                  <c:v>0.93672031425470703</c:v>
                </c:pt>
                <c:pt idx="12375">
                  <c:v>1.1030761214920199</c:v>
                </c:pt>
                <c:pt idx="12376">
                  <c:v>1.1946676361603801</c:v>
                </c:pt>
                <c:pt idx="12377">
                  <c:v>1.1215483802133099</c:v>
                </c:pt>
                <c:pt idx="12378">
                  <c:v>1.1287816238105299</c:v>
                </c:pt>
                <c:pt idx="12379">
                  <c:v>1.13873081144456</c:v>
                </c:pt>
                <c:pt idx="12380">
                  <c:v>1.10860743204406</c:v>
                </c:pt>
                <c:pt idx="12381">
                  <c:v>0.70575100106740496</c:v>
                </c:pt>
                <c:pt idx="12382">
                  <c:v>0.42656380079603801</c:v>
                </c:pt>
                <c:pt idx="12383">
                  <c:v>0.25185895755872201</c:v>
                </c:pt>
                <c:pt idx="12384">
                  <c:v>0.16173982344952301</c:v>
                </c:pt>
                <c:pt idx="12385">
                  <c:v>0.147967417357768</c:v>
                </c:pt>
                <c:pt idx="12386">
                  <c:v>0.169193468086866</c:v>
                </c:pt>
                <c:pt idx="12387">
                  <c:v>0.17292856500130999</c:v>
                </c:pt>
                <c:pt idx="12388">
                  <c:v>0.37789169401821099</c:v>
                </c:pt>
                <c:pt idx="12389">
                  <c:v>0.26854580500264102</c:v>
                </c:pt>
                <c:pt idx="12390">
                  <c:v>0.30516275394602599</c:v>
                </c:pt>
                <c:pt idx="12391">
                  <c:v>0.16732827455093299</c:v>
                </c:pt>
                <c:pt idx="12392">
                  <c:v>0.18377490745493499</c:v>
                </c:pt>
                <c:pt idx="12393">
                  <c:v>0.220705274107133</c:v>
                </c:pt>
                <c:pt idx="12394">
                  <c:v>0.14243805003740601</c:v>
                </c:pt>
                <c:pt idx="12395">
                  <c:v>0.13692657175640999</c:v>
                </c:pt>
                <c:pt idx="12396">
                  <c:v>0.16633947788251399</c:v>
                </c:pt>
                <c:pt idx="12397">
                  <c:v>0.17088207503337499</c:v>
                </c:pt>
                <c:pt idx="12398">
                  <c:v>0.16317991954671299</c:v>
                </c:pt>
                <c:pt idx="12399">
                  <c:v>0.23177230725943901</c:v>
                </c:pt>
                <c:pt idx="12400">
                  <c:v>0.199528461679676</c:v>
                </c:pt>
                <c:pt idx="12401">
                  <c:v>0.23735560215537399</c:v>
                </c:pt>
                <c:pt idx="12402">
                  <c:v>0.29982561354933801</c:v>
                </c:pt>
                <c:pt idx="12403">
                  <c:v>0.29515157118726698</c:v>
                </c:pt>
                <c:pt idx="12404">
                  <c:v>0.22675113632975699</c:v>
                </c:pt>
                <c:pt idx="12405">
                  <c:v>0.285724193233655</c:v>
                </c:pt>
                <c:pt idx="12406">
                  <c:v>0.25436474757515798</c:v>
                </c:pt>
                <c:pt idx="12407">
                  <c:v>0.25309923839958398</c:v>
                </c:pt>
                <c:pt idx="12408">
                  <c:v>0.237472371794575</c:v>
                </c:pt>
                <c:pt idx="12409">
                  <c:v>0.25268482484034799</c:v>
                </c:pt>
                <c:pt idx="12410">
                  <c:v>0.15058308237228399</c:v>
                </c:pt>
                <c:pt idx="12411">
                  <c:v>6.0744351614225901E-2</c:v>
                </c:pt>
                <c:pt idx="12412">
                  <c:v>1.80747579007902E-2</c:v>
                </c:pt>
                <c:pt idx="12413">
                  <c:v>4.0538066324724096E-3</c:v>
                </c:pt>
                <c:pt idx="12414">
                  <c:v>-5.8080074657756399E-3</c:v>
                </c:pt>
                <c:pt idx="12415">
                  <c:v>-1.01480795277383E-2</c:v>
                </c:pt>
                <c:pt idx="12416">
                  <c:v>-3.7035058890741303E-2</c:v>
                </c:pt>
                <c:pt idx="12417">
                  <c:v>-2.0610527908462999E-2</c:v>
                </c:pt>
                <c:pt idx="12418">
                  <c:v>-6.8220213964514706E-2</c:v>
                </c:pt>
                <c:pt idx="12419">
                  <c:v>-0.111744835264249</c:v>
                </c:pt>
                <c:pt idx="12420">
                  <c:v>-0.124430136913202</c:v>
                </c:pt>
                <c:pt idx="12421">
                  <c:v>-0.13499883377024099</c:v>
                </c:pt>
                <c:pt idx="12422">
                  <c:v>-0.11464520170474</c:v>
                </c:pt>
                <c:pt idx="12423">
                  <c:v>-8.8169193320477707E-2</c:v>
                </c:pt>
                <c:pt idx="12424">
                  <c:v>-9.0569265438306498E-2</c:v>
                </c:pt>
                <c:pt idx="12425">
                  <c:v>-8.0571219275391695E-2</c:v>
                </c:pt>
                <c:pt idx="12426">
                  <c:v>-7.2006477195871596E-2</c:v>
                </c:pt>
                <c:pt idx="12427">
                  <c:v>-0.11287562178039499</c:v>
                </c:pt>
                <c:pt idx="12428">
                  <c:v>-0.120788841922223</c:v>
                </c:pt>
                <c:pt idx="12429">
                  <c:v>-0.122579685745289</c:v>
                </c:pt>
                <c:pt idx="12430">
                  <c:v>-8.0733078106924995E-4</c:v>
                </c:pt>
                <c:pt idx="12431">
                  <c:v>0.14003616125431001</c:v>
                </c:pt>
                <c:pt idx="12432">
                  <c:v>-2.7755463105946002E-3</c:v>
                </c:pt>
                <c:pt idx="12433">
                  <c:v>-1.4800569897273901E-2</c:v>
                </c:pt>
                <c:pt idx="12434">
                  <c:v>4.9185050756444398E-4</c:v>
                </c:pt>
                <c:pt idx="12435">
                  <c:v>8.7897789346022104E-2</c:v>
                </c:pt>
                <c:pt idx="12436">
                  <c:v>0.23980298039283299</c:v>
                </c:pt>
                <c:pt idx="12437">
                  <c:v>0.25509540079767201</c:v>
                </c:pt>
                <c:pt idx="12438">
                  <c:v>0.14015955444168399</c:v>
                </c:pt>
                <c:pt idx="12439">
                  <c:v>0.19690900796227601</c:v>
                </c:pt>
                <c:pt idx="12440">
                  <c:v>0.39758398787937799</c:v>
                </c:pt>
                <c:pt idx="12441">
                  <c:v>0.28969674319828898</c:v>
                </c:pt>
                <c:pt idx="12442">
                  <c:v>0.485577280106264</c:v>
                </c:pt>
                <c:pt idx="12443">
                  <c:v>0.53300279137889095</c:v>
                </c:pt>
                <c:pt idx="12444">
                  <c:v>0.63212693893497995</c:v>
                </c:pt>
                <c:pt idx="12445">
                  <c:v>0.74758090388490905</c:v>
                </c:pt>
                <c:pt idx="12446">
                  <c:v>0.737079610529775</c:v>
                </c:pt>
                <c:pt idx="12447">
                  <c:v>0.72657831717464205</c:v>
                </c:pt>
                <c:pt idx="12448">
                  <c:v>0.81980794243253996</c:v>
                </c:pt>
                <c:pt idx="12449">
                  <c:v>0.83402359240942803</c:v>
                </c:pt>
                <c:pt idx="12450">
                  <c:v>0.81342821206817795</c:v>
                </c:pt>
                <c:pt idx="12451">
                  <c:v>0.79283283172692898</c:v>
                </c:pt>
                <c:pt idx="12452">
                  <c:v>0.77223745138567901</c:v>
                </c:pt>
                <c:pt idx="12453">
                  <c:v>0.75164207104443004</c:v>
                </c:pt>
                <c:pt idx="12454">
                  <c:v>0.75791736080451699</c:v>
                </c:pt>
                <c:pt idx="12455">
                  <c:v>0.76419265056460395</c:v>
                </c:pt>
                <c:pt idx="12456">
                  <c:v>0.77046794032469101</c:v>
                </c:pt>
                <c:pt idx="12457">
                  <c:v>0.77674323008477797</c:v>
                </c:pt>
                <c:pt idx="12458">
                  <c:v>0.79114437076774702</c:v>
                </c:pt>
                <c:pt idx="12459">
                  <c:v>0.80554551145071696</c:v>
                </c:pt>
                <c:pt idx="12460">
                  <c:v>0.819946652133687</c:v>
                </c:pt>
                <c:pt idx="12461">
                  <c:v>0.83434779281665705</c:v>
                </c:pt>
                <c:pt idx="12462">
                  <c:v>0.78433464744622805</c:v>
                </c:pt>
                <c:pt idx="12463">
                  <c:v>0.73432150207580005</c:v>
                </c:pt>
                <c:pt idx="12464">
                  <c:v>0.68430835670537105</c:v>
                </c:pt>
                <c:pt idx="12465">
                  <c:v>1.4931177068094199</c:v>
                </c:pt>
                <c:pt idx="12466">
                  <c:v>1.6603313048831301</c:v>
                </c:pt>
                <c:pt idx="12467">
                  <c:v>1.6627652807433599</c:v>
                </c:pt>
                <c:pt idx="12468">
                  <c:v>0.91211726586383102</c:v>
                </c:pt>
                <c:pt idx="12469">
                  <c:v>0.99498303449782299</c:v>
                </c:pt>
                <c:pt idx="12470">
                  <c:v>1.0816658681701701</c:v>
                </c:pt>
                <c:pt idx="12471">
                  <c:v>1.15164330156419</c:v>
                </c:pt>
                <c:pt idx="12472">
                  <c:v>1.0418610719267001</c:v>
                </c:pt>
                <c:pt idx="12473">
                  <c:v>0.87062764104462498</c:v>
                </c:pt>
                <c:pt idx="12474">
                  <c:v>0.72815899066627299</c:v>
                </c:pt>
                <c:pt idx="12475">
                  <c:v>0.74261700590663304</c:v>
                </c:pt>
                <c:pt idx="12476">
                  <c:v>0.85383141049887801</c:v>
                </c:pt>
                <c:pt idx="12477">
                  <c:v>0.97321072378804396</c:v>
                </c:pt>
                <c:pt idx="12478">
                  <c:v>0.92673825692300105</c:v>
                </c:pt>
                <c:pt idx="12479">
                  <c:v>0.86991020415537301</c:v>
                </c:pt>
                <c:pt idx="12480">
                  <c:v>0.85420298452735899</c:v>
                </c:pt>
                <c:pt idx="12481">
                  <c:v>1.57894175766996</c:v>
                </c:pt>
                <c:pt idx="12482">
                  <c:v>0.78072549741501396</c:v>
                </c:pt>
                <c:pt idx="12483">
                  <c:v>0.81766908690441198</c:v>
                </c:pt>
                <c:pt idx="12484">
                  <c:v>0.81576181368932899</c:v>
                </c:pt>
                <c:pt idx="12485">
                  <c:v>0.88793129805655602</c:v>
                </c:pt>
                <c:pt idx="12486">
                  <c:v>0.83070454614894595</c:v>
                </c:pt>
                <c:pt idx="12487">
                  <c:v>0.73636273262857199</c:v>
                </c:pt>
                <c:pt idx="12488">
                  <c:v>0.65230243259702902</c:v>
                </c:pt>
                <c:pt idx="12489">
                  <c:v>0.75176527730082598</c:v>
                </c:pt>
                <c:pt idx="12490">
                  <c:v>0.77164531111322199</c:v>
                </c:pt>
                <c:pt idx="12491">
                  <c:v>0.81231058914454402</c:v>
                </c:pt>
                <c:pt idx="12492">
                  <c:v>0.81790333794125902</c:v>
                </c:pt>
                <c:pt idx="12493">
                  <c:v>0.71411936186408198</c:v>
                </c:pt>
                <c:pt idx="12494">
                  <c:v>0.74336284109137396</c:v>
                </c:pt>
                <c:pt idx="12495">
                  <c:v>0.64886823801533899</c:v>
                </c:pt>
                <c:pt idx="12496">
                  <c:v>0.62656122578667595</c:v>
                </c:pt>
                <c:pt idx="12497">
                  <c:v>0.593898627655428</c:v>
                </c:pt>
                <c:pt idx="12498">
                  <c:v>0.52914372708584501</c:v>
                </c:pt>
                <c:pt idx="12499">
                  <c:v>0.47058527524877802</c:v>
                </c:pt>
                <c:pt idx="12500">
                  <c:v>0.44090290391380299</c:v>
                </c:pt>
                <c:pt idx="12501">
                  <c:v>0.37002562702545899</c:v>
                </c:pt>
                <c:pt idx="12502">
                  <c:v>0.331381425834539</c:v>
                </c:pt>
                <c:pt idx="12503">
                  <c:v>0.30709858207305302</c:v>
                </c:pt>
                <c:pt idx="12504">
                  <c:v>0.25809879497954702</c:v>
                </c:pt>
                <c:pt idx="12505">
                  <c:v>0.227693574899301</c:v>
                </c:pt>
                <c:pt idx="12506">
                  <c:v>0.17688775775298099</c:v>
                </c:pt>
                <c:pt idx="12507">
                  <c:v>0.111720583177226</c:v>
                </c:pt>
                <c:pt idx="12508">
                  <c:v>0.10634288116810001</c:v>
                </c:pt>
                <c:pt idx="12509">
                  <c:v>9.8848574367061598E-2</c:v>
                </c:pt>
                <c:pt idx="12510">
                  <c:v>8.0650256524448599E-2</c:v>
                </c:pt>
                <c:pt idx="12511">
                  <c:v>6.2451938681835698E-2</c:v>
                </c:pt>
                <c:pt idx="12512">
                  <c:v>4.4253620839222803E-2</c:v>
                </c:pt>
                <c:pt idx="12513">
                  <c:v>2.6055302996609901E-2</c:v>
                </c:pt>
                <c:pt idx="12514">
                  <c:v>1.81496971057249E-2</c:v>
                </c:pt>
                <c:pt idx="12515">
                  <c:v>1.02440912148399E-2</c:v>
                </c:pt>
                <c:pt idx="12516">
                  <c:v>2.3384853239549201E-3</c:v>
                </c:pt>
                <c:pt idx="12517">
                  <c:v>-5.5671205669300403E-3</c:v>
                </c:pt>
                <c:pt idx="12518">
                  <c:v>2.3302997106038999E-2</c:v>
                </c:pt>
                <c:pt idx="12519">
                  <c:v>5.2173114779008101E-2</c:v>
                </c:pt>
                <c:pt idx="12520">
                  <c:v>8.1043232451977101E-2</c:v>
                </c:pt>
                <c:pt idx="12521">
                  <c:v>0.109913350124946</c:v>
                </c:pt>
                <c:pt idx="12522">
                  <c:v>0.10827091944353399</c:v>
                </c:pt>
                <c:pt idx="12523">
                  <c:v>0.106628488762122</c:v>
                </c:pt>
                <c:pt idx="12524">
                  <c:v>0.10498605808071</c:v>
                </c:pt>
                <c:pt idx="12525">
                  <c:v>0.103343627399298</c:v>
                </c:pt>
                <c:pt idx="12526">
                  <c:v>0.175843853348851</c:v>
                </c:pt>
                <c:pt idx="12527">
                  <c:v>0.22399749803515101</c:v>
                </c:pt>
                <c:pt idx="12528">
                  <c:v>0.25567318050010401</c:v>
                </c:pt>
                <c:pt idx="12529">
                  <c:v>0.32030478740775198</c:v>
                </c:pt>
                <c:pt idx="12530">
                  <c:v>0.30147348588605599</c:v>
                </c:pt>
                <c:pt idx="12531">
                  <c:v>0.274403203253686</c:v>
                </c:pt>
                <c:pt idx="12532">
                  <c:v>0.25557190173198902</c:v>
                </c:pt>
                <c:pt idx="12533">
                  <c:v>0.25321856243163998</c:v>
                </c:pt>
                <c:pt idx="12534">
                  <c:v>0.309608044401192</c:v>
                </c:pt>
                <c:pt idx="12535">
                  <c:v>0.42367039414545998</c:v>
                </c:pt>
                <c:pt idx="12536">
                  <c:v>0.43886497056164298</c:v>
                </c:pt>
                <c:pt idx="12537">
                  <c:v>0.48504701145611701</c:v>
                </c:pt>
                <c:pt idx="12538">
                  <c:v>0.59772507701495003</c:v>
                </c:pt>
                <c:pt idx="12539">
                  <c:v>0.69407332517994402</c:v>
                </c:pt>
                <c:pt idx="12540">
                  <c:v>0.92391744142510701</c:v>
                </c:pt>
                <c:pt idx="12541">
                  <c:v>0.96244467698787595</c:v>
                </c:pt>
                <c:pt idx="12542">
                  <c:v>0.91478912614761998</c:v>
                </c:pt>
                <c:pt idx="12543">
                  <c:v>0.89797289495814603</c:v>
                </c:pt>
                <c:pt idx="12544">
                  <c:v>0.90171969074633695</c:v>
                </c:pt>
                <c:pt idx="12545">
                  <c:v>0.97742663932492602</c:v>
                </c:pt>
                <c:pt idx="12546">
                  <c:v>0.98855334348397905</c:v>
                </c:pt>
                <c:pt idx="12547">
                  <c:v>0.89279551044553596</c:v>
                </c:pt>
                <c:pt idx="12548">
                  <c:v>0.846471564071135</c:v>
                </c:pt>
                <c:pt idx="12549">
                  <c:v>0.87429844769279796</c:v>
                </c:pt>
                <c:pt idx="12550">
                  <c:v>0.96243537348267705</c:v>
                </c:pt>
                <c:pt idx="12551">
                  <c:v>1.0093773937191901</c:v>
                </c:pt>
                <c:pt idx="12552">
                  <c:v>1.08103635728772</c:v>
                </c:pt>
                <c:pt idx="12553">
                  <c:v>1.2598020752950101</c:v>
                </c:pt>
                <c:pt idx="12554">
                  <c:v>1.45450581408225</c:v>
                </c:pt>
                <c:pt idx="12555">
                  <c:v>1.0602144285408599</c:v>
                </c:pt>
                <c:pt idx="12556">
                  <c:v>1.08386280315265</c:v>
                </c:pt>
                <c:pt idx="12557">
                  <c:v>1.09942556229699</c:v>
                </c:pt>
                <c:pt idx="12558">
                  <c:v>1.04345889477735</c:v>
                </c:pt>
                <c:pt idx="12559">
                  <c:v>0.96693442109576</c:v>
                </c:pt>
                <c:pt idx="12560">
                  <c:v>0.85949133453392101</c:v>
                </c:pt>
                <c:pt idx="12561">
                  <c:v>0.77487602456916604</c:v>
                </c:pt>
                <c:pt idx="12562">
                  <c:v>1.2129834922384299</c:v>
                </c:pt>
                <c:pt idx="12563">
                  <c:v>1.1545345013019399</c:v>
                </c:pt>
                <c:pt idx="12564">
                  <c:v>1.37621086812835</c:v>
                </c:pt>
                <c:pt idx="12565">
                  <c:v>1.5154974238480301</c:v>
                </c:pt>
                <c:pt idx="12566">
                  <c:v>1.6357215230812301</c:v>
                </c:pt>
                <c:pt idx="12567">
                  <c:v>1.4511033212195099</c:v>
                </c:pt>
                <c:pt idx="12568">
                  <c:v>1.6784341748914799</c:v>
                </c:pt>
                <c:pt idx="12569">
                  <c:v>0.90786808898378502</c:v>
                </c:pt>
                <c:pt idx="12570">
                  <c:v>0.90431282047847295</c:v>
                </c:pt>
                <c:pt idx="12571">
                  <c:v>0.85540350924972097</c:v>
                </c:pt>
                <c:pt idx="12572">
                  <c:v>0.91980262200795704</c:v>
                </c:pt>
                <c:pt idx="12573">
                  <c:v>0.95948479143417198</c:v>
                </c:pt>
                <c:pt idx="12574">
                  <c:v>0.96013787308130705</c:v>
                </c:pt>
                <c:pt idx="12575">
                  <c:v>1.0719827739235199</c:v>
                </c:pt>
                <c:pt idx="12576">
                  <c:v>1.00838051454751</c:v>
                </c:pt>
                <c:pt idx="12577">
                  <c:v>0.87689794632170603</c:v>
                </c:pt>
                <c:pt idx="12578">
                  <c:v>0.87816672032562304</c:v>
                </c:pt>
                <c:pt idx="12579">
                  <c:v>1.06462999869317</c:v>
                </c:pt>
                <c:pt idx="12580">
                  <c:v>0.87517528200582195</c:v>
                </c:pt>
                <c:pt idx="12581">
                  <c:v>0.63523319173364001</c:v>
                </c:pt>
                <c:pt idx="12582">
                  <c:v>0.63057494660297797</c:v>
                </c:pt>
                <c:pt idx="12583">
                  <c:v>0.64012469325853105</c:v>
                </c:pt>
                <c:pt idx="12584">
                  <c:v>0.61271274394453901</c:v>
                </c:pt>
                <c:pt idx="12585">
                  <c:v>0.55029792767507602</c:v>
                </c:pt>
                <c:pt idx="12586">
                  <c:v>0.57571470821931403</c:v>
                </c:pt>
                <c:pt idx="12587">
                  <c:v>0.506116121319096</c:v>
                </c:pt>
                <c:pt idx="12588">
                  <c:v>0.43644346200512302</c:v>
                </c:pt>
                <c:pt idx="12589">
                  <c:v>0.38536536970441099</c:v>
                </c:pt>
                <c:pt idx="12590">
                  <c:v>0.39914197538391899</c:v>
                </c:pt>
                <c:pt idx="12591">
                  <c:v>0.39855722363399398</c:v>
                </c:pt>
                <c:pt idx="12592">
                  <c:v>0.40621145299474198</c:v>
                </c:pt>
                <c:pt idx="12593">
                  <c:v>0.42822703978492399</c:v>
                </c:pt>
                <c:pt idx="12594">
                  <c:v>0.41101329009655702</c:v>
                </c:pt>
                <c:pt idx="12595">
                  <c:v>0.37732157818684198</c:v>
                </c:pt>
                <c:pt idx="12596">
                  <c:v>0.34770971021773101</c:v>
                </c:pt>
                <c:pt idx="12597">
                  <c:v>0.186125999650331</c:v>
                </c:pt>
                <c:pt idx="12598">
                  <c:v>0.149958192393399</c:v>
                </c:pt>
                <c:pt idx="12599">
                  <c:v>0.119986833868983</c:v>
                </c:pt>
                <c:pt idx="12600">
                  <c:v>0.112695107114143</c:v>
                </c:pt>
                <c:pt idx="12601">
                  <c:v>9.5121866870470098E-2</c:v>
                </c:pt>
                <c:pt idx="12602">
                  <c:v>6.6567581620841504E-2</c:v>
                </c:pt>
                <c:pt idx="12603">
                  <c:v>5.4491258592560203E-2</c:v>
                </c:pt>
                <c:pt idx="12604">
                  <c:v>4.2414935564278798E-2</c:v>
                </c:pt>
                <c:pt idx="12605">
                  <c:v>3.0338612535997501E-2</c:v>
                </c:pt>
                <c:pt idx="12606">
                  <c:v>4.18637427926698E-2</c:v>
                </c:pt>
                <c:pt idx="12607">
                  <c:v>5.3388873049341999E-2</c:v>
                </c:pt>
                <c:pt idx="12608">
                  <c:v>6.4914003306014295E-2</c:v>
                </c:pt>
                <c:pt idx="12609">
                  <c:v>7.6439133562686598E-2</c:v>
                </c:pt>
                <c:pt idx="12610">
                  <c:v>5.3346305566031697E-2</c:v>
                </c:pt>
                <c:pt idx="12611">
                  <c:v>3.0253477569376901E-2</c:v>
                </c:pt>
                <c:pt idx="12612">
                  <c:v>7.16064957272194E-3</c:v>
                </c:pt>
                <c:pt idx="12613">
                  <c:v>-1.5932178423932901E-2</c:v>
                </c:pt>
                <c:pt idx="12614">
                  <c:v>2.7503572423884799E-2</c:v>
                </c:pt>
                <c:pt idx="12615">
                  <c:v>7.0939323271702506E-2</c:v>
                </c:pt>
                <c:pt idx="12616">
                  <c:v>0.11437507411952</c:v>
                </c:pt>
                <c:pt idx="12617">
                  <c:v>0.157810824967338</c:v>
                </c:pt>
                <c:pt idx="12618">
                  <c:v>0.18989915159873</c:v>
                </c:pt>
                <c:pt idx="12619">
                  <c:v>0.22198747823012099</c:v>
                </c:pt>
                <c:pt idx="12620">
                  <c:v>0.25407580486151299</c:v>
                </c:pt>
                <c:pt idx="12621">
                  <c:v>0.199244821147327</c:v>
                </c:pt>
                <c:pt idx="12622">
                  <c:v>0.220907130523745</c:v>
                </c:pt>
                <c:pt idx="12623">
                  <c:v>0.19313555323612</c:v>
                </c:pt>
                <c:pt idx="12624">
                  <c:v>0.18184193816984201</c:v>
                </c:pt>
                <c:pt idx="12625">
                  <c:v>0.17054832310356499</c:v>
                </c:pt>
                <c:pt idx="12626">
                  <c:v>0.22280665322128701</c:v>
                </c:pt>
                <c:pt idx="12627">
                  <c:v>0.26141146457134001</c:v>
                </c:pt>
                <c:pt idx="12628">
                  <c:v>0.28071387024636701</c:v>
                </c:pt>
                <c:pt idx="12629">
                  <c:v>0.33120191243056901</c:v>
                </c:pt>
                <c:pt idx="12630">
                  <c:v>0.38168995461477101</c:v>
                </c:pt>
                <c:pt idx="12631">
                  <c:v>0.39922207235627899</c:v>
                </c:pt>
                <c:pt idx="12632">
                  <c:v>0.44971011454048099</c:v>
                </c:pt>
                <c:pt idx="12633">
                  <c:v>0.585950296717618</c:v>
                </c:pt>
                <c:pt idx="12634">
                  <c:v>0.70571251667340795</c:v>
                </c:pt>
                <c:pt idx="12635">
                  <c:v>0.85843066107189403</c:v>
                </c:pt>
                <c:pt idx="12636">
                  <c:v>0.97819288102768398</c:v>
                </c:pt>
                <c:pt idx="12637">
                  <c:v>1.00618768612347</c:v>
                </c:pt>
                <c:pt idx="12638">
                  <c:v>1.0671384156619399</c:v>
                </c:pt>
                <c:pt idx="12639">
                  <c:v>1.03746035298301</c:v>
                </c:pt>
                <c:pt idx="12640">
                  <c:v>1.0407382147467701</c:v>
                </c:pt>
                <c:pt idx="12641">
                  <c:v>1.0326995586885199</c:v>
                </c:pt>
                <c:pt idx="12642">
                  <c:v>1.02466090263028</c:v>
                </c:pt>
                <c:pt idx="12643">
                  <c:v>1.01662224657203</c:v>
                </c:pt>
                <c:pt idx="12644">
                  <c:v>0.99210562829243398</c:v>
                </c:pt>
                <c:pt idx="12645">
                  <c:v>0.99463352071008504</c:v>
                </c:pt>
                <c:pt idx="12646">
                  <c:v>0.95596650757436696</c:v>
                </c:pt>
                <c:pt idx="12647">
                  <c:v>1.0326452299880799</c:v>
                </c:pt>
                <c:pt idx="12648">
                  <c:v>1.0351731224057299</c:v>
                </c:pt>
                <c:pt idx="12649">
                  <c:v>0.99980514251332597</c:v>
                </c:pt>
                <c:pt idx="12650">
                  <c:v>1.0303490115063101</c:v>
                </c:pt>
                <c:pt idx="12651">
                  <c:v>1.0444149182779401</c:v>
                </c:pt>
                <c:pt idx="12652">
                  <c:v>1.0420028628282301</c:v>
                </c:pt>
                <c:pt idx="12653">
                  <c:v>1.0417949453533299</c:v>
                </c:pt>
                <c:pt idx="12654">
                  <c:v>1.0580649900997701</c:v>
                </c:pt>
                <c:pt idx="12655">
                  <c:v>1.05785707262486</c:v>
                </c:pt>
                <c:pt idx="12656">
                  <c:v>1.00821526848591</c:v>
                </c:pt>
                <c:pt idx="12657">
                  <c:v>1.0043008983400901</c:v>
                </c:pt>
                <c:pt idx="12658">
                  <c:v>0.98390856597291398</c:v>
                </c:pt>
                <c:pt idx="12659">
                  <c:v>0.930560309163045</c:v>
                </c:pt>
                <c:pt idx="12660">
                  <c:v>1.3880288812149499</c:v>
                </c:pt>
                <c:pt idx="12661">
                  <c:v>0.95545630337337795</c:v>
                </c:pt>
                <c:pt idx="12662">
                  <c:v>0.731265116248767</c:v>
                </c:pt>
                <c:pt idx="12663">
                  <c:v>0.648957733823605</c:v>
                </c:pt>
                <c:pt idx="12664">
                  <c:v>0.73983276199723802</c:v>
                </c:pt>
                <c:pt idx="12665">
                  <c:v>0.87638440621054203</c:v>
                </c:pt>
                <c:pt idx="12666">
                  <c:v>0.83129244147311299</c:v>
                </c:pt>
                <c:pt idx="12667">
                  <c:v>0.66495458210875102</c:v>
                </c:pt>
                <c:pt idx="12668">
                  <c:v>0.75018317292307501</c:v>
                </c:pt>
                <c:pt idx="12669">
                  <c:v>0.77624128299677597</c:v>
                </c:pt>
                <c:pt idx="12670">
                  <c:v>0.702897450398974</c:v>
                </c:pt>
                <c:pt idx="12671">
                  <c:v>0.51654670428491301</c:v>
                </c:pt>
                <c:pt idx="12672">
                  <c:v>0.455976572852337</c:v>
                </c:pt>
                <c:pt idx="12673">
                  <c:v>0.581178907178168</c:v>
                </c:pt>
                <c:pt idx="12674">
                  <c:v>0.76972683029924005</c:v>
                </c:pt>
                <c:pt idx="12675">
                  <c:v>1.33642779456254</c:v>
                </c:pt>
                <c:pt idx="12676">
                  <c:v>1.3168741434934299</c:v>
                </c:pt>
                <c:pt idx="12677">
                  <c:v>1.35530108774306</c:v>
                </c:pt>
                <c:pt idx="12678">
                  <c:v>1.13008063645113</c:v>
                </c:pt>
                <c:pt idx="12679">
                  <c:v>0.40522336970162998</c:v>
                </c:pt>
                <c:pt idx="12680">
                  <c:v>0.431183344072474</c:v>
                </c:pt>
                <c:pt idx="12681">
                  <c:v>0.39562006190269799</c:v>
                </c:pt>
                <c:pt idx="12682">
                  <c:v>0.26375526649498598</c:v>
                </c:pt>
                <c:pt idx="12683">
                  <c:v>0.39494528731880302</c:v>
                </c:pt>
                <c:pt idx="12684">
                  <c:v>0.24803682031073099</c:v>
                </c:pt>
                <c:pt idx="12685">
                  <c:v>0.16420942865152299</c:v>
                </c:pt>
                <c:pt idx="12686">
                  <c:v>0.19565892094370699</c:v>
                </c:pt>
                <c:pt idx="12687">
                  <c:v>0.12823541909209299</c:v>
                </c:pt>
                <c:pt idx="12688">
                  <c:v>0.118564078244663</c:v>
                </c:pt>
                <c:pt idx="12689">
                  <c:v>0.344385618514505</c:v>
                </c:pt>
                <c:pt idx="12690">
                  <c:v>0.31281381126081798</c:v>
                </c:pt>
                <c:pt idx="12691">
                  <c:v>0.24828607956443699</c:v>
                </c:pt>
                <c:pt idx="12692">
                  <c:v>0.20847529120007599</c:v>
                </c:pt>
                <c:pt idx="12693">
                  <c:v>0.22715355858182401</c:v>
                </c:pt>
                <c:pt idx="12694">
                  <c:v>0.26230978818492001</c:v>
                </c:pt>
                <c:pt idx="12695">
                  <c:v>0.280988055566668</c:v>
                </c:pt>
                <c:pt idx="12696">
                  <c:v>0.22551549295235199</c:v>
                </c:pt>
                <c:pt idx="12697">
                  <c:v>0.201305976675687</c:v>
                </c:pt>
                <c:pt idx="12698">
                  <c:v>0.144140535956328</c:v>
                </c:pt>
                <c:pt idx="12699">
                  <c:v>0.16936490634370499</c:v>
                </c:pt>
                <c:pt idx="12700">
                  <c:v>0.128677427845693</c:v>
                </c:pt>
                <c:pt idx="12701">
                  <c:v>0.10124375968669801</c:v>
                </c:pt>
                <c:pt idx="12702">
                  <c:v>8.3407435051864195E-2</c:v>
                </c:pt>
                <c:pt idx="12703">
                  <c:v>8.2049072638377102E-2</c:v>
                </c:pt>
                <c:pt idx="12704">
                  <c:v>6.1084612085173101E-2</c:v>
                </c:pt>
                <c:pt idx="12705">
                  <c:v>4.0120151531969198E-2</c:v>
                </c:pt>
                <c:pt idx="12706">
                  <c:v>1.91556909787652E-2</c:v>
                </c:pt>
                <c:pt idx="12707">
                  <c:v>-1.82867317957866E-2</c:v>
                </c:pt>
                <c:pt idx="12708">
                  <c:v>1.64958126430888E-2</c:v>
                </c:pt>
                <c:pt idx="12709">
                  <c:v>5.1278357081964099E-2</c:v>
                </c:pt>
                <c:pt idx="12710">
                  <c:v>8.6060901520839506E-2</c:v>
                </c:pt>
                <c:pt idx="12711">
                  <c:v>0.120843445959715</c:v>
                </c:pt>
                <c:pt idx="12712">
                  <c:v>0.15132458631322299</c:v>
                </c:pt>
                <c:pt idx="12713">
                  <c:v>0.21476165110942799</c:v>
                </c:pt>
                <c:pt idx="12714">
                  <c:v>0.24524279146293601</c:v>
                </c:pt>
                <c:pt idx="12715">
                  <c:v>0.218051064041728</c:v>
                </c:pt>
                <c:pt idx="12716">
                  <c:v>0.235912429363065</c:v>
                </c:pt>
                <c:pt idx="12717">
                  <c:v>0.27025175690574998</c:v>
                </c:pt>
                <c:pt idx="12718">
                  <c:v>0.28811312222708801</c:v>
                </c:pt>
                <c:pt idx="12719">
                  <c:v>0.28949652532707698</c:v>
                </c:pt>
                <c:pt idx="12720">
                  <c:v>0.28618096540592097</c:v>
                </c:pt>
                <c:pt idx="12721">
                  <c:v>0.34053827325948199</c:v>
                </c:pt>
                <c:pt idx="12722">
                  <c:v>0.32898373222765198</c:v>
                </c:pt>
                <c:pt idx="12723">
                  <c:v>0.32566817230649597</c:v>
                </c:pt>
                <c:pt idx="12724">
                  <c:v>0.41104545636974599</c:v>
                </c:pt>
                <c:pt idx="12725">
                  <c:v>0.37283802377288899</c:v>
                </c:pt>
                <c:pt idx="12726">
                  <c:v>0.42525938339344299</c:v>
                </c:pt>
                <c:pt idx="12727">
                  <c:v>0.46120278079264998</c:v>
                </c:pt>
                <c:pt idx="12728">
                  <c:v>0.57168291304015595</c:v>
                </c:pt>
                <c:pt idx="12729">
                  <c:v>0.71511896973035505</c:v>
                </c:pt>
                <c:pt idx="12730">
                  <c:v>0.82559910197786002</c:v>
                </c:pt>
                <c:pt idx="12731">
                  <c:v>0.90312330978267097</c:v>
                </c:pt>
                <c:pt idx="12732">
                  <c:v>0.915152953448088</c:v>
                </c:pt>
                <c:pt idx="12733">
                  <c:v>0.93716782094732398</c:v>
                </c:pt>
                <c:pt idx="12734">
                  <c:v>0.98389963177857898</c:v>
                </c:pt>
                <c:pt idx="12735">
                  <c:v>0.99767551816713995</c:v>
                </c:pt>
                <c:pt idx="12736">
                  <c:v>0.93916895906127895</c:v>
                </c:pt>
                <c:pt idx="12737">
                  <c:v>0.88066239995541695</c:v>
                </c:pt>
                <c:pt idx="12738">
                  <c:v>0.82215584084955595</c:v>
                </c:pt>
                <c:pt idx="12739">
                  <c:v>1.53985974887017</c:v>
                </c:pt>
                <c:pt idx="12740">
                  <c:v>1.78380679583211</c:v>
                </c:pt>
                <c:pt idx="12741">
                  <c:v>1.7060031860801901</c:v>
                </c:pt>
                <c:pt idx="12742">
                  <c:v>0.82435791933761704</c:v>
                </c:pt>
                <c:pt idx="12743">
                  <c:v>0.17517922115691201</c:v>
                </c:pt>
                <c:pt idx="12744">
                  <c:v>1.04851547166328E-2</c:v>
                </c:pt>
                <c:pt idx="12745">
                  <c:v>-8.8297062838255905E-2</c:v>
                </c:pt>
                <c:pt idx="12746">
                  <c:v>-0.183482616407598</c:v>
                </c:pt>
                <c:pt idx="12747">
                  <c:v>-0.27042918886626699</c:v>
                </c:pt>
                <c:pt idx="12748">
                  <c:v>-0.31618085577156502</c:v>
                </c:pt>
                <c:pt idx="12749">
                  <c:v>-0.41136640934090701</c:v>
                </c:pt>
                <c:pt idx="12750">
                  <c:v>-0.306424858506467</c:v>
                </c:pt>
                <c:pt idx="12751">
                  <c:v>-0.23443923211472201</c:v>
                </c:pt>
                <c:pt idx="12752">
                  <c:v>-0.16245360572297701</c:v>
                </c:pt>
                <c:pt idx="12753">
                  <c:v>-5.5469522510378497E-2</c:v>
                </c:pt>
                <c:pt idx="12754">
                  <c:v>-4.3238441265389699E-2</c:v>
                </c:pt>
                <c:pt idx="12755">
                  <c:v>-3.1007360020401602E-2</c:v>
                </c:pt>
                <c:pt idx="12756">
                  <c:v>-2.0892883567325299E-2</c:v>
                </c:pt>
                <c:pt idx="12757">
                  <c:v>-2.5139764543684998E-2</c:v>
                </c:pt>
                <c:pt idx="12758">
                  <c:v>-1.9173840383926999E-2</c:v>
                </c:pt>
                <c:pt idx="12759">
                  <c:v>3.2700459971786002E-3</c:v>
                </c:pt>
                <c:pt idx="12760">
                  <c:v>2.5713932378284302E-2</c:v>
                </c:pt>
                <c:pt idx="12761">
                  <c:v>3.1679856538042298E-2</c:v>
                </c:pt>
                <c:pt idx="12762">
                  <c:v>3.0292097027119699E-2</c:v>
                </c:pt>
                <c:pt idx="12763">
                  <c:v>2.27819611974358E-2</c:v>
                </c:pt>
                <c:pt idx="12764">
                  <c:v>-1.2061368535958899E-3</c:v>
                </c:pt>
                <c:pt idx="12765">
                  <c:v>-5.8150159347321997E-2</c:v>
                </c:pt>
                <c:pt idx="12766">
                  <c:v>-3.8831931425395101E-2</c:v>
                </c:pt>
                <c:pt idx="12767">
                  <c:v>-1.12747223927938E-2</c:v>
                </c:pt>
                <c:pt idx="12768">
                  <c:v>1.6282486639807501E-2</c:v>
                </c:pt>
                <c:pt idx="12769">
                  <c:v>4.38396956724088E-2</c:v>
                </c:pt>
                <c:pt idx="12770">
                  <c:v>2.6836127936481099E-2</c:v>
                </c:pt>
                <c:pt idx="12771">
                  <c:v>9.8325602005534495E-3</c:v>
                </c:pt>
                <c:pt idx="12772">
                  <c:v>-7.1710075353742502E-3</c:v>
                </c:pt>
                <c:pt idx="12773">
                  <c:v>-2.4174575271301998E-2</c:v>
                </c:pt>
                <c:pt idx="12774">
                  <c:v>-1.7546919417393701E-2</c:v>
                </c:pt>
                <c:pt idx="12775">
                  <c:v>-1.09192635634855E-2</c:v>
                </c:pt>
                <c:pt idx="12776">
                  <c:v>-4.29160770957726E-3</c:v>
                </c:pt>
                <c:pt idx="12777">
                  <c:v>2.3360481443309702E-3</c:v>
                </c:pt>
                <c:pt idx="12778">
                  <c:v>2.0960933580346499E-3</c:v>
                </c:pt>
                <c:pt idx="12779">
                  <c:v>1.8561385717383301E-3</c:v>
                </c:pt>
                <c:pt idx="12780">
                  <c:v>1.61618378544201E-3</c:v>
                </c:pt>
                <c:pt idx="12781">
                  <c:v>1.37622899914569E-3</c:v>
                </c:pt>
                <c:pt idx="12782">
                  <c:v>-7.6694844416171706E-2</c:v>
                </c:pt>
                <c:pt idx="12783">
                  <c:v>-9.4754228023598702E-2</c:v>
                </c:pt>
                <c:pt idx="12784">
                  <c:v>6.6912610884770603E-3</c:v>
                </c:pt>
                <c:pt idx="12785">
                  <c:v>5.1098397023971497E-3</c:v>
                </c:pt>
                <c:pt idx="12786">
                  <c:v>-5.0887819430568797E-2</c:v>
                </c:pt>
                <c:pt idx="12787">
                  <c:v>-3.6814492508074101E-2</c:v>
                </c:pt>
                <c:pt idx="12788">
                  <c:v>-7.2175052249621494E-2</c:v>
                </c:pt>
                <c:pt idx="12789">
                  <c:v>-5.8101725327126701E-2</c:v>
                </c:pt>
                <c:pt idx="12790">
                  <c:v>-9.3859310947630795E-3</c:v>
                </c:pt>
                <c:pt idx="12791">
                  <c:v>-5.1298929079809701E-2</c:v>
                </c:pt>
                <c:pt idx="12792">
                  <c:v>-3.55390592901405E-2</c:v>
                </c:pt>
                <c:pt idx="12793">
                  <c:v>-1.9779189500471198E-2</c:v>
                </c:pt>
                <c:pt idx="12794">
                  <c:v>4.6378133025486303E-2</c:v>
                </c:pt>
                <c:pt idx="12795">
                  <c:v>0.11253545555144399</c:v>
                </c:pt>
                <c:pt idx="12796">
                  <c:v>0.178692778077401</c:v>
                </c:pt>
                <c:pt idx="12797">
                  <c:v>0.24485010060335899</c:v>
                </c:pt>
                <c:pt idx="12798">
                  <c:v>0.18533036037182599</c:v>
                </c:pt>
                <c:pt idx="12799">
                  <c:v>0.12581062014029201</c:v>
                </c:pt>
                <c:pt idx="12800">
                  <c:v>8.2768842130106005E-2</c:v>
                </c:pt>
                <c:pt idx="12801">
                  <c:v>0.10563891300531</c:v>
                </c:pt>
                <c:pt idx="12802">
                  <c:v>-1.23418909484582E-2</c:v>
                </c:pt>
                <c:pt idx="12803">
                  <c:v>-1.1119332653453599E-2</c:v>
                </c:pt>
                <c:pt idx="12804">
                  <c:v>-7.8542419802905307E-3</c:v>
                </c:pt>
                <c:pt idx="12805">
                  <c:v>-1.07115276258883E-2</c:v>
                </c:pt>
                <c:pt idx="12806">
                  <c:v>0.1172795186518</c:v>
                </c:pt>
                <c:pt idx="12807">
                  <c:v>0.26598173673466002</c:v>
                </c:pt>
                <c:pt idx="12808">
                  <c:v>0.72799267508009802</c:v>
                </c:pt>
                <c:pt idx="12809">
                  <c:v>0.627255489407612</c:v>
                </c:pt>
                <c:pt idx="12810">
                  <c:v>0.687552746247032</c:v>
                </c:pt>
                <c:pt idx="12811">
                  <c:v>0.60551735376986504</c:v>
                </c:pt>
                <c:pt idx="12812">
                  <c:v>0.52348196129269797</c:v>
                </c:pt>
                <c:pt idx="12813">
                  <c:v>0.44144656881553002</c:v>
                </c:pt>
                <c:pt idx="12814">
                  <c:v>0.44920429459871802</c:v>
                </c:pt>
                <c:pt idx="12815">
                  <c:v>0.45696202038190598</c:v>
                </c:pt>
                <c:pt idx="12816">
                  <c:v>0.46471974616509298</c:v>
                </c:pt>
                <c:pt idx="12817">
                  <c:v>0.47247747194828099</c:v>
                </c:pt>
                <c:pt idx="12818">
                  <c:v>0.45552417439260301</c:v>
                </c:pt>
                <c:pt idx="12819">
                  <c:v>0.43857087683692397</c:v>
                </c:pt>
                <c:pt idx="12820">
                  <c:v>0.42161757928124599</c:v>
                </c:pt>
                <c:pt idx="12821">
                  <c:v>0.40466428172556801</c:v>
                </c:pt>
                <c:pt idx="12822">
                  <c:v>0.38792979634000202</c:v>
                </c:pt>
                <c:pt idx="12823">
                  <c:v>0.37119531095443598</c:v>
                </c:pt>
                <c:pt idx="12824">
                  <c:v>1.0291675969979801</c:v>
                </c:pt>
                <c:pt idx="12825">
                  <c:v>0.88876910172283696</c:v>
                </c:pt>
                <c:pt idx="12826">
                  <c:v>1.0005457523166701</c:v>
                </c:pt>
                <c:pt idx="12827">
                  <c:v>0.88933052276319002</c:v>
                </c:pt>
                <c:pt idx="12828">
                  <c:v>0.79459325543105197</c:v>
                </c:pt>
                <c:pt idx="12829">
                  <c:v>0.73084867339291804</c:v>
                </c:pt>
                <c:pt idx="12830">
                  <c:v>0.70888243454048805</c:v>
                </c:pt>
                <c:pt idx="12831">
                  <c:v>0.64329795405633605</c:v>
                </c:pt>
                <c:pt idx="12832">
                  <c:v>0.71030399955906798</c:v>
                </c:pt>
                <c:pt idx="12833">
                  <c:v>0.356117300512932</c:v>
                </c:pt>
                <c:pt idx="12834">
                  <c:v>-0.42253601268889401</c:v>
                </c:pt>
                <c:pt idx="12835">
                  <c:v>-0.41060787038447599</c:v>
                </c:pt>
                <c:pt idx="12836">
                  <c:v>-0.37819599433186202</c:v>
                </c:pt>
                <c:pt idx="12837">
                  <c:v>-0.31471736057148803</c:v>
                </c:pt>
                <c:pt idx="12838">
                  <c:v>-0.40148864064969397</c:v>
                </c:pt>
                <c:pt idx="12839">
                  <c:v>-0.36663844321648298</c:v>
                </c:pt>
                <c:pt idx="12840">
                  <c:v>-0.36278093107727699</c:v>
                </c:pt>
                <c:pt idx="12841">
                  <c:v>-0.33821224713289899</c:v>
                </c:pt>
                <c:pt idx="12842">
                  <c:v>-0.33187859142909898</c:v>
                </c:pt>
                <c:pt idx="12843">
                  <c:v>-0.32554493572529902</c:v>
                </c:pt>
                <c:pt idx="12844">
                  <c:v>-0.31921128002149901</c:v>
                </c:pt>
                <c:pt idx="12845">
                  <c:v>-0.312877624317699</c:v>
                </c:pt>
                <c:pt idx="12846">
                  <c:v>-0.28572204043221999</c:v>
                </c:pt>
                <c:pt idx="12847">
                  <c:v>-0.25856645654674199</c:v>
                </c:pt>
                <c:pt idx="12848">
                  <c:v>-0.23141087266126301</c:v>
                </c:pt>
                <c:pt idx="12849">
                  <c:v>-0.17129936433309001</c:v>
                </c:pt>
                <c:pt idx="12850">
                  <c:v>-0.13877298713442701</c:v>
                </c:pt>
                <c:pt idx="12851">
                  <c:v>-0.14540420392668901</c:v>
                </c:pt>
                <c:pt idx="12852">
                  <c:v>-0.12935578894937499</c:v>
                </c:pt>
                <c:pt idx="12853">
                  <c:v>-0.11746651114213</c:v>
                </c:pt>
                <c:pt idx="12854">
                  <c:v>-0.131027791602259</c:v>
                </c:pt>
                <c:pt idx="12855">
                  <c:v>-0.142472467270475</c:v>
                </c:pt>
                <c:pt idx="12856">
                  <c:v>-0.17863408627071301</c:v>
                </c:pt>
                <c:pt idx="12857">
                  <c:v>-0.17360079971758099</c:v>
                </c:pt>
                <c:pt idx="12858">
                  <c:v>-0.24261560094447299</c:v>
                </c:pt>
                <c:pt idx="12859">
                  <c:v>-0.30550802585260101</c:v>
                </c:pt>
                <c:pt idx="12860">
                  <c:v>-0.38276180819016598</c:v>
                </c:pt>
                <c:pt idx="12861">
                  <c:v>-0.41269830865559998</c:v>
                </c:pt>
                <c:pt idx="12862">
                  <c:v>-0.32972558946559299</c:v>
                </c:pt>
                <c:pt idx="12863">
                  <c:v>-0.230274908054238</c:v>
                </c:pt>
                <c:pt idx="12864">
                  <c:v>-0.13082422664288301</c:v>
                </c:pt>
                <c:pt idx="12865">
                  <c:v>-3.1373545231527397E-2</c:v>
                </c:pt>
                <c:pt idx="12866">
                  <c:v>-3.1373545231527397E-2</c:v>
                </c:pt>
                <c:pt idx="12867">
                  <c:v>-3.1373545231527397E-2</c:v>
                </c:pt>
                <c:pt idx="12868">
                  <c:v>-3.1373545231527397E-2</c:v>
                </c:pt>
                <c:pt idx="12869">
                  <c:v>-0.375598492922598</c:v>
                </c:pt>
                <c:pt idx="12870">
                  <c:v>-0.36236647695844898</c:v>
                </c:pt>
                <c:pt idx="12871">
                  <c:v>-0.34913446099430001</c:v>
                </c:pt>
                <c:pt idx="12872">
                  <c:v>-0.33590244503014999</c:v>
                </c:pt>
                <c:pt idx="12873">
                  <c:v>-0.32267042906600102</c:v>
                </c:pt>
                <c:pt idx="12874">
                  <c:v>-0.32043969900556801</c:v>
                </c:pt>
                <c:pt idx="12875">
                  <c:v>-0.31820896894513601</c:v>
                </c:pt>
                <c:pt idx="12876">
                  <c:v>-0.315978238884703</c:v>
                </c:pt>
                <c:pt idx="12877">
                  <c:v>-0.31374750882426999</c:v>
                </c:pt>
                <c:pt idx="12878">
                  <c:v>-0.31047062950287302</c:v>
                </c:pt>
                <c:pt idx="12879">
                  <c:v>-0.453675095036707</c:v>
                </c:pt>
                <c:pt idx="12880">
                  <c:v>-0.48335414015800499</c:v>
                </c:pt>
                <c:pt idx="12881">
                  <c:v>-0.42240439306189098</c:v>
                </c:pt>
                <c:pt idx="12882">
                  <c:v>-0.429011567998906</c:v>
                </c:pt>
                <c:pt idx="12883">
                  <c:v>-0.47681364848928998</c:v>
                </c:pt>
                <c:pt idx="12884">
                  <c:v>-0.48342082342630499</c:v>
                </c:pt>
                <c:pt idx="12885">
                  <c:v>-0.50650596058466801</c:v>
                </c:pt>
                <c:pt idx="12886">
                  <c:v>-0.52158351832263805</c:v>
                </c:pt>
                <c:pt idx="12887">
                  <c:v>-0.51194413272858597</c:v>
                </c:pt>
                <c:pt idx="12888">
                  <c:v>-0.48582678491318698</c:v>
                </c:pt>
                <c:pt idx="12889">
                  <c:v>-0.43499249376576599</c:v>
                </c:pt>
                <c:pt idx="12890">
                  <c:v>-0.279057556727281</c:v>
                </c:pt>
                <c:pt idx="12891">
                  <c:v>-0.17255650635283801</c:v>
                </c:pt>
                <c:pt idx="12892">
                  <c:v>-9.0772399310415697E-2</c:v>
                </c:pt>
                <c:pt idx="12893">
                  <c:v>-5.8422178932036203E-2</c:v>
                </c:pt>
                <c:pt idx="12894">
                  <c:v>-7.9801903015442793E-2</c:v>
                </c:pt>
                <c:pt idx="12895">
                  <c:v>-0.10118162709884899</c:v>
                </c:pt>
                <c:pt idx="12896">
                  <c:v>-0.10608338896090699</c:v>
                </c:pt>
                <c:pt idx="12897">
                  <c:v>-0.11922413193364</c:v>
                </c:pt>
                <c:pt idx="12898">
                  <c:v>-0.16353873673489899</c:v>
                </c:pt>
                <c:pt idx="12899">
                  <c:v>-0.199614360425484</c:v>
                </c:pt>
                <c:pt idx="12900">
                  <c:v>-0.23976982805667099</c:v>
                </c:pt>
                <c:pt idx="12901">
                  <c:v>-0.275845451747257</c:v>
                </c:pt>
                <c:pt idx="12902">
                  <c:v>-0.18510541704741501</c:v>
                </c:pt>
                <c:pt idx="12903">
                  <c:v>-0.13556028790094199</c:v>
                </c:pt>
                <c:pt idx="12904">
                  <c:v>-5.3059234311773201E-2</c:v>
                </c:pt>
                <c:pt idx="12905">
                  <c:v>5.4158762609416301E-2</c:v>
                </c:pt>
                <c:pt idx="12906">
                  <c:v>0.158203517260292</c:v>
                </c:pt>
                <c:pt idx="12907">
                  <c:v>0.34463808301790499</c:v>
                </c:pt>
                <c:pt idx="12908">
                  <c:v>0.36629302656204299</c:v>
                </c:pt>
                <c:pt idx="12909">
                  <c:v>0.54448861120898295</c:v>
                </c:pt>
                <c:pt idx="12910">
                  <c:v>0.59364146629989401</c:v>
                </c:pt>
                <c:pt idx="12911">
                  <c:v>0.69222820805484797</c:v>
                </c:pt>
                <c:pt idx="12912">
                  <c:v>0.62603532759632696</c:v>
                </c:pt>
                <c:pt idx="12913">
                  <c:v>0.63399327713386899</c:v>
                </c:pt>
                <c:pt idx="12914">
                  <c:v>0.82957491277527895</c:v>
                </c:pt>
                <c:pt idx="12915">
                  <c:v>0.90157183175658295</c:v>
                </c:pt>
                <c:pt idx="12916">
                  <c:v>0.82526709074575799</c:v>
                </c:pt>
                <c:pt idx="12917">
                  <c:v>0.84783012306301997</c:v>
                </c:pt>
                <c:pt idx="12918">
                  <c:v>0.83470713505827498</c:v>
                </c:pt>
                <c:pt idx="12919">
                  <c:v>0.813345165942856</c:v>
                </c:pt>
                <c:pt idx="12920">
                  <c:v>0.85789504571282704</c:v>
                </c:pt>
                <c:pt idx="12921">
                  <c:v>0.89420594437212597</c:v>
                </c:pt>
                <c:pt idx="12922">
                  <c:v>1.1110253587202199</c:v>
                </c:pt>
                <c:pt idx="12923">
                  <c:v>1.0230024719733799</c:v>
                </c:pt>
                <c:pt idx="12924">
                  <c:v>0.475510292480121</c:v>
                </c:pt>
                <c:pt idx="12925">
                  <c:v>0.43480468760541302</c:v>
                </c:pt>
                <c:pt idx="12926">
                  <c:v>0.50484974941082705</c:v>
                </c:pt>
                <c:pt idx="12927">
                  <c:v>0.57300564448130298</c:v>
                </c:pt>
                <c:pt idx="12928">
                  <c:v>0.618561201011671</c:v>
                </c:pt>
                <c:pt idx="12929">
                  <c:v>0.70551902857062398</c:v>
                </c:pt>
                <c:pt idx="12930">
                  <c:v>0.81717214766734003</c:v>
                </c:pt>
                <c:pt idx="12931">
                  <c:v>0.70394421988179701</c:v>
                </c:pt>
                <c:pt idx="12932">
                  <c:v>0.71264450089411202</c:v>
                </c:pt>
                <c:pt idx="12933">
                  <c:v>0.79345830034004605</c:v>
                </c:pt>
                <c:pt idx="12934">
                  <c:v>0.748681501133863</c:v>
                </c:pt>
                <c:pt idx="12935">
                  <c:v>0.72469516696231795</c:v>
                </c:pt>
                <c:pt idx="12936">
                  <c:v>0.667826980761832</c:v>
                </c:pt>
                <c:pt idx="12937">
                  <c:v>0.65404286684965196</c:v>
                </c:pt>
                <c:pt idx="12938">
                  <c:v>0.73383275767073797</c:v>
                </c:pt>
                <c:pt idx="12939">
                  <c:v>0.86941157034731698</c:v>
                </c:pt>
                <c:pt idx="12940">
                  <c:v>0.83135309631114895</c:v>
                </c:pt>
                <c:pt idx="12941">
                  <c:v>0.77054091809165004</c:v>
                </c:pt>
                <c:pt idx="12942">
                  <c:v>0.70472380070337204</c:v>
                </c:pt>
                <c:pt idx="12943">
                  <c:v>0.70285529305179395</c:v>
                </c:pt>
                <c:pt idx="12944">
                  <c:v>0.67014746574943296</c:v>
                </c:pt>
                <c:pt idx="12945">
                  <c:v>0.52821627921640002</c:v>
                </c:pt>
                <c:pt idx="12946">
                  <c:v>0.301910960612011</c:v>
                </c:pt>
                <c:pt idx="12947">
                  <c:v>0.26759961604522597</c:v>
                </c:pt>
                <c:pt idx="12948">
                  <c:v>0.21885284163525301</c:v>
                </c:pt>
                <c:pt idx="12949">
                  <c:v>0.15574470979584401</c:v>
                </c:pt>
                <c:pt idx="12950">
                  <c:v>6.7041484000572402E-2</c:v>
                </c:pt>
                <c:pt idx="12951">
                  <c:v>2.3766373342493399E-2</c:v>
                </c:pt>
                <c:pt idx="12952">
                  <c:v>5.20820601643551E-3</c:v>
                </c:pt>
                <c:pt idx="12953">
                  <c:v>1.13669820223987E-2</c:v>
                </c:pt>
                <c:pt idx="12954">
                  <c:v>-1.30498261474883E-4</c:v>
                </c:pt>
                <c:pt idx="12955">
                  <c:v>1.5131497164831699E-2</c:v>
                </c:pt>
                <c:pt idx="12956">
                  <c:v>3.63401688095816E-3</c:v>
                </c:pt>
                <c:pt idx="12957">
                  <c:v>-5.1100901334442103E-2</c:v>
                </c:pt>
                <c:pt idx="12958">
                  <c:v>-7.4025677860777794E-2</c:v>
                </c:pt>
                <c:pt idx="12959">
                  <c:v>-7.0116906263179499E-2</c:v>
                </c:pt>
                <c:pt idx="12960">
                  <c:v>-6.6208134665581106E-2</c:v>
                </c:pt>
                <c:pt idx="12961">
                  <c:v>-6.2299363067982803E-2</c:v>
                </c:pt>
                <c:pt idx="12962">
                  <c:v>-6.0182787792400202E-2</c:v>
                </c:pt>
                <c:pt idx="12963">
                  <c:v>-5.8066212516817602E-2</c:v>
                </c:pt>
                <c:pt idx="12964">
                  <c:v>-5.5949637241235098E-2</c:v>
                </c:pt>
                <c:pt idx="12965">
                  <c:v>-5.3833061965652497E-2</c:v>
                </c:pt>
                <c:pt idx="12966">
                  <c:v>-2.3923258906247101E-2</c:v>
                </c:pt>
                <c:pt idx="12967">
                  <c:v>5.9865441531583904E-3</c:v>
                </c:pt>
                <c:pt idx="12968">
                  <c:v>3.5896347212563802E-2</c:v>
                </c:pt>
                <c:pt idx="12969">
                  <c:v>6.5806150271969302E-2</c:v>
                </c:pt>
                <c:pt idx="12970">
                  <c:v>6.1511917047146203E-2</c:v>
                </c:pt>
                <c:pt idx="12971">
                  <c:v>5.7217683822323097E-2</c:v>
                </c:pt>
                <c:pt idx="12972">
                  <c:v>5.2923450597499901E-2</c:v>
                </c:pt>
                <c:pt idx="12973">
                  <c:v>4.8629217372676802E-2</c:v>
                </c:pt>
                <c:pt idx="12974">
                  <c:v>6.8134273884702806E-2</c:v>
                </c:pt>
                <c:pt idx="12975">
                  <c:v>-9.3988616106863404E-2</c:v>
                </c:pt>
                <c:pt idx="12976">
                  <c:v>-0.13215642736955299</c:v>
                </c:pt>
                <c:pt idx="12977">
                  <c:v>-0.11265137085752699</c:v>
                </c:pt>
                <c:pt idx="12978">
                  <c:v>2.7281103590440101E-2</c:v>
                </c:pt>
                <c:pt idx="12979">
                  <c:v>1.8911918046280101E-2</c:v>
                </c:pt>
                <c:pt idx="12980">
                  <c:v>4.3498656944815098E-2</c:v>
                </c:pt>
                <c:pt idx="12981">
                  <c:v>9.2802339175371798E-2</c:v>
                </c:pt>
                <c:pt idx="12982">
                  <c:v>0.119393198094169</c:v>
                </c:pt>
                <c:pt idx="12983">
                  <c:v>0.170701000344987</c:v>
                </c:pt>
                <c:pt idx="12984">
                  <c:v>0.172574915931763</c:v>
                </c:pt>
                <c:pt idx="12985">
                  <c:v>0.16620985040786401</c:v>
                </c:pt>
                <c:pt idx="12986">
                  <c:v>0.273310045714665</c:v>
                </c:pt>
                <c:pt idx="12987">
                  <c:v>0.38864922213213798</c:v>
                </c:pt>
                <c:pt idx="12988">
                  <c:v>0.50398839854961197</c:v>
                </c:pt>
                <c:pt idx="12989">
                  <c:v>0.60284961274573901</c:v>
                </c:pt>
                <c:pt idx="12990">
                  <c:v>0.68104452502826995</c:v>
                </c:pt>
                <c:pt idx="12991">
                  <c:v>0.70156656953608598</c:v>
                </c:pt>
                <c:pt idx="12992">
                  <c:v>0.65617676515851098</c:v>
                </c:pt>
                <c:pt idx="12993">
                  <c:v>0.660220847444979</c:v>
                </c:pt>
                <c:pt idx="12994">
                  <c:v>0.62950270445934497</c:v>
                </c:pt>
                <c:pt idx="12995">
                  <c:v>0.59054558036303695</c:v>
                </c:pt>
                <c:pt idx="12996">
                  <c:v>0.59278336182009705</c:v>
                </c:pt>
                <c:pt idx="12997">
                  <c:v>0.739242959328683</c:v>
                </c:pt>
                <c:pt idx="12998">
                  <c:v>1.0827581834971201</c:v>
                </c:pt>
                <c:pt idx="12999">
                  <c:v>1.31092767211612</c:v>
                </c:pt>
                <c:pt idx="13000">
                  <c:v>0.81584456092592506</c:v>
                </c:pt>
                <c:pt idx="13001">
                  <c:v>0.95353862297073799</c:v>
                </c:pt>
                <c:pt idx="13002">
                  <c:v>0.93973447187422798</c:v>
                </c:pt>
                <c:pt idx="13003">
                  <c:v>0.91988201687270998</c:v>
                </c:pt>
                <c:pt idx="13004">
                  <c:v>0.92867820431630799</c:v>
                </c:pt>
                <c:pt idx="13005">
                  <c:v>0.93558522502496999</c:v>
                </c:pt>
                <c:pt idx="13006">
                  <c:v>0.981289223899101</c:v>
                </c:pt>
                <c:pt idx="13007">
                  <c:v>1.0185268036055799</c:v>
                </c:pt>
                <c:pt idx="13008">
                  <c:v>1.0620401252740499</c:v>
                </c:pt>
                <c:pt idx="13009">
                  <c:v>1.0891495571349199</c:v>
                </c:pt>
                <c:pt idx="13010">
                  <c:v>1.0592997456289801</c:v>
                </c:pt>
                <c:pt idx="13011">
                  <c:v>1.6401199823167401</c:v>
                </c:pt>
                <c:pt idx="13012">
                  <c:v>1.5256844616826899</c:v>
                </c:pt>
                <c:pt idx="13013">
                  <c:v>1.2217523755031301</c:v>
                </c:pt>
                <c:pt idx="13014">
                  <c:v>1.3094121910584</c:v>
                </c:pt>
                <c:pt idx="13015">
                  <c:v>1.6689583832659001</c:v>
                </c:pt>
                <c:pt idx="13016">
                  <c:v>1.1941960679903401</c:v>
                </c:pt>
                <c:pt idx="13017">
                  <c:v>1.2799719376263901</c:v>
                </c:pt>
                <c:pt idx="13018">
                  <c:v>1.2402545797236899</c:v>
                </c:pt>
                <c:pt idx="13019">
                  <c:v>1.26660765716532</c:v>
                </c:pt>
                <c:pt idx="13020">
                  <c:v>1.28237248983167</c:v>
                </c:pt>
                <c:pt idx="13021">
                  <c:v>1.23018294123448</c:v>
                </c:pt>
                <c:pt idx="13022">
                  <c:v>1.2161038038562799</c:v>
                </c:pt>
                <c:pt idx="13023">
                  <c:v>1.21896272562909</c:v>
                </c:pt>
                <c:pt idx="13024">
                  <c:v>1.2303673597990199</c:v>
                </c:pt>
                <c:pt idx="13025">
                  <c:v>1.22082816329109</c:v>
                </c:pt>
                <c:pt idx="13026">
                  <c:v>1.292903665985</c:v>
                </c:pt>
                <c:pt idx="13027">
                  <c:v>1.36678904218437</c:v>
                </c:pt>
                <c:pt idx="13028">
                  <c:v>1.37679988106079</c:v>
                </c:pt>
                <c:pt idx="13029">
                  <c:v>1.3290585589330399</c:v>
                </c:pt>
                <c:pt idx="13030">
                  <c:v>1.2008668370564199</c:v>
                </c:pt>
                <c:pt idx="13031">
                  <c:v>1.10180914795205</c:v>
                </c:pt>
                <c:pt idx="13032">
                  <c:v>1.04001988610367</c:v>
                </c:pt>
                <c:pt idx="13033">
                  <c:v>1.09993139499618</c:v>
                </c:pt>
                <c:pt idx="13034">
                  <c:v>1.1997220184641799</c:v>
                </c:pt>
                <c:pt idx="13035">
                  <c:v>1.0866436888147699</c:v>
                </c:pt>
                <c:pt idx="13036">
                  <c:v>0.99435582419998603</c:v>
                </c:pt>
                <c:pt idx="13037">
                  <c:v>0.92867406965216504</c:v>
                </c:pt>
                <c:pt idx="13038">
                  <c:v>0.543350447246015</c:v>
                </c:pt>
                <c:pt idx="13039">
                  <c:v>0.45721206736141001</c:v>
                </c:pt>
                <c:pt idx="13040">
                  <c:v>0.49284853063144102</c:v>
                </c:pt>
                <c:pt idx="13041">
                  <c:v>0.48713672270488201</c:v>
                </c:pt>
                <c:pt idx="13042">
                  <c:v>0.42070474781177702</c:v>
                </c:pt>
                <c:pt idx="13043">
                  <c:v>0.29848907187889301</c:v>
                </c:pt>
                <c:pt idx="13044">
                  <c:v>0.17226762441916099</c:v>
                </c:pt>
                <c:pt idx="13045">
                  <c:v>4.1887039789356401E-2</c:v>
                </c:pt>
                <c:pt idx="13046">
                  <c:v>-1.5008804782776299E-2</c:v>
                </c:pt>
                <c:pt idx="13047">
                  <c:v>-5.9585824303631497E-2</c:v>
                </c:pt>
                <c:pt idx="13048">
                  <c:v>-9.16906531299886E-2</c:v>
                </c:pt>
                <c:pt idx="13049">
                  <c:v>-0.117673105637584</c:v>
                </c:pt>
                <c:pt idx="13050">
                  <c:v>-0.127534919735832</c:v>
                </c:pt>
                <c:pt idx="13051">
                  <c:v>-0.15183216367726801</c:v>
                </c:pt>
                <c:pt idx="13052">
                  <c:v>-0.15761413383491299</c:v>
                </c:pt>
                <c:pt idx="13053">
                  <c:v>-0.150997985711813</c:v>
                </c:pt>
                <c:pt idx="13054">
                  <c:v>-0.16140700285346801</c:v>
                </c:pt>
                <c:pt idx="13055">
                  <c:v>-0.171816019995124</c:v>
                </c:pt>
                <c:pt idx="13056">
                  <c:v>-0.18222503713677901</c:v>
                </c:pt>
                <c:pt idx="13057">
                  <c:v>-0.192634054278434</c:v>
                </c:pt>
                <c:pt idx="13058">
                  <c:v>-0.20320275113547401</c:v>
                </c:pt>
                <c:pt idx="13059">
                  <c:v>-0.21377144799251399</c:v>
                </c:pt>
                <c:pt idx="13060">
                  <c:v>-0.224340144849553</c:v>
                </c:pt>
                <c:pt idx="13061">
                  <c:v>-0.23490884170659301</c:v>
                </c:pt>
                <c:pt idx="13062">
                  <c:v>-0.20843283332233101</c:v>
                </c:pt>
                <c:pt idx="13063">
                  <c:v>-0.181956824938068</c:v>
                </c:pt>
                <c:pt idx="13064">
                  <c:v>-0.155480816553805</c:v>
                </c:pt>
                <c:pt idx="13065">
                  <c:v>-0.12900480816954299</c:v>
                </c:pt>
                <c:pt idx="13066">
                  <c:v>-0.13691802831137101</c:v>
                </c:pt>
                <c:pt idx="13067">
                  <c:v>-0.144831248453198</c:v>
                </c:pt>
                <c:pt idx="13068">
                  <c:v>-0.223180595903542</c:v>
                </c:pt>
                <c:pt idx="13069">
                  <c:v>-0.247571778266717</c:v>
                </c:pt>
                <c:pt idx="13070">
                  <c:v>-0.24946343319207201</c:v>
                </c:pt>
                <c:pt idx="13071">
                  <c:v>-0.111292409235973</c:v>
                </c:pt>
                <c:pt idx="13072">
                  <c:v>-5.5511196386610499E-2</c:v>
                </c:pt>
                <c:pt idx="13073">
                  <c:v>-0.139792662418703</c:v>
                </c:pt>
                <c:pt idx="13074">
                  <c:v>-0.15745616645655999</c:v>
                </c:pt>
                <c:pt idx="13075">
                  <c:v>-0.16688068938374201</c:v>
                </c:pt>
                <c:pt idx="13076">
                  <c:v>-0.15158826897890401</c:v>
                </c:pt>
                <c:pt idx="13077">
                  <c:v>-0.11981788635271801</c:v>
                </c:pt>
                <c:pt idx="13078">
                  <c:v>-6.3068432832125806E-2</c:v>
                </c:pt>
                <c:pt idx="13079">
                  <c:v>-6.3189793115333596E-3</c:v>
                </c:pt>
                <c:pt idx="13080">
                  <c:v>3.3952511987712E-2</c:v>
                </c:pt>
                <c:pt idx="13081">
                  <c:v>0.115418908840326</c:v>
                </c:pt>
                <c:pt idx="13082">
                  <c:v>0.30502370378631799</c:v>
                </c:pt>
                <c:pt idx="13083">
                  <c:v>0.43695563095759399</c:v>
                </c:pt>
                <c:pt idx="13084">
                  <c:v>0.46178080369011099</c:v>
                </c:pt>
                <c:pt idx="13085">
                  <c:v>0.53603986308667095</c:v>
                </c:pt>
                <c:pt idx="13086">
                  <c:v>0.49258264528884199</c:v>
                </c:pt>
                <c:pt idx="13087">
                  <c:v>0.28864786645940299</c:v>
                </c:pt>
                <c:pt idx="13088">
                  <c:v>0.302863516436292</c:v>
                </c:pt>
                <c:pt idx="13089">
                  <c:v>0.58276909433289803</c:v>
                </c:pt>
                <c:pt idx="13090">
                  <c:v>0.56217371399164895</c:v>
                </c:pt>
                <c:pt idx="13091">
                  <c:v>0.54157833365039898</c:v>
                </c:pt>
                <c:pt idx="13092">
                  <c:v>0.52098295330915001</c:v>
                </c:pt>
                <c:pt idx="13093">
                  <c:v>0.50038757296790004</c:v>
                </c:pt>
                <c:pt idx="13094">
                  <c:v>0.506662862727987</c:v>
                </c:pt>
                <c:pt idx="13095">
                  <c:v>0.51293815248807395</c:v>
                </c:pt>
                <c:pt idx="13096">
                  <c:v>0.51921344224816102</c:v>
                </c:pt>
                <c:pt idx="13097">
                  <c:v>0.52548873200824797</c:v>
                </c:pt>
                <c:pt idx="13098">
                  <c:v>0.53988987269121802</c:v>
                </c:pt>
                <c:pt idx="13099">
                  <c:v>0.55429101337418696</c:v>
                </c:pt>
                <c:pt idx="13100">
                  <c:v>0.56869215405715701</c:v>
                </c:pt>
                <c:pt idx="13101">
                  <c:v>0.58309329474012705</c:v>
                </c:pt>
                <c:pt idx="13102">
                  <c:v>0.53308014936969805</c:v>
                </c:pt>
                <c:pt idx="13103">
                  <c:v>0.48306700399926999</c:v>
                </c:pt>
                <c:pt idx="13104">
                  <c:v>0.43305385862884099</c:v>
                </c:pt>
                <c:pt idx="13105">
                  <c:v>1.22629418805835</c:v>
                </c:pt>
                <c:pt idx="13106">
                  <c:v>1.2003121803461501</c:v>
                </c:pt>
                <c:pt idx="13107">
                  <c:v>1.27093319634262</c:v>
                </c:pt>
                <c:pt idx="13108">
                  <c:v>1.2983167744075601</c:v>
                </c:pt>
                <c:pt idx="13109">
                  <c:v>1.3048358150241099</c:v>
                </c:pt>
                <c:pt idx="13110">
                  <c:v>1.3440480011811</c:v>
                </c:pt>
                <c:pt idx="13111">
                  <c:v>1.42241778132902</c:v>
                </c:pt>
                <c:pt idx="13112">
                  <c:v>1.47372135448032</c:v>
                </c:pt>
                <c:pt idx="13113">
                  <c:v>1.41610307887167</c:v>
                </c:pt>
                <c:pt idx="13114">
                  <c:v>1.4220946749443799</c:v>
                </c:pt>
                <c:pt idx="13115">
                  <c:v>1.4094917040038299</c:v>
                </c:pt>
                <c:pt idx="13116">
                  <c:v>1.35145539711037</c:v>
                </c:pt>
                <c:pt idx="13117">
                  <c:v>1.3000015634653399</c:v>
                </c:pt>
                <c:pt idx="13118">
                  <c:v>1.3282986099849601</c:v>
                </c:pt>
                <c:pt idx="13119">
                  <c:v>1.4195499999682</c:v>
                </c:pt>
                <c:pt idx="13120">
                  <c:v>1.33384586669848</c:v>
                </c:pt>
                <c:pt idx="13121">
                  <c:v>1.29492484595747</c:v>
                </c:pt>
                <c:pt idx="13122">
                  <c:v>1.3382182498226001</c:v>
                </c:pt>
                <c:pt idx="13123">
                  <c:v>1.38778739564972</c:v>
                </c:pt>
                <c:pt idx="13124">
                  <c:v>1.3176190098846501</c:v>
                </c:pt>
                <c:pt idx="13125">
                  <c:v>1.25137710241696</c:v>
                </c:pt>
                <c:pt idx="13126">
                  <c:v>1.1429806627535899</c:v>
                </c:pt>
                <c:pt idx="13127">
                  <c:v>1.2575072516395001</c:v>
                </c:pt>
                <c:pt idx="13128">
                  <c:v>1.37600909783908</c:v>
                </c:pt>
                <c:pt idx="13129">
                  <c:v>1.1468808603104399</c:v>
                </c:pt>
                <c:pt idx="13130">
                  <c:v>1.0531457388494101</c:v>
                </c:pt>
                <c:pt idx="13131">
                  <c:v>1.14732996830109</c:v>
                </c:pt>
                <c:pt idx="13132">
                  <c:v>1.1963135206725499</c:v>
                </c:pt>
                <c:pt idx="13133">
                  <c:v>1.1976730598854399</c:v>
                </c:pt>
                <c:pt idx="13134">
                  <c:v>1.17929252595416</c:v>
                </c:pt>
                <c:pt idx="13135">
                  <c:v>1.20891680888165</c:v>
                </c:pt>
                <c:pt idx="13136">
                  <c:v>1.2027810275878901</c:v>
                </c:pt>
                <c:pt idx="13137">
                  <c:v>1.12045188391991</c:v>
                </c:pt>
                <c:pt idx="13138">
                  <c:v>0.96060232267640699</c:v>
                </c:pt>
                <c:pt idx="13139">
                  <c:v>0.75547801193892805</c:v>
                </c:pt>
                <c:pt idx="13140">
                  <c:v>0.59170197239803901</c:v>
                </c:pt>
                <c:pt idx="13141">
                  <c:v>0.43004253764906297</c:v>
                </c:pt>
                <c:pt idx="13142">
                  <c:v>0.32321651713761901</c:v>
                </c:pt>
                <c:pt idx="13143">
                  <c:v>0.249499786712091</c:v>
                </c:pt>
                <c:pt idx="13144">
                  <c:v>0.192261018507911</c:v>
                </c:pt>
                <c:pt idx="13145">
                  <c:v>0.124666664401145</c:v>
                </c:pt>
                <c:pt idx="13146">
                  <c:v>9.2455414268085206E-2</c:v>
                </c:pt>
                <c:pt idx="13147">
                  <c:v>4.5882806705589897E-2</c:v>
                </c:pt>
                <c:pt idx="13148">
                  <c:v>3.8388499904551003E-2</c:v>
                </c:pt>
                <c:pt idx="13149">
                  <c:v>0.17118431004194201</c:v>
                </c:pt>
                <c:pt idx="13150">
                  <c:v>0.15298599219932901</c:v>
                </c:pt>
                <c:pt idx="13151">
                  <c:v>0.13478767435671599</c:v>
                </c:pt>
                <c:pt idx="13152">
                  <c:v>0.116589356514103</c:v>
                </c:pt>
                <c:pt idx="13153">
                  <c:v>9.8391038671490405E-2</c:v>
                </c:pt>
                <c:pt idx="13154">
                  <c:v>9.0485432780605404E-2</c:v>
                </c:pt>
                <c:pt idx="13155">
                  <c:v>8.2579826889720501E-2</c:v>
                </c:pt>
                <c:pt idx="13156">
                  <c:v>7.46742209988355E-2</c:v>
                </c:pt>
                <c:pt idx="13157">
                  <c:v>6.6768615107950499E-2</c:v>
                </c:pt>
                <c:pt idx="13158">
                  <c:v>9.5638732780919597E-2</c:v>
                </c:pt>
                <c:pt idx="13159">
                  <c:v>0.124508850453889</c:v>
                </c:pt>
                <c:pt idx="13160">
                  <c:v>0.153378968126858</c:v>
                </c:pt>
                <c:pt idx="13161">
                  <c:v>0.18224908579982699</c:v>
                </c:pt>
                <c:pt idx="13162">
                  <c:v>0.180606655118415</c:v>
                </c:pt>
                <c:pt idx="13163">
                  <c:v>0.17896422443700299</c:v>
                </c:pt>
                <c:pt idx="13164">
                  <c:v>0.17732179375559101</c:v>
                </c:pt>
                <c:pt idx="13165">
                  <c:v>-0.123638361827733</c:v>
                </c:pt>
                <c:pt idx="13166">
                  <c:v>-7.5484717141432497E-2</c:v>
                </c:pt>
                <c:pt idx="13167">
                  <c:v>-3.5570053565806399E-2</c:v>
                </c:pt>
                <c:pt idx="13168">
                  <c:v>-2.0372333322200099E-2</c:v>
                </c:pt>
                <c:pt idx="13169">
                  <c:v>-5.17461307859504E-3</c:v>
                </c:pt>
                <c:pt idx="13170">
                  <c:v>-3.2244895710964998E-2</c:v>
                </c:pt>
                <c:pt idx="13171">
                  <c:v>-9.8812916792928498E-3</c:v>
                </c:pt>
                <c:pt idx="13172">
                  <c:v>3.7199255684401002E-2</c:v>
                </c:pt>
                <c:pt idx="13173">
                  <c:v>-3.9304913612011702E-2</c:v>
                </c:pt>
                <c:pt idx="13174">
                  <c:v>6.0660613619205295E-4</c:v>
                </c:pt>
                <c:pt idx="13175">
                  <c:v>4.8757106995070298E-2</c:v>
                </c:pt>
                <c:pt idx="13176">
                  <c:v>0.12986353229664299</c:v>
                </c:pt>
                <c:pt idx="13177">
                  <c:v>0.178014033155521</c:v>
                </c:pt>
                <c:pt idx="13178">
                  <c:v>0.27421413649300702</c:v>
                </c:pt>
                <c:pt idx="13179">
                  <c:v>0.37041423983049399</c:v>
                </c:pt>
                <c:pt idx="13180">
                  <c:v>0.48309230538932701</c:v>
                </c:pt>
                <c:pt idx="13181">
                  <c:v>0.59577037094816099</c:v>
                </c:pt>
                <c:pt idx="13182">
                  <c:v>0.66331241082982895</c:v>
                </c:pt>
                <c:pt idx="13183">
                  <c:v>0.59903075294071795</c:v>
                </c:pt>
                <c:pt idx="13184">
                  <c:v>0.625377887269017</c:v>
                </c:pt>
                <c:pt idx="13185">
                  <c:v>0.68468094604001195</c:v>
                </c:pt>
                <c:pt idx="13186">
                  <c:v>0.86080948965380299</c:v>
                </c:pt>
                <c:pt idx="13187">
                  <c:v>1.0163802271056399</c:v>
                </c:pt>
                <c:pt idx="13188">
                  <c:v>1.1018799785020199</c:v>
                </c:pt>
                <c:pt idx="13189">
                  <c:v>1.33568138989053</c:v>
                </c:pt>
                <c:pt idx="13190">
                  <c:v>1.4567742401231001</c:v>
                </c:pt>
                <c:pt idx="13191">
                  <c:v>1.6025840336877</c:v>
                </c:pt>
                <c:pt idx="13192">
                  <c:v>1.6907209594775801</c:v>
                </c:pt>
                <c:pt idx="13193">
                  <c:v>1.6635121497180201</c:v>
                </c:pt>
                <c:pt idx="13194">
                  <c:v>1.7181532096238099</c:v>
                </c:pt>
                <c:pt idx="13195">
                  <c:v>1.9622908350751</c:v>
                </c:pt>
                <c:pt idx="13196">
                  <c:v>2.0663657816449401</c:v>
                </c:pt>
                <c:pt idx="13197">
                  <c:v>2.1869186904361202</c:v>
                </c:pt>
                <c:pt idx="13198">
                  <c:v>2.1187072702789602</c:v>
                </c:pt>
                <c:pt idx="13199">
                  <c:v>2.0669738123431398</c:v>
                </c:pt>
                <c:pt idx="13200">
                  <c:v>1.89165563774723</c:v>
                </c:pt>
                <c:pt idx="13201">
                  <c:v>1.2419517603691801</c:v>
                </c:pt>
                <c:pt idx="13202">
                  <c:v>1.29704385229236</c:v>
                </c:pt>
                <c:pt idx="13203">
                  <c:v>1.3191007265433801</c:v>
                </c:pt>
                <c:pt idx="13204">
                  <c:v>1.28983454739542</c:v>
                </c:pt>
                <c:pt idx="13205">
                  <c:v>1.35089564999415</c:v>
                </c:pt>
                <c:pt idx="13206">
                  <c:v>1.37460123956387</c:v>
                </c:pt>
                <c:pt idx="13207">
                  <c:v>1.3218067354729299</c:v>
                </c:pt>
                <c:pt idx="13208">
                  <c:v>1.3267643923861701</c:v>
                </c:pt>
                <c:pt idx="13209">
                  <c:v>1.3544757534827401</c:v>
                </c:pt>
                <c:pt idx="13210">
                  <c:v>1.36104863282304</c:v>
                </c:pt>
                <c:pt idx="13211">
                  <c:v>1.2850731145976699</c:v>
                </c:pt>
                <c:pt idx="13212">
                  <c:v>1.2177966744126301</c:v>
                </c:pt>
                <c:pt idx="13213">
                  <c:v>1.3212000155185699</c:v>
                </c:pt>
                <c:pt idx="13214">
                  <c:v>1.3053751349443601</c:v>
                </c:pt>
                <c:pt idx="13215">
                  <c:v>1.2646006521654301</c:v>
                </c:pt>
                <c:pt idx="13216">
                  <c:v>1.2552048791964201</c:v>
                </c:pt>
                <c:pt idx="13217">
                  <c:v>1.27680179152142</c:v>
                </c:pt>
                <c:pt idx="13218">
                  <c:v>1.36697399828246</c:v>
                </c:pt>
                <c:pt idx="13219">
                  <c:v>1.4275773687390501</c:v>
                </c:pt>
                <c:pt idx="13220">
                  <c:v>1.3704805191659</c:v>
                </c:pt>
                <c:pt idx="13221">
                  <c:v>1.31573293325735</c:v>
                </c:pt>
                <c:pt idx="13222">
                  <c:v>1.30087246786732</c:v>
                </c:pt>
                <c:pt idx="13223">
                  <c:v>1.1864462525311501</c:v>
                </c:pt>
                <c:pt idx="13224">
                  <c:v>1.04148744883063</c:v>
                </c:pt>
                <c:pt idx="13225">
                  <c:v>1.1175677277601701</c:v>
                </c:pt>
                <c:pt idx="13226">
                  <c:v>1.13294087450398</c:v>
                </c:pt>
                <c:pt idx="13227">
                  <c:v>1.0733911422199001</c:v>
                </c:pt>
                <c:pt idx="13228">
                  <c:v>1.0446807295866101</c:v>
                </c:pt>
                <c:pt idx="13229">
                  <c:v>1.0024550809694599</c:v>
                </c:pt>
                <c:pt idx="13230">
                  <c:v>1.0714812183453299</c:v>
                </c:pt>
                <c:pt idx="13231">
                  <c:v>1.09507401976829</c:v>
                </c:pt>
                <c:pt idx="13232">
                  <c:v>1.01086731095014</c:v>
                </c:pt>
                <c:pt idx="13233">
                  <c:v>0.66550539426683197</c:v>
                </c:pt>
                <c:pt idx="13234">
                  <c:v>0.42348467010995899</c:v>
                </c:pt>
                <c:pt idx="13235">
                  <c:v>0.27428863619187699</c:v>
                </c:pt>
                <c:pt idx="13236">
                  <c:v>0.17861155369415399</c:v>
                </c:pt>
                <c:pt idx="13237">
                  <c:v>9.5406661890928807E-2</c:v>
                </c:pt>
                <c:pt idx="13238">
                  <c:v>3.64851504506674E-2</c:v>
                </c:pt>
                <c:pt idx="13239">
                  <c:v>6.5137919262499297E-3</c:v>
                </c:pt>
                <c:pt idx="13240">
                  <c:v>-6.9796043768190997E-3</c:v>
                </c:pt>
                <c:pt idx="13241">
                  <c:v>-2.8860126618069901E-2</c:v>
                </c:pt>
                <c:pt idx="13242">
                  <c:v>0.33392445903423501</c:v>
                </c:pt>
                <c:pt idx="13243">
                  <c:v>0.231219343788543</c:v>
                </c:pt>
                <c:pt idx="13244">
                  <c:v>0.21914302076026199</c:v>
                </c:pt>
                <c:pt idx="13245">
                  <c:v>0.18234975439995901</c:v>
                </c:pt>
                <c:pt idx="13246">
                  <c:v>7.0290167996525196E-2</c:v>
                </c:pt>
                <c:pt idx="13247">
                  <c:v>9.8293260474544605E-2</c:v>
                </c:pt>
                <c:pt idx="13248">
                  <c:v>5.2145522956500899E-2</c:v>
                </c:pt>
                <c:pt idx="13249">
                  <c:v>1.4236766549129899E-2</c:v>
                </c:pt>
                <c:pt idx="13250">
                  <c:v>7.62190077382284E-3</c:v>
                </c:pt>
                <c:pt idx="13251">
                  <c:v>-3.1948889444179798E-2</c:v>
                </c:pt>
                <c:pt idx="13252">
                  <c:v>-9.6236622994203505E-2</c:v>
                </c:pt>
                <c:pt idx="13253">
                  <c:v>-6.16565832161418E-2</c:v>
                </c:pt>
                <c:pt idx="13254">
                  <c:v>5.5929997627740299E-2</c:v>
                </c:pt>
                <c:pt idx="13255">
                  <c:v>5.8170842922189103E-2</c:v>
                </c:pt>
                <c:pt idx="13256">
                  <c:v>0.17575742376607001</c:v>
                </c:pt>
                <c:pt idx="13257">
                  <c:v>0.12856438239647699</c:v>
                </c:pt>
                <c:pt idx="13258">
                  <c:v>0.102979841253152</c:v>
                </c:pt>
                <c:pt idx="13259">
                  <c:v>0.23393594121262901</c:v>
                </c:pt>
                <c:pt idx="13260">
                  <c:v>0.13420057007323999</c:v>
                </c:pt>
                <c:pt idx="13261">
                  <c:v>0.10861602892991599</c:v>
                </c:pt>
                <c:pt idx="13262">
                  <c:v>6.0207352250872703E-2</c:v>
                </c:pt>
                <c:pt idx="13263">
                  <c:v>7.7188316312262403E-3</c:v>
                </c:pt>
                <c:pt idx="13264">
                  <c:v>-2.0052745656397999E-2</c:v>
                </c:pt>
                <c:pt idx="13265">
                  <c:v>1.6095637200193699E-3</c:v>
                </c:pt>
                <c:pt idx="13266">
                  <c:v>2.09119693950462E-2</c:v>
                </c:pt>
                <c:pt idx="13267">
                  <c:v>2.37364128487258E-2</c:v>
                </c:pt>
                <c:pt idx="13268">
                  <c:v>-1.46340492509639E-2</c:v>
                </c:pt>
                <c:pt idx="13269">
                  <c:v>-4.4765530239979798E-2</c:v>
                </c:pt>
                <c:pt idx="13270">
                  <c:v>0.129307228604329</c:v>
                </c:pt>
                <c:pt idx="13271">
                  <c:v>7.2688516349771304E-2</c:v>
                </c:pt>
                <c:pt idx="13272">
                  <c:v>0.18084942630869</c:v>
                </c:pt>
                <c:pt idx="13273">
                  <c:v>9.9513770722112205E-2</c:v>
                </c:pt>
                <c:pt idx="13274">
                  <c:v>0.194559047345881</c:v>
                </c:pt>
                <c:pt idx="13275">
                  <c:v>0.31432126730167098</c:v>
                </c:pt>
                <c:pt idx="13276">
                  <c:v>0.41760552503611398</c:v>
                </c:pt>
                <c:pt idx="13277">
                  <c:v>0.53736774499190498</c:v>
                </c:pt>
                <c:pt idx="13278">
                  <c:v>0.52416764453431797</c:v>
                </c:pt>
                <c:pt idx="13279">
                  <c:v>0.38344590748781598</c:v>
                </c:pt>
                <c:pt idx="13280">
                  <c:v>0.40320173147292498</c:v>
                </c:pt>
                <c:pt idx="13281">
                  <c:v>0.575418352620231</c:v>
                </c:pt>
                <c:pt idx="13282">
                  <c:v>0.60033562100467897</c:v>
                </c:pt>
                <c:pt idx="13283">
                  <c:v>0.59229696494643203</c:v>
                </c:pt>
                <c:pt idx="13284">
                  <c:v>0.58425830888818397</c:v>
                </c:pt>
                <c:pt idx="13285">
                  <c:v>0.57621965282993604</c:v>
                </c:pt>
                <c:pt idx="13286">
                  <c:v>0.57874754524758798</c:v>
                </c:pt>
                <c:pt idx="13287">
                  <c:v>0.58127543766523904</c:v>
                </c:pt>
                <c:pt idx="13288">
                  <c:v>0.58380333008288998</c:v>
                </c:pt>
                <c:pt idx="13289">
                  <c:v>0.58633122250054104</c:v>
                </c:pt>
                <c:pt idx="13290">
                  <c:v>0.58391916705082902</c:v>
                </c:pt>
                <c:pt idx="13291">
                  <c:v>0.58150711160111701</c:v>
                </c:pt>
                <c:pt idx="13292">
                  <c:v>0.579095056151405</c:v>
                </c:pt>
                <c:pt idx="13293">
                  <c:v>0.57668300070169298</c:v>
                </c:pt>
                <c:pt idx="13294">
                  <c:v>0.57647508322678698</c:v>
                </c:pt>
                <c:pt idx="13295">
                  <c:v>0.57626716575188097</c:v>
                </c:pt>
                <c:pt idx="13296">
                  <c:v>0.57605924827697497</c:v>
                </c:pt>
                <c:pt idx="13297">
                  <c:v>0.57585133080206896</c:v>
                </c:pt>
                <c:pt idx="13298">
                  <c:v>1.3749157237621299</c:v>
                </c:pt>
                <c:pt idx="13299">
                  <c:v>1.449623272884599</c:v>
                </c:pt>
                <c:pt idx="13300">
                  <c:v>1.43974511287894</c:v>
                </c:pt>
                <c:pt idx="13301">
                  <c:v>1.3887461197336799</c:v>
                </c:pt>
                <c:pt idx="13302">
                  <c:v>1.4936017016365499</c:v>
                </c:pt>
                <c:pt idx="13303">
                  <c:v>1.44379536754013</c:v>
                </c:pt>
                <c:pt idx="13304">
                  <c:v>1.34689918962856</c:v>
                </c:pt>
                <c:pt idx="13305">
                  <c:v>1.3433670921149099</c:v>
                </c:pt>
                <c:pt idx="13306">
                  <c:v>1.4409197287962201</c:v>
                </c:pt>
                <c:pt idx="13307">
                  <c:v>1.4513047338121301</c:v>
                </c:pt>
                <c:pt idx="13308">
                  <c:v>1.3448356402438599</c:v>
                </c:pt>
                <c:pt idx="13309">
                  <c:v>1.39052583336707</c:v>
                </c:pt>
                <c:pt idx="13310">
                  <c:v>1.3095512614157601</c:v>
                </c:pt>
                <c:pt idx="13311">
                  <c:v>1.33719180693796</c:v>
                </c:pt>
                <c:pt idx="13312">
                  <c:v>1.2578737428489</c:v>
                </c:pt>
                <c:pt idx="13313">
                  <c:v>1.09835654485877</c:v>
                </c:pt>
                <c:pt idx="13314">
                  <c:v>1.04788428090941</c:v>
                </c:pt>
                <c:pt idx="13315">
                  <c:v>0.96006951729031098</c:v>
                </c:pt>
                <c:pt idx="13316">
                  <c:v>0.81835499855065297</c:v>
                </c:pt>
                <c:pt idx="13317">
                  <c:v>0.65442094497108205</c:v>
                </c:pt>
                <c:pt idx="13318">
                  <c:v>0.49919218650514302</c:v>
                </c:pt>
                <c:pt idx="13319">
                  <c:v>0.49038114211210898</c:v>
                </c:pt>
                <c:pt idx="13320">
                  <c:v>0.38859204183706197</c:v>
                </c:pt>
                <c:pt idx="13321">
                  <c:v>0.19851900287458699</c:v>
                </c:pt>
                <c:pt idx="13322">
                  <c:v>9.0921495500659394E-2</c:v>
                </c:pt>
                <c:pt idx="13323">
                  <c:v>5.1352441804034199E-2</c:v>
                </c:pt>
                <c:pt idx="13324">
                  <c:v>-1.9055931543373501E-2</c:v>
                </c:pt>
                <c:pt idx="13325">
                  <c:v>-9.7856651644676398E-2</c:v>
                </c:pt>
                <c:pt idx="13326">
                  <c:v>-3.1181264474663999E-2</c:v>
                </c:pt>
                <c:pt idx="13327">
                  <c:v>2.3096004414604802E-2</c:v>
                </c:pt>
                <c:pt idx="13328">
                  <c:v>3.1945158166680997E-2</c:v>
                </c:pt>
                <c:pt idx="13329">
                  <c:v>-4.3712103979893897E-2</c:v>
                </c:pt>
                <c:pt idx="13330">
                  <c:v>-7.5357983647333801E-2</c:v>
                </c:pt>
                <c:pt idx="13331">
                  <c:v>-0.100807414582259</c:v>
                </c:pt>
                <c:pt idx="13332">
                  <c:v>-0.14061820294662</c:v>
                </c:pt>
                <c:pt idx="13333">
                  <c:v>-0.166067633881545</c:v>
                </c:pt>
                <c:pt idx="13334">
                  <c:v>-0.14534683412163801</c:v>
                </c:pt>
                <c:pt idx="13335">
                  <c:v>-0.118429585629217</c:v>
                </c:pt>
                <c:pt idx="13336">
                  <c:v>-9.9751318247468704E-2</c:v>
                </c:pt>
                <c:pt idx="13337">
                  <c:v>-6.45950886443728E-2</c:v>
                </c:pt>
                <c:pt idx="13338">
                  <c:v>-0.11352154825305801</c:v>
                </c:pt>
                <c:pt idx="13339">
                  <c:v>-0.137731064529723</c:v>
                </c:pt>
                <c:pt idx="13340">
                  <c:v>-0.16194058080638801</c:v>
                </c:pt>
                <c:pt idx="13341">
                  <c:v>-0.186150097083053</c:v>
                </c:pt>
                <c:pt idx="13342">
                  <c:v>-0.17103049727519201</c:v>
                </c:pt>
                <c:pt idx="13343">
                  <c:v>-0.155910897467331</c:v>
                </c:pt>
                <c:pt idx="13344">
                  <c:v>-0.14079129765946999</c:v>
                </c:pt>
                <c:pt idx="13345">
                  <c:v>-0.12567169785161</c:v>
                </c:pt>
                <c:pt idx="13346">
                  <c:v>-0.146636158404814</c:v>
                </c:pt>
                <c:pt idx="13347">
                  <c:v>-0.16760061895801801</c:v>
                </c:pt>
                <c:pt idx="13348">
                  <c:v>-0.18856507951122201</c:v>
                </c:pt>
                <c:pt idx="13349">
                  <c:v>-0.20952954006442601</c:v>
                </c:pt>
                <c:pt idx="13350">
                  <c:v>-0.17474699562554999</c:v>
                </c:pt>
                <c:pt idx="13351">
                  <c:v>-0.139964451186675</c:v>
                </c:pt>
                <c:pt idx="13352">
                  <c:v>-0.10518190674779899</c:v>
                </c:pt>
                <c:pt idx="13353">
                  <c:v>-7.0399362308924004E-2</c:v>
                </c:pt>
                <c:pt idx="13354">
                  <c:v>-3.99182219554155E-2</c:v>
                </c:pt>
                <c:pt idx="13355">
                  <c:v>-0.13543469270894101</c:v>
                </c:pt>
                <c:pt idx="13356">
                  <c:v>-0.15438743901947499</c:v>
                </c:pt>
                <c:pt idx="13357">
                  <c:v>-0.123906298665966</c:v>
                </c:pt>
                <c:pt idx="13358">
                  <c:v>-0.106044933344629</c:v>
                </c:pt>
                <c:pt idx="13359">
                  <c:v>-2.2271719137901599E-2</c:v>
                </c:pt>
                <c:pt idx="13360">
                  <c:v>-7.03222027019548E-2</c:v>
                </c:pt>
                <c:pt idx="13361">
                  <c:v>-4.75374161910996E-2</c:v>
                </c:pt>
                <c:pt idx="13362">
                  <c:v>0.583180814574211</c:v>
                </c:pt>
                <c:pt idx="13363">
                  <c:v>0.59695670096277198</c:v>
                </c:pt>
                <c:pt idx="13364">
                  <c:v>0.61073258735133296</c:v>
                </c:pt>
                <c:pt idx="13365">
                  <c:v>0.64922541707191495</c:v>
                </c:pt>
                <c:pt idx="13366">
                  <c:v>0.64015274463009597</c:v>
                </c:pt>
                <c:pt idx="13367">
                  <c:v>0.73818682662703705</c:v>
                </c:pt>
                <c:pt idx="13368">
                  <c:v>0.85685800801539402</c:v>
                </c:pt>
                <c:pt idx="13369">
                  <c:v>0.78187348668818601</c:v>
                </c:pt>
                <c:pt idx="13370">
                  <c:v>0.91871377921136299</c:v>
                </c:pt>
                <c:pt idx="13371">
                  <c:v>1.08850999617723</c:v>
                </c:pt>
                <c:pt idx="13372">
                  <c:v>1.1841553831470399</c:v>
                </c:pt>
                <c:pt idx="13373">
                  <c:v>1.2056499401207901</c:v>
                </c:pt>
                <c:pt idx="13374">
                  <c:v>1.4398043932925291</c:v>
                </c:pt>
                <c:pt idx="13375">
                  <c:v>1.3279216398159901</c:v>
                </c:pt>
                <c:pt idx="13376">
                  <c:v>0.84344272727826797</c:v>
                </c:pt>
                <c:pt idx="13377">
                  <c:v>0.89430228445274895</c:v>
                </c:pt>
                <c:pt idx="13378">
                  <c:v>0.90517917503524603</c:v>
                </c:pt>
                <c:pt idx="13379">
                  <c:v>0.95513958719491199</c:v>
                </c:pt>
                <c:pt idx="13380">
                  <c:v>0.97206478168241695</c:v>
                </c:pt>
                <c:pt idx="13381">
                  <c:v>1.0220992662558399</c:v>
                </c:pt>
                <c:pt idx="13382">
                  <c:v>1.0624663009314299</c:v>
                </c:pt>
                <c:pt idx="13383">
                  <c:v>1.1705602788136</c:v>
                </c:pt>
                <c:pt idx="13384">
                  <c:v>1.6032935672333599</c:v>
                </c:pt>
                <c:pt idx="13385">
                  <c:v>1.50548186894672</c:v>
                </c:pt>
                <c:pt idx="13386">
                  <c:v>1.5389430616325099</c:v>
                </c:pt>
                <c:pt idx="13387">
                  <c:v>1.39114666988346</c:v>
                </c:pt>
                <c:pt idx="13388">
                  <c:v>1.2763062025771199</c:v>
                </c:pt>
                <c:pt idx="13389">
                  <c:v>1.05435898083201</c:v>
                </c:pt>
                <c:pt idx="13390">
                  <c:v>1.18804611497186</c:v>
                </c:pt>
                <c:pt idx="13391">
                  <c:v>0.96745706135274401</c:v>
                </c:pt>
                <c:pt idx="13392">
                  <c:v>0.96108151661114205</c:v>
                </c:pt>
                <c:pt idx="13393">
                  <c:v>0.87231616076280205</c:v>
                </c:pt>
                <c:pt idx="13394">
                  <c:v>0.70568464767375705</c:v>
                </c:pt>
                <c:pt idx="13395">
                  <c:v>0.62968192680212398</c:v>
                </c:pt>
                <c:pt idx="13396">
                  <c:v>0.75965373369733502</c:v>
                </c:pt>
                <c:pt idx="13397">
                  <c:v>0.782518786153787</c:v>
                </c:pt>
                <c:pt idx="13398">
                  <c:v>0.85088441169705697</c:v>
                </c:pt>
                <c:pt idx="13399">
                  <c:v>1.067551697232459</c:v>
                </c:pt>
                <c:pt idx="13400">
                  <c:v>1.11943936055438</c:v>
                </c:pt>
                <c:pt idx="13401">
                  <c:v>1.05598128832687</c:v>
                </c:pt>
                <c:pt idx="13402">
                  <c:v>1.1240952977773699</c:v>
                </c:pt>
                <c:pt idx="13403">
                  <c:v>1.1180584772318001</c:v>
                </c:pt>
                <c:pt idx="13404">
                  <c:v>0.930764072251412</c:v>
                </c:pt>
                <c:pt idx="13405">
                  <c:v>1.0153560439232601</c:v>
                </c:pt>
                <c:pt idx="13406">
                  <c:v>1.0684721503460399</c:v>
                </c:pt>
                <c:pt idx="13407">
                  <c:v>0.277887915443086</c:v>
                </c:pt>
                <c:pt idx="13408">
                  <c:v>4.8830910909092001E-2</c:v>
                </c:pt>
                <c:pt idx="13409">
                  <c:v>-6.9182419257333802E-2</c:v>
                </c:pt>
                <c:pt idx="13410">
                  <c:v>-8.8058243955689106E-2</c:v>
                </c:pt>
                <c:pt idx="13411">
                  <c:v>-0.11093984018089301</c:v>
                </c:pt>
                <c:pt idx="13412">
                  <c:v>-4.7346560543043099E-2</c:v>
                </c:pt>
                <c:pt idx="13413">
                  <c:v>8.1611036273552297E-3</c:v>
                </c:pt>
                <c:pt idx="13414">
                  <c:v>1.8275580080430901E-2</c:v>
                </c:pt>
                <c:pt idx="13415">
                  <c:v>1.81085430446749E-2</c:v>
                </c:pt>
                <c:pt idx="13416">
                  <c:v>0.25893618454056699</c:v>
                </c:pt>
                <c:pt idx="13417">
                  <c:v>0.30412319022825102</c:v>
                </c:pt>
                <c:pt idx="13418">
                  <c:v>0.21946032217059699</c:v>
                </c:pt>
                <c:pt idx="13419">
                  <c:v>0.241904208551702</c:v>
                </c:pt>
                <c:pt idx="13420">
                  <c:v>0.19019726493674399</c:v>
                </c:pt>
                <c:pt idx="13421">
                  <c:v>0.163207264653807</c:v>
                </c:pt>
                <c:pt idx="13422">
                  <c:v>9.80242610494068E-2</c:v>
                </c:pt>
                <c:pt idx="13423">
                  <c:v>0.18114291743713401</c:v>
                </c:pt>
                <c:pt idx="13424">
                  <c:v>-2.4102765048719801E-2</c:v>
                </c:pt>
                <c:pt idx="13425">
                  <c:v>3.4298948006986199E-2</c:v>
                </c:pt>
                <c:pt idx="13426">
                  <c:v>1.2422270375544799E-2</c:v>
                </c:pt>
                <c:pt idx="13427">
                  <c:v>-5.4808449979335698E-2</c:v>
                </c:pt>
                <c:pt idx="13428">
                  <c:v>-2.5342976147133501E-3</c:v>
                </c:pt>
                <c:pt idx="13429">
                  <c:v>-1.6171994135480799E-2</c:v>
                </c:pt>
                <c:pt idx="13430">
                  <c:v>-9.0848429646125106E-2</c:v>
                </c:pt>
                <c:pt idx="13431">
                  <c:v>-8.3135054050031104E-2</c:v>
                </c:pt>
                <c:pt idx="13432">
                  <c:v>-0.17428945178202301</c:v>
                </c:pt>
                <c:pt idx="13433">
                  <c:v>-0.20777098173929801</c:v>
                </c:pt>
                <c:pt idx="13434">
                  <c:v>-0.16818740144269401</c:v>
                </c:pt>
                <c:pt idx="13435">
                  <c:v>-0.19451567003148201</c:v>
                </c:pt>
                <c:pt idx="13436">
                  <c:v>-0.21260495750959399</c:v>
                </c:pt>
                <c:pt idx="13437">
                  <c:v>-0.238933226098382</c:v>
                </c:pt>
                <c:pt idx="13438">
                  <c:v>-0.25565114310602499</c:v>
                </c:pt>
                <c:pt idx="13439">
                  <c:v>-0.26413007900299501</c:v>
                </c:pt>
                <c:pt idx="13440">
                  <c:v>-0.28084799601063898</c:v>
                </c:pt>
                <c:pt idx="13441">
                  <c:v>-0.14926425302615501</c:v>
                </c:pt>
                <c:pt idx="13442">
                  <c:v>-0.20851854218695101</c:v>
                </c:pt>
                <c:pt idx="13443">
                  <c:v>-0.243055888015727</c:v>
                </c:pt>
                <c:pt idx="13444">
                  <c:v>-0.26111527162315401</c:v>
                </c:pt>
                <c:pt idx="13445">
                  <c:v>-0.26269669300923398</c:v>
                </c:pt>
                <c:pt idx="13446">
                  <c:v>-0.100321706094611</c:v>
                </c:pt>
                <c:pt idx="13447">
                  <c:v>-0.185116152500202</c:v>
                </c:pt>
                <c:pt idx="13448">
                  <c:v>-0.171042825577707</c:v>
                </c:pt>
                <c:pt idx="13449">
                  <c:v>-0.20640338531925501</c:v>
                </c:pt>
                <c:pt idx="13450">
                  <c:v>-0.141209628865543</c:v>
                </c:pt>
                <c:pt idx="13451">
                  <c:v>-0.141927721297221</c:v>
                </c:pt>
                <c:pt idx="13452">
                  <c:v>-0.15912377595024699</c:v>
                </c:pt>
                <c:pt idx="13453">
                  <c:v>-0.16808084949259899</c:v>
                </c:pt>
                <c:pt idx="13454">
                  <c:v>-0.101923526966642</c:v>
                </c:pt>
                <c:pt idx="13455">
                  <c:v>-5.2244166662031397E-2</c:v>
                </c:pt>
                <c:pt idx="13456">
                  <c:v>0.14573685363470601</c:v>
                </c:pt>
                <c:pt idx="13457">
                  <c:v>0.12126538394325199</c:v>
                </c:pt>
                <c:pt idx="13458">
                  <c:v>2.0550738158350301E-2</c:v>
                </c:pt>
                <c:pt idx="13459">
                  <c:v>-2.2491039851835901E-2</c:v>
                </c:pt>
                <c:pt idx="13460">
                  <c:v>-6.5532817862021406E-2</c:v>
                </c:pt>
                <c:pt idx="13461">
                  <c:v>-2.6184784765469499E-2</c:v>
                </c:pt>
                <c:pt idx="13462">
                  <c:v>-3.9397656313653599E-2</c:v>
                </c:pt>
                <c:pt idx="13463">
                  <c:v>-1.9654603419142699E-2</c:v>
                </c:pt>
                <c:pt idx="13464">
                  <c:v>-8.1505316353051305E-3</c:v>
                </c:pt>
                <c:pt idx="13465">
                  <c:v>-4.6080346515510802E-2</c:v>
                </c:pt>
                <c:pt idx="13466">
                  <c:v>9.8388661983524903E-2</c:v>
                </c:pt>
                <c:pt idx="13467">
                  <c:v>0.16870684048649701</c:v>
                </c:pt>
                <c:pt idx="13468">
                  <c:v>0.40796377837301401</c:v>
                </c:pt>
                <c:pt idx="13469">
                  <c:v>0.453565013543965</c:v>
                </c:pt>
                <c:pt idx="13470">
                  <c:v>0.53630924328027296</c:v>
                </c:pt>
                <c:pt idx="13471">
                  <c:v>0.58609754857388596</c:v>
                </c:pt>
                <c:pt idx="13472">
                  <c:v>0.67708075942086798</c:v>
                </c:pt>
                <c:pt idx="13473">
                  <c:v>0.66095721582909095</c:v>
                </c:pt>
                <c:pt idx="13474">
                  <c:v>0.84173354493642705</c:v>
                </c:pt>
                <c:pt idx="13475">
                  <c:v>0.79181840294489902</c:v>
                </c:pt>
                <c:pt idx="13476">
                  <c:v>0.93139982649886599</c:v>
                </c:pt>
                <c:pt idx="13477">
                  <c:v>0.91444060895003298</c:v>
                </c:pt>
                <c:pt idx="13478">
                  <c:v>0.83157546250896497</c:v>
                </c:pt>
                <c:pt idx="13479">
                  <c:v>0.86405605161732901</c:v>
                </c:pt>
                <c:pt idx="13480">
                  <c:v>1.12722811182456</c:v>
                </c:pt>
                <c:pt idx="13481">
                  <c:v>0.92077824872338399</c:v>
                </c:pt>
                <c:pt idx="13482">
                  <c:v>0.92876070666984001</c:v>
                </c:pt>
                <c:pt idx="13483">
                  <c:v>1.0932838057191001</c:v>
                </c:pt>
                <c:pt idx="13484">
                  <c:v>1.24956792365768</c:v>
                </c:pt>
                <c:pt idx="13485">
                  <c:v>0.57939126989225798</c:v>
                </c:pt>
                <c:pt idx="13486">
                  <c:v>0.61663628678983595</c:v>
                </c:pt>
                <c:pt idx="13487">
                  <c:v>0.56513645738922502</c:v>
                </c:pt>
                <c:pt idx="13488">
                  <c:v>0.47690237007604502</c:v>
                </c:pt>
                <c:pt idx="13489">
                  <c:v>0.53039791113799495</c:v>
                </c:pt>
                <c:pt idx="13490">
                  <c:v>0.410913675533286</c:v>
                </c:pt>
                <c:pt idx="13491">
                  <c:v>0.13511101606703799</c:v>
                </c:pt>
                <c:pt idx="13492">
                  <c:v>-3.3426302501517798E-2</c:v>
                </c:pt>
                <c:pt idx="13493">
                  <c:v>-0.26802883559868401</c:v>
                </c:pt>
                <c:pt idx="13494">
                  <c:v>-0.41693214326640898</c:v>
                </c:pt>
                <c:pt idx="13495">
                  <c:v>-0.32261418985525397</c:v>
                </c:pt>
                <c:pt idx="13496">
                  <c:v>-7.1755595341296205E-2</c:v>
                </c:pt>
                <c:pt idx="13497">
                  <c:v>0.26973179139007097</c:v>
                </c:pt>
                <c:pt idx="13498">
                  <c:v>0.44048553053466499</c:v>
                </c:pt>
                <c:pt idx="13499">
                  <c:v>0.43822066635510998</c:v>
                </c:pt>
                <c:pt idx="13500">
                  <c:v>0.53482357550363901</c:v>
                </c:pt>
                <c:pt idx="13501">
                  <c:v>0.68086037131621202</c:v>
                </c:pt>
                <c:pt idx="13502">
                  <c:v>0.514175423695862</c:v>
                </c:pt>
                <c:pt idx="13503">
                  <c:v>0.388685381628883</c:v>
                </c:pt>
                <c:pt idx="13504">
                  <c:v>0.28791228289392401</c:v>
                </c:pt>
                <c:pt idx="13505">
                  <c:v>0.261290014155029</c:v>
                </c:pt>
                <c:pt idx="13506">
                  <c:v>2.4798202498946501E-2</c:v>
                </c:pt>
                <c:pt idx="13507">
                  <c:v>-3.8675005832985498E-2</c:v>
                </c:pt>
                <c:pt idx="13508">
                  <c:v>-0.110387195275592</c:v>
                </c:pt>
                <c:pt idx="13509">
                  <c:v>-0.13266549805415601</c:v>
                </c:pt>
                <c:pt idx="13510">
                  <c:v>-0.18704354396258099</c:v>
                </c:pt>
                <c:pt idx="13511">
                  <c:v>-0.21015272297619</c:v>
                </c:pt>
                <c:pt idx="13512">
                  <c:v>-0.35268748147983497</c:v>
                </c:pt>
                <c:pt idx="13513">
                  <c:v>-0.35589317603737802</c:v>
                </c:pt>
                <c:pt idx="13514">
                  <c:v>-0.326142946152225</c:v>
                </c:pt>
                <c:pt idx="13515">
                  <c:v>-0.29639271626707298</c:v>
                </c:pt>
                <c:pt idx="13516">
                  <c:v>-0.31607637304596298</c:v>
                </c:pt>
                <c:pt idx="13517">
                  <c:v>-0.36861321205150699</c:v>
                </c:pt>
                <c:pt idx="13518">
                  <c:v>-0.38819412661435498</c:v>
                </c:pt>
                <c:pt idx="13519">
                  <c:v>-0.42425300339854999</c:v>
                </c:pt>
                <c:pt idx="13520">
                  <c:v>-0.42735595574005097</c:v>
                </c:pt>
                <c:pt idx="13521">
                  <c:v>-0.22903750100061099</c:v>
                </c:pt>
                <c:pt idx="13522">
                  <c:v>-0.22845459291733999</c:v>
                </c:pt>
                <c:pt idx="13523">
                  <c:v>-7.1331043731269306E-2</c:v>
                </c:pt>
                <c:pt idx="13524">
                  <c:v>-2.9553230094630099E-2</c:v>
                </c:pt>
                <c:pt idx="13525">
                  <c:v>-6.2509154537325598E-2</c:v>
                </c:pt>
                <c:pt idx="13526">
                  <c:v>5.2836581012107503E-2</c:v>
                </c:pt>
                <c:pt idx="13527">
                  <c:v>6.9314543233454706E-2</c:v>
                </c:pt>
                <c:pt idx="13528">
                  <c:v>-0.36553919667502799</c:v>
                </c:pt>
                <c:pt idx="13529">
                  <c:v>-0.37702412404289998</c:v>
                </c:pt>
                <c:pt idx="13530">
                  <c:v>-0.38027007030009802</c:v>
                </c:pt>
                <c:pt idx="13531">
                  <c:v>-0.29288722433988401</c:v>
                </c:pt>
                <c:pt idx="13532">
                  <c:v>-0.35380603837179903</c:v>
                </c:pt>
                <c:pt idx="13533">
                  <c:v>-0.35157530831136702</c:v>
                </c:pt>
                <c:pt idx="13534">
                  <c:v>-0.38230050269362897</c:v>
                </c:pt>
                <c:pt idx="13535">
                  <c:v>-0.25648505597309001</c:v>
                </c:pt>
                <c:pt idx="13536">
                  <c:v>-0.37783904257276302</c:v>
                </c:pt>
                <c:pt idx="13537">
                  <c:v>-0.399279106583388</c:v>
                </c:pt>
                <c:pt idx="13538">
                  <c:v>-0.41248018948333798</c:v>
                </c:pt>
                <c:pt idx="13539">
                  <c:v>-0.409203310161941</c:v>
                </c:pt>
                <c:pt idx="13540">
                  <c:v>-0.33177560084447999</c:v>
                </c:pt>
                <c:pt idx="13541">
                  <c:v>-0.37133870022419002</c:v>
                </c:pt>
                <c:pt idx="13542">
                  <c:v>-0.419140780714574</c:v>
                </c:pt>
                <c:pt idx="13543">
                  <c:v>-0.38455305009822099</c:v>
                </c:pt>
                <c:pt idx="13544">
                  <c:v>-0.43235513058860497</c:v>
                </c:pt>
                <c:pt idx="13545">
                  <c:v>-0.430954726105226</c:v>
                </c:pt>
                <c:pt idx="13546">
                  <c:v>-0.38012043495780601</c:v>
                </c:pt>
                <c:pt idx="13547">
                  <c:v>-0.33752512492105902</c:v>
                </c:pt>
                <c:pt idx="13548">
                  <c:v>-0.360841663769702</c:v>
                </c:pt>
                <c:pt idx="13549">
                  <c:v>-0.29553551894862801</c:v>
                </c:pt>
                <c:pt idx="13550">
                  <c:v>-0.23022937412755401</c:v>
                </c:pt>
                <c:pt idx="13551">
                  <c:v>-0.20611813485984801</c:v>
                </c:pt>
                <c:pt idx="13552">
                  <c:v>-0.14081199003877401</c:v>
                </c:pt>
                <c:pt idx="13553">
                  <c:v>-0.104518846347464</c:v>
                </c:pt>
                <c:pt idx="13554">
                  <c:v>-0.19181041931626</c:v>
                </c:pt>
                <c:pt idx="13555">
                  <c:v>-0.21508453095031699</c:v>
                </c:pt>
                <c:pt idx="13556">
                  <c:v>-0.211747311701702</c:v>
                </c:pt>
                <c:pt idx="13557">
                  <c:v>-0.27253987872430802</c:v>
                </c:pt>
                <c:pt idx="13558">
                  <c:v>-0.32917330857684401</c:v>
                </c:pt>
                <c:pt idx="13559">
                  <c:v>-0.38996587559945101</c:v>
                </c:pt>
                <c:pt idx="13560">
                  <c:v>-0.44251946151138299</c:v>
                </c:pt>
                <c:pt idx="13561">
                  <c:v>-0.39297433236490997</c:v>
                </c:pt>
                <c:pt idx="13562">
                  <c:v>-0.30427683004322598</c:v>
                </c:pt>
                <c:pt idx="13563">
                  <c:v>-0.22782408035906501</c:v>
                </c:pt>
                <c:pt idx="13564">
                  <c:v>-8.5459481789514194E-2</c:v>
                </c:pt>
                <c:pt idx="13565">
                  <c:v>-3.6970990121442802E-2</c:v>
                </c:pt>
                <c:pt idx="13566">
                  <c:v>0.225884376067367</c:v>
                </c:pt>
                <c:pt idx="13567">
                  <c:v>0.23930033850083199</c:v>
                </c:pt>
                <c:pt idx="13568">
                  <c:v>0.30638339718216301</c:v>
                </c:pt>
                <c:pt idx="13569">
                  <c:v>0.56793988764512204</c:v>
                </c:pt>
                <c:pt idx="13570">
                  <c:v>0.65428187676255301</c:v>
                </c:pt>
                <c:pt idx="13571">
                  <c:v>0.64576186407874803</c:v>
                </c:pt>
                <c:pt idx="13572">
                  <c:v>0.68266996653213596</c:v>
                </c:pt>
                <c:pt idx="13573">
                  <c:v>0.73622568414340095</c:v>
                </c:pt>
                <c:pt idx="13574">
                  <c:v>0.65803177639763999</c:v>
                </c:pt>
                <c:pt idx="13575">
                  <c:v>0.791939993553198</c:v>
                </c:pt>
                <c:pt idx="13576">
                  <c:v>0.81677299630559197</c:v>
                </c:pt>
                <c:pt idx="13577">
                  <c:v>0.76056593601254097</c:v>
                </c:pt>
                <c:pt idx="13578">
                  <c:v>0.79680276225808599</c:v>
                </c:pt>
                <c:pt idx="13579">
                  <c:v>0.89948560673243705</c:v>
                </c:pt>
                <c:pt idx="13580">
                  <c:v>0.690357652347524</c:v>
                </c:pt>
                <c:pt idx="13581">
                  <c:v>0.77158025627067395</c:v>
                </c:pt>
                <c:pt idx="13582">
                  <c:v>0.75536415667101198</c:v>
                </c:pt>
                <c:pt idx="13583">
                  <c:v>0.690015680878038</c:v>
                </c:pt>
                <c:pt idx="13584">
                  <c:v>0.67645035541370502</c:v>
                </c:pt>
                <c:pt idx="13585">
                  <c:v>0.66810615682351604</c:v>
                </c:pt>
                <c:pt idx="13586">
                  <c:v>0.77949948982551998</c:v>
                </c:pt>
                <c:pt idx="13587">
                  <c:v>0.161830609482816</c:v>
                </c:pt>
                <c:pt idx="13588">
                  <c:v>-0.180850654092992</c:v>
                </c:pt>
                <c:pt idx="13589">
                  <c:v>-0.49378780931482302</c:v>
                </c:pt>
                <c:pt idx="13590">
                  <c:v>-0.37147759384479201</c:v>
                </c:pt>
                <c:pt idx="13591">
                  <c:v>-0.25385024325682098</c:v>
                </c:pt>
                <c:pt idx="13592">
                  <c:v>-0.28649823344109598</c:v>
                </c:pt>
                <c:pt idx="13593">
                  <c:v>9.10565235486578E-2</c:v>
                </c:pt>
                <c:pt idx="13594">
                  <c:v>0.13298203826250399</c:v>
                </c:pt>
                <c:pt idx="13595">
                  <c:v>-7.9828988915039006E-2</c:v>
                </c:pt>
                <c:pt idx="13596">
                  <c:v>-3.9866713349884703E-2</c:v>
                </c:pt>
                <c:pt idx="13597">
                  <c:v>8.7161166113864694E-2</c:v>
                </c:pt>
                <c:pt idx="13598">
                  <c:v>0.31736932171899002</c:v>
                </c:pt>
                <c:pt idx="13599">
                  <c:v>0.38249112382419898</c:v>
                </c:pt>
                <c:pt idx="13600">
                  <c:v>0.39817903926536402</c:v>
                </c:pt>
                <c:pt idx="13601">
                  <c:v>0.43781216845359699</c:v>
                </c:pt>
                <c:pt idx="13602">
                  <c:v>0.47744529764183002</c:v>
                </c:pt>
                <c:pt idx="13603">
                  <c:v>0.517078426830063</c:v>
                </c:pt>
                <c:pt idx="13604">
                  <c:v>0.55671155601829603</c:v>
                </c:pt>
                <c:pt idx="13605">
                  <c:v>0.57810984007753696</c:v>
                </c:pt>
                <c:pt idx="13606">
                  <c:v>0.59950812413677801</c:v>
                </c:pt>
                <c:pt idx="13607">
                  <c:v>0.288098589507994</c:v>
                </c:pt>
                <c:pt idx="13608">
                  <c:v>0.27654094912454102</c:v>
                </c:pt>
                <c:pt idx="13609">
                  <c:v>0.210665499926352</c:v>
                </c:pt>
                <c:pt idx="13610">
                  <c:v>0.235418842945576</c:v>
                </c:pt>
                <c:pt idx="13611">
                  <c:v>0.23545524263277701</c:v>
                </c:pt>
                <c:pt idx="13612">
                  <c:v>0.22725266120930701</c:v>
                </c:pt>
                <c:pt idx="13613">
                  <c:v>0.26518906758947502</c:v>
                </c:pt>
                <c:pt idx="13614">
                  <c:v>0.237213625084254</c:v>
                </c:pt>
                <c:pt idx="13615">
                  <c:v>0.29986697479644497</c:v>
                </c:pt>
                <c:pt idx="13616">
                  <c:v>0.25541357006987597</c:v>
                </c:pt>
                <c:pt idx="13617">
                  <c:v>2.5291750765544099E-2</c:v>
                </c:pt>
                <c:pt idx="13618">
                  <c:v>3.53228986819039E-2</c:v>
                </c:pt>
                <c:pt idx="13619">
                  <c:v>2.27537080581545E-2</c:v>
                </c:pt>
                <c:pt idx="13620">
                  <c:v>2.0540103336991401E-2</c:v>
                </c:pt>
                <c:pt idx="13621">
                  <c:v>2.2656678612573901E-2</c:v>
                </c:pt>
                <c:pt idx="13622">
                  <c:v>6.1786868748968798E-3</c:v>
                </c:pt>
                <c:pt idx="13623">
                  <c:v>8.2952621504794304E-3</c:v>
                </c:pt>
                <c:pt idx="13624">
                  <c:v>-2.2544087016632901E-2</c:v>
                </c:pt>
                <c:pt idx="13625">
                  <c:v>1.6901284578352601E-2</c:v>
                </c:pt>
                <c:pt idx="13626">
                  <c:v>2.2094144305737001E-2</c:v>
                </c:pt>
                <c:pt idx="13627">
                  <c:v>5.2003947365142397E-2</c:v>
                </c:pt>
                <c:pt idx="13628">
                  <c:v>6.5435788203200201E-2</c:v>
                </c:pt>
                <c:pt idx="13629">
                  <c:v>6.1141554978377102E-2</c:v>
                </c:pt>
                <c:pt idx="13630">
                  <c:v>4.0369359532206099E-2</c:v>
                </c:pt>
                <c:pt idx="13631">
                  <c:v>6.9031050750078496E-2</c:v>
                </c:pt>
                <c:pt idx="13632">
                  <c:v>8.9453760857276493E-2</c:v>
                </c:pt>
                <c:pt idx="13633">
                  <c:v>9.2480855147954594E-2</c:v>
                </c:pt>
                <c:pt idx="13634">
                  <c:v>0.11198591165998099</c:v>
                </c:pt>
                <c:pt idx="13635">
                  <c:v>0.123251987061333</c:v>
                </c:pt>
                <c:pt idx="13636">
                  <c:v>0.12627908135201199</c:v>
                </c:pt>
                <c:pt idx="13637">
                  <c:v>0.175582763582568</c:v>
                </c:pt>
                <c:pt idx="13638">
                  <c:v>0.24136440803447101</c:v>
                </c:pt>
                <c:pt idx="13639">
                  <c:v>0.307146052486375</c:v>
                </c:pt>
                <c:pt idx="13640">
                  <c:v>0.35644973471693198</c:v>
                </c:pt>
                <c:pt idx="13641">
                  <c:v>0.366562631414382</c:v>
                </c:pt>
                <c:pt idx="13642">
                  <c:v>0.38491450922250398</c:v>
                </c:pt>
                <c:pt idx="13643">
                  <c:v>0.395027405919954</c:v>
                </c:pt>
                <c:pt idx="13644">
                  <c:v>0.44633520817077199</c:v>
                </c:pt>
                <c:pt idx="13645">
                  <c:v>0.53695744125622502</c:v>
                </c:pt>
                <c:pt idx="13646">
                  <c:v>0.65229661767369895</c:v>
                </c:pt>
                <c:pt idx="13647">
                  <c:v>0.75939681298049899</c:v>
                </c:pt>
                <c:pt idx="13648">
                  <c:v>0.87473598939797303</c:v>
                </c:pt>
                <c:pt idx="13649">
                  <c:v>0.84582414724174504</c:v>
                </c:pt>
                <c:pt idx="13650">
                  <c:v>0.80043434286417103</c:v>
                </c:pt>
                <c:pt idx="13651">
                  <c:v>0.87862925514670298</c:v>
                </c:pt>
                <c:pt idx="13652">
                  <c:v>0.79204454521575895</c:v>
                </c:pt>
                <c:pt idx="13653">
                  <c:v>0.79428232667281995</c:v>
                </c:pt>
                <c:pt idx="13654">
                  <c:v>0.84595399479392297</c:v>
                </c:pt>
                <c:pt idx="13655">
                  <c:v>0.90178480008509698</c:v>
                </c:pt>
                <c:pt idx="13656">
                  <c:v>1.06880220375563</c:v>
                </c:pt>
                <c:pt idx="13657">
                  <c:v>1.2804937301532899</c:v>
                </c:pt>
                <c:pt idx="13658">
                  <c:v>1.4921852565509399</c:v>
                </c:pt>
                <c:pt idx="13659">
                  <c:v>1.6297259529525301</c:v>
                </c:pt>
                <c:pt idx="13660">
                  <c:v>1.9155683093462501</c:v>
                </c:pt>
                <c:pt idx="13661">
                  <c:v>1.7204272805854499</c:v>
                </c:pt>
                <c:pt idx="13662">
                  <c:v>1.8218895718089101</c:v>
                </c:pt>
                <c:pt idx="13663">
                  <c:v>1.7091383541548499</c:v>
                </c:pt>
                <c:pt idx="13664">
                  <c:v>1.7199718531608901</c:v>
                </c:pt>
                <c:pt idx="13665">
                  <c:v>1.8787516171493199</c:v>
                </c:pt>
                <c:pt idx="13666">
                  <c:v>2.0292924000270798</c:v>
                </c:pt>
                <c:pt idx="13667">
                  <c:v>0.99839302600808</c:v>
                </c:pt>
                <c:pt idx="13668">
                  <c:v>1.0852178580218299</c:v>
                </c:pt>
                <c:pt idx="13669">
                  <c:v>1.00805076464376</c:v>
                </c:pt>
                <c:pt idx="13670">
                  <c:v>0.96149555285948995</c:v>
                </c:pt>
                <c:pt idx="13671">
                  <c:v>0.84894919896036902</c:v>
                </c:pt>
                <c:pt idx="13672">
                  <c:v>0.69550944997860797</c:v>
                </c:pt>
                <c:pt idx="13673">
                  <c:v>0.74386352671544198</c:v>
                </c:pt>
                <c:pt idx="13674">
                  <c:v>0.70196439411934897</c:v>
                </c:pt>
                <c:pt idx="13675">
                  <c:v>0.870056002448375</c:v>
                </c:pt>
                <c:pt idx="13676">
                  <c:v>0.945931162295783</c:v>
                </c:pt>
                <c:pt idx="13677">
                  <c:v>0.97787244671275497</c:v>
                </c:pt>
                <c:pt idx="13678">
                  <c:v>0.78954147671577402</c:v>
                </c:pt>
                <c:pt idx="13679">
                  <c:v>0.89231535458860001</c:v>
                </c:pt>
                <c:pt idx="13680">
                  <c:v>0.93287642381644298</c:v>
                </c:pt>
                <c:pt idx="13681">
                  <c:v>0.92469222470003098</c:v>
                </c:pt>
                <c:pt idx="13682">
                  <c:v>0.77304259611677495</c:v>
                </c:pt>
                <c:pt idx="13683">
                  <c:v>0.79812105272950096</c:v>
                </c:pt>
                <c:pt idx="13684">
                  <c:v>0.74095784306299695</c:v>
                </c:pt>
                <c:pt idx="13685">
                  <c:v>0.691327354200303</c:v>
                </c:pt>
                <c:pt idx="13686">
                  <c:v>0.77383251521054497</c:v>
                </c:pt>
                <c:pt idx="13687">
                  <c:v>0.84787125705313904</c:v>
                </c:pt>
                <c:pt idx="13688">
                  <c:v>0.73972699978586798</c:v>
                </c:pt>
                <c:pt idx="13689">
                  <c:v>0.50249057771927197</c:v>
                </c:pt>
                <c:pt idx="13690">
                  <c:v>0.37894338333986</c:v>
                </c:pt>
                <c:pt idx="13691">
                  <c:v>0.76298010600828803</c:v>
                </c:pt>
                <c:pt idx="13692">
                  <c:v>0.62272751135055204</c:v>
                </c:pt>
                <c:pt idx="13693">
                  <c:v>0.62114773218265196</c:v>
                </c:pt>
                <c:pt idx="13694">
                  <c:v>0.51442443772468405</c:v>
                </c:pt>
                <c:pt idx="13695">
                  <c:v>0.45728839557397899</c:v>
                </c:pt>
                <c:pt idx="13696">
                  <c:v>0.43923065418473201</c:v>
                </c:pt>
                <c:pt idx="13697">
                  <c:v>0.50170066557869597</c:v>
                </c:pt>
                <c:pt idx="13698">
                  <c:v>0.53733712884872797</c:v>
                </c:pt>
                <c:pt idx="13699">
                  <c:v>0.54198090682475497</c:v>
                </c:pt>
                <c:pt idx="13700">
                  <c:v>0.53218925495759295</c:v>
                </c:pt>
                <c:pt idx="13701">
                  <c:v>0.41420678860853299</c:v>
                </c:pt>
                <c:pt idx="13702">
                  <c:v>0.318898733213337</c:v>
                </c:pt>
                <c:pt idx="13703">
                  <c:v>0.178241855910414</c:v>
                </c:pt>
                <c:pt idx="13704">
                  <c:v>8.2933800515217301E-2</c:v>
                </c:pt>
                <c:pt idx="13705">
                  <c:v>4.0473385786273901E-2</c:v>
                </c:pt>
                <c:pt idx="13706">
                  <c:v>1.0411089338075301E-2</c:v>
                </c:pt>
                <c:pt idx="13707">
                  <c:v>-2.5852876658352099E-2</c:v>
                </c:pt>
                <c:pt idx="13708">
                  <c:v>-5.5915173106550697E-2</c:v>
                </c:pt>
                <c:pt idx="13709">
                  <c:v>-9.2610535328731605E-2</c:v>
                </c:pt>
                <c:pt idx="13710">
                  <c:v>-9.4233368316306299E-2</c:v>
                </c:pt>
                <c:pt idx="13711">
                  <c:v>-0.104095182414554</c:v>
                </c:pt>
                <c:pt idx="13712">
                  <c:v>-9.7479034291454103E-2</c:v>
                </c:pt>
                <c:pt idx="13713">
                  <c:v>-0.10788805143310901</c:v>
                </c:pt>
                <c:pt idx="13714">
                  <c:v>-0.118297068574765</c:v>
                </c:pt>
                <c:pt idx="13715">
                  <c:v>-0.12870608571642</c:v>
                </c:pt>
                <c:pt idx="13716">
                  <c:v>-0.13911510285807499</c:v>
                </c:pt>
                <c:pt idx="13717">
                  <c:v>-0.149683799715115</c:v>
                </c:pt>
                <c:pt idx="13718">
                  <c:v>-0.16025249657215401</c:v>
                </c:pt>
                <c:pt idx="13719">
                  <c:v>-0.170821193429194</c:v>
                </c:pt>
                <c:pt idx="13720">
                  <c:v>-0.18138989028623401</c:v>
                </c:pt>
                <c:pt idx="13721">
                  <c:v>-0.154913881901971</c:v>
                </c:pt>
                <c:pt idx="13722">
                  <c:v>-0.12843787351770899</c:v>
                </c:pt>
                <c:pt idx="13723">
                  <c:v>-0.101961865133446</c:v>
                </c:pt>
                <c:pt idx="13724">
                  <c:v>-7.5485856749183705E-2</c:v>
                </c:pt>
                <c:pt idx="13725">
                  <c:v>-8.3399076891011406E-2</c:v>
                </c:pt>
                <c:pt idx="13726">
                  <c:v>-9.1312297032839204E-2</c:v>
                </c:pt>
                <c:pt idx="13727">
                  <c:v>-0.116073841464783</c:v>
                </c:pt>
                <c:pt idx="13728">
                  <c:v>-0.21461585382402301</c:v>
                </c:pt>
                <c:pt idx="13729">
                  <c:v>-0.20826852763870299</c:v>
                </c:pt>
                <c:pt idx="13730">
                  <c:v>-0.18544323923203701</c:v>
                </c:pt>
                <c:pt idx="13731">
                  <c:v>-0.195573875268065</c:v>
                </c:pt>
                <c:pt idx="13732">
                  <c:v>-0.17274858686139799</c:v>
                </c:pt>
                <c:pt idx="13733">
                  <c:v>-0.165695147567233</c:v>
                </c:pt>
                <c:pt idx="13734">
                  <c:v>-0.18335865160508999</c:v>
                </c:pt>
                <c:pt idx="13735">
                  <c:v>-0.20102215564294701</c:v>
                </c:pt>
                <c:pt idx="13736">
                  <c:v>-0.11981788635271801</c:v>
                </c:pt>
                <c:pt idx="13737">
                  <c:v>-6.3068432832125806E-2</c:v>
                </c:pt>
                <c:pt idx="13738">
                  <c:v>9.2548794016551403E-2</c:v>
                </c:pt>
                <c:pt idx="13739">
                  <c:v>0.14929824753714399</c:v>
                </c:pt>
                <c:pt idx="13740">
                  <c:v>7.4224003286956705E-2</c:v>
                </c:pt>
                <c:pt idx="13741">
                  <c:v>0.29678472267564399</c:v>
                </c:pt>
                <c:pt idx="13742">
                  <c:v>0.30513193318681398</c:v>
                </c:pt>
                <c:pt idx="13743">
                  <c:v>0.494736728132806</c:v>
                </c:pt>
                <c:pt idx="13744">
                  <c:v>0.56899578752936597</c:v>
                </c:pt>
                <c:pt idx="13745">
                  <c:v>0.45138773973547303</c:v>
                </c:pt>
                <c:pt idx="13746">
                  <c:v>0.23921397979536099</c:v>
                </c:pt>
                <c:pt idx="13747">
                  <c:v>0.22871268644022699</c:v>
                </c:pt>
                <c:pt idx="13748">
                  <c:v>0.49214030211548698</c:v>
                </c:pt>
                <c:pt idx="13749">
                  <c:v>0.49626186510625903</c:v>
                </c:pt>
                <c:pt idx="13750">
                  <c:v>0.475666484765009</c:v>
                </c:pt>
                <c:pt idx="13751">
                  <c:v>0.45507110442375998</c:v>
                </c:pt>
                <c:pt idx="13752">
                  <c:v>0.43447572408251001</c:v>
                </c:pt>
                <c:pt idx="13753">
                  <c:v>0.44075101384259702</c:v>
                </c:pt>
                <c:pt idx="13754">
                  <c:v>0.44702630360268403</c:v>
                </c:pt>
                <c:pt idx="13755">
                  <c:v>0.45330159336277098</c:v>
                </c:pt>
                <c:pt idx="13756">
                  <c:v>0.45957688312285799</c:v>
                </c:pt>
                <c:pt idx="13757">
                  <c:v>0.47397802380582799</c:v>
                </c:pt>
                <c:pt idx="13758">
                  <c:v>0.48837916448879698</c:v>
                </c:pt>
                <c:pt idx="13759">
                  <c:v>0.50278030517176697</c:v>
                </c:pt>
                <c:pt idx="13760">
                  <c:v>0.51718144585473702</c:v>
                </c:pt>
                <c:pt idx="13761">
                  <c:v>0.46716830048430802</c:v>
                </c:pt>
                <c:pt idx="13762">
                  <c:v>0.41715515511388002</c:v>
                </c:pt>
                <c:pt idx="13763">
                  <c:v>0.36714200974345201</c:v>
                </c:pt>
                <c:pt idx="13764">
                  <c:v>0.31712886437302301</c:v>
                </c:pt>
                <c:pt idx="13765">
                  <c:v>1.1427874573989401</c:v>
                </c:pt>
                <c:pt idx="13766">
                  <c:v>1.0525501086636</c:v>
                </c:pt>
                <c:pt idx="13767">
                  <c:v>1.14396158969471</c:v>
                </c:pt>
                <c:pt idx="13768">
                  <c:v>1.2517769605334099</c:v>
                </c:pt>
                <c:pt idx="13769">
                  <c:v>1.2806335607878201</c:v>
                </c:pt>
                <c:pt idx="13770">
                  <c:v>1.3670889564031901</c:v>
                </c:pt>
                <c:pt idx="13771">
                  <c:v>1.38354743837685</c:v>
                </c:pt>
                <c:pt idx="13772">
                  <c:v>1.3380205497625099</c:v>
                </c:pt>
                <c:pt idx="13773">
                  <c:v>1.3154427966195701</c:v>
                </c:pt>
                <c:pt idx="13774">
                  <c:v>1.33398587661624</c:v>
                </c:pt>
                <c:pt idx="13775">
                  <c:v>1.37224586214501</c:v>
                </c:pt>
                <c:pt idx="13776">
                  <c:v>1.2462551739880099</c:v>
                </c:pt>
                <c:pt idx="13777">
                  <c:v>1.0263728584671901</c:v>
                </c:pt>
                <c:pt idx="13778">
                  <c:v>0.95133104238650001</c:v>
                </c:pt>
                <c:pt idx="13779">
                  <c:v>1.15643024651586</c:v>
                </c:pt>
                <c:pt idx="13780">
                  <c:v>1.1903895724245701</c:v>
                </c:pt>
                <c:pt idx="13781">
                  <c:v>1.17835415136388</c:v>
                </c:pt>
                <c:pt idx="13782">
                  <c:v>1.3427960501463301</c:v>
                </c:pt>
                <c:pt idx="13783">
                  <c:v>1.35124436283384</c:v>
                </c:pt>
                <c:pt idx="13784">
                  <c:v>1.30202915397992</c:v>
                </c:pt>
                <c:pt idx="13785">
                  <c:v>1.1765412895223299</c:v>
                </c:pt>
                <c:pt idx="13786">
                  <c:v>1.0595991374618401</c:v>
                </c:pt>
                <c:pt idx="13787">
                  <c:v>0.97538547178707702</c:v>
                </c:pt>
                <c:pt idx="13788">
                  <c:v>0.9006257210395</c:v>
                </c:pt>
                <c:pt idx="13789">
                  <c:v>0.90394849940108102</c:v>
                </c:pt>
                <c:pt idx="13790">
                  <c:v>0.91966939604340703</c:v>
                </c:pt>
                <c:pt idx="13791">
                  <c:v>0.842946406147139</c:v>
                </c:pt>
                <c:pt idx="13792">
                  <c:v>0.81216775393511298</c:v>
                </c:pt>
                <c:pt idx="13793">
                  <c:v>0.36019113635850503</c:v>
                </c:pt>
                <c:pt idx="13794">
                  <c:v>0.208158405360265</c:v>
                </c:pt>
                <c:pt idx="13795">
                  <c:v>0.12815656329889699</c:v>
                </c:pt>
                <c:pt idx="13796">
                  <c:v>0.13135604399286199</c:v>
                </c:pt>
                <c:pt idx="13797">
                  <c:v>4.23923720755481E-2</c:v>
                </c:pt>
                <c:pt idx="13798">
                  <c:v>4.2826471646084802E-2</c:v>
                </c:pt>
                <c:pt idx="13799">
                  <c:v>0.38108571151391002</c:v>
                </c:pt>
                <c:pt idx="13800">
                  <c:v>0.36715845365500999</c:v>
                </c:pt>
                <c:pt idx="13801">
                  <c:v>0.37001973275655697</c:v>
                </c:pt>
                <c:pt idx="13802">
                  <c:v>0.22457935186597699</c:v>
                </c:pt>
                <c:pt idx="13803">
                  <c:v>0.22744063096752501</c:v>
                </c:pt>
                <c:pt idx="13804">
                  <c:v>0.19734598562637701</c:v>
                </c:pt>
                <c:pt idx="13805">
                  <c:v>0.17914766778376401</c:v>
                </c:pt>
                <c:pt idx="13806">
                  <c:v>8.6798519945087596E-2</c:v>
                </c:pt>
                <c:pt idx="13807">
                  <c:v>0.10979510765584299</c:v>
                </c:pt>
                <c:pt idx="13808">
                  <c:v>9.2069787064929503E-3</c:v>
                </c:pt>
                <c:pt idx="13809">
                  <c:v>-4.8132513848434699E-2</c:v>
                </c:pt>
                <c:pt idx="13810">
                  <c:v>3.4590672478091798E-2</c:v>
                </c:pt>
                <c:pt idx="13811">
                  <c:v>-8.8660668962226297E-2</c:v>
                </c:pt>
                <c:pt idx="13812">
                  <c:v>-7.1849331521089702E-2</c:v>
                </c:pt>
                <c:pt idx="13813">
                  <c:v>-6.76961571801422E-2</c:v>
                </c:pt>
                <c:pt idx="13814">
                  <c:v>-8.4180082230612296E-2</c:v>
                </c:pt>
                <c:pt idx="13815">
                  <c:v>-9.6504870111011998E-2</c:v>
                </c:pt>
                <c:pt idx="13816">
                  <c:v>-6.7634752438042997E-2</c:v>
                </c:pt>
                <c:pt idx="13817">
                  <c:v>-8.5755145340802794E-2</c:v>
                </c:pt>
                <c:pt idx="13818">
                  <c:v>-8.7397576022214804E-2</c:v>
                </c:pt>
                <c:pt idx="13819">
                  <c:v>-4.7845101150258001E-2</c:v>
                </c:pt>
                <c:pt idx="13820">
                  <c:v>-0.123638361827733</c:v>
                </c:pt>
                <c:pt idx="13821">
                  <c:v>2.7542193356723199E-2</c:v>
                </c:pt>
                <c:pt idx="13822">
                  <c:v>-2.7331072455131899E-2</c:v>
                </c:pt>
                <c:pt idx="13823">
                  <c:v>-3.89437110085292E-3</c:v>
                </c:pt>
                <c:pt idx="13824">
                  <c:v>2.7781311364100499E-2</c:v>
                </c:pt>
                <c:pt idx="13825">
                  <c:v>8.9500098424037805E-3</c:v>
                </c:pt>
                <c:pt idx="13826">
                  <c:v>-9.8812916792928498E-3</c:v>
                </c:pt>
                <c:pt idx="13827">
                  <c:v>-1.22346309796418E-2</c:v>
                </c:pt>
                <c:pt idx="13828">
                  <c:v>-2.2826951390663899E-2</c:v>
                </c:pt>
                <c:pt idx="13829">
                  <c:v>3.3562530578887598E-2</c:v>
                </c:pt>
                <c:pt idx="13830">
                  <c:v>8.9952012548439098E-2</c:v>
                </c:pt>
                <c:pt idx="13831">
                  <c:v>0.29464315451011902</c:v>
                </c:pt>
                <c:pt idx="13832">
                  <c:v>0.293359768704954</c:v>
                </c:pt>
                <c:pt idx="13833">
                  <c:v>0.38955987204244003</c:v>
                </c:pt>
                <c:pt idx="13834">
                  <c:v>0.65053959759340096</c:v>
                </c:pt>
                <c:pt idx="13835">
                  <c:v>0.64787192760280199</c:v>
                </c:pt>
                <c:pt idx="13836">
                  <c:v>0.80174489871500498</c:v>
                </c:pt>
                <c:pt idx="13837">
                  <c:v>0.73746324082589298</c:v>
                </c:pt>
                <c:pt idx="13838">
                  <c:v>0.74733241293284502</c:v>
                </c:pt>
                <c:pt idx="13839">
                  <c:v>0.65855602895297405</c:v>
                </c:pt>
                <c:pt idx="13840">
                  <c:v>0.77553195549868503</c:v>
                </c:pt>
                <c:pt idx="13841">
                  <c:v>0.76216393356697898</c:v>
                </c:pt>
                <c:pt idx="13842">
                  <c:v>0.71583998719257802</c:v>
                </c:pt>
                <c:pt idx="13843">
                  <c:v>0.66951604081817695</c:v>
                </c:pt>
                <c:pt idx="13844">
                  <c:v>0.62319209444377599</c:v>
                </c:pt>
                <c:pt idx="13845">
                  <c:v>0.63717819023759104</c:v>
                </c:pt>
                <c:pt idx="13846">
                  <c:v>0.65116428603140597</c:v>
                </c:pt>
                <c:pt idx="13847">
                  <c:v>0.66515038182522102</c:v>
                </c:pt>
                <c:pt idx="13848">
                  <c:v>0.67913647761903595</c:v>
                </c:pt>
                <c:pt idx="13849">
                  <c:v>0.72553855641415399</c:v>
                </c:pt>
                <c:pt idx="13850">
                  <c:v>0.77194063520927203</c:v>
                </c:pt>
                <c:pt idx="13851">
                  <c:v>0.81834271400438996</c:v>
                </c:pt>
                <c:pt idx="13852">
                  <c:v>0.864744792799508</c:v>
                </c:pt>
                <c:pt idx="13853">
                  <c:v>0.79653337264234703</c:v>
                </c:pt>
                <c:pt idx="13854">
                  <c:v>0.72832195248518605</c:v>
                </c:pt>
                <c:pt idx="13855">
                  <c:v>0.66011053232802497</c:v>
                </c:pt>
                <c:pt idx="13856">
                  <c:v>0.59189911217086399</c:v>
                </c:pt>
                <c:pt idx="13857">
                  <c:v>1.3320423091132201</c:v>
                </c:pt>
                <c:pt idx="13858">
                  <c:v>1.3336154496160399</c:v>
                </c:pt>
                <c:pt idx="13859">
                  <c:v>1.32256303378114</c:v>
                </c:pt>
                <c:pt idx="13860">
                  <c:v>1.26396067720143</c:v>
                </c:pt>
                <c:pt idx="13861">
                  <c:v>1.2689183341146699</c:v>
                </c:pt>
                <c:pt idx="13862">
                  <c:v>1.3172667946026599</c:v>
                </c:pt>
                <c:pt idx="13863">
                  <c:v>1.3263042954565101</c:v>
                </c:pt>
                <c:pt idx="13864">
                  <c:v>1.2880245144382201</c:v>
                </c:pt>
                <c:pt idx="13865">
                  <c:v>1.2928615926867999</c:v>
                </c:pt>
                <c:pt idx="13866">
                  <c:v>1.35749336431773</c:v>
                </c:pt>
                <c:pt idx="13867">
                  <c:v>1.3868199478413601</c:v>
                </c:pt>
                <c:pt idx="13868">
                  <c:v>1.3419904805532099</c:v>
                </c:pt>
                <c:pt idx="13869">
                  <c:v>1.3325947075842</c:v>
                </c:pt>
                <c:pt idx="13870">
                  <c:v>1.3926564580977701</c:v>
                </c:pt>
                <c:pt idx="13871">
                  <c:v>1.4055542923824189</c:v>
                </c:pt>
                <c:pt idx="13872">
                  <c:v>1.50046113407362</c:v>
                </c:pt>
                <c:pt idx="13873">
                  <c:v>1.33378541496707</c:v>
                </c:pt>
                <c:pt idx="13874">
                  <c:v>1.4376262233552</c:v>
                </c:pt>
                <c:pt idx="13875">
                  <c:v>1.4555315460394</c:v>
                </c:pt>
                <c:pt idx="13876">
                  <c:v>1.48868268498346</c:v>
                </c:pt>
                <c:pt idx="13877">
                  <c:v>1.30479894616471</c:v>
                </c:pt>
                <c:pt idx="13878">
                  <c:v>1.2482041850621799</c:v>
                </c:pt>
                <c:pt idx="13879">
                  <c:v>1.2983841537145</c:v>
                </c:pt>
                <c:pt idx="13880">
                  <c:v>1.13914328581401</c:v>
                </c:pt>
                <c:pt idx="13881">
                  <c:v>1.18088988375209</c:v>
                </c:pt>
                <c:pt idx="13882">
                  <c:v>1.11953027796255</c:v>
                </c:pt>
                <c:pt idx="13883">
                  <c:v>1.0438093147435701</c:v>
                </c:pt>
                <c:pt idx="13884">
                  <c:v>0.97579316329184196</c:v>
                </c:pt>
                <c:pt idx="13885">
                  <c:v>0.92146202206458105</c:v>
                </c:pt>
                <c:pt idx="13886">
                  <c:v>0.90636254724199905</c:v>
                </c:pt>
                <c:pt idx="13887">
                  <c:v>0.82731446268271702</c:v>
                </c:pt>
                <c:pt idx="13888">
                  <c:v>0.72143282999950198</c:v>
                </c:pt>
                <c:pt idx="13889">
                  <c:v>0.56188643099454705</c:v>
                </c:pt>
                <c:pt idx="13890">
                  <c:v>0.45177391865363498</c:v>
                </c:pt>
                <c:pt idx="13891">
                  <c:v>0.32117767256452601</c:v>
                </c:pt>
                <c:pt idx="13892">
                  <c:v>0.20698531628301101</c:v>
                </c:pt>
                <c:pt idx="13893">
                  <c:v>0.154339546804732</c:v>
                </c:pt>
                <c:pt idx="13894">
                  <c:v>9.9577172534540098E-2</c:v>
                </c:pt>
                <c:pt idx="13895">
                  <c:v>3.0453440834912401E-2</c:v>
                </c:pt>
                <c:pt idx="13896">
                  <c:v>2.9358162812587501E-2</c:v>
                </c:pt>
                <c:pt idx="13897">
                  <c:v>1.72818397843062E-2</c:v>
                </c:pt>
                <c:pt idx="13898">
                  <c:v>5.20551675602479E-3</c:v>
                </c:pt>
                <c:pt idx="13899">
                  <c:v>-6.8708062722565603E-3</c:v>
                </c:pt>
                <c:pt idx="13900">
                  <c:v>-1.89471293005379E-2</c:v>
                </c:pt>
                <c:pt idx="13901">
                  <c:v>-7.4219990438656302E-3</c:v>
                </c:pt>
                <c:pt idx="13902">
                  <c:v>4.1031312128066398E-3</c:v>
                </c:pt>
                <c:pt idx="13903">
                  <c:v>1.5628261469478901E-2</c:v>
                </c:pt>
                <c:pt idx="13904">
                  <c:v>2.7153391726151201E-2</c:v>
                </c:pt>
                <c:pt idx="13905">
                  <c:v>4.0605637294963597E-3</c:v>
                </c:pt>
                <c:pt idx="13906">
                  <c:v>-1.90322642671585E-2</c:v>
                </c:pt>
                <c:pt idx="13907">
                  <c:v>-4.2125092263813398E-2</c:v>
                </c:pt>
                <c:pt idx="13908">
                  <c:v>-6.5217920260468298E-2</c:v>
                </c:pt>
                <c:pt idx="13909">
                  <c:v>-2.1782169412650602E-2</c:v>
                </c:pt>
                <c:pt idx="13910">
                  <c:v>2.1653581435167098E-2</c:v>
                </c:pt>
                <c:pt idx="13911">
                  <c:v>6.5089332282984802E-2</c:v>
                </c:pt>
                <c:pt idx="13912">
                  <c:v>0.12856438239647699</c:v>
                </c:pt>
                <c:pt idx="13913">
                  <c:v>0.16065270902786799</c:v>
                </c:pt>
                <c:pt idx="13914">
                  <c:v>0.19274103565926001</c:v>
                </c:pt>
                <c:pt idx="13915">
                  <c:v>0.22482936229065201</c:v>
                </c:pt>
                <c:pt idx="13916">
                  <c:v>0.28987361336473799</c:v>
                </c:pt>
                <c:pt idx="13917">
                  <c:v>0.35273082829452501</c:v>
                </c:pt>
                <c:pt idx="13918">
                  <c:v>0.250808421010836</c:v>
                </c:pt>
                <c:pt idx="13919">
                  <c:v>0.34662156038331798</c:v>
                </c:pt>
                <c:pt idx="13920">
                  <c:v>0.236460171988955</c:v>
                </c:pt>
                <c:pt idx="13921">
                  <c:v>0.25576257766398203</c:v>
                </c:pt>
                <c:pt idx="13922">
                  <c:v>0.225631096674966</c:v>
                </c:pt>
                <c:pt idx="13923">
                  <c:v>0.31908433234605699</c:v>
                </c:pt>
                <c:pt idx="13924">
                  <c:v>0.29719183246771502</c:v>
                </c:pt>
                <c:pt idx="13925">
                  <c:v>0.34767987465191702</c:v>
                </c:pt>
                <c:pt idx="13926">
                  <c:v>0.34049504906140199</c:v>
                </c:pt>
                <c:pt idx="13927">
                  <c:v>0.47337290235234197</c:v>
                </c:pt>
                <c:pt idx="13928">
                  <c:v>0.42499317120845898</c:v>
                </c:pt>
                <c:pt idx="13929">
                  <c:v>0.56123335338559699</c:v>
                </c:pt>
                <c:pt idx="13930">
                  <c:v>0.63564153061794804</c:v>
                </c:pt>
                <c:pt idx="13931">
                  <c:v>0.85843066107189403</c:v>
                </c:pt>
                <c:pt idx="13932">
                  <c:v>0.96171491880633597</c:v>
                </c:pt>
                <c:pt idx="13933">
                  <c:v>0.87436398835268703</c:v>
                </c:pt>
                <c:pt idx="13934">
                  <c:v>0.525625191161182</c:v>
                </c:pt>
                <c:pt idx="13935">
                  <c:v>0.545381015146291</c:v>
                </c:pt>
                <c:pt idx="13936">
                  <c:v>0.575418352620231</c:v>
                </c:pt>
                <c:pt idx="13937">
                  <c:v>0.56737969656198395</c:v>
                </c:pt>
                <c:pt idx="13938">
                  <c:v>0.55934104050373601</c:v>
                </c:pt>
                <c:pt idx="13939">
                  <c:v>0.55130238444548896</c:v>
                </c:pt>
                <c:pt idx="13940">
                  <c:v>0.54326372838724102</c:v>
                </c:pt>
                <c:pt idx="13941">
                  <c:v>0.54579162080489196</c:v>
                </c:pt>
                <c:pt idx="13942">
                  <c:v>0.54831951322254302</c:v>
                </c:pt>
                <c:pt idx="13943">
                  <c:v>0.55084740564019496</c:v>
                </c:pt>
                <c:pt idx="13944">
                  <c:v>0.55337529805784602</c:v>
                </c:pt>
                <c:pt idx="13945">
                  <c:v>0.55096324260813401</c:v>
                </c:pt>
                <c:pt idx="13946">
                  <c:v>0.54855118715842199</c:v>
                </c:pt>
                <c:pt idx="13947">
                  <c:v>0.54613913170870898</c:v>
                </c:pt>
                <c:pt idx="13948">
                  <c:v>0.54372707625899697</c:v>
                </c:pt>
                <c:pt idx="13949">
                  <c:v>0.54351915878409096</c:v>
                </c:pt>
                <c:pt idx="13950">
                  <c:v>0.54331124130918496</c:v>
                </c:pt>
                <c:pt idx="13951">
                  <c:v>0.54310332383427895</c:v>
                </c:pt>
                <c:pt idx="13952">
                  <c:v>1.473311292008999</c:v>
                </c:pt>
                <c:pt idx="13953">
                  <c:v>1.44664843849556</c:v>
                </c:pt>
                <c:pt idx="13954">
                  <c:v>1.37682221946434</c:v>
                </c:pt>
                <c:pt idx="13955">
                  <c:v>1.2348084095857501</c:v>
                </c:pt>
                <c:pt idx="13956">
                  <c:v>1.22754246173656</c:v>
                </c:pt>
                <c:pt idx="13957">
                  <c:v>1.22543943402818</c:v>
                </c:pt>
                <c:pt idx="13958">
                  <c:v>1.1970528695690801</c:v>
                </c:pt>
                <c:pt idx="13959">
                  <c:v>1.34207615376574</c:v>
                </c:pt>
                <c:pt idx="13960">
                  <c:v>1.47916718813818</c:v>
                </c:pt>
                <c:pt idx="13961">
                  <c:v>1.5616657115877099</c:v>
                </c:pt>
                <c:pt idx="13962">
                  <c:v>1.30281542252412</c:v>
                </c:pt>
                <c:pt idx="13963">
                  <c:v>1.05666998302771</c:v>
                </c:pt>
                <c:pt idx="13964">
                  <c:v>1.0601277545612999</c:v>
                </c:pt>
                <c:pt idx="13965">
                  <c:v>1.1004731496506901</c:v>
                </c:pt>
                <c:pt idx="13966">
                  <c:v>1.18887237446591</c:v>
                </c:pt>
                <c:pt idx="13967">
                  <c:v>1.39821076262162</c:v>
                </c:pt>
                <c:pt idx="13968">
                  <c:v>1.34365865473165</c:v>
                </c:pt>
                <c:pt idx="13969">
                  <c:v>1.3696124120291999</c:v>
                </c:pt>
                <c:pt idx="13970">
                  <c:v>1.4516680395419801</c:v>
                </c:pt>
                <c:pt idx="13971">
                  <c:v>1.37655912174765</c:v>
                </c:pt>
                <c:pt idx="13972">
                  <c:v>1.1511007907673101</c:v>
                </c:pt>
                <c:pt idx="13973">
                  <c:v>1.04349604545995</c:v>
                </c:pt>
                <c:pt idx="13974">
                  <c:v>1.10711248872041</c:v>
                </c:pt>
                <c:pt idx="13975">
                  <c:v>0.99935639488755101</c:v>
                </c:pt>
                <c:pt idx="13976">
                  <c:v>0.95366496487216301</c:v>
                </c:pt>
                <c:pt idx="13977">
                  <c:v>0.92634066381306102</c:v>
                </c:pt>
                <c:pt idx="13978">
                  <c:v>0.96806644877836501</c:v>
                </c:pt>
                <c:pt idx="13979">
                  <c:v>0.91431154855383401</c:v>
                </c:pt>
                <c:pt idx="13980">
                  <c:v>0.71867887512666495</c:v>
                </c:pt>
                <c:pt idx="13981">
                  <c:v>0.576871884406299</c:v>
                </c:pt>
                <c:pt idx="13982">
                  <c:v>0.42140340839035001</c:v>
                </c:pt>
                <c:pt idx="13983">
                  <c:v>0.31756471705982298</c:v>
                </c:pt>
                <c:pt idx="13984">
                  <c:v>0.228240748801953</c:v>
                </c:pt>
                <c:pt idx="13985">
                  <c:v>0.173915237364935</c:v>
                </c:pt>
                <c:pt idx="13986">
                  <c:v>0.15124523355009301</c:v>
                </c:pt>
                <c:pt idx="13987">
                  <c:v>0.11421387230581601</c:v>
                </c:pt>
                <c:pt idx="13988">
                  <c:v>0.10189945439356</c:v>
                </c:pt>
                <c:pt idx="13989">
                  <c:v>0.174170745609422</c:v>
                </c:pt>
                <c:pt idx="13990">
                  <c:v>4.27751816645306E-2</c:v>
                </c:pt>
                <c:pt idx="13991">
                  <c:v>0.38307098816586599</c:v>
                </c:pt>
                <c:pt idx="13992">
                  <c:v>0.35886147188920098</c:v>
                </c:pt>
                <c:pt idx="13993">
                  <c:v>0.244023163395126</c:v>
                </c:pt>
                <c:pt idx="13994">
                  <c:v>0.25914276320298701</c:v>
                </c:pt>
                <c:pt idx="13995">
                  <c:v>0.175394589682762</c:v>
                </c:pt>
                <c:pt idx="13996">
                  <c:v>0.24818705726533899</c:v>
                </c:pt>
                <c:pt idx="13997">
                  <c:v>0.17267786485578901</c:v>
                </c:pt>
                <c:pt idx="13998">
                  <c:v>0.16819136652393199</c:v>
                </c:pt>
                <c:pt idx="13999">
                  <c:v>0.13074894374938101</c:v>
                </c:pt>
                <c:pt idx="14000">
                  <c:v>3.5633653200112997E-2</c:v>
                </c:pt>
                <c:pt idx="14001">
                  <c:v>3.1147154868256699E-2</c:v>
                </c:pt>
                <c:pt idx="14002">
                  <c:v>3.2973774864436603E-2</c:v>
                </c:pt>
                <c:pt idx="14003">
                  <c:v>6.7756319303311899E-2</c:v>
                </c:pt>
                <c:pt idx="14004">
                  <c:v>4.48659959674707E-2</c:v>
                </c:pt>
                <c:pt idx="14005">
                  <c:v>7.9648540406346099E-2</c:v>
                </c:pt>
                <c:pt idx="14006">
                  <c:v>7.7173756317160294E-2</c:v>
                </c:pt>
                <c:pt idx="14007">
                  <c:v>8.2937953338647299E-2</c:v>
                </c:pt>
                <c:pt idx="14008">
                  <c:v>0.13813603702417701</c:v>
                </c:pt>
                <c:pt idx="14009">
                  <c:v>0.115024153543572</c:v>
                </c:pt>
                <c:pt idx="14010">
                  <c:v>0.116407556643562</c:v>
                </c:pt>
                <c:pt idx="14011">
                  <c:v>0.196100926909686</c:v>
                </c:pt>
                <c:pt idx="14012">
                  <c:v>0.110935381732868</c:v>
                </c:pt>
                <c:pt idx="14013">
                  <c:v>0.112318784832858</c:v>
                </c:pt>
                <c:pt idx="14014">
                  <c:v>0.109003224911702</c:v>
                </c:pt>
                <c:pt idx="14015">
                  <c:v>0.19631645720795701</c:v>
                </c:pt>
                <c:pt idx="14016">
                  <c:v>0.16828395395477999</c:v>
                </c:pt>
                <c:pt idx="14017">
                  <c:v>0.140251450701603</c:v>
                </c:pt>
                <c:pt idx="14018">
                  <c:v>0.192672810322157</c:v>
                </c:pt>
                <c:pt idx="14019">
                  <c:v>0.22861620772136501</c:v>
                </c:pt>
                <c:pt idx="14020">
                  <c:v>0.26455960512057197</c:v>
                </c:pt>
                <c:pt idx="14021">
                  <c:v>0.42408771917988503</c:v>
                </c:pt>
                <c:pt idx="14022">
                  <c:v>0.427461096988631</c:v>
                </c:pt>
                <c:pt idx="14023">
                  <c:v>0.496746323682767</c:v>
                </c:pt>
                <c:pt idx="14024">
                  <c:v>0.60722645593027202</c:v>
                </c:pt>
                <c:pt idx="14025">
                  <c:v>0.71770658817777799</c:v>
                </c:pt>
                <c:pt idx="14026">
                  <c:v>0.73148247456633897</c:v>
                </c:pt>
                <c:pt idx="14027">
                  <c:v>0.49626861249778997</c:v>
                </c:pt>
                <c:pt idx="14028">
                  <c:v>0.51004449888635095</c:v>
                </c:pt>
                <c:pt idx="14029">
                  <c:v>0.61233257270041097</c:v>
                </c:pt>
                <c:pt idx="14030">
                  <c:v>0.55382601359454897</c:v>
                </c:pt>
                <c:pt idx="14031">
                  <c:v>0.49531945448868803</c:v>
                </c:pt>
                <c:pt idx="14032">
                  <c:v>0.43681289538282703</c:v>
                </c:pt>
                <c:pt idx="14033">
                  <c:v>0.37830633627696603</c:v>
                </c:pt>
                <c:pt idx="14034">
                  <c:v>0.86104091143664596</c:v>
                </c:pt>
                <c:pt idx="14035">
                  <c:v>0.99788120395982305</c:v>
                </c:pt>
                <c:pt idx="14036">
                  <c:v>1.31597908091782</c:v>
                </c:pt>
                <c:pt idx="14037">
                  <c:v>2.0048311078561398</c:v>
                </c:pt>
                <c:pt idx="14038">
                  <c:v>2.0165330710396998</c:v>
                </c:pt>
                <c:pt idx="14039">
                  <c:v>2.0447129964445998</c:v>
                </c:pt>
                <c:pt idx="14040">
                  <c:v>1.10559220141652</c:v>
                </c:pt>
                <c:pt idx="14041">
                  <c:v>1.17104055407741</c:v>
                </c:pt>
                <c:pt idx="14042">
                  <c:v>1.2602326326417499</c:v>
                </c:pt>
                <c:pt idx="14043">
                  <c:v>1.33317418704172</c:v>
                </c:pt>
                <c:pt idx="14044">
                  <c:v>1.38910360987693</c:v>
                </c:pt>
                <c:pt idx="14045">
                  <c:v>0.33146517507703799</c:v>
                </c:pt>
                <c:pt idx="14046">
                  <c:v>1.458947322964</c:v>
                </c:pt>
                <c:pt idx="14047">
                  <c:v>1.4912287421721391</c:v>
                </c:pt>
                <c:pt idx="14048">
                  <c:v>1.5210868253019301</c:v>
                </c:pt>
                <c:pt idx="14049">
                  <c:v>1.40852774506995</c:v>
                </c:pt>
                <c:pt idx="14050">
                  <c:v>1.18861261407158</c:v>
                </c:pt>
                <c:pt idx="14051">
                  <c:v>1.2037118986167901</c:v>
                </c:pt>
                <c:pt idx="14052">
                  <c:v>1.2892681937333701</c:v>
                </c:pt>
                <c:pt idx="14053">
                  <c:v>1.32681445117547</c:v>
                </c:pt>
                <c:pt idx="14054">
                  <c:v>1.2649567158648101</c:v>
                </c:pt>
                <c:pt idx="14055">
                  <c:v>1.3143700929787001</c:v>
                </c:pt>
                <c:pt idx="14056">
                  <c:v>1.4216889967399999</c:v>
                </c:pt>
                <c:pt idx="14057">
                  <c:v>1.47125573949711</c:v>
                </c:pt>
                <c:pt idx="14058">
                  <c:v>1.4424910072681401</c:v>
                </c:pt>
                <c:pt idx="14059">
                  <c:v>1.37926720837745</c:v>
                </c:pt>
                <c:pt idx="14060">
                  <c:v>1.45141800267044</c:v>
                </c:pt>
                <c:pt idx="14061">
                  <c:v>1.43127827606805</c:v>
                </c:pt>
                <c:pt idx="14062">
                  <c:v>1.48128199347075</c:v>
                </c:pt>
                <c:pt idx="14063">
                  <c:v>1.53756145283543</c:v>
                </c:pt>
                <c:pt idx="14064">
                  <c:v>1.52338390162874</c:v>
                </c:pt>
                <c:pt idx="14065">
                  <c:v>1.4928024606144601</c:v>
                </c:pt>
                <c:pt idx="14066">
                  <c:v>1.47452610824708</c:v>
                </c:pt>
                <c:pt idx="14067">
                  <c:v>1.2823440752653701</c:v>
                </c:pt>
                <c:pt idx="14068">
                  <c:v>1.2166711477964001</c:v>
                </c:pt>
                <c:pt idx="14069">
                  <c:v>1.1694394216974699</c:v>
                </c:pt>
                <c:pt idx="14070">
                  <c:v>1.07425386812812</c:v>
                </c:pt>
                <c:pt idx="14071">
                  <c:v>0.97906831455878296</c:v>
                </c:pt>
                <c:pt idx="14072">
                  <c:v>0.88388276098944096</c:v>
                </c:pt>
                <c:pt idx="14073">
                  <c:v>0.78869720742009897</c:v>
                </c:pt>
                <c:pt idx="14074">
                  <c:v>0.87716079603319197</c:v>
                </c:pt>
                <c:pt idx="14075">
                  <c:v>0.96562438464628497</c:v>
                </c:pt>
                <c:pt idx="14076">
                  <c:v>1.05408797325938</c:v>
                </c:pt>
                <c:pt idx="14077">
                  <c:v>1.14255156187247</c:v>
                </c:pt>
                <c:pt idx="14078">
                  <c:v>1.1712606053388099</c:v>
                </c:pt>
                <c:pt idx="14079">
                  <c:v>1.1999696488051399</c:v>
                </c:pt>
                <c:pt idx="14080">
                  <c:v>1.2286786922714801</c:v>
                </c:pt>
                <c:pt idx="14081">
                  <c:v>1.25738773573781</c:v>
                </c:pt>
                <c:pt idx="14082">
                  <c:v>1.2633536598975701</c:v>
                </c:pt>
                <c:pt idx="14083">
                  <c:v>1.2693195840573299</c:v>
                </c:pt>
                <c:pt idx="14084">
                  <c:v>1.27528550821709</c:v>
                </c:pt>
                <c:pt idx="14085">
                  <c:v>-7.5829395544863495E-2</c:v>
                </c:pt>
                <c:pt idx="14086">
                  <c:v>0.20513101548816501</c:v>
                </c:pt>
                <c:pt idx="14087">
                  <c:v>0.14818699299443899</c:v>
                </c:pt>
                <c:pt idx="14088">
                  <c:v>0.12419889494340799</c:v>
                </c:pt>
                <c:pt idx="14089">
                  <c:v>0.10844977800305</c:v>
                </c:pt>
                <c:pt idx="14090">
                  <c:v>2.8900232596891999E-2</c:v>
                </c:pt>
                <c:pt idx="14091">
                  <c:v>-1.2154261452226201E-3</c:v>
                </c:pt>
                <c:pt idx="14092">
                  <c:v>-2.5342976147133501E-3</c:v>
                </c:pt>
                <c:pt idx="14093">
                  <c:v>8.5449491965402108E-3</c:v>
                </c:pt>
                <c:pt idx="14094">
                  <c:v>-4.96535240927563E-2</c:v>
                </c:pt>
                <c:pt idx="14095">
                  <c:v>-6.6657091828683998E-2</c:v>
                </c:pt>
                <c:pt idx="14096">
                  <c:v>-0.15781148956067501</c:v>
                </c:pt>
                <c:pt idx="14097">
                  <c:v>-0.15833709507525501</c:v>
                </c:pt>
                <c:pt idx="14098">
                  <c:v>-0.20114332588539</c:v>
                </c:pt>
                <c:pt idx="14099">
                  <c:v>-7.0930953371375102E-2</c:v>
                </c:pt>
                <c:pt idx="14100">
                  <c:v>-0.15493208973487799</c:v>
                </c:pt>
                <c:pt idx="14101">
                  <c:v>-0.18126035832366499</c:v>
                </c:pt>
                <c:pt idx="14102">
                  <c:v>-0.18973929422063501</c:v>
                </c:pt>
                <c:pt idx="14103">
                  <c:v>-0.181740267896258</c:v>
                </c:pt>
                <c:pt idx="14104">
                  <c:v>-1.7200600469078901E-2</c:v>
                </c:pt>
                <c:pt idx="14105">
                  <c:v>-0.132786290804808</c:v>
                </c:pt>
                <c:pt idx="14106">
                  <c:v>-0.192040579965604</c:v>
                </c:pt>
                <c:pt idx="14107">
                  <c:v>-0.21009996357303101</c:v>
                </c:pt>
                <c:pt idx="14108">
                  <c:v>-0.22815934718045899</c:v>
                </c:pt>
                <c:pt idx="14109">
                  <c:v>-0.22974076856653899</c:v>
                </c:pt>
                <c:pt idx="14110">
                  <c:v>-0.23214540386539201</c:v>
                </c:pt>
                <c:pt idx="14111">
                  <c:v>-0.127443284725485</c:v>
                </c:pt>
                <c:pt idx="14112">
                  <c:v>-0.22871569335242301</c:v>
                </c:pt>
                <c:pt idx="14113">
                  <c:v>-0.23112032865127599</c:v>
                </c:pt>
                <c:pt idx="14114">
                  <c:v>-0.23183842108295399</c:v>
                </c:pt>
                <c:pt idx="14115">
                  <c:v>-0.21607855129328499</c:v>
                </c:pt>
                <c:pt idx="14116">
                  <c:v>-0.233274605946311</c:v>
                </c:pt>
                <c:pt idx="14117">
                  <c:v>-0.21751473615664099</c:v>
                </c:pt>
                <c:pt idx="14118">
                  <c:v>8.7573038578855095E-2</c:v>
                </c:pt>
                <c:pt idx="14119">
                  <c:v>0.153730361104813</c:v>
                </c:pt>
                <c:pt idx="14120">
                  <c:v>7.1586023638642096E-2</c:v>
                </c:pt>
                <c:pt idx="14121">
                  <c:v>2.23976106151677E-2</c:v>
                </c:pt>
                <c:pt idx="14122">
                  <c:v>-2.0644167395018499E-2</c:v>
                </c:pt>
                <c:pt idx="14123">
                  <c:v>-0.113119832069247</c:v>
                </c:pt>
                <c:pt idx="14124">
                  <c:v>-0.17263957230078</c:v>
                </c:pt>
                <c:pt idx="14125">
                  <c:v>-0.19096440697894501</c:v>
                </c:pt>
                <c:pt idx="14126">
                  <c:v>-0.17122135408443401</c:v>
                </c:pt>
                <c:pt idx="14127">
                  <c:v>2.15403021342261E-2</c:v>
                </c:pt>
                <c:pt idx="14128">
                  <c:v>0.25965600107632603</c:v>
                </c:pt>
                <c:pt idx="14129">
                  <c:v>0.56776339284441801</c:v>
                </c:pt>
                <c:pt idx="14130">
                  <c:v>0.63808157134738996</c:v>
                </c:pt>
                <c:pt idx="14131">
                  <c:v>0.90613529650653202</c:v>
                </c:pt>
                <c:pt idx="14132">
                  <c:v>1.1659500405550001</c:v>
                </c:pt>
                <c:pt idx="14133">
                  <c:v>1.5493495012635801</c:v>
                </c:pt>
                <c:pt idx="14134">
                  <c:v>1.5085090143397799</c:v>
                </c:pt>
                <c:pt idx="14135">
                  <c:v>0.37874110865585903</c:v>
                </c:pt>
                <c:pt idx="14136">
                  <c:v>0.35657448197478703</c:v>
                </c:pt>
                <c:pt idx="14137">
                  <c:v>0.32624294659679598</c:v>
                </c:pt>
                <c:pt idx="14138">
                  <c:v>0.43098449978884501</c:v>
                </c:pt>
                <c:pt idx="14139">
                  <c:v>0.51524231923269703</c:v>
                </c:pt>
                <c:pt idx="14140">
                  <c:v>0.58498541560389306</c:v>
                </c:pt>
                <c:pt idx="14141">
                  <c:v>0.70016184792799596</c:v>
                </c:pt>
                <c:pt idx="14142">
                  <c:v>0.73272173026582699</c:v>
                </c:pt>
                <c:pt idx="14143">
                  <c:v>0.76951482218748302</c:v>
                </c:pt>
                <c:pt idx="14144">
                  <c:v>0.85158788441882505</c:v>
                </c:pt>
                <c:pt idx="14145">
                  <c:v>0.87190301411913396</c:v>
                </c:pt>
                <c:pt idx="14146">
                  <c:v>0.91095745058906097</c:v>
                </c:pt>
                <c:pt idx="14147">
                  <c:v>1.0011815748147499</c:v>
                </c:pt>
                <c:pt idx="14148">
                  <c:v>0.962153482175513</c:v>
                </c:pt>
                <c:pt idx="14149">
                  <c:v>0.90156809628553503</c:v>
                </c:pt>
                <c:pt idx="14150">
                  <c:v>0.67522934842387905</c:v>
                </c:pt>
                <c:pt idx="14151">
                  <c:v>0.99735747106127604</c:v>
                </c:pt>
                <c:pt idx="14152">
                  <c:v>0.93973526534190399</c:v>
                </c:pt>
                <c:pt idx="14153">
                  <c:v>0.88211305962253195</c:v>
                </c:pt>
                <c:pt idx="14154">
                  <c:v>0.82915413547609795</c:v>
                </c:pt>
                <c:pt idx="14155">
                  <c:v>0.77619521132966396</c:v>
                </c:pt>
                <c:pt idx="14156">
                  <c:v>0.72323628718323096</c:v>
                </c:pt>
                <c:pt idx="14157">
                  <c:v>0.67027736303679697</c:v>
                </c:pt>
                <c:pt idx="14158">
                  <c:v>0.70692244867323595</c:v>
                </c:pt>
                <c:pt idx="14159">
                  <c:v>0.74356753430967504</c:v>
                </c:pt>
                <c:pt idx="14160">
                  <c:v>0.78021261994611402</c:v>
                </c:pt>
                <c:pt idx="14161">
                  <c:v>0.816857705582553</c:v>
                </c:pt>
                <c:pt idx="14162">
                  <c:v>0.78987589807097602</c:v>
                </c:pt>
                <c:pt idx="14163">
                  <c:v>0.76289409055940005</c:v>
                </c:pt>
                <c:pt idx="14164">
                  <c:v>0.73591228304782297</c:v>
                </c:pt>
                <c:pt idx="14165">
                  <c:v>0.708930475536246</c:v>
                </c:pt>
                <c:pt idx="14166">
                  <c:v>0.71526413124004595</c:v>
                </c:pt>
                <c:pt idx="14167">
                  <c:v>0.80086368299820598</c:v>
                </c:pt>
                <c:pt idx="14168">
                  <c:v>0.80719733870200605</c:v>
                </c:pt>
                <c:pt idx="14169">
                  <c:v>0.81353099440580601</c:v>
                </c:pt>
                <c:pt idx="14170">
                  <c:v>0.69191437973806702</c:v>
                </c:pt>
                <c:pt idx="14171">
                  <c:v>0.50981553670134605</c:v>
                </c:pt>
                <c:pt idx="14172">
                  <c:v>0.29303018894592697</c:v>
                </c:pt>
                <c:pt idx="14173">
                  <c:v>0.128181357162374</c:v>
                </c:pt>
                <c:pt idx="14174">
                  <c:v>3.6885138012527498E-2</c:v>
                </c:pt>
                <c:pt idx="14175">
                  <c:v>-1.1247715619545001E-2</c:v>
                </c:pt>
                <c:pt idx="14176">
                  <c:v>-4.6755012913899198E-2</c:v>
                </c:pt>
                <c:pt idx="14177">
                  <c:v>-8.64955197920768E-2</c:v>
                </c:pt>
                <c:pt idx="14178">
                  <c:v>-0.122736432021782</c:v>
                </c:pt>
                <c:pt idx="14179">
                  <c:v>-0.156934811873328</c:v>
                </c:pt>
                <c:pt idx="14180">
                  <c:v>-0.15401813011210999</c:v>
                </c:pt>
                <c:pt idx="14181">
                  <c:v>-0.16969601536414999</c:v>
                </c:pt>
                <c:pt idx="14182">
                  <c:v>0.105167848426968</c:v>
                </c:pt>
                <c:pt idx="14183">
                  <c:v>-5.0418583532907402E-3</c:v>
                </c:pt>
                <c:pt idx="14184">
                  <c:v>-5.7578697358834197E-2</c:v>
                </c:pt>
                <c:pt idx="14185">
                  <c:v>-0.16778840413909399</c:v>
                </c:pt>
                <c:pt idx="14186">
                  <c:v>-2.7142817174370299E-2</c:v>
                </c:pt>
                <c:pt idx="14187">
                  <c:v>3.1112958683616E-2</c:v>
                </c:pt>
                <c:pt idx="14188">
                  <c:v>2.7536729596815499E-2</c:v>
                </c:pt>
                <c:pt idx="14189">
                  <c:v>5.2836581012107503E-2</c:v>
                </c:pt>
                <c:pt idx="14190">
                  <c:v>1.16416754587387E-2</c:v>
                </c:pt>
                <c:pt idx="14191">
                  <c:v>1.16416754587387E-2</c:v>
                </c:pt>
                <c:pt idx="14192">
                  <c:v>-2.9553230094630099E-2</c:v>
                </c:pt>
                <c:pt idx="14193">
                  <c:v>-0.40673410222839701</c:v>
                </c:pt>
                <c:pt idx="14194">
                  <c:v>-0.40998004848559499</c:v>
                </c:pt>
                <c:pt idx="14195">
                  <c:v>-0.41322599474279298</c:v>
                </c:pt>
                <c:pt idx="14196">
                  <c:v>-0.39999397877864401</c:v>
                </c:pt>
                <c:pt idx="14197">
                  <c:v>-0.411478906146516</c:v>
                </c:pt>
                <c:pt idx="14198">
                  <c:v>-0.42572613830743</c:v>
                </c:pt>
                <c:pt idx="14199">
                  <c:v>-0.439973370468345</c:v>
                </c:pt>
                <c:pt idx="14200">
                  <c:v>-0.49541550818262797</c:v>
                </c:pt>
                <c:pt idx="14201">
                  <c:v>-0.460228853679501</c:v>
                </c:pt>
                <c:pt idx="14202">
                  <c:v>-0.506385861022146</c:v>
                </c:pt>
                <c:pt idx="14203">
                  <c:v>-0.51958694392209703</c:v>
                </c:pt>
                <c:pt idx="14204">
                  <c:v>-0.52454904571137295</c:v>
                </c:pt>
                <c:pt idx="14205">
                  <c:v>-0.51303318527930297</c:v>
                </c:pt>
                <c:pt idx="14206">
                  <c:v>-0.56083526576968701</c:v>
                </c:pt>
                <c:pt idx="14207">
                  <c:v>-0.56744244070670202</c:v>
                </c:pt>
                <c:pt idx="14208">
                  <c:v>-0.57404961564371704</c:v>
                </c:pt>
                <c:pt idx="14209">
                  <c:v>-0.58065679058073305</c:v>
                </c:pt>
                <c:pt idx="14210">
                  <c:v>-0.52982249943331206</c:v>
                </c:pt>
                <c:pt idx="14211">
                  <c:v>-0.54490005717128198</c:v>
                </c:pt>
                <c:pt idx="14212">
                  <c:v>-0.55997761490925002</c:v>
                </c:pt>
                <c:pt idx="14213">
                  <c:v>-0.54209924820452504</c:v>
                </c:pt>
                <c:pt idx="14214">
                  <c:v>-0.47679310338344999</c:v>
                </c:pt>
                <c:pt idx="14215">
                  <c:v>-0.41148695856237599</c:v>
                </c:pt>
                <c:pt idx="14216">
                  <c:v>-0.354419794851976</c:v>
                </c:pt>
                <c:pt idx="14217">
                  <c:v>-0.280874668920228</c:v>
                </c:pt>
                <c:pt idx="14218">
                  <c:v>-0.17866967634352801</c:v>
                </c:pt>
                <c:pt idx="14219">
                  <c:v>-0.29067819264434502</c:v>
                </c:pt>
                <c:pt idx="14220">
                  <c:v>-0.32029689783842502</c:v>
                </c:pt>
                <c:pt idx="14221">
                  <c:v>-0.32519865970048401</c:v>
                </c:pt>
                <c:pt idx="14222">
                  <c:v>-0.41894715116578501</c:v>
                </c:pt>
                <c:pt idx="14223">
                  <c:v>-0.23257028486817899</c:v>
                </c:pt>
                <c:pt idx="14224">
                  <c:v>-0.32631877633348</c:v>
                </c:pt>
                <c:pt idx="14225">
                  <c:v>-0.37063338113473898</c:v>
                </c:pt>
                <c:pt idx="14226">
                  <c:v>-3.84783261259215E-3</c:v>
                </c:pt>
                <c:pt idx="14227">
                  <c:v>0.35877857873948399</c:v>
                </c:pt>
                <c:pt idx="14228">
                  <c:v>0.44951861343932598</c:v>
                </c:pt>
                <c:pt idx="14229">
                  <c:v>0.48258578036445199</c:v>
                </c:pt>
                <c:pt idx="14230">
                  <c:v>0.64430340279004406</c:v>
                </c:pt>
                <c:pt idx="14231">
                  <c:v>0.88017185521169905</c:v>
                </c:pt>
                <c:pt idx="14232">
                  <c:v>1.03365049652662</c:v>
                </c:pt>
                <c:pt idx="14233">
                  <c:v>1.12121728895615</c:v>
                </c:pt>
                <c:pt idx="14234">
                  <c:v>1.14565320071504</c:v>
                </c:pt>
                <c:pt idx="14235">
                  <c:v>1.2360009613593199</c:v>
                </c:pt>
                <c:pt idx="14236">
                  <c:v>0.433891587369021</c:v>
                </c:pt>
                <c:pt idx="14237">
                  <c:v>0.51411642098340404</c:v>
                </c:pt>
                <c:pt idx="14238">
                  <c:v>0.536758746530132</c:v>
                </c:pt>
                <c:pt idx="14239">
                  <c:v>0.51004125782657195</c:v>
                </c:pt>
                <c:pt idx="14240">
                  <c:v>0.55332068276471902</c:v>
                </c:pt>
                <c:pt idx="14241">
                  <c:v>0.58820776094896998</c:v>
                </c:pt>
                <c:pt idx="14242">
                  <c:v>0.63941940719683399</c:v>
                </c:pt>
                <c:pt idx="14243">
                  <c:v>0.64466354814837401</c:v>
                </c:pt>
                <c:pt idx="14244">
                  <c:v>0.59881207375791001</c:v>
                </c:pt>
                <c:pt idx="14245">
                  <c:v>0.66180837571363305</c:v>
                </c:pt>
                <c:pt idx="14246">
                  <c:v>0.59607909622046096</c:v>
                </c:pt>
                <c:pt idx="14247">
                  <c:v>0.483947507898773</c:v>
                </c:pt>
                <c:pt idx="14248">
                  <c:v>0.57099097766995499</c:v>
                </c:pt>
                <c:pt idx="14249">
                  <c:v>0.55561577870015399</c:v>
                </c:pt>
                <c:pt idx="14250">
                  <c:v>0.62293077314077006</c:v>
                </c:pt>
                <c:pt idx="14251">
                  <c:v>0.60295528448594304</c:v>
                </c:pt>
                <c:pt idx="14252">
                  <c:v>0.67465685415360599</c:v>
                </c:pt>
                <c:pt idx="14253">
                  <c:v>0.61952954303470398</c:v>
                </c:pt>
                <c:pt idx="14254">
                  <c:v>0.69368679681845902</c:v>
                </c:pt>
                <c:pt idx="14255">
                  <c:v>0.62815695460524301</c:v>
                </c:pt>
                <c:pt idx="14256">
                  <c:v>0.715785886172291</c:v>
                </c:pt>
                <c:pt idx="14257">
                  <c:v>0.86667589248939902</c:v>
                </c:pt>
                <c:pt idx="14258">
                  <c:v>0.85916752053920198</c:v>
                </c:pt>
                <c:pt idx="14259">
                  <c:v>0.81893066220328503</c:v>
                </c:pt>
                <c:pt idx="14260">
                  <c:v>0.86093547014659699</c:v>
                </c:pt>
                <c:pt idx="14261">
                  <c:v>0.89878114091983996</c:v>
                </c:pt>
                <c:pt idx="14262">
                  <c:v>0.90191757243703996</c:v>
                </c:pt>
                <c:pt idx="14263">
                  <c:v>0.91775885352142705</c:v>
                </c:pt>
                <c:pt idx="14264">
                  <c:v>0.97191160715116498</c:v>
                </c:pt>
                <c:pt idx="14265">
                  <c:v>0.86431631640295303</c:v>
                </c:pt>
                <c:pt idx="14266">
                  <c:v>0.92193055003156099</c:v>
                </c:pt>
                <c:pt idx="14267">
                  <c:v>0.83485764986326705</c:v>
                </c:pt>
                <c:pt idx="14268">
                  <c:v>0.57310441769286202</c:v>
                </c:pt>
                <c:pt idx="14269">
                  <c:v>0.42685550753082402</c:v>
                </c:pt>
                <c:pt idx="14270">
                  <c:v>0.32443641605727003</c:v>
                </c:pt>
                <c:pt idx="14271">
                  <c:v>0.230330378108143</c:v>
                </c:pt>
                <c:pt idx="14272">
                  <c:v>0.208491224235857</c:v>
                </c:pt>
                <c:pt idx="14273">
                  <c:v>0.16389836618024101</c:v>
                </c:pt>
                <c:pt idx="14274">
                  <c:v>0.14942004279478599</c:v>
                </c:pt>
                <c:pt idx="14275">
                  <c:v>0.14318070052000501</c:v>
                </c:pt>
                <c:pt idx="14276">
                  <c:v>0.13694135824522399</c:v>
                </c:pt>
                <c:pt idx="14277">
                  <c:v>0.13281862076235601</c:v>
                </c:pt>
                <c:pt idx="14278">
                  <c:v>8.4206078865717501E-2</c:v>
                </c:pt>
                <c:pt idx="14279">
                  <c:v>5.40399591548298E-2</c:v>
                </c:pt>
                <c:pt idx="14280">
                  <c:v>3.38488488003244E-3</c:v>
                </c:pt>
                <c:pt idx="14281">
                  <c:v>-8.1125954038410997E-3</c:v>
                </c:pt>
                <c:pt idx="14282">
                  <c:v>-4.9557866529681902E-2</c:v>
                </c:pt>
                <c:pt idx="14283">
                  <c:v>-4.9956376929661803E-2</c:v>
                </c:pt>
                <c:pt idx="14284">
                  <c:v>-0.11611859138752401</c:v>
                </c:pt>
                <c:pt idx="14285">
                  <c:v>-0.106087443471164</c:v>
                </c:pt>
                <c:pt idx="14286">
                  <c:v>-0.16996201031044</c:v>
                </c:pt>
                <c:pt idx="14287">
                  <c:v>-0.116109442360303</c:v>
                </c:pt>
                <c:pt idx="14288">
                  <c:v>-0.13047082930606799</c:v>
                </c:pt>
                <c:pt idx="14289">
                  <c:v>1.5867562021039099E-2</c:v>
                </c:pt>
                <c:pt idx="14290">
                  <c:v>-4.0771583196364002E-2</c:v>
                </c:pt>
                <c:pt idx="14291">
                  <c:v>0.16631596035726201</c:v>
                </c:pt>
                <c:pt idx="14292">
                  <c:v>0.130313914531277</c:v>
                </c:pt>
                <c:pt idx="14293">
                  <c:v>8.1913750424547904E-2</c:v>
                </c:pt>
                <c:pt idx="14294">
                  <c:v>7.7619517199724805E-2</c:v>
                </c:pt>
                <c:pt idx="14295">
                  <c:v>2.3891397310859E-2</c:v>
                </c:pt>
                <c:pt idx="14296">
                  <c:v>3.1192018646886898E-3</c:v>
                </c:pt>
                <c:pt idx="14297">
                  <c:v>1.53029308612128E-2</c:v>
                </c:pt>
                <c:pt idx="14298">
                  <c:v>5.1285949594585899E-2</c:v>
                </c:pt>
                <c:pt idx="14299">
                  <c:v>3.7835081663917497E-2</c:v>
                </c:pt>
                <c:pt idx="14300">
                  <c:v>5.7340138175943398E-2</c:v>
                </c:pt>
                <c:pt idx="14301">
                  <c:v>6.8606213577294906E-2</c:v>
                </c:pt>
                <c:pt idx="14302">
                  <c:v>0.175582763582568</c:v>
                </c:pt>
                <c:pt idx="14303">
                  <c:v>0.20840848359177699</c:v>
                </c:pt>
                <c:pt idx="14304">
                  <c:v>0.36481892026109197</c:v>
                </c:pt>
                <c:pt idx="14305">
                  <c:v>0.38940565915962699</c:v>
                </c:pt>
                <c:pt idx="14306">
                  <c:v>0.38304059363572901</c:v>
                </c:pt>
                <c:pt idx="14307">
                  <c:v>0.52913632527402898</c:v>
                </c:pt>
                <c:pt idx="14308">
                  <c:v>0.493895179248039</c:v>
                </c:pt>
                <c:pt idx="14309">
                  <c:v>0.46281317039212</c:v>
                </c:pt>
                <c:pt idx="14310">
                  <c:v>0.69765721952909698</c:v>
                </c:pt>
                <c:pt idx="14311">
                  <c:v>0.75940337211245801</c:v>
                </c:pt>
                <c:pt idx="14312">
                  <c:v>0.85826458630858404</c:v>
                </c:pt>
                <c:pt idx="14313">
                  <c:v>0.94888681939403696</c:v>
                </c:pt>
                <c:pt idx="14314">
                  <c:v>0.88701905279511395</c:v>
                </c:pt>
                <c:pt idx="14315">
                  <c:v>0.83339026730686605</c:v>
                </c:pt>
                <c:pt idx="14316">
                  <c:v>0.77604677913107001</c:v>
                </c:pt>
                <c:pt idx="14317">
                  <c:v>0.81516339065214505</c:v>
                </c:pt>
                <c:pt idx="14318">
                  <c:v>0.95564875666947602</c:v>
                </c:pt>
                <c:pt idx="14319">
                  <c:v>1.0487427684009201</c:v>
                </c:pt>
                <c:pt idx="14320">
                  <c:v>0.97682971986192102</c:v>
                </c:pt>
                <c:pt idx="14321">
                  <c:v>0.90491667132291798</c:v>
                </c:pt>
                <c:pt idx="14322">
                  <c:v>0.984784499949793</c:v>
                </c:pt>
                <c:pt idx="14323">
                  <c:v>1.06465232857667</c:v>
                </c:pt>
                <c:pt idx="14324">
                  <c:v>1.1445201572035399</c:v>
                </c:pt>
                <c:pt idx="14325">
                  <c:v>1.2243879858304201</c:v>
                </c:pt>
                <c:pt idx="14326">
                  <c:v>1.1445926926190499</c:v>
                </c:pt>
                <c:pt idx="14327">
                  <c:v>1.06479739940768</c:v>
                </c:pt>
                <c:pt idx="14328">
                  <c:v>0.98500210619631501</c:v>
                </c:pt>
                <c:pt idx="14329">
                  <c:v>0.90520681298494698</c:v>
                </c:pt>
                <c:pt idx="14330">
                  <c:v>0.89920695475990298</c:v>
                </c:pt>
                <c:pt idx="14331">
                  <c:v>0.89320709653485897</c:v>
                </c:pt>
                <c:pt idx="14332">
                  <c:v>0.88720723830981496</c:v>
                </c:pt>
                <c:pt idx="14333">
                  <c:v>0.88120738008476995</c:v>
                </c:pt>
                <c:pt idx="14334">
                  <c:v>0.76677185945071202</c:v>
                </c:pt>
                <c:pt idx="14335">
                  <c:v>1.2897154623420599</c:v>
                </c:pt>
                <c:pt idx="14336">
                  <c:v>1.1733167025593101</c:v>
                </c:pt>
                <c:pt idx="14337">
                  <c:v>1.1003828187650599</c:v>
                </c:pt>
                <c:pt idx="14338">
                  <c:v>1.1656749546529099</c:v>
                </c:pt>
                <c:pt idx="14339">
                  <c:v>1.2079066550709789</c:v>
                </c:pt>
                <c:pt idx="14340">
                  <c:v>1.2835543768614199</c:v>
                </c:pt>
                <c:pt idx="14341">
                  <c:v>1.3998628348618001</c:v>
                </c:pt>
                <c:pt idx="14342">
                  <c:v>1.2613517760447699</c:v>
                </c:pt>
                <c:pt idx="14343">
                  <c:v>1.2133954370314</c:v>
                </c:pt>
                <c:pt idx="14344">
                  <c:v>1.18977523764986</c:v>
                </c:pt>
                <c:pt idx="14345">
                  <c:v>1.13161667837712</c:v>
                </c:pt>
                <c:pt idx="14346">
                  <c:v>1.2758252069871301</c:v>
                </c:pt>
                <c:pt idx="14347">
                  <c:v>1.3057503357565701</c:v>
                </c:pt>
                <c:pt idx="14348">
                  <c:v>1.3101123997484101</c:v>
                </c:pt>
                <c:pt idx="14349">
                  <c:v>1.1859450563737399</c:v>
                </c:pt>
                <c:pt idx="14350">
                  <c:v>1.02920259225658</c:v>
                </c:pt>
                <c:pt idx="14351">
                  <c:v>1.0950023529885</c:v>
                </c:pt>
                <c:pt idx="14352">
                  <c:v>1.29490622355776</c:v>
                </c:pt>
                <c:pt idx="14353">
                  <c:v>1.32798418432633</c:v>
                </c:pt>
                <c:pt idx="14354">
                  <c:v>1.2620357853078801</c:v>
                </c:pt>
                <c:pt idx="14355">
                  <c:v>1.09856416872143</c:v>
                </c:pt>
                <c:pt idx="14356">
                  <c:v>0.98567929153105105</c:v>
                </c:pt>
                <c:pt idx="14357">
                  <c:v>1.0234104719973001</c:v>
                </c:pt>
                <c:pt idx="14358">
                  <c:v>1.0244841232453199</c:v>
                </c:pt>
                <c:pt idx="14359">
                  <c:v>0.96515218307323503</c:v>
                </c:pt>
                <c:pt idx="14360">
                  <c:v>0.96925657089013095</c:v>
                </c:pt>
                <c:pt idx="14361">
                  <c:v>0.86012660713379396</c:v>
                </c:pt>
                <c:pt idx="14362">
                  <c:v>0.78191525625770497</c:v>
                </c:pt>
                <c:pt idx="14363">
                  <c:v>0.76365196440718097</c:v>
                </c:pt>
                <c:pt idx="14364">
                  <c:v>0.64967004876925805</c:v>
                </c:pt>
                <c:pt idx="14365">
                  <c:v>0.54581628097694401</c:v>
                </c:pt>
                <c:pt idx="14366">
                  <c:v>0.44846569320358998</c:v>
                </c:pt>
                <c:pt idx="14367">
                  <c:v>0.344839363468251</c:v>
                </c:pt>
                <c:pt idx="14368">
                  <c:v>0.30033641636115099</c:v>
                </c:pt>
                <c:pt idx="14369">
                  <c:v>0.27231143147539599</c:v>
                </c:pt>
                <c:pt idx="14370">
                  <c:v>0.269003389921664</c:v>
                </c:pt>
                <c:pt idx="14371">
                  <c:v>0.238861800243998</c:v>
                </c:pt>
                <c:pt idx="14372">
                  <c:v>0.61149163417983898</c:v>
                </c:pt>
                <c:pt idx="14373">
                  <c:v>0.53571797119620101</c:v>
                </c:pt>
                <c:pt idx="14374">
                  <c:v>0.49290023265525801</c:v>
                </c:pt>
                <c:pt idx="14375">
                  <c:v>0.48303841855701102</c:v>
                </c:pt>
                <c:pt idx="14376">
                  <c:v>0.27879276380789603</c:v>
                </c:pt>
                <c:pt idx="14377">
                  <c:v>0.34253457666230502</c:v>
                </c:pt>
                <c:pt idx="14378">
                  <c:v>0.214290428509467</c:v>
                </c:pt>
                <c:pt idx="14379">
                  <c:v>0.162526826099058</c:v>
                </c:pt>
                <c:pt idx="14380">
                  <c:v>6.13293370246061E-2</c:v>
                </c:pt>
                <c:pt idx="14381">
                  <c:v>4.6610439855499897E-2</c:v>
                </c:pt>
                <c:pt idx="14382">
                  <c:v>0.11428135379313099</c:v>
                </c:pt>
                <c:pt idx="14383">
                  <c:v>6.6606532181330697E-2</c:v>
                </c:pt>
                <c:pt idx="14384">
                  <c:v>3.9489516731479699E-2</c:v>
                </c:pt>
                <c:pt idx="14385">
                  <c:v>-1.7857590074390198E-2</c:v>
                </c:pt>
                <c:pt idx="14386">
                  <c:v>-3.4009791326892302E-2</c:v>
                </c:pt>
                <c:pt idx="14387">
                  <c:v>-7.4878935911414396E-2</c:v>
                </c:pt>
                <c:pt idx="14388">
                  <c:v>-6.6314193831894894E-2</c:v>
                </c:pt>
                <c:pt idx="14389">
                  <c:v>-0.117639735421292</c:v>
                </c:pt>
                <c:pt idx="14390">
                  <c:v>-0.111292409235973</c:v>
                </c:pt>
                <c:pt idx="14391">
                  <c:v>-7.1989158607958306E-2</c:v>
                </c:pt>
                <c:pt idx="14392">
                  <c:v>-9.8597756865334202E-2</c:v>
                </c:pt>
                <c:pt idx="14393">
                  <c:v>-6.6827374239148696E-2</c:v>
                </c:pt>
                <c:pt idx="14394">
                  <c:v>-5.1534953834310303E-2</c:v>
                </c:pt>
                <c:pt idx="14395">
                  <c:v>9.5581164341308894E-2</c:v>
                </c:pt>
                <c:pt idx="14396">
                  <c:v>3.6722754750082999E-2</c:v>
                </c:pt>
                <c:pt idx="14397">
                  <c:v>9.3472208270675497E-2</c:v>
                </c:pt>
                <c:pt idx="14398">
                  <c:v>0.150221661791268</c:v>
                </c:pt>
                <c:pt idx="14399">
                  <c:v>0.14929824753714399</c:v>
                </c:pt>
                <c:pt idx="14400">
                  <c:v>0.20604770105773601</c:v>
                </c:pt>
                <c:pt idx="14401">
                  <c:v>0.321501666007665</c:v>
                </c:pt>
                <c:pt idx="14402">
                  <c:v>0.41223868762557297</c:v>
                </c:pt>
                <c:pt idx="14403">
                  <c:v>0.58536552035021805</c:v>
                </c:pt>
                <c:pt idx="14404">
                  <c:v>0.70081948530014604</c:v>
                </c:pt>
                <c:pt idx="14405">
                  <c:v>0.35477949521109498</c:v>
                </c:pt>
                <c:pt idx="14406">
                  <c:v>0.37497181405419699</c:v>
                </c:pt>
                <c:pt idx="14407">
                  <c:v>0.74944310409702397</c:v>
                </c:pt>
                <c:pt idx="14408">
                  <c:v>1.0460881431314499</c:v>
                </c:pt>
                <c:pt idx="14409">
                  <c:v>1.0254927627902</c:v>
                </c:pt>
                <c:pt idx="14410">
                  <c:v>1.2026329291051201</c:v>
                </c:pt>
                <c:pt idx="14411">
                  <c:v>1.41272901986274</c:v>
                </c:pt>
                <c:pt idx="14412">
                  <c:v>1.55906698850428</c:v>
                </c:pt>
                <c:pt idx="14413">
                  <c:v>1.57358125937504</c:v>
                </c:pt>
                <c:pt idx="14414">
                  <c:v>1.68696330357388</c:v>
                </c:pt>
                <c:pt idx="14415">
                  <c:v>0.46584740426912802</c:v>
                </c:pt>
                <c:pt idx="14416">
                  <c:v>0.48024854495209701</c:v>
                </c:pt>
                <c:pt idx="14417">
                  <c:v>0.494649685635067</c:v>
                </c:pt>
                <c:pt idx="14418">
                  <c:v>0.509050826318037</c:v>
                </c:pt>
                <c:pt idx="14419">
                  <c:v>0.52345196700100605</c:v>
                </c:pt>
                <c:pt idx="14420">
                  <c:v>0.47343882163057799</c:v>
                </c:pt>
                <c:pt idx="14421">
                  <c:v>0.42342567626014899</c:v>
                </c:pt>
                <c:pt idx="14422">
                  <c:v>0.37341253088972098</c:v>
                </c:pt>
                <c:pt idx="14423">
                  <c:v>0.32339938551929298</c:v>
                </c:pt>
                <c:pt idx="14424">
                  <c:v>1.2046987555732001</c:v>
                </c:pt>
                <c:pt idx="14425">
                  <c:v>1.1909615004985199</c:v>
                </c:pt>
                <c:pt idx="14426">
                  <c:v>1.2575026725543901</c:v>
                </c:pt>
                <c:pt idx="14427">
                  <c:v>1.19228899843752</c:v>
                </c:pt>
                <c:pt idx="14428">
                  <c:v>1.18772957731956</c:v>
                </c:pt>
                <c:pt idx="14429">
                  <c:v>1.17357617769942</c:v>
                </c:pt>
                <c:pt idx="14430">
                  <c:v>1.2124075601562201</c:v>
                </c:pt>
                <c:pt idx="14431">
                  <c:v>1.3033288242281</c:v>
                </c:pt>
                <c:pt idx="14432">
                  <c:v>1.30947378594403</c:v>
                </c:pt>
                <c:pt idx="14433">
                  <c:v>1.21817482332144</c:v>
                </c:pt>
                <c:pt idx="14434">
                  <c:v>1.1460838902849899</c:v>
                </c:pt>
                <c:pt idx="14435">
                  <c:v>1.2387037278639701</c:v>
                </c:pt>
                <c:pt idx="14436">
                  <c:v>1.1652443472317799</c:v>
                </c:pt>
                <c:pt idx="14437">
                  <c:v>1.09663163875629</c:v>
                </c:pt>
                <c:pt idx="14438">
                  <c:v>1.2215317089845701</c:v>
                </c:pt>
                <c:pt idx="14439">
                  <c:v>1.28837288692223</c:v>
                </c:pt>
                <c:pt idx="14440">
                  <c:v>1.3503401510300901</c:v>
                </c:pt>
                <c:pt idx="14441">
                  <c:v>1.3729964555038101</c:v>
                </c:pt>
                <c:pt idx="14442">
                  <c:v>1.4286879776496899</c:v>
                </c:pt>
                <c:pt idx="14443">
                  <c:v>1.5917241339227299</c:v>
                </c:pt>
                <c:pt idx="14444">
                  <c:v>1.4539915168276001</c:v>
                </c:pt>
                <c:pt idx="14445">
                  <c:v>1.31209976256241</c:v>
                </c:pt>
                <c:pt idx="14446">
                  <c:v>1.06339400408234</c:v>
                </c:pt>
                <c:pt idx="14447">
                  <c:v>1.0421532047551301</c:v>
                </c:pt>
                <c:pt idx="14448">
                  <c:v>0.97547906947499996</c:v>
                </c:pt>
                <c:pt idx="14449">
                  <c:v>0.98107181827171497</c:v>
                </c:pt>
                <c:pt idx="14450">
                  <c:v>0.98243135748460497</c:v>
                </c:pt>
                <c:pt idx="14451">
                  <c:v>0.76794271733726704</c:v>
                </c:pt>
                <c:pt idx="14452">
                  <c:v>0.67941190412105901</c:v>
                </c:pt>
                <c:pt idx="14453">
                  <c:v>0.48031205068216398</c:v>
                </c:pt>
                <c:pt idx="14454">
                  <c:v>0.14705264078288499</c:v>
                </c:pt>
                <c:pt idx="14455">
                  <c:v>1.23627348797847E-2</c:v>
                </c:pt>
                <c:pt idx="14456">
                  <c:v>-4.5029398967616797E-2</c:v>
                </c:pt>
                <c:pt idx="14457">
                  <c:v>-0.15594048423537801</c:v>
                </c:pt>
                <c:pt idx="14458">
                  <c:v>0.17228418610038801</c:v>
                </c:pt>
                <c:pt idx="14459">
                  <c:v>0.11747259742721899</c:v>
                </c:pt>
                <c:pt idx="14460">
                  <c:v>0.13681183875011399</c:v>
                </c:pt>
                <c:pt idx="14461">
                  <c:v>9.0239231187617897E-2</c:v>
                </c:pt>
                <c:pt idx="14462">
                  <c:v>-2.3748945736202599E-2</c:v>
                </c:pt>
                <c:pt idx="14463">
                  <c:v>-3.1654551627087503E-2</c:v>
                </c:pt>
                <c:pt idx="14464">
                  <c:v>-7.2516081960666903E-2</c:v>
                </c:pt>
                <c:pt idx="14465">
                  <c:v>-0.13401471168566501</c:v>
                </c:pt>
                <c:pt idx="14466">
                  <c:v>-0.14192031757654999</c:v>
                </c:pt>
                <c:pt idx="14467">
                  <c:v>-0.12952816212492901</c:v>
                </c:pt>
                <c:pt idx="14468">
                  <c:v>-0.10065804445196</c:v>
                </c:pt>
                <c:pt idx="14469">
                  <c:v>-0.12946079455370699</c:v>
                </c:pt>
                <c:pt idx="14470">
                  <c:v>-0.100590676880738</c:v>
                </c:pt>
                <c:pt idx="14471">
                  <c:v>-0.10223310756215</c:v>
                </c:pt>
                <c:pt idx="14472">
                  <c:v>4.0346277807962502E-2</c:v>
                </c:pt>
                <c:pt idx="14473">
                  <c:v>-3.1367138928910202E-2</c:v>
                </c:pt>
                <c:pt idx="14474">
                  <c:v>-0.107160399606386</c:v>
                </c:pt>
                <c:pt idx="14475">
                  <c:v>-0.11667962269480101</c:v>
                </c:pt>
                <c:pt idx="14476">
                  <c:v>-0.10972088356187</c:v>
                </c:pt>
                <c:pt idx="14477">
                  <c:v>3.7300534452515903E-2</c:v>
                </c:pt>
                <c:pt idx="14478">
                  <c:v>-1.34135941892683E-2</c:v>
                </c:pt>
                <c:pt idx="14479">
                  <c:v>-8.16787823750076E-2</c:v>
                </c:pt>
                <c:pt idx="14480">
                  <c:v>-9.2271102786030401E-2</c:v>
                </c:pt>
                <c:pt idx="14481">
                  <c:v>-2.0473612090315001E-2</c:v>
                </c:pt>
                <c:pt idx="14482">
                  <c:v>-9.6977781386728204E-2</c:v>
                </c:pt>
                <c:pt idx="14483">
                  <c:v>-7.3544223859871097E-2</c:v>
                </c:pt>
                <c:pt idx="14484">
                  <c:v>-2.53937230009934E-2</c:v>
                </c:pt>
                <c:pt idx="14485">
                  <c:v>1.45177967472109E-2</c:v>
                </c:pt>
                <c:pt idx="14486">
                  <c:v>0.103863203159458</c:v>
                </c:pt>
                <c:pt idx="14487">
                  <c:v>0.21654126871829099</c:v>
                </c:pt>
                <c:pt idx="14488">
                  <c:v>0.32921933427712502</c:v>
                </c:pt>
                <c:pt idx="14489">
                  <c:v>0.55724313538539005</c:v>
                </c:pt>
                <c:pt idx="14490">
                  <c:v>0.66992120094422403</c:v>
                </c:pt>
                <c:pt idx="14491">
                  <c:v>0.51501075083770098</c:v>
                </c:pt>
                <c:pt idx="14492">
                  <c:v>0.50016297961263201</c:v>
                </c:pt>
                <c:pt idx="14493">
                  <c:v>0.51003215171958405</c:v>
                </c:pt>
                <c:pt idx="14494">
                  <c:v>0.561096229379905</c:v>
                </c:pt>
                <c:pt idx="14495">
                  <c:v>0.62187903744426298</c:v>
                </c:pt>
                <c:pt idx="14496">
                  <c:v>0.78152961883670602</c:v>
                </c:pt>
                <c:pt idx="14497">
                  <c:v>0.97005628073124195</c:v>
                </c:pt>
                <c:pt idx="14498">
                  <c:v>1.1873797298983999</c:v>
                </c:pt>
                <c:pt idx="14499">
                  <c:v>1.5309250701191699</c:v>
                </c:pt>
                <c:pt idx="14500">
                  <c:v>1.5119552414702899</c:v>
                </c:pt>
                <c:pt idx="14501">
                  <c:v>1.8390226194696999</c:v>
                </c:pt>
                <c:pt idx="14502">
                  <c:v>1.96835445081295</c:v>
                </c:pt>
                <c:pt idx="14503">
                  <c:v>2.1795361518215501</c:v>
                </c:pt>
                <c:pt idx="14504">
                  <c:v>1.0772213392899099</c:v>
                </c:pt>
                <c:pt idx="14505">
                  <c:v>1.20609252242124</c:v>
                </c:pt>
                <c:pt idx="14506">
                  <c:v>1.3041984583155299</c:v>
                </c:pt>
                <c:pt idx="14507">
                  <c:v>1.2960832420114401</c:v>
                </c:pt>
                <c:pt idx="14508">
                  <c:v>1.34965188582463</c:v>
                </c:pt>
                <c:pt idx="14509">
                  <c:v>1.32891111318282</c:v>
                </c:pt>
                <c:pt idx="14510">
                  <c:v>1.32699756642696</c:v>
                </c:pt>
                <c:pt idx="14511">
                  <c:v>1.3203317258191101</c:v>
                </c:pt>
                <c:pt idx="14512">
                  <c:v>1.2804032294821199</c:v>
                </c:pt>
                <c:pt idx="14513">
                  <c:v>1.28582877586858</c:v>
                </c:pt>
                <c:pt idx="14514">
                  <c:v>1.2914076878982499</c:v>
                </c:pt>
                <c:pt idx="14515">
                  <c:v>1.32524142531358</c:v>
                </c:pt>
                <c:pt idx="14516">
                  <c:v>1.30759874368671</c:v>
                </c:pt>
                <c:pt idx="14517">
                  <c:v>1.2919193012085399</c:v>
                </c:pt>
                <c:pt idx="14518">
                  <c:v>1.2186410633694</c:v>
                </c:pt>
                <c:pt idx="14519">
                  <c:v>1.15929687300859</c:v>
                </c:pt>
                <c:pt idx="14520">
                  <c:v>1.11038756177984</c:v>
                </c:pt>
                <c:pt idx="14521">
                  <c:v>1.1503764624924999</c:v>
                </c:pt>
                <c:pt idx="14522">
                  <c:v>1.2474299892227001</c:v>
                </c:pt>
                <c:pt idx="14523">
                  <c:v>1.17854625415779</c:v>
                </c:pt>
                <c:pt idx="14524">
                  <c:v>1.33921679990687</c:v>
                </c:pt>
                <c:pt idx="14525">
                  <c:v>1.29859568277117</c:v>
                </c:pt>
                <c:pt idx="14526">
                  <c:v>1.1713463241291899</c:v>
                </c:pt>
                <c:pt idx="14527">
                  <c:v>1.10677732166148</c:v>
                </c:pt>
                <c:pt idx="14528">
                  <c:v>1.2193965013193999</c:v>
                </c:pt>
                <c:pt idx="14529">
                  <c:v>1.3435676778125001</c:v>
                </c:pt>
                <c:pt idx="14530">
                  <c:v>1.1636477189796299</c:v>
                </c:pt>
                <c:pt idx="14531">
                  <c:v>1.09912070805288</c:v>
                </c:pt>
                <c:pt idx="14532">
                  <c:v>1.1562203954532499</c:v>
                </c:pt>
                <c:pt idx="14533">
                  <c:v>1.0401376722548199</c:v>
                </c:pt>
                <c:pt idx="14534">
                  <c:v>0.99208862354941296</c:v>
                </c:pt>
                <c:pt idx="14535">
                  <c:v>1.0751887134997899</c:v>
                </c:pt>
                <c:pt idx="14536">
                  <c:v>1.0303070699315999</c:v>
                </c:pt>
                <c:pt idx="14537">
                  <c:v>0.78040420902502505</c:v>
                </c:pt>
                <c:pt idx="14538">
                  <c:v>-0.192267839454939</c:v>
                </c:pt>
                <c:pt idx="14539">
                  <c:v>-0.25052545897958201</c:v>
                </c:pt>
                <c:pt idx="14540">
                  <c:v>-0.27582715406152902</c:v>
                </c:pt>
                <c:pt idx="14541">
                  <c:v>-0.153411940901275</c:v>
                </c:pt>
                <c:pt idx="14542">
                  <c:v>-0.170625690589642</c:v>
                </c:pt>
                <c:pt idx="14543">
                  <c:v>-0.20431740249935601</c:v>
                </c:pt>
                <c:pt idx="14544">
                  <c:v>-0.29568198218378799</c:v>
                </c:pt>
                <c:pt idx="14545">
                  <c:v>-9.9387922807532406E-2</c:v>
                </c:pt>
                <c:pt idx="14546">
                  <c:v>-0.127159500095157</c:v>
                </c:pt>
                <c:pt idx="14547">
                  <c:v>-0.121975152940087</c:v>
                </c:pt>
                <c:pt idx="14548">
                  <c:v>-0.10267274726506</c:v>
                </c:pt>
                <c:pt idx="14549">
                  <c:v>-8.3370341590033398E-2</c:v>
                </c:pt>
                <c:pt idx="14550">
                  <c:v>-7.2306917025680498E-2</c:v>
                </c:pt>
                <c:pt idx="14551">
                  <c:v>-0.12715534134671699</c:v>
                </c:pt>
                <c:pt idx="14552">
                  <c:v>-7.6667299162515398E-2</c:v>
                </c:pt>
                <c:pt idx="14553">
                  <c:v>-2.61792569783134E-2</c:v>
                </c:pt>
                <c:pt idx="14554">
                  <c:v>0.19732738853003801</c:v>
                </c:pt>
                <c:pt idx="14555">
                  <c:v>0.24781543071424</c:v>
                </c:pt>
                <c:pt idx="14556">
                  <c:v>0.30990478289531298</c:v>
                </c:pt>
                <c:pt idx="14557">
                  <c:v>0.15180117389190201</c:v>
                </c:pt>
                <c:pt idx="14558">
                  <c:v>0.28804135606904002</c:v>
                </c:pt>
                <c:pt idx="14559">
                  <c:v>0.45315761874826999</c:v>
                </c:pt>
                <c:pt idx="14560">
                  <c:v>0.48115242384405199</c:v>
                </c:pt>
                <c:pt idx="14561">
                  <c:v>0.46795232338646597</c:v>
                </c:pt>
                <c:pt idx="14562">
                  <c:v>0.45475222292888001</c:v>
                </c:pt>
                <c:pt idx="14563">
                  <c:v>0.441552122471293</c:v>
                </c:pt>
                <c:pt idx="14564">
                  <c:v>0.433513466413046</c:v>
                </c:pt>
                <c:pt idx="14565">
                  <c:v>0.42547481035479801</c:v>
                </c:pt>
                <c:pt idx="14566">
                  <c:v>0.41743615429655001</c:v>
                </c:pt>
                <c:pt idx="14567">
                  <c:v>0.40939749823830301</c:v>
                </c:pt>
                <c:pt idx="14568">
                  <c:v>0.41192539065595402</c:v>
                </c:pt>
                <c:pt idx="14569">
                  <c:v>0.41445328307360502</c:v>
                </c:pt>
                <c:pt idx="14570">
                  <c:v>0.41698117549125602</c:v>
                </c:pt>
                <c:pt idx="14571">
                  <c:v>2.03208983679726</c:v>
                </c:pt>
                <c:pt idx="14572">
                  <c:v>2.0296777813475502</c:v>
                </c:pt>
                <c:pt idx="14573">
                  <c:v>1.1319992306689901</c:v>
                </c:pt>
                <c:pt idx="14574">
                  <c:v>1.17297797879403</c:v>
                </c:pt>
                <c:pt idx="14575">
                  <c:v>1.2429068798349101</c:v>
                </c:pt>
                <c:pt idx="14576">
                  <c:v>1.31715652364251</c:v>
                </c:pt>
                <c:pt idx="14577">
                  <c:v>1.43872867013796</c:v>
                </c:pt>
                <c:pt idx="14578">
                  <c:v>0.409237093685341</c:v>
                </c:pt>
                <c:pt idx="14579">
                  <c:v>0.409029176210435</c:v>
                </c:pt>
                <c:pt idx="14580">
                  <c:v>1.4697829463790799</c:v>
                </c:pt>
                <c:pt idx="14581">
                  <c:v>1.3958768834072599</c:v>
                </c:pt>
                <c:pt idx="14582">
                  <c:v>1.36120248684012</c:v>
                </c:pt>
                <c:pt idx="14583">
                  <c:v>1.3140558995784799</c:v>
                </c:pt>
                <c:pt idx="14584">
                  <c:v>1.28118762463308</c:v>
                </c:pt>
                <c:pt idx="14585">
                  <c:v>1.3102306478619199</c:v>
                </c:pt>
                <c:pt idx="14586">
                  <c:v>1.31832984041291</c:v>
                </c:pt>
                <c:pt idx="14587">
                  <c:v>1.2401075227440601</c:v>
                </c:pt>
                <c:pt idx="14588">
                  <c:v>1.18253814649642</c:v>
                </c:pt>
                <c:pt idx="14589">
                  <c:v>1.11741732412475</c:v>
                </c:pt>
                <c:pt idx="14590">
                  <c:v>1.2398402697813</c:v>
                </c:pt>
                <c:pt idx="14591">
                  <c:v>1.3534107717543</c:v>
                </c:pt>
                <c:pt idx="14592">
                  <c:v>1.2248862590581799</c:v>
                </c:pt>
                <c:pt idx="14593">
                  <c:v>1.09817161986752</c:v>
                </c:pt>
                <c:pt idx="14594">
                  <c:v>1.0846172598363499</c:v>
                </c:pt>
                <c:pt idx="14595">
                  <c:v>1.0303228703657601</c:v>
                </c:pt>
                <c:pt idx="14596">
                  <c:v>0.98627971402160097</c:v>
                </c:pt>
                <c:pt idx="14597">
                  <c:v>1.1233512181004699</c:v>
                </c:pt>
                <c:pt idx="14598">
                  <c:v>1.1599672925870499</c:v>
                </c:pt>
                <c:pt idx="14599">
                  <c:v>1.2614268772721791</c:v>
                </c:pt>
                <c:pt idx="14600">
                  <c:v>1.0668871591721001</c:v>
                </c:pt>
                <c:pt idx="14601">
                  <c:v>0.76508210017432099</c:v>
                </c:pt>
                <c:pt idx="14602">
                  <c:v>0.60781080933022402</c:v>
                </c:pt>
                <c:pt idx="14603">
                  <c:v>0.93189290835149097</c:v>
                </c:pt>
                <c:pt idx="14604">
                  <c:v>0.89020724986295297</c:v>
                </c:pt>
                <c:pt idx="14605">
                  <c:v>0.85063819616632796</c:v>
                </c:pt>
                <c:pt idx="14606">
                  <c:v>0.81106914246970296</c:v>
                </c:pt>
                <c:pt idx="14607">
                  <c:v>0.77150008877307796</c:v>
                </c:pt>
                <c:pt idx="14608">
                  <c:v>0.82577735766234595</c:v>
                </c:pt>
                <c:pt idx="14609">
                  <c:v>0.88005462655161504</c:v>
                </c:pt>
                <c:pt idx="14610">
                  <c:v>0.93433189544088402</c:v>
                </c:pt>
                <c:pt idx="14611">
                  <c:v>0.988609164330153</c:v>
                </c:pt>
                <c:pt idx="14612">
                  <c:v>0.98175430040848699</c:v>
                </c:pt>
                <c:pt idx="14613">
                  <c:v>0.23932882230744201</c:v>
                </c:pt>
                <c:pt idx="14614">
                  <c:v>0.18711991566233699</c:v>
                </c:pt>
                <c:pt idx="14615">
                  <c:v>0.62042434673376401</c:v>
                </c:pt>
                <c:pt idx="14616">
                  <c:v>0.77916529299696602</c:v>
                </c:pt>
                <c:pt idx="14617">
                  <c:v>0.61658597594389097</c:v>
                </c:pt>
                <c:pt idx="14618">
                  <c:v>0.57759137555092299</c:v>
                </c:pt>
                <c:pt idx="14619">
                  <c:v>0.54683575626862901</c:v>
                </c:pt>
                <c:pt idx="14620">
                  <c:v>0.58853808887735404</c:v>
                </c:pt>
                <c:pt idx="14621">
                  <c:v>0.49017774260462499</c:v>
                </c:pt>
                <c:pt idx="14622">
                  <c:v>0.41653433966391801</c:v>
                </c:pt>
                <c:pt idx="14623">
                  <c:v>0.44175871005129602</c:v>
                </c:pt>
                <c:pt idx="14624">
                  <c:v>0.39096646097376597</c:v>
                </c:pt>
                <c:pt idx="14625">
                  <c:v>0.47199790966701799</c:v>
                </c:pt>
                <c:pt idx="14626">
                  <c:v>0.17403622726927501</c:v>
                </c:pt>
                <c:pt idx="14627">
                  <c:v>2.43762048636606E-2</c:v>
                </c:pt>
                <c:pt idx="14628">
                  <c:v>-3.77831612429122E-2</c:v>
                </c:pt>
                <c:pt idx="14629">
                  <c:v>-0.16177453229427199</c:v>
                </c:pt>
                <c:pt idx="14630">
                  <c:v>-0.199216955068823</c:v>
                </c:pt>
                <c:pt idx="14631">
                  <c:v>-0.220181415622027</c:v>
                </c:pt>
                <c:pt idx="14632">
                  <c:v>-9.8849922906343105E-2</c:v>
                </c:pt>
                <c:pt idx="14633">
                  <c:v>-0.11766040230158099</c:v>
                </c:pt>
                <c:pt idx="14634">
                  <c:v>-0.14055072563742299</c:v>
                </c:pt>
                <c:pt idx="14635">
                  <c:v>-0.13872410564124199</c:v>
                </c:pt>
                <c:pt idx="14636">
                  <c:v>-0.12472092750908099</c:v>
                </c:pt>
                <c:pt idx="14637">
                  <c:v>-4.480590049153E-2</c:v>
                </c:pt>
                <c:pt idx="14638">
                  <c:v>0.12989705591350301</c:v>
                </c:pt>
                <c:pt idx="14639">
                  <c:v>-1.6799544227207201E-2</c:v>
                </c:pt>
                <c:pt idx="14640">
                  <c:v>0.116407556643562</c:v>
                </c:pt>
                <c:pt idx="14641">
                  <c:v>3.54011486368144E-2</c:v>
                </c:pt>
                <c:pt idx="14642">
                  <c:v>3.8286272941089202E-3</c:v>
                </c:pt>
                <c:pt idx="14643">
                  <c:v>-3.0269507165748698E-3</c:v>
                </c:pt>
                <c:pt idx="14644">
                  <c:v>6.7808319358333494E-2</c:v>
                </c:pt>
                <c:pt idx="14645">
                  <c:v>6.8198916624609097E-3</c:v>
                </c:pt>
                <c:pt idx="14646">
                  <c:v>3.5043317413049301E-3</c:v>
                </c:pt>
                <c:pt idx="14647">
                  <c:v>1.6666734041496701E-2</c:v>
                </c:pt>
                <c:pt idx="14648">
                  <c:v>5.2610131440703901E-2</c:v>
                </c:pt>
                <c:pt idx="14649">
                  <c:v>0.22861620772136501</c:v>
                </c:pt>
                <c:pt idx="14650">
                  <c:v>0.19040877512450699</c:v>
                </c:pt>
                <c:pt idx="14651">
                  <c:v>0.18515726697034501</c:v>
                </c:pt>
                <c:pt idx="14652">
                  <c:v>0.26268147477515602</c:v>
                </c:pt>
                <c:pt idx="14653">
                  <c:v>0.37316160702266099</c:v>
                </c:pt>
                <c:pt idx="14654">
                  <c:v>0.46716377704881801</c:v>
                </c:pt>
                <c:pt idx="14655">
                  <c:v>0.59412187151767104</c:v>
                </c:pt>
                <c:pt idx="14656">
                  <c:v>0.73972145567701197</c:v>
                </c:pt>
                <c:pt idx="14657">
                  <c:v>0.63815160651614</c:v>
                </c:pt>
                <c:pt idx="14658">
                  <c:v>0.63544953068335397</c:v>
                </c:pt>
                <c:pt idx="14659">
                  <c:v>0.68218134151460996</c:v>
                </c:pt>
                <c:pt idx="14660">
                  <c:v>0.697825612404813</c:v>
                </c:pt>
                <c:pt idx="14661">
                  <c:v>0.639319053298951</c:v>
                </c:pt>
                <c:pt idx="14662">
                  <c:v>0.62200739974645902</c:v>
                </c:pt>
                <c:pt idx="14663">
                  <c:v>0.63765167063666095</c:v>
                </c:pt>
                <c:pt idx="14664">
                  <c:v>0.69210215205310099</c:v>
                </c:pt>
                <c:pt idx="14665">
                  <c:v>0.75071177063961003</c:v>
                </c:pt>
                <c:pt idx="14666">
                  <c:v>0.871074100941439</c:v>
                </c:pt>
                <c:pt idx="14667">
                  <c:v>0.90904662013653104</c:v>
                </c:pt>
                <c:pt idx="14668">
                  <c:v>1.05257228109087</c:v>
                </c:pt>
                <c:pt idx="14669">
                  <c:v>1.12194711204914</c:v>
                </c:pt>
                <c:pt idx="14670">
                  <c:v>1.1336490752327</c:v>
                </c:pt>
                <c:pt idx="14671">
                  <c:v>1.21950186841232</c:v>
                </c:pt>
                <c:pt idx="14672">
                  <c:v>1.37233060461121</c:v>
                </c:pt>
                <c:pt idx="14673">
                  <c:v>1.29446786971123</c:v>
                </c:pt>
                <c:pt idx="14674">
                  <c:v>1.6120762281235901</c:v>
                </c:pt>
                <c:pt idx="14675">
                  <c:v>1.6577982098837201</c:v>
                </c:pt>
                <c:pt idx="14676">
                  <c:v>1.5517475304864099</c:v>
                </c:pt>
                <c:pt idx="14677">
                  <c:v>1.52808666219584</c:v>
                </c:pt>
                <c:pt idx="14678">
                  <c:v>1.5373817183479701</c:v>
                </c:pt>
                <c:pt idx="14679">
                  <c:v>1.55491575561077</c:v>
                </c:pt>
                <c:pt idx="14680">
                  <c:v>1.68724472162463</c:v>
                </c:pt>
                <c:pt idx="14681">
                  <c:v>1.8937245176345601</c:v>
                </c:pt>
                <c:pt idx="14682">
                  <c:v>0.82852660986195004</c:v>
                </c:pt>
                <c:pt idx="14683">
                  <c:v>0.78186796187612695</c:v>
                </c:pt>
                <c:pt idx="14684">
                  <c:v>0.810490873955379</c:v>
                </c:pt>
                <c:pt idx="14685">
                  <c:v>0.81046514358951305</c:v>
                </c:pt>
                <c:pt idx="14686">
                  <c:v>0.81656178954240899</c:v>
                </c:pt>
                <c:pt idx="14687">
                  <c:v>0.89299935628282201</c:v>
                </c:pt>
                <c:pt idx="14688">
                  <c:v>0.994026231077901</c:v>
                </c:pt>
                <c:pt idx="14689">
                  <c:v>0.94470369268697996</c:v>
                </c:pt>
                <c:pt idx="14690">
                  <c:v>0.77201865487721399</c:v>
                </c:pt>
                <c:pt idx="14691">
                  <c:v>0.94576567539895495</c:v>
                </c:pt>
                <c:pt idx="14692">
                  <c:v>1.07385192191081</c:v>
                </c:pt>
                <c:pt idx="14693">
                  <c:v>0.91725720734235605</c:v>
                </c:pt>
                <c:pt idx="14694">
                  <c:v>0.79612104652441495</c:v>
                </c:pt>
                <c:pt idx="14695">
                  <c:v>0.82970191689943795</c:v>
                </c:pt>
                <c:pt idx="14696">
                  <c:v>0.82963932784512695</c:v>
                </c:pt>
                <c:pt idx="14697">
                  <c:v>0.69623945716958002</c:v>
                </c:pt>
                <c:pt idx="14698">
                  <c:v>0.65875507521606103</c:v>
                </c:pt>
                <c:pt idx="14699">
                  <c:v>0.43967285288445701</c:v>
                </c:pt>
                <c:pt idx="14700">
                  <c:v>0.255742453016928</c:v>
                </c:pt>
                <c:pt idx="14701">
                  <c:v>8.4056805786920194E-2</c:v>
                </c:pt>
                <c:pt idx="14702">
                  <c:v>-0.118468161093869</c:v>
                </c:pt>
                <c:pt idx="14703">
                  <c:v>-5.0641671872193997E-2</c:v>
                </c:pt>
                <c:pt idx="14704">
                  <c:v>-0.119480331762296</c:v>
                </c:pt>
                <c:pt idx="14705">
                  <c:v>-0.35877655570211098</c:v>
                </c:pt>
                <c:pt idx="14706">
                  <c:v>-0.38384882913298102</c:v>
                </c:pt>
                <c:pt idx="14707">
                  <c:v>-0.31453745942330702</c:v>
                </c:pt>
                <c:pt idx="14708">
                  <c:v>-0.30041199062766799</c:v>
                </c:pt>
                <c:pt idx="14709">
                  <c:v>-0.25537312976749199</c:v>
                </c:pt>
                <c:pt idx="14710">
                  <c:v>-0.226664086301156</c:v>
                </c:pt>
                <c:pt idx="14711">
                  <c:v>-0.222740694519557</c:v>
                </c:pt>
                <c:pt idx="14712">
                  <c:v>2.9737563421634201E-3</c:v>
                </c:pt>
                <c:pt idx="14713">
                  <c:v>8.9396805019213398E-3</c:v>
                </c:pt>
                <c:pt idx="14714">
                  <c:v>7.2578472436395203E-2</c:v>
                </c:pt>
                <c:pt idx="14715">
                  <c:v>-1.7321474500026302E-2</c:v>
                </c:pt>
                <c:pt idx="14716">
                  <c:v>-5.77875347724046E-2</c:v>
                </c:pt>
                <c:pt idx="14717">
                  <c:v>-7.7695788882833294E-2</c:v>
                </c:pt>
                <c:pt idx="14718">
                  <c:v>-0.10992286804453801</c:v>
                </c:pt>
                <c:pt idx="14719">
                  <c:v>-5.7648715679916002E-2</c:v>
                </c:pt>
                <c:pt idx="14720">
                  <c:v>-0.10424233664337799</c:v>
                </c:pt>
                <c:pt idx="14721">
                  <c:v>-9.3163089832124193E-2</c:v>
                </c:pt>
                <c:pt idx="14722">
                  <c:v>-7.3844861910197401E-2</c:v>
                </c:pt>
                <c:pt idx="14723">
                  <c:v>-0.123804354088819</c:v>
                </c:pt>
                <c:pt idx="14724">
                  <c:v>-9.9613016271378294E-2</c:v>
                </c:pt>
                <c:pt idx="14725">
                  <c:v>-5.07047351219162E-2</c:v>
                </c:pt>
                <c:pt idx="14726">
                  <c:v>-0.141859132853908</c:v>
                </c:pt>
                <c:pt idx="14727">
                  <c:v>-0.16818740144269401</c:v>
                </c:pt>
                <c:pt idx="14728">
                  <c:v>-2.97360478180064E-2</c:v>
                </c:pt>
                <c:pt idx="14729">
                  <c:v>-0.121976165292183</c:v>
                </c:pt>
                <c:pt idx="14730">
                  <c:v>-0.16478239610231701</c:v>
                </c:pt>
                <c:pt idx="14731">
                  <c:v>-0.20621725644198199</c:v>
                </c:pt>
                <c:pt idx="14732">
                  <c:v>-0.22293517344962699</c:v>
                </c:pt>
                <c:pt idx="14733">
                  <c:v>-0.10782939268649</c:v>
                </c:pt>
                <c:pt idx="14734">
                  <c:v>-0.132786290804808</c:v>
                </c:pt>
                <c:pt idx="14735">
                  <c:v>-7.6694844416171706E-2</c:v>
                </c:pt>
                <c:pt idx="14736">
                  <c:v>-0.11947117135562001</c:v>
                </c:pt>
                <c:pt idx="14737">
                  <c:v>-0.15400851718439501</c:v>
                </c:pt>
                <c:pt idx="14738">
                  <c:v>-0.18854586301317</c:v>
                </c:pt>
                <c:pt idx="14739">
                  <c:v>-0.18271151720134901</c:v>
                </c:pt>
                <c:pt idx="14740">
                  <c:v>-0.185116152500202</c:v>
                </c:pt>
                <c:pt idx="14741">
                  <c:v>-0.11336995780299</c:v>
                </c:pt>
                <c:pt idx="14742">
                  <c:v>-0.189925423097908</c:v>
                </c:pt>
                <c:pt idx="14743">
                  <c:v>-0.190643515529585</c:v>
                </c:pt>
                <c:pt idx="14744">
                  <c:v>-0.17488364573991599</c:v>
                </c:pt>
                <c:pt idx="14745">
                  <c:v>-0.15912377595024699</c:v>
                </c:pt>
                <c:pt idx="14746">
                  <c:v>-0.14336390616057801</c:v>
                </c:pt>
                <c:pt idx="14747">
                  <c:v>-0.118401489187989</c:v>
                </c:pt>
                <c:pt idx="14748">
                  <c:v>-6.87221288833786E-2</c:v>
                </c:pt>
                <c:pt idx="14749">
                  <c:v>-1.9042768578768798E-2</c:v>
                </c:pt>
                <c:pt idx="14750">
                  <c:v>4.7114553947188699E-2</c:v>
                </c:pt>
                <c:pt idx="14751">
                  <c:v>-2.0644167395018499E-2</c:v>
                </c:pt>
                <c:pt idx="14752">
                  <c:v>-0.113119832069247</c:v>
                </c:pt>
                <c:pt idx="14753">
                  <c:v>-0.20559549674347599</c:v>
                </c:pt>
                <c:pt idx="14754">
                  <c:v>-0.273354218085682</c:v>
                </c:pt>
                <c:pt idx="14755">
                  <c:v>-0.261850146301845</c:v>
                </c:pt>
                <c:pt idx="14756">
                  <c:v>-0.21739015007531301</c:v>
                </c:pt>
                <c:pt idx="14757">
                  <c:v>-3.2867474967326699E-2</c:v>
                </c:pt>
                <c:pt idx="14758">
                  <c:v>2.80704834805529E-2</c:v>
                </c:pt>
                <c:pt idx="14759">
                  <c:v>4.89547753194828E-2</c:v>
                </c:pt>
                <c:pt idx="14760">
                  <c:v>9.4556010490433204E-2</c:v>
                </c:pt>
                <c:pt idx="14761">
                  <c:v>0.25550298121081699</c:v>
                </c:pt>
                <c:pt idx="14762">
                  <c:v>0.552432786872051</c:v>
                </c:pt>
                <c:pt idx="14763">
                  <c:v>0.63517701660835901</c:v>
                </c:pt>
                <c:pt idx="14764">
                  <c:v>0.64377041634860199</c:v>
                </c:pt>
                <c:pt idx="14765">
                  <c:v>0.487584193875372</c:v>
                </c:pt>
                <c:pt idx="14766">
                  <c:v>0.37259287695550902</c:v>
                </c:pt>
                <c:pt idx="14767">
                  <c:v>0.545130224952172</c:v>
                </c:pt>
                <c:pt idx="14768">
                  <c:v>0.65999470517411796</c:v>
                </c:pt>
                <c:pt idx="14769">
                  <c:v>0.83253205317078105</c:v>
                </c:pt>
                <c:pt idx="14770">
                  <c:v>1.0133083822781199</c:v>
                </c:pt>
                <c:pt idx="14771">
                  <c:v>0.97987712250109205</c:v>
                </c:pt>
                <c:pt idx="14772">
                  <c:v>1.05355261716282</c:v>
                </c:pt>
                <c:pt idx="14773">
                  <c:v>1.0695552440498399</c:v>
                </c:pt>
                <c:pt idx="14774">
                  <c:v>0.92901722983405699</c:v>
                </c:pt>
                <c:pt idx="14775">
                  <c:v>0.78045904667771204</c:v>
                </c:pt>
                <c:pt idx="14776">
                  <c:v>0.73900761796012404</c:v>
                </c:pt>
                <c:pt idx="14777">
                  <c:v>0.95296460367342395</c:v>
                </c:pt>
                <c:pt idx="14778">
                  <c:v>1.22459445716144</c:v>
                </c:pt>
                <c:pt idx="14779">
                  <c:v>1.1340163269993699</c:v>
                </c:pt>
                <c:pt idx="14780">
                  <c:v>0.20260040525672501</c:v>
                </c:pt>
                <c:pt idx="14781">
                  <c:v>0.27076403503455299</c:v>
                </c:pt>
                <c:pt idx="14782">
                  <c:v>0.27678892858115201</c:v>
                </c:pt>
                <c:pt idx="14783">
                  <c:v>0.21158525179719401</c:v>
                </c:pt>
                <c:pt idx="14784">
                  <c:v>0.14811737610495301</c:v>
                </c:pt>
                <c:pt idx="14785">
                  <c:v>8.5257742169883896E-2</c:v>
                </c:pt>
                <c:pt idx="14786">
                  <c:v>0.12905520737533599</c:v>
                </c:pt>
                <c:pt idx="14787">
                  <c:v>0.18021501608443199</c:v>
                </c:pt>
                <c:pt idx="14788">
                  <c:v>0.233644795228661</c:v>
                </c:pt>
                <c:pt idx="14789">
                  <c:v>1.0981797223743801</c:v>
                </c:pt>
                <c:pt idx="14790">
                  <c:v>0.35001903878984503</c:v>
                </c:pt>
                <c:pt idx="14791">
                  <c:v>0.34783346783975699</c:v>
                </c:pt>
                <c:pt idx="14792">
                  <c:v>0.41171311141827999</c:v>
                </c:pt>
                <c:pt idx="14793">
                  <c:v>0.40309843286298802</c:v>
                </c:pt>
                <c:pt idx="14794">
                  <c:v>0.27709026556439098</c:v>
                </c:pt>
                <c:pt idx="14795">
                  <c:v>0.24230308812857701</c:v>
                </c:pt>
                <c:pt idx="14796">
                  <c:v>0.25453168209416299</c:v>
                </c:pt>
                <c:pt idx="14797">
                  <c:v>0.13311626315207201</c:v>
                </c:pt>
                <c:pt idx="14798">
                  <c:v>0.12894096731006599</c:v>
                </c:pt>
                <c:pt idx="14799">
                  <c:v>0.151482537911523</c:v>
                </c:pt>
                <c:pt idx="14800">
                  <c:v>2.2012966649019802E-2</c:v>
                </c:pt>
                <c:pt idx="14801">
                  <c:v>-9.3169319597802794E-2</c:v>
                </c:pt>
                <c:pt idx="14802">
                  <c:v>-0.15075281048366199</c:v>
                </c:pt>
                <c:pt idx="14803">
                  <c:v>-0.19049331736184</c:v>
                </c:pt>
                <c:pt idx="14804">
                  <c:v>-0.191002157835341</c:v>
                </c:pt>
                <c:pt idx="14805">
                  <c:v>-0.23686504103228001</c:v>
                </c:pt>
                <c:pt idx="14806">
                  <c:v>-0.21885338690627401</c:v>
                </c:pt>
                <c:pt idx="14807">
                  <c:v>0.17556075221581399</c:v>
                </c:pt>
                <c:pt idx="14808">
                  <c:v>0.114682189883554</c:v>
                </c:pt>
                <c:pt idx="14809">
                  <c:v>5.3803627551295898E-2</c:v>
                </c:pt>
                <c:pt idx="14810">
                  <c:v>9.4030274403841801E-3</c:v>
                </c:pt>
                <c:pt idx="14811">
                  <c:v>-9.2567698229201495E-2</c:v>
                </c:pt>
                <c:pt idx="14812">
                  <c:v>-0.136865556124072</c:v>
                </c:pt>
                <c:pt idx="14813">
                  <c:v>-0.14820748957624599</c:v>
                </c:pt>
                <c:pt idx="14814">
                  <c:v>-0.15131044191774701</c:v>
                </c:pt>
                <c:pt idx="14815">
                  <c:v>-8.4815684949086298E-2</c:v>
                </c:pt>
                <c:pt idx="14816">
                  <c:v>-2.6559909091099902E-2</c:v>
                </c:pt>
                <c:pt idx="14817">
                  <c:v>4.4014691818163199E-2</c:v>
                </c:pt>
                <c:pt idx="14818">
                  <c:v>8.5792505454801798E-2</c:v>
                </c:pt>
                <c:pt idx="14819">
                  <c:v>4.4597599901432999E-2</c:v>
                </c:pt>
                <c:pt idx="14820">
                  <c:v>2.81196376800859E-2</c:v>
                </c:pt>
                <c:pt idx="14821">
                  <c:v>2.81196376800859E-2</c:v>
                </c:pt>
                <c:pt idx="14822">
                  <c:v>-0.31610531001098502</c:v>
                </c:pt>
                <c:pt idx="14823">
                  <c:v>-0.30287329404683599</c:v>
                </c:pt>
                <c:pt idx="14824">
                  <c:v>-0.339075164746729</c:v>
                </c:pt>
                <c:pt idx="14825">
                  <c:v>-0.33408212989325298</c:v>
                </c:pt>
                <c:pt idx="14826">
                  <c:v>-0.32085011392910401</c:v>
                </c:pt>
                <c:pt idx="14827">
                  <c:v>-0.203273648319239</c:v>
                </c:pt>
                <c:pt idx="14828">
                  <c:v>-0.30814967269756499</c:v>
                </c:pt>
                <c:pt idx="14829">
                  <c:v>-0.34711384819050101</c:v>
                </c:pt>
                <c:pt idx="14830">
                  <c:v>-0.344883118130068</c:v>
                </c:pt>
                <c:pt idx="14831">
                  <c:v>-0.37456216325136599</c:v>
                </c:pt>
                <c:pt idx="14832">
                  <c:v>-0.39600222726199102</c:v>
                </c:pt>
                <c:pt idx="14833">
                  <c:v>-0.409203310161941</c:v>
                </c:pt>
                <c:pt idx="14834">
                  <c:v>-0.37297050639784901</c:v>
                </c:pt>
                <c:pt idx="14835">
                  <c:v>-0.429011567998906</c:v>
                </c:pt>
                <c:pt idx="14836">
                  <c:v>-0.43561874293592101</c:v>
                </c:pt>
                <c:pt idx="14837">
                  <c:v>-0.499898785647653</c:v>
                </c:pt>
                <c:pt idx="14838">
                  <c:v>-0.52298392280601602</c:v>
                </c:pt>
                <c:pt idx="14839">
                  <c:v>-0.52158351832263805</c:v>
                </c:pt>
                <c:pt idx="14840">
                  <c:v>-0.51194413272858597</c:v>
                </c:pt>
                <c:pt idx="14841">
                  <c:v>-0.45287086047049202</c:v>
                </c:pt>
                <c:pt idx="14842">
                  <c:v>-0.41851453154441798</c:v>
                </c:pt>
                <c:pt idx="14843">
                  <c:v>-0.32849144339132302</c:v>
                </c:pt>
                <c:pt idx="14844">
                  <c:v>-0.26318529857024903</c:v>
                </c:pt>
                <c:pt idx="14845">
                  <c:v>-0.22259609708119499</c:v>
                </c:pt>
                <c:pt idx="14846">
                  <c:v>-0.19024587670281701</c:v>
                </c:pt>
                <c:pt idx="14847">
                  <c:v>-0.24458152522891799</c:v>
                </c:pt>
                <c:pt idx="14848">
                  <c:v>-0.26596124931232401</c:v>
                </c:pt>
                <c:pt idx="14849">
                  <c:v>-0.21319014339966599</c:v>
                </c:pt>
                <c:pt idx="14850">
                  <c:v>-0.308720697479136</c:v>
                </c:pt>
                <c:pt idx="14851">
                  <c:v>-0.32831835894837402</c:v>
                </c:pt>
                <c:pt idx="14852">
                  <c:v>-0.29024315264289502</c:v>
                </c:pt>
                <c:pt idx="14853">
                  <c:v>-0.18209696028195599</c:v>
                </c:pt>
                <c:pt idx="14854">
                  <c:v>-0.15226073508714999</c:v>
                </c:pt>
                <c:pt idx="14855">
                  <c:v>-6.1520700387308697E-2</c:v>
                </c:pt>
                <c:pt idx="14856">
                  <c:v>0.119848126529945</c:v>
                </c:pt>
                <c:pt idx="14857">
                  <c:v>0.30121695344719901</c:v>
                </c:pt>
                <c:pt idx="14858">
                  <c:v>0.43315189370040902</c:v>
                </c:pt>
                <c:pt idx="14859">
                  <c:v>0.55367461057263301</c:v>
                </c:pt>
                <c:pt idx="14860">
                  <c:v>0.71539223299822396</c:v>
                </c:pt>
                <c:pt idx="14861">
                  <c:v>0.73704717654236296</c:v>
                </c:pt>
                <c:pt idx="14862">
                  <c:v>0.76694110119717496</c:v>
                </c:pt>
                <c:pt idx="14863">
                  <c:v>0.799615994066738</c:v>
                </c:pt>
                <c:pt idx="14864">
                  <c:v>0.88172477360034496</c:v>
                </c:pt>
                <c:pt idx="14865">
                  <c:v>0.906160685359235</c:v>
                </c:pt>
                <c:pt idx="14866">
                  <c:v>1.1200931626636199</c:v>
                </c:pt>
                <c:pt idx="14867">
                  <c:v>1.10970027053819</c:v>
                </c:pt>
                <c:pt idx="14868">
                  <c:v>1.0910683973020801</c:v>
                </c:pt>
                <c:pt idx="14869">
                  <c:v>1.0477195807339501</c:v>
                </c:pt>
                <c:pt idx="14870">
                  <c:v>1.1691503863793</c:v>
                </c:pt>
                <c:pt idx="14871">
                  <c:v>0.99948675727174996</c:v>
                </c:pt>
                <c:pt idx="14872">
                  <c:v>1.06875358037374</c:v>
                </c:pt>
                <c:pt idx="14873">
                  <c:v>0.37762484630034299</c:v>
                </c:pt>
                <c:pt idx="14874">
                  <c:v>0.33789574822863999</c:v>
                </c:pt>
                <c:pt idx="14875">
                  <c:v>0.32833619429115701</c:v>
                </c:pt>
                <c:pt idx="14876">
                  <c:v>0.32247568059408099</c:v>
                </c:pt>
                <c:pt idx="14877">
                  <c:v>0.234526866260997</c:v>
                </c:pt>
                <c:pt idx="14878">
                  <c:v>0.25557919391732198</c:v>
                </c:pt>
                <c:pt idx="14879">
                  <c:v>0.36712589256254602</c:v>
                </c:pt>
                <c:pt idx="14880">
                  <c:v>0.43135530933563998</c:v>
                </c:pt>
                <c:pt idx="14881">
                  <c:v>0.44757468843425302</c:v>
                </c:pt>
                <c:pt idx="14882">
                  <c:v>0.46198419402739499</c:v>
                </c:pt>
                <c:pt idx="14883">
                  <c:v>0.41497484641368398</c:v>
                </c:pt>
                <c:pt idx="14884">
                  <c:v>0.436073245706743</c:v>
                </c:pt>
                <c:pt idx="14885">
                  <c:v>0.51892957753083602</c:v>
                </c:pt>
                <c:pt idx="14886">
                  <c:v>0.53791137203198303</c:v>
                </c:pt>
                <c:pt idx="14887">
                  <c:v>0.46606836582917699</c:v>
                </c:pt>
                <c:pt idx="14888">
                  <c:v>0.31190962093338698</c:v>
                </c:pt>
                <c:pt idx="14889">
                  <c:v>0.22986439447121601</c:v>
                </c:pt>
                <c:pt idx="14890">
                  <c:v>0.25811608674226499</c:v>
                </c:pt>
                <c:pt idx="14891">
                  <c:v>0.52090980472131698</c:v>
                </c:pt>
                <c:pt idx="14892">
                  <c:v>0.61741031663643897</c:v>
                </c:pt>
                <c:pt idx="14893">
                  <c:v>0.57134029954657195</c:v>
                </c:pt>
                <c:pt idx="14894">
                  <c:v>0.48731432021408</c:v>
                </c:pt>
                <c:pt idx="14895">
                  <c:v>1.01953125305036</c:v>
                </c:pt>
                <c:pt idx="14896">
                  <c:v>0.273359125928827</c:v>
                </c:pt>
                <c:pt idx="14897">
                  <c:v>0.19741386069493899</c:v>
                </c:pt>
                <c:pt idx="14898">
                  <c:v>0.109297915237281</c:v>
                </c:pt>
                <c:pt idx="14899">
                  <c:v>6.65942239166009E-2</c:v>
                </c:pt>
                <c:pt idx="14900">
                  <c:v>-2.7155774710364202E-3</c:v>
                </c:pt>
                <c:pt idx="14901">
                  <c:v>-5.1541645110477499E-2</c:v>
                </c:pt>
                <c:pt idx="14902">
                  <c:v>-8.3736384885349499E-2</c:v>
                </c:pt>
                <c:pt idx="14903">
                  <c:v>-8.1736746049456105E-2</c:v>
                </c:pt>
                <c:pt idx="14904">
                  <c:v>0.43315438960174601</c:v>
                </c:pt>
                <c:pt idx="14905">
                  <c:v>0.29312811040749398</c:v>
                </c:pt>
                <c:pt idx="14906">
                  <c:v>0.22725266120930701</c:v>
                </c:pt>
                <c:pt idx="14907">
                  <c:v>0.19927721870408499</c:v>
                </c:pt>
                <c:pt idx="14908">
                  <c:v>0.130106870645495</c:v>
                </c:pt>
                <c:pt idx="14909">
                  <c:v>0.102131428140274</c:v>
                </c:pt>
                <c:pt idx="14910">
                  <c:v>8.2394966745726994E-2</c:v>
                </c:pt>
                <c:pt idx="14911">
                  <c:v>6.9825776121977504E-2</c:v>
                </c:pt>
                <c:pt idx="14912">
                  <c:v>7.3734547719575896E-2</c:v>
                </c:pt>
                <c:pt idx="14913">
                  <c:v>7.7643319317174206E-2</c:v>
                </c:pt>
                <c:pt idx="14914">
                  <c:v>3.2118204250730399E-2</c:v>
                </c:pt>
                <c:pt idx="14915">
                  <c:v>-4.40751876398216E-2</c:v>
                </c:pt>
                <c:pt idx="14916">
                  <c:v>-7.4914536806934606E-2</c:v>
                </c:pt>
                <c:pt idx="14917">
                  <c:v>-0.146948791527415</c:v>
                </c:pt>
                <c:pt idx="14918">
                  <c:v>-0.18602712180520101</c:v>
                </c:pt>
                <c:pt idx="14919">
                  <c:v>-0.22202916763118599</c:v>
                </c:pt>
                <c:pt idx="14920">
                  <c:v>-0.142685477907738</c:v>
                </c:pt>
                <c:pt idx="14921">
                  <c:v>-0.17044854262304901</c:v>
                </c:pt>
                <c:pt idx="14922">
                  <c:v>-0.214689569559708</c:v>
                </c:pt>
                <c:pt idx="14923">
                  <c:v>-0.25193972722722602</c:v>
                </c:pt>
                <c:pt idx="14924">
                  <c:v>-0.272711922673397</c:v>
                </c:pt>
                <c:pt idx="14925">
                  <c:v>-0.18637736368080801</c:v>
                </c:pt>
                <c:pt idx="14926">
                  <c:v>-0.264822426901695</c:v>
                </c:pt>
                <c:pt idx="14927">
                  <c:v>-0.30299023816438603</c:v>
                </c:pt>
                <c:pt idx="14928">
                  <c:v>-0.28348518165235997</c:v>
                </c:pt>
                <c:pt idx="14929">
                  <c:v>-0.29693604958302899</c:v>
                </c:pt>
                <c:pt idx="14930">
                  <c:v>-0.170324238632243</c:v>
                </c:pt>
                <c:pt idx="14931">
                  <c:v>-0.121020556401687</c:v>
                </c:pt>
                <c:pt idx="14932">
                  <c:v>-0.14586770416719499</c:v>
                </c:pt>
                <c:pt idx="14933">
                  <c:v>-0.12128096526866</c:v>
                </c:pt>
                <c:pt idx="14934">
                  <c:v>-7.1977283038103496E-2</c:v>
                </c:pt>
                <c:pt idx="14935">
                  <c:v>-7.8342348562002007E-2</c:v>
                </c:pt>
                <c:pt idx="14936">
                  <c:v>-3.5273527421857298E-2</c:v>
                </c:pt>
                <c:pt idx="14937">
                  <c:v>-2.5160630724408099E-2</c:v>
                </c:pt>
                <c:pt idx="14938">
                  <c:v>1.4302281943889301E-3</c:v>
                </c:pt>
                <c:pt idx="14939">
                  <c:v>0.19915921571860001</c:v>
                </c:pt>
                <c:pt idx="14940">
                  <c:v>0.40512718435348599</c:v>
                </c:pt>
                <c:pt idx="14941">
                  <c:v>0.53694432299230699</c:v>
                </c:pt>
                <c:pt idx="14942">
                  <c:v>0.60284961274573901</c:v>
                </c:pt>
                <c:pt idx="14943">
                  <c:v>0.59041573281085902</c:v>
                </c:pt>
                <c:pt idx="14944">
                  <c:v>0.55326490954395802</c:v>
                </c:pt>
                <c:pt idx="14945">
                  <c:v>0.54083102960907803</c:v>
                </c:pt>
                <c:pt idx="14946">
                  <c:v>0.56959205522756795</c:v>
                </c:pt>
                <c:pt idx="14947">
                  <c:v>0.53063493113125904</c:v>
                </c:pt>
                <c:pt idx="14948">
                  <c:v>0.49991678814562501</c:v>
                </c:pt>
                <c:pt idx="14949">
                  <c:v>0.59278336182009705</c:v>
                </c:pt>
                <c:pt idx="14950">
                  <c:v>0.71036687882659</c:v>
                </c:pt>
                <c:pt idx="14951">
                  <c:v>0.95093448572633799</c:v>
                </c:pt>
                <c:pt idx="14952">
                  <c:v>1.0884751821279299</c:v>
                </c:pt>
                <c:pt idx="14953">
                  <c:v>1.1848209729761501</c:v>
                </c:pt>
                <c:pt idx="14954">
                  <c:v>1.5200972160339099</c:v>
                </c:pt>
                <c:pt idx="14955">
                  <c:v>1.5721256205933301</c:v>
                </c:pt>
                <c:pt idx="14956">
                  <c:v>1.59943708182072</c:v>
                </c:pt>
                <c:pt idx="14957">
                  <c:v>1.5608366941627201</c:v>
                </c:pt>
                <c:pt idx="14958">
                  <c:v>1.61286509872213</c:v>
                </c:pt>
                <c:pt idx="14959">
                  <c:v>1.6974940327145001</c:v>
                </c:pt>
                <c:pt idx="14960">
                  <c:v>1.7326890800428201</c:v>
                </c:pt>
                <c:pt idx="14961">
                  <c:v>1.8008400518138401</c:v>
                </c:pt>
                <c:pt idx="14962">
                  <c:v>1.7371673258140801</c:v>
                </c:pt>
                <c:pt idx="14963">
                  <c:v>1.6968826351760899</c:v>
                </c:pt>
                <c:pt idx="14964">
                  <c:v>1.6895538689807901</c:v>
                </c:pt>
                <c:pt idx="14965">
                  <c:v>1.5421624239040299</c:v>
                </c:pt>
                <c:pt idx="14966">
                  <c:v>1.55131161993008</c:v>
                </c:pt>
                <c:pt idx="14967">
                  <c:v>0.95137171091449901</c:v>
                </c:pt>
                <c:pt idx="14968">
                  <c:v>1.0081181344052299</c:v>
                </c:pt>
                <c:pt idx="14969">
                  <c:v>1.0940473696844899</c:v>
                </c:pt>
                <c:pt idx="14970">
                  <c:v>1.16130274472103</c:v>
                </c:pt>
                <c:pt idx="14971">
                  <c:v>1.1913548624030701</c:v>
                </c:pt>
                <c:pt idx="14972">
                  <c:v>1.14582185946805</c:v>
                </c:pt>
                <c:pt idx="14973">
                  <c:v>1.07942431908464</c:v>
                </c:pt>
                <c:pt idx="14974">
                  <c:v>1.1345001113851401</c:v>
                </c:pt>
                <c:pt idx="14975">
                  <c:v>1.21151508396973</c:v>
                </c:pt>
                <c:pt idx="14976">
                  <c:v>1.2018225218185801</c:v>
                </c:pt>
                <c:pt idx="14977">
                  <c:v>1.1819277394080601</c:v>
                </c:pt>
                <c:pt idx="14978">
                  <c:v>1.24238545654184</c:v>
                </c:pt>
                <c:pt idx="14979">
                  <c:v>1.2565554325883399</c:v>
                </c:pt>
                <c:pt idx="14980">
                  <c:v>1.2665662714647601</c:v>
                </c:pt>
                <c:pt idx="14981">
                  <c:v>1.28073624751126</c:v>
                </c:pt>
                <c:pt idx="14982">
                  <c:v>1.29074708638769</c:v>
                </c:pt>
                <c:pt idx="14983">
                  <c:v>1.20416158797782</c:v>
                </c:pt>
                <c:pt idx="14984">
                  <c:v>1.1093371084572801</c:v>
                </c:pt>
                <c:pt idx="14985">
                  <c:v>0.933927470519754</c:v>
                </c:pt>
                <c:pt idx="14986">
                  <c:v>0.64655918517104904</c:v>
                </c:pt>
                <c:pt idx="14987">
                  <c:v>0.459398877123606</c:v>
                </c:pt>
                <c:pt idx="14988">
                  <c:v>0.40596187521330901</c:v>
                </c:pt>
                <c:pt idx="14989">
                  <c:v>0.39999552081836298</c:v>
                </c:pt>
                <c:pt idx="14990">
                  <c:v>0.386170989012939</c:v>
                </c:pt>
                <c:pt idx="14991">
                  <c:v>0.43004643339364401</c:v>
                </c:pt>
                <c:pt idx="14992">
                  <c:v>0.42402789418064302</c:v>
                </c:pt>
                <c:pt idx="14993">
                  <c:v>0.35451562134489301</c:v>
                </c:pt>
                <c:pt idx="14994">
                  <c:v>0.313651990954259</c:v>
                </c:pt>
                <c:pt idx="14995">
                  <c:v>0.21418479838899199</c:v>
                </c:pt>
                <c:pt idx="14996">
                  <c:v>9.0000662491703798E-2</c:v>
                </c:pt>
                <c:pt idx="14997">
                  <c:v>-1.2275489628894899E-3</c:v>
                </c:pt>
                <c:pt idx="14998">
                  <c:v>-5.3298166426558997E-2</c:v>
                </c:pt>
                <c:pt idx="14999">
                  <c:v>-0.17830697872117501</c:v>
                </c:pt>
                <c:pt idx="15000">
                  <c:v>-0.23112297935270301</c:v>
                </c:pt>
                <c:pt idx="15001">
                  <c:v>5.20126560252595E-2</c:v>
                </c:pt>
                <c:pt idx="15002">
                  <c:v>7.50970891815818E-3</c:v>
                </c:pt>
                <c:pt idx="15003">
                  <c:v>1.41258570412579E-2</c:v>
                </c:pt>
                <c:pt idx="15004">
                  <c:v>2.0742005164357601E-2</c:v>
                </c:pt>
                <c:pt idx="15005">
                  <c:v>-4.6792676708606998E-2</c:v>
                </c:pt>
                <c:pt idx="15006">
                  <c:v>-0.14728328302426599</c:v>
                </c:pt>
                <c:pt idx="15007">
                  <c:v>-0.27303803571535401</c:v>
                </c:pt>
                <c:pt idx="15008">
                  <c:v>-0.24225214730364</c:v>
                </c:pt>
                <c:pt idx="15009">
                  <c:v>-0.23618320222394801</c:v>
                </c:pt>
                <c:pt idx="15010">
                  <c:v>-0.22187527603358201</c:v>
                </c:pt>
                <c:pt idx="15011">
                  <c:v>-0.33131174621870602</c:v>
                </c:pt>
                <c:pt idx="15012">
                  <c:v>-0.448987197514505</c:v>
                </c:pt>
                <c:pt idx="15013">
                  <c:v>-0.47603385659289199</c:v>
                </c:pt>
                <c:pt idx="15014">
                  <c:v>-0.56075338344599601</c:v>
                </c:pt>
                <c:pt idx="15015">
                  <c:v>-0.33654182840556301</c:v>
                </c:pt>
                <c:pt idx="15016">
                  <c:v>-0.45836748001342797</c:v>
                </c:pt>
                <c:pt idx="15017">
                  <c:v>-0.50604230162523001</c:v>
                </c:pt>
                <c:pt idx="15018">
                  <c:v>-0.51252221768366202</c:v>
                </c:pt>
                <c:pt idx="15019">
                  <c:v>-0.54515238115751097</c:v>
                </c:pt>
                <c:pt idx="15020">
                  <c:v>-0.55306560129933902</c:v>
                </c:pt>
                <c:pt idx="15021">
                  <c:v>-0.57745678366251396</c:v>
                </c:pt>
                <c:pt idx="15022">
                  <c:v>-0.560653060472321</c:v>
                </c:pt>
                <c:pt idx="15023">
                  <c:v>-0.56254471539767503</c:v>
                </c:pt>
                <c:pt idx="15024">
                  <c:v>-0.53971942699100905</c:v>
                </c:pt>
                <c:pt idx="15025">
                  <c:v>-0.51689413858434197</c:v>
                </c:pt>
                <c:pt idx="15026">
                  <c:v>-0.54350273684171702</c:v>
                </c:pt>
                <c:pt idx="15027">
                  <c:v>-0.56940522199024701</c:v>
                </c:pt>
                <c:pt idx="15028">
                  <c:v>-0.55411280158540899</c:v>
                </c:pt>
                <c:pt idx="15029">
                  <c:v>-0.59649324895528699</c:v>
                </c:pt>
                <c:pt idx="15030">
                  <c:v>-0.58120082855044897</c:v>
                </c:pt>
                <c:pt idx="15031">
                  <c:v>-0.54092933725120396</c:v>
                </c:pt>
                <c:pt idx="15032">
                  <c:v>-0.50065784595195895</c:v>
                </c:pt>
                <c:pt idx="15033">
                  <c:v>-0.468625335763388</c:v>
                </c:pt>
                <c:pt idx="15034">
                  <c:v>-0.41187588224279598</c:v>
                </c:pt>
                <c:pt idx="15035">
                  <c:v>-0.23874904951815001</c:v>
                </c:pt>
                <c:pt idx="15036">
                  <c:v>-0.15625100901091701</c:v>
                </c:pt>
                <c:pt idx="15037">
                  <c:v>-5.7275006282335499E-2</c:v>
                </c:pt>
                <c:pt idx="15038">
                  <c:v>5.8178958667593199E-2</c:v>
                </c:pt>
                <c:pt idx="15039">
                  <c:v>3.9438684201785298E-2</c:v>
                </c:pt>
                <c:pt idx="15040">
                  <c:v>2.8937390846651999E-2</c:v>
                </c:pt>
                <c:pt idx="15041">
                  <c:v>0.13378183304095201</c:v>
                </c:pt>
                <c:pt idx="15042">
                  <c:v>4.9129709689754102E-2</c:v>
                </c:pt>
                <c:pt idx="15043">
                  <c:v>0.16035802711928501</c:v>
                </c:pt>
                <c:pt idx="15044">
                  <c:v>0.34573717454488001</c:v>
                </c:pt>
                <c:pt idx="15045">
                  <c:v>0.65470103863058104</c:v>
                </c:pt>
                <c:pt idx="15046">
                  <c:v>0.81128339878355005</c:v>
                </c:pt>
                <c:pt idx="15047">
                  <c:v>1.02353321631048</c:v>
                </c:pt>
                <c:pt idx="15048">
                  <c:v>1.07100341162394</c:v>
                </c:pt>
                <c:pt idx="15049">
                  <c:v>1.4315548891430001</c:v>
                </c:pt>
                <c:pt idx="15050">
                  <c:v>1.6026098011165599</c:v>
                </c:pt>
                <c:pt idx="15051">
                  <c:v>1.8147464884557001</c:v>
                </c:pt>
                <c:pt idx="15052">
                  <c:v>2.0351221569055098</c:v>
                </c:pt>
                <c:pt idx="15053">
                  <c:v>1.7199640531615299</c:v>
                </c:pt>
                <c:pt idx="15054">
                  <c:v>1.7343651938444999</c:v>
                </c:pt>
                <c:pt idx="15055">
                  <c:v>1.9562384251263101</c:v>
                </c:pt>
                <c:pt idx="15056">
                  <c:v>1.76616260087442</c:v>
                </c:pt>
                <c:pt idx="15057">
                  <c:v>1.8397341721641001</c:v>
                </c:pt>
                <c:pt idx="15058">
                  <c:v>2.16047517677399</c:v>
                </c:pt>
                <c:pt idx="15059">
                  <c:v>1.1787008872634099</c:v>
                </c:pt>
                <c:pt idx="15060">
                  <c:v>1.1976180461607</c:v>
                </c:pt>
                <c:pt idx="15061">
                  <c:v>1.1196254500628899</c:v>
                </c:pt>
                <c:pt idx="15062">
                  <c:v>1.03989705287336</c:v>
                </c:pt>
                <c:pt idx="15063">
                  <c:v>1.1408671715613801</c:v>
                </c:pt>
                <c:pt idx="15064">
                  <c:v>1.2380641775952499</c:v>
                </c:pt>
                <c:pt idx="15065">
                  <c:v>1.25059618127153</c:v>
                </c:pt>
                <c:pt idx="15066">
                  <c:v>1.2319028407811199</c:v>
                </c:pt>
                <c:pt idx="15067">
                  <c:v>1.18414804737649</c:v>
                </c:pt>
                <c:pt idx="15068">
                  <c:v>1.1345040872369301</c:v>
                </c:pt>
                <c:pt idx="15069">
                  <c:v>1.2210808417266199</c:v>
                </c:pt>
                <c:pt idx="15070">
                  <c:v>1.2868671311816799</c:v>
                </c:pt>
                <c:pt idx="15071">
                  <c:v>1.3106242368310299</c:v>
                </c:pt>
                <c:pt idx="15072">
                  <c:v>1.3052726031055999</c:v>
                </c:pt>
                <c:pt idx="15073">
                  <c:v>1.2421688083759901</c:v>
                </c:pt>
                <c:pt idx="15074">
                  <c:v>1.2822505106034701</c:v>
                </c:pt>
                <c:pt idx="15075">
                  <c:v>1.4411275297064401</c:v>
                </c:pt>
                <c:pt idx="15076">
                  <c:v>1.5174561512437399</c:v>
                </c:pt>
                <c:pt idx="15077">
                  <c:v>1.4905992758239399</c:v>
                </c:pt>
                <c:pt idx="15078">
                  <c:v>1.5050165991869799</c:v>
                </c:pt>
                <c:pt idx="15079">
                  <c:v>1.3093784554444601</c:v>
                </c:pt>
                <c:pt idx="15080">
                  <c:v>1.08909744078366</c:v>
                </c:pt>
                <c:pt idx="15081">
                  <c:v>0.93685010061588103</c:v>
                </c:pt>
                <c:pt idx="15082">
                  <c:v>0.87153773324081896</c:v>
                </c:pt>
                <c:pt idx="15083">
                  <c:v>1.01539372904495</c:v>
                </c:pt>
                <c:pt idx="15084">
                  <c:v>1.0725421901133301</c:v>
                </c:pt>
                <c:pt idx="15085">
                  <c:v>1.0326275305433801</c:v>
                </c:pt>
                <c:pt idx="15086">
                  <c:v>0.86473113745485897</c:v>
                </c:pt>
                <c:pt idx="15087">
                  <c:v>0.74497498007195695</c:v>
                </c:pt>
                <c:pt idx="15088">
                  <c:v>0.61078339284586702</c:v>
                </c:pt>
                <c:pt idx="15089">
                  <c:v>0.48286754758175998</c:v>
                </c:pt>
                <c:pt idx="15090">
                  <c:v>0.36984722909050399</c:v>
                </c:pt>
                <c:pt idx="15091">
                  <c:v>0.24106442555475599</c:v>
                </c:pt>
                <c:pt idx="15092">
                  <c:v>0.130876189032266</c:v>
                </c:pt>
                <c:pt idx="15093">
                  <c:v>8.2157618152783607E-3</c:v>
                </c:pt>
                <c:pt idx="15094">
                  <c:v>-4.2251853738622502E-2</c:v>
                </c:pt>
                <c:pt idx="15095">
                  <c:v>-9.74533103803574E-2</c:v>
                </c:pt>
                <c:pt idx="15096">
                  <c:v>-0.163010352924679</c:v>
                </c:pt>
                <c:pt idx="15097">
                  <c:v>8.4482391529653603E-2</c:v>
                </c:pt>
                <c:pt idx="15098">
                  <c:v>-3.6551620768003598E-2</c:v>
                </c:pt>
                <c:pt idx="15099">
                  <c:v>-0.12023928994326499</c:v>
                </c:pt>
                <c:pt idx="15100">
                  <c:v>-0.19152884083778099</c:v>
                </c:pt>
                <c:pt idx="15101">
                  <c:v>-0.27929635395364499</c:v>
                </c:pt>
                <c:pt idx="15102">
                  <c:v>-0.33410794262681398</c:v>
                </c:pt>
                <c:pt idx="15103">
                  <c:v>-0.26167746825201599</c:v>
                </c:pt>
                <c:pt idx="15104">
                  <c:v>-0.39522152164406099</c:v>
                </c:pt>
                <c:pt idx="15105">
                  <c:v>-0.48757066948273797</c:v>
                </c:pt>
                <c:pt idx="15106">
                  <c:v>-0.55520287398939405</c:v>
                </c:pt>
                <c:pt idx="15107">
                  <c:v>-0.57958644210162602</c:v>
                </c:pt>
                <c:pt idx="15108">
                  <c:v>-0.58749204799251098</c:v>
                </c:pt>
                <c:pt idx="15109">
                  <c:v>-0.66954848387945998</c:v>
                </c:pt>
                <c:pt idx="15110">
                  <c:v>-0.61154224088495501</c:v>
                </c:pt>
                <c:pt idx="15111">
                  <c:v>-0.61562804765468004</c:v>
                </c:pt>
                <c:pt idx="15112">
                  <c:v>-0.66090875997777598</c:v>
                </c:pt>
                <c:pt idx="15113">
                  <c:v>-0.68971151007952303</c:v>
                </c:pt>
                <c:pt idx="15114">
                  <c:v>-0.66084139240655404</c:v>
                </c:pt>
                <c:pt idx="15115">
                  <c:v>-0.71191770975200797</c:v>
                </c:pt>
                <c:pt idx="15116">
                  <c:v>-0.69708217821207197</c:v>
                </c:pt>
                <c:pt idx="15117">
                  <c:v>-0.75639747666820101</c:v>
                </c:pt>
                <c:pt idx="15118">
                  <c:v>-0.74156194512826501</c:v>
                </c:pt>
                <c:pt idx="15119">
                  <c:v>-0.72636422488466001</c:v>
                </c:pt>
                <c:pt idx="15120">
                  <c:v>-0.678210580198359</c:v>
                </c:pt>
                <c:pt idx="15121">
                  <c:v>-0.67125184106542801</c:v>
                </c:pt>
                <c:pt idx="15122">
                  <c:v>-0.65605412082182202</c:v>
                </c:pt>
                <c:pt idx="15123">
                  <c:v>-0.69960236567554002</c:v>
                </c:pt>
                <c:pt idx="15124">
                  <c:v>-0.70195570497588899</c:v>
                </c:pt>
                <c:pt idx="15125">
                  <c:v>-0.539529422062762</c:v>
                </c:pt>
                <c:pt idx="15126">
                  <c:v>-0.72314034579793396</c:v>
                </c:pt>
                <c:pt idx="15127">
                  <c:v>-0.68322882604973001</c:v>
                </c:pt>
                <c:pt idx="15128">
                  <c:v>-0.61036138185883104</c:v>
                </c:pt>
                <c:pt idx="15129">
                  <c:v>-0.50453801322523595</c:v>
                </c:pt>
                <c:pt idx="15130">
                  <c:v>-0.43167056903433598</c:v>
                </c:pt>
                <c:pt idx="15131">
                  <c:v>-0.28603657903280899</c:v>
                </c:pt>
                <c:pt idx="15132">
                  <c:v>-0.22279240013801699</c:v>
                </c:pt>
                <c:pt idx="15133">
                  <c:v>-0.134831277911205</c:v>
                </c:pt>
                <c:pt idx="15134">
                  <c:v>-5.51091367950668E-2</c:v>
                </c:pt>
                <c:pt idx="15135">
                  <c:v>-6.1717926909461998E-2</c:v>
                </c:pt>
                <c:pt idx="15136">
                  <c:v>-3.5370792581162297E-2</c:v>
                </c:pt>
                <c:pt idx="15137">
                  <c:v>-9.0236582528622194E-3</c:v>
                </c:pt>
                <c:pt idx="15138">
                  <c:v>2.5562457186110801E-2</c:v>
                </c:pt>
                <c:pt idx="15139">
                  <c:v>0.25112488746394401</c:v>
                </c:pt>
                <c:pt idx="15140">
                  <c:v>0.44373139329908301</c:v>
                </c:pt>
                <c:pt idx="15141">
                  <c:v>0.51275318247411406</c:v>
                </c:pt>
                <c:pt idx="15142">
                  <c:v>0.86605946658212496</c:v>
                </c:pt>
                <c:pt idx="15143">
                  <c:v>-4.5656773865771903E-2</c:v>
                </c:pt>
                <c:pt idx="15144">
                  <c:v>8.3828423120696702E-2</c:v>
                </c:pt>
                <c:pt idx="15145">
                  <c:v>0.30001593402719501</c:v>
                </c:pt>
                <c:pt idx="15146">
                  <c:v>0.491412429187918</c:v>
                </c:pt>
                <c:pt idx="15147">
                  <c:v>0.70698592623927003</c:v>
                </c:pt>
                <c:pt idx="15148">
                  <c:v>0.89572587516669</c:v>
                </c:pt>
                <c:pt idx="15149">
                  <c:v>1.04946736727326</c:v>
                </c:pt>
                <c:pt idx="15150">
                  <c:v>1.1804551551964899</c:v>
                </c:pt>
                <c:pt idx="15151">
                  <c:v>2.1763801380536689</c:v>
                </c:pt>
                <c:pt idx="15152">
                  <c:v>2.03401788790045</c:v>
                </c:pt>
                <c:pt idx="15153">
                  <c:v>2.2212148821741802</c:v>
                </c:pt>
                <c:pt idx="15154">
                  <c:v>1.27771182459043</c:v>
                </c:pt>
                <c:pt idx="15155">
                  <c:v>1.2664319706985501</c:v>
                </c:pt>
                <c:pt idx="15156">
                  <c:v>1.18711844231367</c:v>
                </c:pt>
                <c:pt idx="15157">
                  <c:v>1.1190754728749801</c:v>
                </c:pt>
                <c:pt idx="15158">
                  <c:v>1.1801365754737101</c:v>
                </c:pt>
                <c:pt idx="15159">
                  <c:v>1.16075809275512</c:v>
                </c:pt>
                <c:pt idx="15160">
                  <c:v>1.1992110642701901</c:v>
                </c:pt>
                <c:pt idx="15161">
                  <c:v>1.25368190107694</c:v>
                </c:pt>
                <c:pt idx="15162">
                  <c:v>1.0810705721643401</c:v>
                </c:pt>
                <c:pt idx="15163">
                  <c:v>0.90387279613056704</c:v>
                </c:pt>
                <c:pt idx="15164">
                  <c:v>0.80545030500830594</c:v>
                </c:pt>
                <c:pt idx="15165">
                  <c:v>0.87219868143114199</c:v>
                </c:pt>
                <c:pt idx="15166">
                  <c:v>0.98006789099359404</c:v>
                </c:pt>
                <c:pt idx="15167">
                  <c:v>1.10439020334602</c:v>
                </c:pt>
                <c:pt idx="15168">
                  <c:v>1.2183569297958501</c:v>
                </c:pt>
                <c:pt idx="15169">
                  <c:v>1.2085751323109299</c:v>
                </c:pt>
                <c:pt idx="15170">
                  <c:v>1.26063056058651</c:v>
                </c:pt>
                <c:pt idx="15171">
                  <c:v>1.14805152044431</c:v>
                </c:pt>
                <c:pt idx="15172">
                  <c:v>1.0666978244687999</c:v>
                </c:pt>
                <c:pt idx="15173">
                  <c:v>1.31107185029947</c:v>
                </c:pt>
                <c:pt idx="15174">
                  <c:v>1.3824168311745599</c:v>
                </c:pt>
                <c:pt idx="15175">
                  <c:v>1.30549170196706</c:v>
                </c:pt>
                <c:pt idx="15176">
                  <c:v>1.2532835160915801</c:v>
                </c:pt>
                <c:pt idx="15177">
                  <c:v>1.2506678033390699</c:v>
                </c:pt>
                <c:pt idx="15178">
                  <c:v>1.1633077949995201</c:v>
                </c:pt>
                <c:pt idx="15179">
                  <c:v>1.0091182781554699</c:v>
                </c:pt>
                <c:pt idx="15180">
                  <c:v>0.98903287114876104</c:v>
                </c:pt>
                <c:pt idx="15181">
                  <c:v>1.0266996251462399</c:v>
                </c:pt>
                <c:pt idx="15182">
                  <c:v>0.87447334745087801</c:v>
                </c:pt>
                <c:pt idx="15183">
                  <c:v>0.66516833812216902</c:v>
                </c:pt>
                <c:pt idx="15184">
                  <c:v>0.54060762438051402</c:v>
                </c:pt>
                <c:pt idx="15185">
                  <c:v>0.48566302058036798</c:v>
                </c:pt>
                <c:pt idx="15186">
                  <c:v>0.34250773982545302</c:v>
                </c:pt>
                <c:pt idx="15187">
                  <c:v>0.19504750699908699</c:v>
                </c:pt>
                <c:pt idx="15188">
                  <c:v>7.04943439992715E-2</c:v>
                </c:pt>
                <c:pt idx="15189">
                  <c:v>-2.93418756685218E-2</c:v>
                </c:pt>
                <c:pt idx="15190">
                  <c:v>-0.112546767471746</c:v>
                </c:pt>
                <c:pt idx="15191">
                  <c:v>-0.152947784312503</c:v>
                </c:pt>
                <c:pt idx="15192">
                  <c:v>-0.18503574762883199</c:v>
                </c:pt>
                <c:pt idx="15193">
                  <c:v>9.1687645653955402E-2</c:v>
                </c:pt>
                <c:pt idx="15194">
                  <c:v>4.9397462078261803E-2</c:v>
                </c:pt>
                <c:pt idx="15195">
                  <c:v>-0.12337863922289199</c:v>
                </c:pt>
                <c:pt idx="15196">
                  <c:v>-6.5383976195712498E-2</c:v>
                </c:pt>
                <c:pt idx="15197">
                  <c:v>-0.22168211527551801</c:v>
                </c:pt>
                <c:pt idx="15198">
                  <c:v>-0.30790926829986298</c:v>
                </c:pt>
                <c:pt idx="15199">
                  <c:v>-0.33757904359655999</c:v>
                </c:pt>
                <c:pt idx="15200">
                  <c:v>-0.37548780000393001</c:v>
                </c:pt>
                <c:pt idx="15201">
                  <c:v>-0.40515757530062702</c:v>
                </c:pt>
                <c:pt idx="15202">
                  <c:v>-0.41011040726530201</c:v>
                </c:pt>
                <c:pt idx="15203">
                  <c:v>-0.50735406525802096</c:v>
                </c:pt>
                <c:pt idx="15204">
                  <c:v>-0.55516383658669699</c:v>
                </c:pt>
                <c:pt idx="15205">
                  <c:v>-0.59473462680469902</c:v>
                </c:pt>
                <c:pt idx="15206">
                  <c:v>-0.57663254924798601</c:v>
                </c:pt>
                <c:pt idx="15207">
                  <c:v>-0.59086966617488401</c:v>
                </c:pt>
                <c:pt idx="15208">
                  <c:v>-0.62158474532313002</c:v>
                </c:pt>
                <c:pt idx="15209">
                  <c:v>-0.619343900028681</c:v>
                </c:pt>
                <c:pt idx="15210">
                  <c:v>-0.57590814918086297</c:v>
                </c:pt>
                <c:pt idx="15211">
                  <c:v>-0.57677574699216705</c:v>
                </c:pt>
                <c:pt idx="15212">
                  <c:v>-0.57764334480347002</c:v>
                </c:pt>
                <c:pt idx="15213">
                  <c:v>-0.57027196150409998</c:v>
                </c:pt>
                <c:pt idx="15214">
                  <c:v>-0.49698872931934002</c:v>
                </c:pt>
                <c:pt idx="15215">
                  <c:v>-0.442370495500226</c:v>
                </c:pt>
                <c:pt idx="15216">
                  <c:v>-0.52781494056256795</c:v>
                </c:pt>
                <c:pt idx="15217">
                  <c:v>-0.57206448007153998</c:v>
                </c:pt>
                <c:pt idx="15218">
                  <c:v>-0.59159707624849101</c:v>
                </c:pt>
                <c:pt idx="15219">
                  <c:v>-0.60525059501615996</c:v>
                </c:pt>
                <c:pt idx="15220">
                  <c:v>-0.56947022711978501</c:v>
                </c:pt>
                <c:pt idx="15221">
                  <c:v>-0.60784068921947498</c:v>
                </c:pt>
                <c:pt idx="15222">
                  <c:v>-0.57206032132310003</c:v>
                </c:pt>
                <c:pt idx="15223">
                  <c:v>-0.52157227913889803</c:v>
                </c:pt>
                <c:pt idx="15224">
                  <c:v>-0.47108423695469598</c:v>
                </c:pt>
                <c:pt idx="15225">
                  <c:v>-0.47003008143453701</c:v>
                </c:pt>
                <c:pt idx="15226">
                  <c:v>-0.41954203925033501</c:v>
                </c:pt>
                <c:pt idx="15227">
                  <c:v>-0.31625778151589201</c:v>
                </c:pt>
                <c:pt idx="15228">
                  <c:v>-0.22121250489212299</c:v>
                </c:pt>
                <c:pt idx="15229">
                  <c:v>-0.11792824715767999</c:v>
                </c:pt>
                <c:pt idx="15230">
                  <c:v>1.8339727981102601E-3</c:v>
                </c:pt>
                <c:pt idx="15231">
                  <c:v>-4.4322052102171702E-2</c:v>
                </c:pt>
                <c:pt idx="15232">
                  <c:v>-4.1044190338410197E-2</c:v>
                </c:pt>
                <c:pt idx="15233">
                  <c:v>-5.4244290795996498E-2</c:v>
                </c:pt>
                <c:pt idx="15234">
                  <c:v>-8.3922353474930697E-2</c:v>
                </c:pt>
                <c:pt idx="15235">
                  <c:v>3.1623707126928198E-2</c:v>
                </c:pt>
                <c:pt idx="15236">
                  <c:v>0.287232446610241</c:v>
                </c:pt>
                <c:pt idx="15237">
                  <c:v>0.55108016720422703</c:v>
                </c:pt>
                <c:pt idx="15238">
                  <c:v>0.81908702496828401</c:v>
                </c:pt>
                <c:pt idx="15239">
                  <c:v>0.75154393133047503</c:v>
                </c:pt>
                <c:pt idx="15240">
                  <c:v>0.84062077202493402</c:v>
                </c:pt>
                <c:pt idx="15241">
                  <c:v>0.91729949443865</c:v>
                </c:pt>
                <c:pt idx="15242">
                  <c:v>1.27410357461527</c:v>
                </c:pt>
                <c:pt idx="15243">
                  <c:v>1.29640846249758</c:v>
                </c:pt>
                <c:pt idx="15244">
                  <c:v>1.5905997270321299</c:v>
                </c:pt>
                <c:pt idx="15245">
                  <c:v>1.6211435960251099</c:v>
                </c:pt>
                <c:pt idx="15246">
                  <c:v>1.75055523834618</c:v>
                </c:pt>
                <c:pt idx="15247">
                  <c:v>1.8821710186420499</c:v>
                </c:pt>
                <c:pt idx="15248">
                  <c:v>1.9313969878311901</c:v>
                </c:pt>
                <c:pt idx="15249">
                  <c:v>2.0218178625736898</c:v>
                </c:pt>
                <c:pt idx="15250">
                  <c:v>1.9886540206560901</c:v>
                </c:pt>
                <c:pt idx="15251">
                  <c:v>1.9270667827355501</c:v>
                </c:pt>
                <c:pt idx="15252">
                  <c:v>1.9066744503683699</c:v>
                </c:pt>
                <c:pt idx="15253">
                  <c:v>1.08106146663007</c:v>
                </c:pt>
                <c:pt idx="15254">
                  <c:v>1.0423072261223301</c:v>
                </c:pt>
                <c:pt idx="15255">
                  <c:v>1.0449715773411901</c:v>
                </c:pt>
                <c:pt idx="15256">
                  <c:v>1.1296501567823101</c:v>
                </c:pt>
                <c:pt idx="15257">
                  <c:v>1.1770603089674401</c:v>
                </c:pt>
                <c:pt idx="15258">
                  <c:v>1.20610333219629</c:v>
                </c:pt>
                <c:pt idx="15259">
                  <c:v>1.2539894233408699</c:v>
                </c:pt>
                <c:pt idx="15260">
                  <c:v>1.2691470280997399</c:v>
                </c:pt>
                <c:pt idx="15261">
                  <c:v>1.3378235842789601</c:v>
                </c:pt>
                <c:pt idx="15262">
                  <c:v>1.3878262802154591</c:v>
                </c:pt>
                <c:pt idx="15263">
                  <c:v>1.33141528595295</c:v>
                </c:pt>
                <c:pt idx="15264">
                  <c:v>1.2561770658044999</c:v>
                </c:pt>
                <c:pt idx="15265">
                  <c:v>1.2266789128953901</c:v>
                </c:pt>
                <c:pt idx="15266">
                  <c:v>1.18462927606232</c:v>
                </c:pt>
                <c:pt idx="15267">
                  <c:v>1.0699757435035799</c:v>
                </c:pt>
                <c:pt idx="15268">
                  <c:v>1.0049887564815601</c:v>
                </c:pt>
                <c:pt idx="15269">
                  <c:v>0.94839411621343495</c:v>
                </c:pt>
                <c:pt idx="15270">
                  <c:v>0.86889240611875995</c:v>
                </c:pt>
                <c:pt idx="15271">
                  <c:v>0.88276099349530202</c:v>
                </c:pt>
                <c:pt idx="15272">
                  <c:v>1.06392227402457</c:v>
                </c:pt>
                <c:pt idx="15273">
                  <c:v>1.12322419735402</c:v>
                </c:pt>
                <c:pt idx="15274">
                  <c:v>1.0380664249435401</c:v>
                </c:pt>
                <c:pt idx="15275">
                  <c:v>0.97786027185549496</c:v>
                </c:pt>
                <c:pt idx="15276">
                  <c:v>0.88250229630337695</c:v>
                </c:pt>
                <c:pt idx="15277">
                  <c:v>0.76862382615175295</c:v>
                </c:pt>
                <c:pt idx="15278">
                  <c:v>0.54959661989434805</c:v>
                </c:pt>
                <c:pt idx="15279">
                  <c:v>0.41186425229887103</c:v>
                </c:pt>
                <c:pt idx="15280">
                  <c:v>0.387598895149316</c:v>
                </c:pt>
                <c:pt idx="15281">
                  <c:v>0.37943069652091399</c:v>
                </c:pt>
                <c:pt idx="15282">
                  <c:v>0.34896889063884401</c:v>
                </c:pt>
                <c:pt idx="15283">
                  <c:v>0.174599116323193</c:v>
                </c:pt>
                <c:pt idx="15284">
                  <c:v>3.1301320531012498E-2</c:v>
                </c:pt>
                <c:pt idx="15285">
                  <c:v>3.0568832928108601E-2</c:v>
                </c:pt>
                <c:pt idx="15286">
                  <c:v>-0.124746277444619</c:v>
                </c:pt>
                <c:pt idx="15287">
                  <c:v>-0.17424982938339501</c:v>
                </c:pt>
                <c:pt idx="15288">
                  <c:v>-0.23191829001908901</c:v>
                </c:pt>
                <c:pt idx="15289">
                  <c:v>0.14916435779588699</c:v>
                </c:pt>
                <c:pt idx="15290">
                  <c:v>0.118408738513593</c:v>
                </c:pt>
                <c:pt idx="15291">
                  <c:v>-3.7624475533851502E-2</c:v>
                </c:pt>
                <c:pt idx="15292">
                  <c:v>-6.1833991810516201E-2</c:v>
                </c:pt>
                <c:pt idx="15293">
                  <c:v>-0.213787361917358</c:v>
                </c:pt>
                <c:pt idx="15294">
                  <c:v>-0.34510363263278199</c:v>
                </c:pt>
                <c:pt idx="15295">
                  <c:v>-0.28055014616087798</c:v>
                </c:pt>
                <c:pt idx="15296">
                  <c:v>-0.40549322523447101</c:v>
                </c:pt>
                <c:pt idx="15297">
                  <c:v>-0.43156853097997999</c:v>
                </c:pt>
                <c:pt idx="15298">
                  <c:v>-0.399970968950771</c:v>
                </c:pt>
                <c:pt idx="15299">
                  <c:v>-0.40445746728262799</c:v>
                </c:pt>
                <c:pt idx="15300">
                  <c:v>-0.54900664449593795</c:v>
                </c:pt>
                <c:pt idx="15301">
                  <c:v>-0.52053721838510003</c:v>
                </c:pt>
                <c:pt idx="15302">
                  <c:v>-0.61565250893436796</c:v>
                </c:pt>
                <c:pt idx="15303">
                  <c:v>-0.67149875671290304</c:v>
                </c:pt>
                <c:pt idx="15304">
                  <c:v>-0.686150098938071</c:v>
                </c:pt>
                <c:pt idx="15305">
                  <c:v>-0.60193366783515301</c:v>
                </c:pt>
                <c:pt idx="15306">
                  <c:v>-0.64130195339234197</c:v>
                </c:pt>
                <c:pt idx="15307">
                  <c:v>-0.66025469970287498</c:v>
                </c:pt>
                <c:pt idx="15308">
                  <c:v>-0.68744642712408299</c:v>
                </c:pt>
                <c:pt idx="15309">
                  <c:v>-0.43451279678238303</c:v>
                </c:pt>
                <c:pt idx="15310">
                  <c:v>-0.57705025975302304</c:v>
                </c:pt>
                <c:pt idx="15311">
                  <c:v>-0.62510074331707699</c:v>
                </c:pt>
                <c:pt idx="15312">
                  <c:v>-0.61547835910641202</c:v>
                </c:pt>
                <c:pt idx="15313">
                  <c:v>-0.63057291822777095</c:v>
                </c:pt>
                <c:pt idx="15314">
                  <c:v>-0.64566747734912799</c:v>
                </c:pt>
                <c:pt idx="15315">
                  <c:v>-0.541876282831525</c:v>
                </c:pt>
                <c:pt idx="15316">
                  <c:v>-0.61934267274874399</c:v>
                </c:pt>
                <c:pt idx="15317">
                  <c:v>-0.66385313822326897</c:v>
                </c:pt>
                <c:pt idx="15318">
                  <c:v>-0.65069073592307702</c:v>
                </c:pt>
                <c:pt idx="15319">
                  <c:v>-0.59826937630252297</c:v>
                </c:pt>
                <c:pt idx="15320">
                  <c:v>-0.57056496001399004</c:v>
                </c:pt>
                <c:pt idx="15321">
                  <c:v>-0.40279786484400398</c:v>
                </c:pt>
                <c:pt idx="15322">
                  <c:v>-0.44100529744085998</c:v>
                </c:pt>
                <c:pt idx="15323">
                  <c:v>-0.40467599518941899</c:v>
                </c:pt>
                <c:pt idx="15324">
                  <c:v>-0.31891280627393498</c:v>
                </c:pt>
                <c:pt idx="15325">
                  <c:v>-0.20019369291575601</c:v>
                </c:pt>
                <c:pt idx="15326">
                  <c:v>-7.3235598446903694E-2</c:v>
                </c:pt>
                <c:pt idx="15327">
                  <c:v>-8.4176655390364105E-2</c:v>
                </c:pt>
                <c:pt idx="15328">
                  <c:v>-4.56838256697817E-2</c:v>
                </c:pt>
                <c:pt idx="15329">
                  <c:v>-8.9580807055937003E-2</c:v>
                </c:pt>
                <c:pt idx="15330">
                  <c:v>-5.9326958446028401E-2</c:v>
                </c:pt>
                <c:pt idx="15331">
                  <c:v>0.12109693465764899</c:v>
                </c:pt>
                <c:pt idx="15332">
                  <c:v>0.25208694109728402</c:v>
                </c:pt>
                <c:pt idx="15333">
                  <c:v>0.37483796642624601</c:v>
                </c:pt>
                <c:pt idx="15334">
                  <c:v>0.63765167063666095</c:v>
                </c:pt>
                <c:pt idx="15335">
                  <c:v>0.74569517588721401</c:v>
                </c:pt>
                <c:pt idx="15336">
                  <c:v>0.92373037396375901</c:v>
                </c:pt>
                <c:pt idx="15337">
                  <c:v>1.1429604775936699</c:v>
                </c:pt>
                <c:pt idx="15338">
                  <c:v>1.51873122232639</c:v>
                </c:pt>
                <c:pt idx="15339">
                  <c:v>1.5139552232886</c:v>
                </c:pt>
                <c:pt idx="15340">
                  <c:v>1.5421351486935</c:v>
                </c:pt>
                <c:pt idx="15341">
                  <c:v>1.9493082051893991</c:v>
                </c:pt>
                <c:pt idx="15342">
                  <c:v>0.83904231112495997</c:v>
                </c:pt>
                <c:pt idx="15343">
                  <c:v>0.89323593286845104</c:v>
                </c:pt>
                <c:pt idx="15344">
                  <c:v>0.95566853572261601</c:v>
                </c:pt>
                <c:pt idx="15345">
                  <c:v>1.01394200140671</c:v>
                </c:pt>
                <c:pt idx="15346">
                  <c:v>1.0702522279421101</c:v>
                </c:pt>
                <c:pt idx="15347">
                  <c:v>1.10276108520723</c:v>
                </c:pt>
                <c:pt idx="15348">
                  <c:v>1.1246869185127899</c:v>
                </c:pt>
                <c:pt idx="15349">
                  <c:v>1.13020886201076</c:v>
                </c:pt>
                <c:pt idx="15350">
                  <c:v>1.2058070123798901</c:v>
                </c:pt>
                <c:pt idx="15351">
                  <c:v>1.21894305777641</c:v>
                </c:pt>
                <c:pt idx="15352">
                  <c:v>1.16373869739347</c:v>
                </c:pt>
                <c:pt idx="15353">
                  <c:v>1.1064177322186199</c:v>
                </c:pt>
                <c:pt idx="15354">
                  <c:v>1.0329255361088701</c:v>
                </c:pt>
                <c:pt idx="15355">
                  <c:v>1.10509261740609</c:v>
                </c:pt>
                <c:pt idx="15356">
                  <c:v>1.15435262887676</c:v>
                </c:pt>
                <c:pt idx="15357">
                  <c:v>1.2120049871013201</c:v>
                </c:pt>
                <c:pt idx="15358">
                  <c:v>1.21386842347039</c:v>
                </c:pt>
                <c:pt idx="15359">
                  <c:v>1.2016609466922401</c:v>
                </c:pt>
                <c:pt idx="15360">
                  <c:v>1.2328442734888301</c:v>
                </c:pt>
                <c:pt idx="15361">
                  <c:v>1.2083920440731499</c:v>
                </c:pt>
                <c:pt idx="15362">
                  <c:v>1.18378644901425</c:v>
                </c:pt>
                <c:pt idx="15363">
                  <c:v>1.1966751048041899</c:v>
                </c:pt>
                <c:pt idx="15364">
                  <c:v>1.27343829791707</c:v>
                </c:pt>
                <c:pt idx="15365">
                  <c:v>1.34604235385987</c:v>
                </c:pt>
                <c:pt idx="15366">
                  <c:v>1.2080422063046801</c:v>
                </c:pt>
                <c:pt idx="15367">
                  <c:v>0.99178720677701404</c:v>
                </c:pt>
                <c:pt idx="15368">
                  <c:v>0.83305693019656302</c:v>
                </c:pt>
                <c:pt idx="15369">
                  <c:v>0.80238245954844301</c:v>
                </c:pt>
                <c:pt idx="15370">
                  <c:v>0.79038184914305099</c:v>
                </c:pt>
                <c:pt idx="15371">
                  <c:v>0.71794999975703999</c:v>
                </c:pt>
                <c:pt idx="15372">
                  <c:v>0.705312843753371</c:v>
                </c:pt>
                <c:pt idx="15373">
                  <c:v>0.599771704281442</c:v>
                </c:pt>
                <c:pt idx="15374">
                  <c:v>0.359973089328952</c:v>
                </c:pt>
                <c:pt idx="15375">
                  <c:v>0.254157071022166</c:v>
                </c:pt>
                <c:pt idx="15376">
                  <c:v>0.204055902157118</c:v>
                </c:pt>
                <c:pt idx="15377">
                  <c:v>0.17875096985355901</c:v>
                </c:pt>
                <c:pt idx="15378">
                  <c:v>0.149440266023152</c:v>
                </c:pt>
                <c:pt idx="15379">
                  <c:v>0.109814124525743</c:v>
                </c:pt>
                <c:pt idx="15380">
                  <c:v>-1.83294252128792E-2</c:v>
                </c:pt>
                <c:pt idx="15381">
                  <c:v>-7.0200319347811097E-2</c:v>
                </c:pt>
                <c:pt idx="15382">
                  <c:v>-7.0367356383566601E-2</c:v>
                </c:pt>
                <c:pt idx="15383">
                  <c:v>-0.18821880775660399</c:v>
                </c:pt>
                <c:pt idx="15384">
                  <c:v>-0.24007911701478399</c:v>
                </c:pt>
                <c:pt idx="15385">
                  <c:v>9.9568472719332904E-2</c:v>
                </c:pt>
                <c:pt idx="15386">
                  <c:v>4.7861529104374197E-2</c:v>
                </c:pt>
                <c:pt idx="15387">
                  <c:v>-9.0824933893518707E-3</c:v>
                </c:pt>
                <c:pt idx="15388">
                  <c:v>-7.0185653053149402E-2</c:v>
                </c:pt>
                <c:pt idx="15389">
                  <c:v>-0.209519486653613</c:v>
                </c:pt>
                <c:pt idx="15390">
                  <c:v>-0.32413637692205599</c:v>
                </c:pt>
                <c:pt idx="15391">
                  <c:v>-0.35425203566417102</c:v>
                </c:pt>
                <c:pt idx="15392">
                  <c:v>-0.35141176996359103</c:v>
                </c:pt>
                <c:pt idx="15393">
                  <c:v>-0.35681048537368498</c:v>
                </c:pt>
                <c:pt idx="15394">
                  <c:v>-0.370448181894452</c:v>
                </c:pt>
                <c:pt idx="15395">
                  <c:v>-0.420407674073076</c:v>
                </c:pt>
                <c:pt idx="15396">
                  <c:v>-0.51156207180506597</c:v>
                </c:pt>
                <c:pt idx="15397">
                  <c:v>-0.56152156398368902</c:v>
                </c:pt>
                <c:pt idx="15398">
                  <c:v>-0.52909124505557403</c:v>
                </c:pt>
                <c:pt idx="15399">
                  <c:v>-0.57189747586570905</c:v>
                </c:pt>
                <c:pt idx="15400">
                  <c:v>-0.60646472556516995</c:v>
                </c:pt>
                <c:pt idx="15401">
                  <c:v>-0.64103197526462996</c:v>
                </c:pt>
                <c:pt idx="15402">
                  <c:v>-0.57673145163600503</c:v>
                </c:pt>
                <c:pt idx="15403">
                  <c:v>-0.62640529308634396</c:v>
                </c:pt>
                <c:pt idx="15404">
                  <c:v>-0.68431811564735701</c:v>
                </c:pt>
                <c:pt idx="15405">
                  <c:v>-0.66808010821230601</c:v>
                </c:pt>
                <c:pt idx="15406">
                  <c:v>-0.68479802521994904</c:v>
                </c:pt>
                <c:pt idx="15407">
                  <c:v>-0.71109638993805102</c:v>
                </c:pt>
                <c:pt idx="15408">
                  <c:v>-0.76211169798817302</c:v>
                </c:pt>
                <c:pt idx="15409">
                  <c:v>-0.76369311937425299</c:v>
                </c:pt>
                <c:pt idx="15410">
                  <c:v>-0.65816778632157502</c:v>
                </c:pt>
                <c:pt idx="15411">
                  <c:v>-0.70176732717379597</c:v>
                </c:pt>
                <c:pt idx="15412">
                  <c:v>-0.73712788691534403</c:v>
                </c:pt>
                <c:pt idx="15413">
                  <c:v>-0.76424946554621798</c:v>
                </c:pt>
                <c:pt idx="15414">
                  <c:v>-0.75017613862372301</c:v>
                </c:pt>
                <c:pt idx="15415">
                  <c:v>-0.79208913660877001</c:v>
                </c:pt>
                <c:pt idx="15416">
                  <c:v>-0.76809028570842697</c:v>
                </c:pt>
                <c:pt idx="15417">
                  <c:v>-0.75233041591875705</c:v>
                </c:pt>
                <c:pt idx="15418">
                  <c:v>-0.74480952723976201</c:v>
                </c:pt>
                <c:pt idx="15419">
                  <c:v>-0.67865220471380505</c:v>
                </c:pt>
                <c:pt idx="15420">
                  <c:v>-0.60425590107717297</c:v>
                </c:pt>
                <c:pt idx="15421">
                  <c:v>-0.54633755966189002</c:v>
                </c:pt>
                <c:pt idx="15422">
                  <c:v>-0.49665819935728001</c:v>
                </c:pt>
                <c:pt idx="15423">
                  <c:v>-0.539699977367466</c:v>
                </c:pt>
                <c:pt idx="15424">
                  <c:v>-0.59921971759899895</c:v>
                </c:pt>
                <c:pt idx="15425">
                  <c:v>-0.658739457830532</c:v>
                </c:pt>
                <c:pt idx="15426">
                  <c:v>-0.61939142473398001</c:v>
                </c:pt>
                <c:pt idx="15427">
                  <c:v>-0.58317040961812205</c:v>
                </c:pt>
                <c:pt idx="15428">
                  <c:v>-0.49751550783822102</c:v>
                </c:pt>
                <c:pt idx="15429">
                  <c:v>-0.461294492722362</c:v>
                </c:pt>
                <c:pt idx="15430">
                  <c:v>-0.35916162872111401</c:v>
                </c:pt>
                <c:pt idx="15431">
                  <c:v>-8.2868922451298094E-2</c:v>
                </c:pt>
                <c:pt idx="15432">
                  <c:v>0.46123031653014901</c:v>
                </c:pt>
                <c:pt idx="15433">
                  <c:v>0.86934672057074602</c:v>
                </c:pt>
                <c:pt idx="15434">
                  <c:v>1.1621173890619101</c:v>
                </c:pt>
                <c:pt idx="15435">
                  <c:v>1.0224091288100301</c:v>
                </c:pt>
                <c:pt idx="15436">
                  <c:v>0.222115953507876</c:v>
                </c:pt>
                <c:pt idx="15437">
                  <c:v>0.28241843116301002</c:v>
                </c:pt>
                <c:pt idx="15438">
                  <c:v>0.27461316191137403</c:v>
                </c:pt>
                <c:pt idx="15439">
                  <c:v>0.32387252453437299</c:v>
                </c:pt>
                <c:pt idx="15440">
                  <c:v>0.40797697833500302</c:v>
                </c:pt>
                <c:pt idx="15441">
                  <c:v>0.49246223583583099</c:v>
                </c:pt>
                <c:pt idx="15442">
                  <c:v>0.60325209293288795</c:v>
                </c:pt>
                <c:pt idx="15443">
                  <c:v>1.4165431213668001</c:v>
                </c:pt>
                <c:pt idx="15444">
                  <c:v>0.753417663666332</c:v>
                </c:pt>
                <c:pt idx="15445">
                  <c:v>0.79610569384977503</c:v>
                </c:pt>
                <c:pt idx="15446">
                  <c:v>0.82866557618760694</c:v>
                </c:pt>
                <c:pt idx="15447">
                  <c:v>0.79356396184575595</c:v>
                </c:pt>
                <c:pt idx="15448">
                  <c:v>0.71734151436429106</c:v>
                </c:pt>
                <c:pt idx="15449">
                  <c:v>0.77506981107694495</c:v>
                </c:pt>
                <c:pt idx="15450">
                  <c:v>0.81412424754687196</c:v>
                </c:pt>
                <c:pt idx="15451">
                  <c:v>0.75650204182750003</c:v>
                </c:pt>
                <c:pt idx="15452">
                  <c:v>0.69887983610812798</c:v>
                </c:pt>
                <c:pt idx="15453">
                  <c:v>0.73204500906510195</c:v>
                </c:pt>
                <c:pt idx="15454">
                  <c:v>0.67245956419703801</c:v>
                </c:pt>
                <c:pt idx="15455">
                  <c:v>0.72268613700769502</c:v>
                </c:pt>
                <c:pt idx="15456">
                  <c:v>0.76875357264828104</c:v>
                </c:pt>
                <c:pt idx="15457">
                  <c:v>0.64352776442500803</c:v>
                </c:pt>
                <c:pt idx="15458">
                  <c:v>0.51837602861548804</c:v>
                </c:pt>
                <c:pt idx="15459">
                  <c:v>0.56530262774075801</c:v>
                </c:pt>
                <c:pt idx="15460">
                  <c:v>0.53391403888418099</c:v>
                </c:pt>
                <c:pt idx="15461">
                  <c:v>0.57668150083938197</c:v>
                </c:pt>
                <c:pt idx="15462">
                  <c:v>0.66495637116124395</c:v>
                </c:pt>
                <c:pt idx="15463">
                  <c:v>0.60909848314757498</c:v>
                </c:pt>
                <c:pt idx="15464">
                  <c:v>0.63162985552950901</c:v>
                </c:pt>
                <c:pt idx="15465">
                  <c:v>0.67895746447293004</c:v>
                </c:pt>
                <c:pt idx="15466">
                  <c:v>0.66437377524209795</c:v>
                </c:pt>
                <c:pt idx="15467">
                  <c:v>0.60864276712842202</c:v>
                </c:pt>
                <c:pt idx="15468">
                  <c:v>0.44572049053080698</c:v>
                </c:pt>
                <c:pt idx="15469">
                  <c:v>0.34675204448560398</c:v>
                </c:pt>
                <c:pt idx="15470">
                  <c:v>0.299032579425627</c:v>
                </c:pt>
                <c:pt idx="15471">
                  <c:v>0.227008437880865</c:v>
                </c:pt>
                <c:pt idx="15472">
                  <c:v>0.210773218191595</c:v>
                </c:pt>
                <c:pt idx="15473">
                  <c:v>0.19650123765101599</c:v>
                </c:pt>
                <c:pt idx="15474">
                  <c:v>0.19455330297742801</c:v>
                </c:pt>
                <c:pt idx="15475">
                  <c:v>0.18149297857996199</c:v>
                </c:pt>
                <c:pt idx="15476">
                  <c:v>0.178714167671328</c:v>
                </c:pt>
                <c:pt idx="15477">
                  <c:v>0.14509603711191199</c:v>
                </c:pt>
                <c:pt idx="15478">
                  <c:v>0.475369766757611</c:v>
                </c:pt>
                <c:pt idx="15479">
                  <c:v>0.43920814775737399</c:v>
                </c:pt>
                <c:pt idx="15480">
                  <c:v>0.35361264209309401</c:v>
                </c:pt>
                <c:pt idx="15481">
                  <c:v>0.24330019309679199</c:v>
                </c:pt>
                <c:pt idx="15482">
                  <c:v>0.18242163076453299</c:v>
                </c:pt>
                <c:pt idx="15483">
                  <c:v>8.8689886205621002E-2</c:v>
                </c:pt>
                <c:pt idx="15484">
                  <c:v>5.26310094214252E-2</c:v>
                </c:pt>
                <c:pt idx="15485">
                  <c:v>7.4245000411945497E-2</c:v>
                </c:pt>
                <c:pt idx="15486">
                  <c:v>8.7620010291793102E-2</c:v>
                </c:pt>
                <c:pt idx="15487">
                  <c:v>0.137636805039105</c:v>
                </c:pt>
                <c:pt idx="15488">
                  <c:v>0.212370543118439</c:v>
                </c:pt>
                <c:pt idx="15489">
                  <c:v>0.31182122452979399</c:v>
                </c:pt>
                <c:pt idx="15490">
                  <c:v>0.41951088705182299</c:v>
                </c:pt>
                <c:pt idx="15491">
                  <c:v>0.41127190594114899</c:v>
                </c:pt>
                <c:pt idx="15492">
                  <c:v>0.48542273593721402</c:v>
                </c:pt>
                <c:pt idx="15493">
                  <c:v>0.43598884927317</c:v>
                </c:pt>
                <c:pt idx="15494">
                  <c:v>5.0568996028730599E-2</c:v>
                </c:pt>
                <c:pt idx="15495">
                  <c:v>6.12814421816389E-3</c:v>
                </c:pt>
                <c:pt idx="15496">
                  <c:v>-1.35957642603817E-2</c:v>
                </c:pt>
                <c:pt idx="15497">
                  <c:v>-7.4514578292296699E-2</c:v>
                </c:pt>
                <c:pt idx="15498">
                  <c:v>-0.102477467881516</c:v>
                </c:pt>
                <c:pt idx="15499">
                  <c:v>-0.133202662263778</c:v>
                </c:pt>
                <c:pt idx="15500">
                  <c:v>-0.20104291825880599</c:v>
                </c:pt>
                <c:pt idx="15501">
                  <c:v>-0.50151004671547195</c:v>
                </c:pt>
                <c:pt idx="15502">
                  <c:v>-0.419725939673051</c:v>
                </c:pt>
                <c:pt idx="15503">
                  <c:v>-0.37089775707332301</c:v>
                </c:pt>
                <c:pt idx="15504">
                  <c:v>-0.21496282003483799</c:v>
                </c:pt>
                <c:pt idx="15505">
                  <c:v>-0.318732355224981</c:v>
                </c:pt>
                <c:pt idx="15506">
                  <c:v>-0.23300532486962799</c:v>
                </c:pt>
                <c:pt idx="15507">
                  <c:v>-0.40268670894516301</c:v>
                </c:pt>
                <c:pt idx="15508">
                  <c:v>-0.45702235747126402</c:v>
                </c:pt>
                <c:pt idx="15509">
                  <c:v>-0.38599122672309</c:v>
                </c:pt>
                <c:pt idx="15510">
                  <c:v>-0.199614360425484</c:v>
                </c:pt>
                <c:pt idx="15511">
                  <c:v>-8.3937584713311697E-4</c:v>
                </c:pt>
                <c:pt idx="15512">
                  <c:v>0.16905952822912601</c:v>
                </c:pt>
                <c:pt idx="15513">
                  <c:v>0.18564873293290399</c:v>
                </c:pt>
                <c:pt idx="15514">
                  <c:v>0.47412431428891699</c:v>
                </c:pt>
                <c:pt idx="15515">
                  <c:v>0.25178306678315598</c:v>
                </c:pt>
                <c:pt idx="15516">
                  <c:v>-0.295694133899847</c:v>
                </c:pt>
                <c:pt idx="15517">
                  <c:v>-0.13586045739347899</c:v>
                </c:pt>
                <c:pt idx="15518">
                  <c:v>-3.1810481926889699E-2</c:v>
                </c:pt>
                <c:pt idx="15519">
                  <c:v>-1.9165572720779001E-3</c:v>
                </c:pt>
                <c:pt idx="15520">
                  <c:v>1.9812458685814299E-2</c:v>
                </c:pt>
                <c:pt idx="15521">
                  <c:v>8.1516797700690799E-2</c:v>
                </c:pt>
                <c:pt idx="15522">
                  <c:v>0.167710641990614</c:v>
                </c:pt>
                <c:pt idx="15523">
                  <c:v>0.21089448640598499</c:v>
                </c:pt>
                <c:pt idx="15524">
                  <c:v>1.2519168604344</c:v>
                </c:pt>
                <c:pt idx="15525">
                  <c:v>1.2827188738623401</c:v>
                </c:pt>
                <c:pt idx="15526">
                  <c:v>0.474889435362497</c:v>
                </c:pt>
                <c:pt idx="15527">
                  <c:v>0.448171946658937</c:v>
                </c:pt>
                <c:pt idx="15528">
                  <c:v>0.443980724081732</c:v>
                </c:pt>
                <c:pt idx="15529">
                  <c:v>0.43312770651212101</c:v>
                </c:pt>
                <c:pt idx="15530">
                  <c:v>0.48387925583032099</c:v>
                </c:pt>
                <c:pt idx="15531">
                  <c:v>0.505908090289651</c:v>
                </c:pt>
                <c:pt idx="15532">
                  <c:v>0.53390593542452103</c:v>
                </c:pt>
                <c:pt idx="15533">
                  <c:v>0.53674449976778305</c:v>
                </c:pt>
                <c:pt idx="15534">
                  <c:v>0.45249472567510501</c:v>
                </c:pt>
                <c:pt idx="15535">
                  <c:v>0.35630693023134702</c:v>
                </c:pt>
                <c:pt idx="15536">
                  <c:v>0.33835502953996999</c:v>
                </c:pt>
                <c:pt idx="15537">
                  <c:v>0.28034428541305001</c:v>
                </c:pt>
                <c:pt idx="15538">
                  <c:v>0.22452943930750999</c:v>
                </c:pt>
                <c:pt idx="15539">
                  <c:v>0.17702764672639701</c:v>
                </c:pt>
                <c:pt idx="15540">
                  <c:v>0.16672020898751799</c:v>
                </c:pt>
                <c:pt idx="15541">
                  <c:v>0.123790705314411</c:v>
                </c:pt>
                <c:pt idx="15542">
                  <c:v>0.13014694347783901</c:v>
                </c:pt>
                <c:pt idx="15543">
                  <c:v>0.117755248984785</c:v>
                </c:pt>
                <c:pt idx="15544">
                  <c:v>-9.4499038587778098E-2</c:v>
                </c:pt>
                <c:pt idx="15545">
                  <c:v>-0.38244994121875198</c:v>
                </c:pt>
                <c:pt idx="15546">
                  <c:v>-0.53622788241434605</c:v>
                </c:pt>
                <c:pt idx="15547">
                  <c:v>-0.57677147203670498</c:v>
                </c:pt>
                <c:pt idx="15548">
                  <c:v>-0.57611493528998203</c:v>
                </c:pt>
                <c:pt idx="15549">
                  <c:v>-0.11351622351693801</c:v>
                </c:pt>
                <c:pt idx="15550">
                  <c:v>-0.17197913807183601</c:v>
                </c:pt>
                <c:pt idx="15551">
                  <c:v>-0.18924714707336501</c:v>
                </c:pt>
                <c:pt idx="15552">
                  <c:v>-0.11588636385748199</c:v>
                </c:pt>
                <c:pt idx="15553">
                  <c:v>-0.13392610244396599</c:v>
                </c:pt>
                <c:pt idx="15554">
                  <c:v>-9.4292973255733104E-2</c:v>
                </c:pt>
                <c:pt idx="15555">
                  <c:v>-9.5854749620869095E-2</c:v>
                </c:pt>
                <c:pt idx="15556">
                  <c:v>-0.10565550709667899</c:v>
                </c:pt>
                <c:pt idx="15557">
                  <c:v>6.3715691799735401E-3</c:v>
                </c:pt>
                <c:pt idx="15558">
                  <c:v>-0.10405384453156601</c:v>
                </c:pt>
                <c:pt idx="15559">
                  <c:v>-0.11153164097441701</c:v>
                </c:pt>
                <c:pt idx="15560">
                  <c:v>-0.14780622468989199</c:v>
                </c:pt>
                <c:pt idx="15561">
                  <c:v>-2.0025971172513202E-2</c:v>
                </c:pt>
                <c:pt idx="15562">
                  <c:v>-8.1821576430097798E-2</c:v>
                </c:pt>
                <c:pt idx="15563">
                  <c:v>-3.4752095767608998E-3</c:v>
                </c:pt>
                <c:pt idx="15564">
                  <c:v>-8.1748777055693306E-2</c:v>
                </c:pt>
                <c:pt idx="15565">
                  <c:v>-9.3246257339566804E-2</c:v>
                </c:pt>
                <c:pt idx="15566">
                  <c:v>-0.10474373762344</c:v>
                </c:pt>
                <c:pt idx="15567">
                  <c:v>-0.19039204790337799</c:v>
                </c:pt>
                <c:pt idx="15568">
                  <c:v>-0.25956239596196801</c:v>
                </c:pt>
                <c:pt idx="15569">
                  <c:v>-0.28037056769639102</c:v>
                </c:pt>
                <c:pt idx="15570">
                  <c:v>-0.16111606054936001</c:v>
                </c:pt>
                <c:pt idx="15571">
                  <c:v>-0.30550894894388902</c:v>
                </c:pt>
                <c:pt idx="15572">
                  <c:v>-0.359273045121007</c:v>
                </c:pt>
                <c:pt idx="15573">
                  <c:v>-0.40659035650946701</c:v>
                </c:pt>
                <c:pt idx="15574">
                  <c:v>-0.38799581901253699</c:v>
                </c:pt>
                <c:pt idx="15575">
                  <c:v>-0.44355211151167101</c:v>
                </c:pt>
                <c:pt idx="15576">
                  <c:v>-0.45791349845743601</c:v>
                </c:pt>
                <c:pt idx="15577">
                  <c:v>-0.45272063873005203</c:v>
                </c:pt>
                <c:pt idx="15578">
                  <c:v>-0.348660005674582</c:v>
                </c:pt>
                <c:pt idx="15579">
                  <c:v>-0.36818408927921897</c:v>
                </c:pt>
                <c:pt idx="15580">
                  <c:v>-0.35475224844116099</c:v>
                </c:pt>
                <c:pt idx="15581">
                  <c:v>-0.35904648166598402</c:v>
                </c:pt>
                <c:pt idx="15582">
                  <c:v>-0.165605168234638</c:v>
                </c:pt>
                <c:pt idx="15583">
                  <c:v>-0.15342143923811299</c:v>
                </c:pt>
                <c:pt idx="15584">
                  <c:v>-0.281300389123043</c:v>
                </c:pt>
                <c:pt idx="15585">
                  <c:v>-0.31946820038573298</c:v>
                </c:pt>
                <c:pt idx="15586">
                  <c:v>-0.332919068316402</c:v>
                </c:pt>
                <c:pt idx="15587">
                  <c:v>-0.313414011804376</c:v>
                </c:pt>
                <c:pt idx="15588">
                  <c:v>-0.30214793640302401</c:v>
                </c:pt>
                <c:pt idx="15589">
                  <c:v>-0.21164934861909901</c:v>
                </c:pt>
                <c:pt idx="15590">
                  <c:v>-0.17058464749921701</c:v>
                </c:pt>
                <c:pt idx="15591">
                  <c:v>-0.12128096526866</c:v>
                </c:pt>
                <c:pt idx="15592">
                  <c:v>-3.9021358595409103E-2</c:v>
                </c:pt>
                <c:pt idx="15593">
                  <c:v>-2.8908461897959301E-2</c:v>
                </c:pt>
                <c:pt idx="15594">
                  <c:v>-2.31760297916234E-3</c:v>
                </c:pt>
                <c:pt idx="15595">
                  <c:v>0.18905287815311</c:v>
                </c:pt>
                <c:pt idx="15596">
                  <c:v>0.108536982633148</c:v>
                </c:pt>
                <c:pt idx="15597">
                  <c:v>0.19915921571860001</c:v>
                </c:pt>
                <c:pt idx="15598">
                  <c:v>0.29802042991472699</c:v>
                </c:pt>
                <c:pt idx="15599">
                  <c:v>0.41335960633220098</c:v>
                </c:pt>
                <c:pt idx="15600">
                  <c:v>0.61932757496708601</c:v>
                </c:pt>
                <c:pt idx="15601">
                  <c:v>0.59041573281085902</c:v>
                </c:pt>
                <c:pt idx="15602">
                  <c:v>0.53678694732261101</c:v>
                </c:pt>
                <c:pt idx="15603">
                  <c:v>0.50787510516638301</c:v>
                </c:pt>
                <c:pt idx="15604">
                  <c:v>0.49544122523150402</c:v>
                </c:pt>
                <c:pt idx="15605">
                  <c:v>0.47296206335654301</c:v>
                </c:pt>
                <c:pt idx="15606">
                  <c:v>0.40928799592821402</c:v>
                </c:pt>
                <c:pt idx="15607">
                  <c:v>0.386808834053253</c:v>
                </c:pt>
                <c:pt idx="15608">
                  <c:v>0.35609069106761898</c:v>
                </c:pt>
                <c:pt idx="15609">
                  <c:v>0.48539240635853698</c:v>
                </c:pt>
                <c:pt idx="15610">
                  <c:v>0.58997717831743401</c:v>
                </c:pt>
                <c:pt idx="15611">
                  <c:v>0.70280093138700295</c:v>
                </c:pt>
                <c:pt idx="15612">
                  <c:v>0.78266876001387797</c:v>
                </c:pt>
                <c:pt idx="15613">
                  <c:v>0.77702429679857499</c:v>
                </c:pt>
                <c:pt idx="15614">
                  <c:v>0.82905270135798703</c:v>
                </c:pt>
                <c:pt idx="15615">
                  <c:v>0.79045231369998803</c:v>
                </c:pt>
                <c:pt idx="15616">
                  <c:v>0.73953310099071301</c:v>
                </c:pt>
                <c:pt idx="15617">
                  <c:v>0.79120611054038403</c:v>
                </c:pt>
                <c:pt idx="15618">
                  <c:v>0.80168421453668703</c:v>
                </c:pt>
                <c:pt idx="15619">
                  <c:v>0.94398601630377099</c:v>
                </c:pt>
                <c:pt idx="15620">
                  <c:v>1.08628781807085</c:v>
                </c:pt>
                <c:pt idx="15621">
                  <c:v>0.97185229743679602</c:v>
                </c:pt>
                <c:pt idx="15622">
                  <c:v>1.02219639901621</c:v>
                </c:pt>
                <c:pt idx="15623">
                  <c:v>1.0725405005956301</c:v>
                </c:pt>
                <c:pt idx="15624">
                  <c:v>1.073450715511</c:v>
                </c:pt>
                <c:pt idx="15625">
                  <c:v>1.1611105310662699</c:v>
                </c:pt>
                <c:pt idx="15626">
                  <c:v>1.2982042332855801</c:v>
                </c:pt>
                <c:pt idx="15627">
                  <c:v>1.5176877466116301</c:v>
                </c:pt>
                <c:pt idx="15628">
                  <c:v>0.97692384758978601</c:v>
                </c:pt>
                <c:pt idx="15629">
                  <c:v>0.94348223164907297</c:v>
                </c:pt>
                <c:pt idx="15630">
                  <c:v>0.95078064514777805</c:v>
                </c:pt>
                <c:pt idx="15631">
                  <c:v>0.95845986234667901</c:v>
                </c:pt>
                <c:pt idx="15632">
                  <c:v>0.95177772211614498</c:v>
                </c:pt>
                <c:pt idx="15633">
                  <c:v>0.99159833985850299</c:v>
                </c:pt>
                <c:pt idx="15634">
                  <c:v>1.08736124509957</c:v>
                </c:pt>
                <c:pt idx="15635">
                  <c:v>1.19136313145132</c:v>
                </c:pt>
                <c:pt idx="15636">
                  <c:v>1.19256554536188</c:v>
                </c:pt>
                <c:pt idx="15637">
                  <c:v>1.2701499618016601</c:v>
                </c:pt>
                <c:pt idx="15638">
                  <c:v>1.11098416160614</c:v>
                </c:pt>
                <c:pt idx="15639">
                  <c:v>0.98069444191271404</c:v>
                </c:pt>
                <c:pt idx="15640">
                  <c:v>1.0608555600740699</c:v>
                </c:pt>
                <c:pt idx="15641">
                  <c:v>1.0699834057267199</c:v>
                </c:pt>
                <c:pt idx="15642">
                  <c:v>1.0960187963172101</c:v>
                </c:pt>
                <c:pt idx="15643">
                  <c:v>0.958570341438021</c:v>
                </c:pt>
                <c:pt idx="15644">
                  <c:v>0.96412199828030598</c:v>
                </c:pt>
                <c:pt idx="15645">
                  <c:v>0.82897749943419596</c:v>
                </c:pt>
                <c:pt idx="15646">
                  <c:v>0.734033639868373</c:v>
                </c:pt>
                <c:pt idx="15647">
                  <c:v>0.60439805476813901</c:v>
                </c:pt>
                <c:pt idx="15648">
                  <c:v>0.52019580562081302</c:v>
                </c:pt>
                <c:pt idx="15649">
                  <c:v>0.51629387119972403</c:v>
                </c:pt>
                <c:pt idx="15650">
                  <c:v>0.46719125969841602</c:v>
                </c:pt>
                <c:pt idx="15651">
                  <c:v>0.43056083889160801</c:v>
                </c:pt>
                <c:pt idx="15652">
                  <c:v>0.379569060655363</c:v>
                </c:pt>
                <c:pt idx="15653">
                  <c:v>0.31510032491094903</c:v>
                </c:pt>
                <c:pt idx="15654">
                  <c:v>0.18063467552482901</c:v>
                </c:pt>
                <c:pt idx="15655">
                  <c:v>0.18004047710335999</c:v>
                </c:pt>
                <c:pt idx="15656">
                  <c:v>1.2618903274544501E-2</c:v>
                </c:pt>
                <c:pt idx="15657">
                  <c:v>0.34691378477683898</c:v>
                </c:pt>
                <c:pt idx="15658">
                  <c:v>0.24889710706509199</c:v>
                </c:pt>
                <c:pt idx="15659">
                  <c:v>0.24150922157075599</c:v>
                </c:pt>
                <c:pt idx="15660">
                  <c:v>0.23412133607641999</c:v>
                </c:pt>
                <c:pt idx="15661">
                  <c:v>0.30664933308490999</c:v>
                </c:pt>
                <c:pt idx="15662">
                  <c:v>0.28030955676531499</c:v>
                </c:pt>
                <c:pt idx="15663">
                  <c:v>0.32812061044178298</c:v>
                </c:pt>
                <c:pt idx="15664">
                  <c:v>0.26058592856881901</c:v>
                </c:pt>
                <c:pt idx="15665">
                  <c:v>0.17602608143109999</c:v>
                </c:pt>
                <c:pt idx="15666">
                  <c:v>0.124422158736076</c:v>
                </c:pt>
                <c:pt idx="15667">
                  <c:v>0.15520804714778899</c:v>
                </c:pt>
                <c:pt idx="15668">
                  <c:v>4.5931256678049301E-2</c:v>
                </c:pt>
                <c:pt idx="15669">
                  <c:v>-1.82304640131036E-2</c:v>
                </c:pt>
                <c:pt idx="15670">
                  <c:v>2.4793862963969699E-2</c:v>
                </c:pt>
                <c:pt idx="15671">
                  <c:v>-8.8801744391225804E-2</c:v>
                </c:pt>
                <c:pt idx="15672">
                  <c:v>-0.18999923346567699</c:v>
                </c:pt>
                <c:pt idx="15673">
                  <c:v>-0.13056730063871899</c:v>
                </c:pt>
                <c:pt idx="15674">
                  <c:v>-0.21119804669321601</c:v>
                </c:pt>
                <c:pt idx="15675">
                  <c:v>-0.225916943862322</c:v>
                </c:pt>
                <c:pt idx="15676">
                  <c:v>-0.23239685992075401</c:v>
                </c:pt>
                <c:pt idx="15677">
                  <c:v>-0.19087619339854001</c:v>
                </c:pt>
                <c:pt idx="15678">
                  <c:v>-0.198789413540368</c:v>
                </c:pt>
                <c:pt idx="15679">
                  <c:v>-0.20670263368219499</c:v>
                </c:pt>
                <c:pt idx="15680">
                  <c:v>-0.247571778266717</c:v>
                </c:pt>
                <c:pt idx="15681">
                  <c:v>-0.175312603196008</c:v>
                </c:pt>
                <c:pt idx="15682">
                  <c:v>-0.24311610700675201</c:v>
                </c:pt>
                <c:pt idx="15683">
                  <c:v>-0.253246743042781</c:v>
                </c:pt>
                <c:pt idx="15684">
                  <c:v>-0.25513839796813498</c:v>
                </c:pt>
                <c:pt idx="15685">
                  <c:v>-0.25632393978464502</c:v>
                </c:pt>
                <c:pt idx="15686">
                  <c:v>-0.199836613826438</c:v>
                </c:pt>
                <c:pt idx="15687">
                  <c:v>-0.20926113675361999</c:v>
                </c:pt>
                <c:pt idx="15688">
                  <c:v>-0.25988056523417202</c:v>
                </c:pt>
                <c:pt idx="15689">
                  <c:v>-0.244326017266948</c:v>
                </c:pt>
                <c:pt idx="15690">
                  <c:v>-0.18757656374635601</c:v>
                </c:pt>
                <c:pt idx="15691">
                  <c:v>-2.3720355787004498E-2</c:v>
                </c:pt>
                <c:pt idx="15692">
                  <c:v>3.3029097733587899E-2</c:v>
                </c:pt>
                <c:pt idx="15693">
                  <c:v>0.17320000601553801</c:v>
                </c:pt>
                <c:pt idx="15694">
                  <c:v>0.198025178748055</c:v>
                </c:pt>
                <c:pt idx="15695">
                  <c:v>0.25580627592326699</c:v>
                </c:pt>
                <c:pt idx="15696">
                  <c:v>0.33006533531982701</c:v>
                </c:pt>
                <c:pt idx="15697">
                  <c:v>0.31956404196469401</c:v>
                </c:pt>
                <c:pt idx="15698">
                  <c:v>0.30906274860956001</c:v>
                </c:pt>
                <c:pt idx="15699">
                  <c:v>0.29856145525442701</c:v>
                </c:pt>
                <c:pt idx="15700">
                  <c:v>0.30453812412064102</c:v>
                </c:pt>
                <c:pt idx="15701">
                  <c:v>0.28394274377939199</c:v>
                </c:pt>
                <c:pt idx="15702">
                  <c:v>0.60114558897576598</c:v>
                </c:pt>
                <c:pt idx="15703">
                  <c:v>0.81540081690345301</c:v>
                </c:pt>
                <c:pt idx="15704">
                  <c:v>1.0337358887717401</c:v>
                </c:pt>
                <c:pt idx="15705">
                  <c:v>1.1553569140812601</c:v>
                </c:pt>
                <c:pt idx="15706">
                  <c:v>1.21930507161607</c:v>
                </c:pt>
                <c:pt idx="15707">
                  <c:v>1.28325322915087</c:v>
                </c:pt>
                <c:pt idx="15708">
                  <c:v>1.3060064811323</c:v>
                </c:pt>
                <c:pt idx="15709">
                  <c:v>1.3945584518113401</c:v>
                </c:pt>
                <c:pt idx="15710">
                  <c:v>1.4419155169369999</c:v>
                </c:pt>
                <c:pt idx="15711">
                  <c:v>1.49751156317334</c:v>
                </c:pt>
                <c:pt idx="15712">
                  <c:v>1.7343651938444999</c:v>
                </c:pt>
                <c:pt idx="15713">
                  <c:v>1.6678740862527199</c:v>
                </c:pt>
                <c:pt idx="15714">
                  <c:v>1.9144642608665501</c:v>
                </c:pt>
                <c:pt idx="15715">
                  <c:v>1.9715578699348799</c:v>
                </c:pt>
                <c:pt idx="15716">
                  <c:v>1.8638718567897401</c:v>
                </c:pt>
                <c:pt idx="15717">
                  <c:v>1.97341258708873</c:v>
                </c:pt>
                <c:pt idx="15718">
                  <c:v>0.95556628125474197</c:v>
                </c:pt>
                <c:pt idx="15719">
                  <c:v>1.0510576062264501</c:v>
                </c:pt>
                <c:pt idx="15720">
                  <c:v>1.16726532381905</c:v>
                </c:pt>
                <c:pt idx="15721">
                  <c:v>1.2804801951446001</c:v>
                </c:pt>
                <c:pt idx="15722">
                  <c:v>1.3032144190802499</c:v>
                </c:pt>
                <c:pt idx="15723">
                  <c:v>1.2743188583304701</c:v>
                </c:pt>
                <c:pt idx="15724">
                  <c:v>1.1934867816088299</c:v>
                </c:pt>
                <c:pt idx="15725">
                  <c:v>1.14384282146927</c:v>
                </c:pt>
                <c:pt idx="15726">
                  <c:v>1.06894774865427</c:v>
                </c:pt>
                <c:pt idx="15727">
                  <c:v>0.81248313930228799</c:v>
                </c:pt>
                <c:pt idx="15728">
                  <c:v>0.58361368547463599</c:v>
                </c:pt>
                <c:pt idx="15729">
                  <c:v>0.50191532373176395</c:v>
                </c:pt>
                <c:pt idx="15730">
                  <c:v>0.51947075983288804</c:v>
                </c:pt>
                <c:pt idx="15731">
                  <c:v>0.56552147273590703</c:v>
                </c:pt>
                <c:pt idx="15732">
                  <c:v>0.520938172605801</c:v>
                </c:pt>
                <c:pt idx="15733">
                  <c:v>0.56015173253033301</c:v>
                </c:pt>
                <c:pt idx="15734">
                  <c:v>0.59331698854985604</c:v>
                </c:pt>
                <c:pt idx="15735">
                  <c:v>0.56789962456676302</c:v>
                </c:pt>
                <c:pt idx="15736">
                  <c:v>0.41337296773054599</c:v>
                </c:pt>
                <c:pt idx="15737">
                  <c:v>0.22001001523886601</c:v>
                </c:pt>
                <c:pt idx="15738">
                  <c:v>0.14834261267235399</c:v>
                </c:pt>
                <c:pt idx="15739">
                  <c:v>7.0780271844056095E-2</c:v>
                </c:pt>
                <c:pt idx="15740">
                  <c:v>0.139487500261155</c:v>
                </c:pt>
                <c:pt idx="15741">
                  <c:v>0.35310775083429902</c:v>
                </c:pt>
                <c:pt idx="15742">
                  <c:v>0.78018593438137895</c:v>
                </c:pt>
                <c:pt idx="15743">
                  <c:v>0.69303328616877002</c:v>
                </c:pt>
                <c:pt idx="15744">
                  <c:v>0.46581795907470702</c:v>
                </c:pt>
                <c:pt idx="15745">
                  <c:v>0.35499875942054498</c:v>
                </c:pt>
                <c:pt idx="15746">
                  <c:v>0.30185242754109998</c:v>
                </c:pt>
                <c:pt idx="15747">
                  <c:v>0.22398915232963401</c:v>
                </c:pt>
                <c:pt idx="15748">
                  <c:v>0.116443505783192</c:v>
                </c:pt>
                <c:pt idx="15749">
                  <c:v>0.16091196444427999</c:v>
                </c:pt>
                <c:pt idx="15750">
                  <c:v>0.122990611998632</c:v>
                </c:pt>
                <c:pt idx="15751">
                  <c:v>-4.2674594277194999E-2</c:v>
                </c:pt>
                <c:pt idx="15752">
                  <c:v>-7.3079814357441306E-2</c:v>
                </c:pt>
                <c:pt idx="15753">
                  <c:v>-0.13644095888038299</c:v>
                </c:pt>
                <c:pt idx="15754">
                  <c:v>-0.158607197849956</c:v>
                </c:pt>
                <c:pt idx="15755">
                  <c:v>-0.14781751237683399</c:v>
                </c:pt>
                <c:pt idx="15756">
                  <c:v>-0.16143419549663299</c:v>
                </c:pt>
                <c:pt idx="15757">
                  <c:v>-0.17505087861643301</c:v>
                </c:pt>
                <c:pt idx="15758">
                  <c:v>-0.229862467289602</c:v>
                </c:pt>
                <c:pt idx="15759">
                  <c:v>-0.27643507485209801</c:v>
                </c:pt>
                <c:pt idx="15760">
                  <c:v>-0.294633392694711</c:v>
                </c:pt>
                <c:pt idx="15761">
                  <c:v>-0.33754865386934502</c:v>
                </c:pt>
                <c:pt idx="15762">
                  <c:v>-0.38870289615465198</c:v>
                </c:pt>
                <c:pt idx="15763">
                  <c:v>-0.29979445955850698</c:v>
                </c:pt>
                <c:pt idx="15764">
                  <c:v>-0.431284782109498</c:v>
                </c:pt>
                <c:pt idx="15765">
                  <c:v>-0.46390733133240403</c:v>
                </c:pt>
                <c:pt idx="15766">
                  <c:v>-0.45533497500194198</c:v>
                </c:pt>
                <c:pt idx="15767">
                  <c:v>-0.479718543114174</c:v>
                </c:pt>
                <c:pt idx="15768">
                  <c:v>-0.45084842544120501</c:v>
                </c:pt>
                <c:pt idx="15769">
                  <c:v>-0.471412194432279</c:v>
                </c:pt>
                <c:pt idx="15770">
                  <c:v>-0.45078105786998302</c:v>
                </c:pt>
                <c:pt idx="15771">
                  <c:v>-0.43838890241836198</c:v>
                </c:pt>
                <c:pt idx="15772">
                  <c:v>-0.456509295321122</c:v>
                </c:pt>
                <c:pt idx="15773">
                  <c:v>-0.45815172600253401</c:v>
                </c:pt>
                <c:pt idx="15774">
                  <c:v>-0.44331619446259801</c:v>
                </c:pt>
                <c:pt idx="15775">
                  <c:v>-0.46143658736535798</c:v>
                </c:pt>
                <c:pt idx="15776">
                  <c:v>-0.41328294267905702</c:v>
                </c:pt>
                <c:pt idx="15777">
                  <c:v>-0.39808522243545102</c:v>
                </c:pt>
                <c:pt idx="15778">
                  <c:v>-0.35817055885982502</c:v>
                </c:pt>
                <c:pt idx="15779">
                  <c:v>-0.34297283861621902</c:v>
                </c:pt>
                <c:pt idx="15780">
                  <c:v>-0.32884821569521999</c:v>
                </c:pt>
                <c:pt idx="15781">
                  <c:v>-0.34767951721691698</c:v>
                </c:pt>
                <c:pt idx="15782">
                  <c:v>-0.38298878095996097</c:v>
                </c:pt>
                <c:pt idx="15783">
                  <c:v>-0.38534212026031001</c:v>
                </c:pt>
                <c:pt idx="15784">
                  <c:v>-0.32071365718008399</c:v>
                </c:pt>
                <c:pt idx="15785">
                  <c:v>-0.26432417521053198</c:v>
                </c:pt>
                <c:pt idx="15786">
                  <c:v>-0.20793469324098099</c:v>
                </c:pt>
                <c:pt idx="15787">
                  <c:v>-0.151545211271429</c:v>
                </c:pt>
                <c:pt idx="15788">
                  <c:v>8.4717570947510604E-2</c:v>
                </c:pt>
                <c:pt idx="15789">
                  <c:v>0.14796174984230201</c:v>
                </c:pt>
                <c:pt idx="15790">
                  <c:v>0.21944490984776699</c:v>
                </c:pt>
                <c:pt idx="15791">
                  <c:v>0.31564501318525201</c:v>
                </c:pt>
                <c:pt idx="15792">
                  <c:v>0.30903622307085699</c:v>
                </c:pt>
                <c:pt idx="15793">
                  <c:v>0.29418845184578801</c:v>
                </c:pt>
                <c:pt idx="15794">
                  <c:v>0.28757966173139299</c:v>
                </c:pt>
                <c:pt idx="15795">
                  <c:v>0.33864373939171399</c:v>
                </c:pt>
                <c:pt idx="15796">
                  <c:v>0.39942654745607198</c:v>
                </c:pt>
                <c:pt idx="15797">
                  <c:v>0.64970592106592695</c:v>
                </c:pt>
                <c:pt idx="15798">
                  <c:v>0.77640057801567397</c:v>
                </c:pt>
                <c:pt idx="15799">
                  <c:v>0.96492723991021001</c:v>
                </c:pt>
                <c:pt idx="15800">
                  <c:v>1.25079971235626</c:v>
                </c:pt>
                <c:pt idx="15801">
                  <c:v>0.44484567058702801</c:v>
                </c:pt>
                <c:pt idx="15802">
                  <c:v>0.58045846470797202</c:v>
                </c:pt>
                <c:pt idx="15803">
                  <c:v>0.666706223762914</c:v>
                </c:pt>
                <c:pt idx="15804">
                  <c:v>0.77297706835412805</c:v>
                </c:pt>
                <c:pt idx="15805">
                  <c:v>0.88537028926410399</c:v>
                </c:pt>
                <c:pt idx="15806">
                  <c:v>0.99995418737974495</c:v>
                </c:pt>
                <c:pt idx="15807">
                  <c:v>1.09193774695528</c:v>
                </c:pt>
                <c:pt idx="15808">
                  <c:v>1.09387660608304</c:v>
                </c:pt>
                <c:pt idx="15809">
                  <c:v>2.1411246423392098</c:v>
                </c:pt>
                <c:pt idx="15810">
                  <c:v>1.0936692595822599</c:v>
                </c:pt>
                <c:pt idx="15811">
                  <c:v>1.1184358953071101</c:v>
                </c:pt>
                <c:pt idx="15812">
                  <c:v>1.1857727398678199</c:v>
                </c:pt>
                <c:pt idx="15813">
                  <c:v>1.1624755713954</c:v>
                </c:pt>
                <c:pt idx="15814">
                  <c:v>1.10856652132917</c:v>
                </c:pt>
                <c:pt idx="15815">
                  <c:v>1.14513811865285</c:v>
                </c:pt>
                <c:pt idx="15816">
                  <c:v>1.1417034288122001</c:v>
                </c:pt>
                <c:pt idx="15817">
                  <c:v>1.1032702821506899</c:v>
                </c:pt>
                <c:pt idx="15818">
                  <c:v>1.0649905011324099</c:v>
                </c:pt>
                <c:pt idx="15819">
                  <c:v>1.00819022551462</c:v>
                </c:pt>
                <c:pt idx="15820">
                  <c:v>0.99624261025540795</c:v>
                </c:pt>
                <c:pt idx="15821">
                  <c:v>0.99880971806885699</c:v>
                </c:pt>
                <c:pt idx="15822">
                  <c:v>1.0434178528812501</c:v>
                </c:pt>
                <c:pt idx="15823">
                  <c:v>1.1448579548385001</c:v>
                </c:pt>
                <c:pt idx="15824">
                  <c:v>1.0399022034501899</c:v>
                </c:pt>
                <c:pt idx="15825">
                  <c:v>1.02234152178426</c:v>
                </c:pt>
                <c:pt idx="15826">
                  <c:v>1.09503404945126</c:v>
                </c:pt>
                <c:pt idx="15827">
                  <c:v>1.0275000909621499</c:v>
                </c:pt>
                <c:pt idx="15828">
                  <c:v>1.0780546068026</c:v>
                </c:pt>
                <c:pt idx="15829">
                  <c:v>1.1078186576084199</c:v>
                </c:pt>
                <c:pt idx="15830">
                  <c:v>1.0284282007815999</c:v>
                </c:pt>
                <c:pt idx="15831">
                  <c:v>1.1017364208053799</c:v>
                </c:pt>
                <c:pt idx="15832">
                  <c:v>1.1981470678399</c:v>
                </c:pt>
                <c:pt idx="15833">
                  <c:v>1.09430909727899</c:v>
                </c:pt>
                <c:pt idx="15834">
                  <c:v>1.0195005728634099</c:v>
                </c:pt>
                <c:pt idx="15835">
                  <c:v>0.97742053483353497</c:v>
                </c:pt>
                <c:pt idx="15836">
                  <c:v>0.82754352080277804</c:v>
                </c:pt>
                <c:pt idx="15837">
                  <c:v>0.88168823702160004</c:v>
                </c:pt>
                <c:pt idx="15838">
                  <c:v>0.90484026794641903</c:v>
                </c:pt>
                <c:pt idx="15839">
                  <c:v>0.76243540681022803</c:v>
                </c:pt>
                <c:pt idx="15840">
                  <c:v>0.60884524692326003</c:v>
                </c:pt>
                <c:pt idx="15841">
                  <c:v>0.50892740409987103</c:v>
                </c:pt>
                <c:pt idx="15842">
                  <c:v>0.46252851269684198</c:v>
                </c:pt>
                <c:pt idx="15843">
                  <c:v>0.38128453011618102</c:v>
                </c:pt>
                <c:pt idx="15844">
                  <c:v>0.31032439095047898</c:v>
                </c:pt>
                <c:pt idx="15845">
                  <c:v>0.156895147448572</c:v>
                </c:pt>
                <c:pt idx="15846">
                  <c:v>6.12921373646034E-2</c:v>
                </c:pt>
                <c:pt idx="15847">
                  <c:v>-1.98702220604631E-2</c:v>
                </c:pt>
                <c:pt idx="15848">
                  <c:v>-7.4711889560122605E-2</c:v>
                </c:pt>
                <c:pt idx="15849">
                  <c:v>-0.12940019141656001</c:v>
                </c:pt>
                <c:pt idx="15850">
                  <c:v>-7.4859913226613894E-2</c:v>
                </c:pt>
                <c:pt idx="15851">
                  <c:v>0.15446168413886199</c:v>
                </c:pt>
                <c:pt idx="15852">
                  <c:v>6.8234531114517397E-2</c:v>
                </c:pt>
                <c:pt idx="15853">
                  <c:v>5.6158208086235999E-2</c:v>
                </c:pt>
                <c:pt idx="15854">
                  <c:v>-4.6546907159457397E-2</c:v>
                </c:pt>
                <c:pt idx="15855">
                  <c:v>-9.1579154630433104E-2</c:v>
                </c:pt>
                <c:pt idx="15856">
                  <c:v>-0.10477096770578299</c:v>
                </c:pt>
                <c:pt idx="15857">
                  <c:v>-0.159157686334501</c:v>
                </c:pt>
                <c:pt idx="15858">
                  <c:v>-0.25473931051658699</c:v>
                </c:pt>
                <c:pt idx="15859">
                  <c:v>-0.53003866089180696</c:v>
                </c:pt>
                <c:pt idx="15860">
                  <c:v>-0.22511210270320101</c:v>
                </c:pt>
                <c:pt idx="15861">
                  <c:v>-0.37178964735996201</c:v>
                </c:pt>
                <c:pt idx="15862">
                  <c:v>-0.63643220649453702</c:v>
                </c:pt>
                <c:pt idx="15863">
                  <c:v>-0.67396046433438095</c:v>
                </c:pt>
                <c:pt idx="15864">
                  <c:v>-0.64088029938914903</c:v>
                </c:pt>
                <c:pt idx="15865">
                  <c:v>-0.63455961015409701</c:v>
                </c:pt>
                <c:pt idx="15866">
                  <c:v>-0.58908132692812099</c:v>
                </c:pt>
                <c:pt idx="15867">
                  <c:v>-0.56620860305796705</c:v>
                </c:pt>
                <c:pt idx="15868">
                  <c:v>-0.55067231106167702</c:v>
                </c:pt>
                <c:pt idx="15869">
                  <c:v>-0.51858398443028497</c:v>
                </c:pt>
                <c:pt idx="15870">
                  <c:v>-0.34570286672399703</c:v>
                </c:pt>
                <c:pt idx="15871">
                  <c:v>-0.23946371009654099</c:v>
                </c:pt>
                <c:pt idx="15872">
                  <c:v>-0.168367514056081</c:v>
                </c:pt>
                <c:pt idx="15873">
                  <c:v>-0.303245845782465</c:v>
                </c:pt>
                <c:pt idx="15874">
                  <c:v>-0.21567168752065699</c:v>
                </c:pt>
                <c:pt idx="15875">
                  <c:v>-0.31759409480434497</c:v>
                </c:pt>
                <c:pt idx="15876">
                  <c:v>-0.33948659468268699</c:v>
                </c:pt>
                <c:pt idx="15877">
                  <c:v>-0.221316415679575</c:v>
                </c:pt>
                <c:pt idx="15878">
                  <c:v>-0.35855465110735002</c:v>
                </c:pt>
                <c:pt idx="15879">
                  <c:v>-0.37636730704508897</c:v>
                </c:pt>
                <c:pt idx="15880">
                  <c:v>-0.32587926486088697</c:v>
                </c:pt>
                <c:pt idx="15881">
                  <c:v>-0.17236431217852799</c:v>
                </c:pt>
                <c:pt idx="15882">
                  <c:v>-0.130115251105001</c:v>
                </c:pt>
                <c:pt idx="15883">
                  <c:v>-0.17441513830828101</c:v>
                </c:pt>
                <c:pt idx="15884">
                  <c:v>6.4851954367012396E-2</c:v>
                </c:pt>
                <c:pt idx="15885">
                  <c:v>0.184614174322803</c:v>
                </c:pt>
                <c:pt idx="15886">
                  <c:v>6.1593139515617699E-3</c:v>
                </c:pt>
                <c:pt idx="15887">
                  <c:v>0.13408644260427199</c:v>
                </c:pt>
                <c:pt idx="15888">
                  <c:v>0.120886342146686</c:v>
                </c:pt>
                <c:pt idx="15889">
                  <c:v>0.11184537885916999</c:v>
                </c:pt>
                <c:pt idx="15890">
                  <c:v>9.8645278401584005E-2</c:v>
                </c:pt>
                <c:pt idx="15891">
                  <c:v>8.3402645565839206E-2</c:v>
                </c:pt>
                <c:pt idx="15892">
                  <c:v>7.7406521885749993E-2</c:v>
                </c:pt>
                <c:pt idx="15893">
                  <c:v>0.102323790270197</c:v>
                </c:pt>
                <c:pt idx="15894">
                  <c:v>0.11499108520140799</c:v>
                </c:pt>
                <c:pt idx="15895">
                  <c:v>0.14216788238956199</c:v>
                </c:pt>
                <c:pt idx="15896">
                  <c:v>1.0008299694425999</c:v>
                </c:pt>
                <c:pt idx="15897">
                  <c:v>0.27154910802250898</c:v>
                </c:pt>
                <c:pt idx="15898">
                  <c:v>1.37256006031762</c:v>
                </c:pt>
                <c:pt idx="15899">
                  <c:v>1.94357764937176</c:v>
                </c:pt>
                <c:pt idx="15900">
                  <c:v>1.93292661281137</c:v>
                </c:pt>
                <c:pt idx="15901">
                  <c:v>2.0623382551324401</c:v>
                </c:pt>
                <c:pt idx="15902">
                  <c:v>2.2988566518922702</c:v>
                </c:pt>
                <c:pt idx="15903">
                  <c:v>1.1668616622882</c:v>
                </c:pt>
                <c:pt idx="15904">
                  <c:v>1.2370314621551901</c:v>
                </c:pt>
                <c:pt idx="15905">
                  <c:v>1.29072329980085</c:v>
                </c:pt>
                <c:pt idx="15906">
                  <c:v>1.36300970445975</c:v>
                </c:pt>
                <c:pt idx="15907">
                  <c:v>1.4910109585603999</c:v>
                </c:pt>
                <c:pt idx="15908">
                  <c:v>1.5080456399081501</c:v>
                </c:pt>
                <c:pt idx="15909">
                  <c:v>1.46929139940041</c:v>
                </c:pt>
                <c:pt idx="15910">
                  <c:v>1.4244147825739</c:v>
                </c:pt>
                <c:pt idx="15911">
                  <c:v>1.36290683788282</c:v>
                </c:pt>
                <c:pt idx="15912">
                  <c:v>1.31952961139161</c:v>
                </c:pt>
                <c:pt idx="15913">
                  <c:v>1.35469501093922</c:v>
                </c:pt>
                <c:pt idx="15914">
                  <c:v>1.4537349478097701</c:v>
                </c:pt>
                <c:pt idx="15915">
                  <c:v>1.43311142550189</c:v>
                </c:pt>
                <c:pt idx="15916">
                  <c:v>1.4729119011790199</c:v>
                </c:pt>
                <c:pt idx="15917">
                  <c:v>1.5456683012988499</c:v>
                </c:pt>
                <c:pt idx="15918">
                  <c:v>1.5441945781931401</c:v>
                </c:pt>
                <c:pt idx="15919">
                  <c:v>1.5344025807472901</c:v>
                </c:pt>
                <c:pt idx="15920">
                  <c:v>1.5749013414799</c:v>
                </c:pt>
                <c:pt idx="15921">
                  <c:v>1.61955923938257</c:v>
                </c:pt>
                <c:pt idx="15922">
                  <c:v>1.5939875647708499</c:v>
                </c:pt>
                <c:pt idx="15923">
                  <c:v>1.5436989468271101</c:v>
                </c:pt>
                <c:pt idx="15924">
                  <c:v>1.54062325797934</c:v>
                </c:pt>
                <c:pt idx="15925">
                  <c:v>1.5664236496336701</c:v>
                </c:pt>
                <c:pt idx="15926">
                  <c:v>1.56334796078591</c:v>
                </c:pt>
                <c:pt idx="15927">
                  <c:v>1.5313961914360501</c:v>
                </c:pt>
                <c:pt idx="15928">
                  <c:v>1.3843271208513199</c:v>
                </c:pt>
                <c:pt idx="15929">
                  <c:v>1.31156746672159</c:v>
                </c:pt>
                <c:pt idx="15930">
                  <c:v>1.24288765653245</c:v>
                </c:pt>
                <c:pt idx="15931">
                  <c:v>1.1288538036198801</c:v>
                </c:pt>
                <c:pt idx="15932">
                  <c:v>1.0604086694211701</c:v>
                </c:pt>
                <c:pt idx="15933">
                  <c:v>0.95892831755028796</c:v>
                </c:pt>
                <c:pt idx="15934">
                  <c:v>0.88632404618149996</c:v>
                </c:pt>
                <c:pt idx="15935">
                  <c:v>0.75165511099523696</c:v>
                </c:pt>
                <c:pt idx="15936">
                  <c:v>0.61581191013469705</c:v>
                </c:pt>
                <c:pt idx="15937">
                  <c:v>0.49848920387366302</c:v>
                </c:pt>
                <c:pt idx="15938">
                  <c:v>0.45743915321631901</c:v>
                </c:pt>
                <c:pt idx="15939">
                  <c:v>0.39386805724833301</c:v>
                </c:pt>
                <c:pt idx="15940">
                  <c:v>0.29811498138525899</c:v>
                </c:pt>
                <c:pt idx="15941">
                  <c:v>0.17575579545522599</c:v>
                </c:pt>
                <c:pt idx="15942">
                  <c:v>0.14607315493647599</c:v>
                </c:pt>
                <c:pt idx="15943">
                  <c:v>5.0473444716623198E-2</c:v>
                </c:pt>
                <c:pt idx="15944">
                  <c:v>-5.15248354091401E-3</c:v>
                </c:pt>
                <c:pt idx="15945">
                  <c:v>-5.6624495444094099E-2</c:v>
                </c:pt>
                <c:pt idx="15946">
                  <c:v>-1.73091286709279E-2</c:v>
                </c:pt>
                <c:pt idx="15947">
                  <c:v>-7.0744379722798401E-2</c:v>
                </c:pt>
                <c:pt idx="15948">
                  <c:v>-5.9955439178610001E-2</c:v>
                </c:pt>
                <c:pt idx="15949">
                  <c:v>-0.115231713163032</c:v>
                </c:pt>
                <c:pt idx="15950">
                  <c:v>0.10964950619083</c:v>
                </c:pt>
                <c:pt idx="15951">
                  <c:v>-0.30175540626483799</c:v>
                </c:pt>
                <c:pt idx="15952">
                  <c:v>-0.280513430138216</c:v>
                </c:pt>
                <c:pt idx="15953">
                  <c:v>-0.26539383033035502</c:v>
                </c:pt>
                <c:pt idx="15954">
                  <c:v>-0.27718185106018201</c:v>
                </c:pt>
                <c:pt idx="15955">
                  <c:v>-0.29917731286508698</c:v>
                </c:pt>
                <c:pt idx="15956">
                  <c:v>-0.34289547760162098</c:v>
                </c:pt>
                <c:pt idx="15957">
                  <c:v>-0.43393092421028501</c:v>
                </c:pt>
                <c:pt idx="15958">
                  <c:v>-0.47764908894682001</c:v>
                </c:pt>
                <c:pt idx="15959">
                  <c:v>-0.53980845505339303</c:v>
                </c:pt>
                <c:pt idx="15960">
                  <c:v>-0.31510596416202002</c:v>
                </c:pt>
                <c:pt idx="15961">
                  <c:v>-0.32151832527651403</c:v>
                </c:pt>
                <c:pt idx="15962">
                  <c:v>-0.31145272416965902</c:v>
                </c:pt>
                <c:pt idx="15963">
                  <c:v>-0.30138712306280502</c:v>
                </c:pt>
                <c:pt idx="15964">
                  <c:v>-0.270905982709296</c:v>
                </c:pt>
                <c:pt idx="15965">
                  <c:v>-0.24866382346646099</c:v>
                </c:pt>
                <c:pt idx="15966">
                  <c:v>-0.29233351310901701</c:v>
                </c:pt>
                <c:pt idx="15967">
                  <c:v>-0.29480829719820401</c:v>
                </c:pt>
                <c:pt idx="15968">
                  <c:v>-0.19455712077012899</c:v>
                </c:pt>
                <c:pt idx="15969">
                  <c:v>-6.13500198993586E-2</c:v>
                </c:pt>
                <c:pt idx="15970">
                  <c:v>-0.17531235234880099</c:v>
                </c:pt>
                <c:pt idx="15971">
                  <c:v>-0.20688487369150699</c:v>
                </c:pt>
                <c:pt idx="15972">
                  <c:v>-0.19372247139131499</c:v>
                </c:pt>
                <c:pt idx="15973">
                  <c:v>-0.205277012423145</c:v>
                </c:pt>
                <c:pt idx="15974">
                  <c:v>-0.20859257234430101</c:v>
                </c:pt>
                <c:pt idx="15975">
                  <c:v>-0.228386094486803</c:v>
                </c:pt>
                <c:pt idx="15976">
                  <c:v>-0.175964734866249</c:v>
                </c:pt>
                <c:pt idx="15977">
                  <c:v>-6.5870507470979195E-2</c:v>
                </c:pt>
                <c:pt idx="15978">
                  <c:v>2.7745757702944001E-2</c:v>
                </c:pt>
                <c:pt idx="15979">
                  <c:v>8.0167117323498294E-2</c:v>
                </c:pt>
                <c:pt idx="15980">
                  <c:v>0.12473540068561401</c:v>
                </c:pt>
                <c:pt idx="15981">
                  <c:v>0.20225960849042399</c:v>
                </c:pt>
                <c:pt idx="15982">
                  <c:v>0.38689057073399302</c:v>
                </c:pt>
                <c:pt idx="15983">
                  <c:v>0.42321987298543501</c:v>
                </c:pt>
                <c:pt idx="15984">
                  <c:v>0.39580085382062702</c:v>
                </c:pt>
                <c:pt idx="15985">
                  <c:v>0.36838183465581897</c:v>
                </c:pt>
                <c:pt idx="15986">
                  <c:v>0.38215772104438001</c:v>
                </c:pt>
                <c:pt idx="15987">
                  <c:v>0.49480138076102498</c:v>
                </c:pt>
                <c:pt idx="15988">
                  <c:v>0.62579138720066096</c:v>
                </c:pt>
                <c:pt idx="15989">
                  <c:v>0.86388814807905501</c:v>
                </c:pt>
                <c:pt idx="15990">
                  <c:v>0.93720528674397297</c:v>
                </c:pt>
                <c:pt idx="15991">
                  <c:v>1.1258681609583201</c:v>
                </c:pt>
                <c:pt idx="15992">
                  <c:v>1.22975252903881</c:v>
                </c:pt>
                <c:pt idx="15993">
                  <c:v>1.29660112873599</c:v>
                </c:pt>
                <c:pt idx="15994">
                  <c:v>1.44168040236984</c:v>
                </c:pt>
                <c:pt idx="15995">
                  <c:v>1.5538037515609999</c:v>
                </c:pt>
                <c:pt idx="15996">
                  <c:v>1.71380737473668</c:v>
                </c:pt>
                <c:pt idx="15997">
                  <c:v>1.5772076779281099</c:v>
                </c:pt>
                <c:pt idx="15998">
                  <c:v>1.77016722554649</c:v>
                </c:pt>
                <c:pt idx="15999">
                  <c:v>1.83954205650476</c:v>
                </c:pt>
                <c:pt idx="16000">
                  <c:v>1.8275911704901699</c:v>
                </c:pt>
                <c:pt idx="16001">
                  <c:v>1.8650741711396299</c:v>
                </c:pt>
                <c:pt idx="16002">
                  <c:v>1.9190351340104299</c:v>
                </c:pt>
                <c:pt idx="16003">
                  <c:v>1.9400401724385401</c:v>
                </c:pt>
                <c:pt idx="16004">
                  <c:v>1.95757420970134</c:v>
                </c:pt>
                <c:pt idx="16005">
                  <c:v>1.2233324745996199</c:v>
                </c:pt>
                <c:pt idx="16006">
                  <c:v>1.25757713295645</c:v>
                </c:pt>
                <c:pt idx="16007">
                  <c:v>1.19869036978805</c:v>
                </c:pt>
                <c:pt idx="16008">
                  <c:v>1.0920095903629099</c:v>
                </c:pt>
                <c:pt idx="16009">
                  <c:v>1.0349953564745</c:v>
                </c:pt>
                <c:pt idx="16010">
                  <c:v>1.0210651948744001</c:v>
                </c:pt>
                <c:pt idx="16011">
                  <c:v>0.95180620834846696</c:v>
                </c:pt>
                <c:pt idx="16012">
                  <c:v>0.95366964471753901</c:v>
                </c:pt>
                <c:pt idx="16013">
                  <c:v>0.96777783372413395</c:v>
                </c:pt>
                <c:pt idx="16014">
                  <c:v>0.974027845320251</c:v>
                </c:pt>
                <c:pt idx="16015">
                  <c:v>1.1307065633318401</c:v>
                </c:pt>
                <c:pt idx="16016">
                  <c:v>1.04691973746348</c:v>
                </c:pt>
                <c:pt idx="16017">
                  <c:v>1.0966235588595801</c:v>
                </c:pt>
                <c:pt idx="16018">
                  <c:v>1.1132921625835099</c:v>
                </c:pt>
                <c:pt idx="16019">
                  <c:v>1.01045067277223</c:v>
                </c:pt>
                <c:pt idx="16020">
                  <c:v>1.00466546831944</c:v>
                </c:pt>
                <c:pt idx="16021">
                  <c:v>1.06706730400288</c:v>
                </c:pt>
                <c:pt idx="16022">
                  <c:v>1.20574179529002</c:v>
                </c:pt>
                <c:pt idx="16023">
                  <c:v>1.2618678890114801</c:v>
                </c:pt>
                <c:pt idx="16024">
                  <c:v>1.1362469025169399</c:v>
                </c:pt>
                <c:pt idx="16025">
                  <c:v>1.0415445289026599</c:v>
                </c:pt>
                <c:pt idx="16026">
                  <c:v>0.93248079785893501</c:v>
                </c:pt>
                <c:pt idx="16027">
                  <c:v>0.82341706681521398</c:v>
                </c:pt>
                <c:pt idx="16028">
                  <c:v>0.73858709914845799</c:v>
                </c:pt>
                <c:pt idx="16029">
                  <c:v>0.635009198825221</c:v>
                </c:pt>
                <c:pt idx="16030">
                  <c:v>0.42016018607744099</c:v>
                </c:pt>
                <c:pt idx="16031">
                  <c:v>0.21520666230258301</c:v>
                </c:pt>
                <c:pt idx="16032">
                  <c:v>0.16525885908075699</c:v>
                </c:pt>
                <c:pt idx="16033">
                  <c:v>0.14826698030162599</c:v>
                </c:pt>
                <c:pt idx="16034">
                  <c:v>0.153880660878317</c:v>
                </c:pt>
                <c:pt idx="16035">
                  <c:v>0.114441809202298</c:v>
                </c:pt>
                <c:pt idx="16036">
                  <c:v>5.4178568313471301E-2</c:v>
                </c:pt>
                <c:pt idx="16037">
                  <c:v>2.3076741785392299E-3</c:v>
                </c:pt>
                <c:pt idx="16038">
                  <c:v>-3.9207634053806999E-2</c:v>
                </c:pt>
                <c:pt idx="16039">
                  <c:v>-7.6489732702328395E-2</c:v>
                </c:pt>
                <c:pt idx="16040">
                  <c:v>-0.128350041960508</c:v>
                </c:pt>
                <c:pt idx="16041">
                  <c:v>-0.19049186470752</c:v>
                </c:pt>
                <c:pt idx="16042">
                  <c:v>5.6331034787805503E-2</c:v>
                </c:pt>
                <c:pt idx="16043">
                  <c:v>-2.0092852159174099E-2</c:v>
                </c:pt>
                <c:pt idx="16044">
                  <c:v>-8.5275855763574604E-2</c:v>
                </c:pt>
                <c:pt idx="16045">
                  <c:v>-0.125741916035953</c:v>
                </c:pt>
                <c:pt idx="16046">
                  <c:v>-0.16620797630833201</c:v>
                </c:pt>
                <c:pt idx="16047">
                  <c:v>-0.173718112138016</c:v>
                </c:pt>
                <c:pt idx="16048">
                  <c:v>-0.18735580865878401</c:v>
                </c:pt>
                <c:pt idx="16049">
                  <c:v>-0.200993505179551</c:v>
                </c:pt>
                <c:pt idx="16050">
                  <c:v>-0.16519731503627699</c:v>
                </c:pt>
                <c:pt idx="16051">
                  <c:v>-3.8772332675590097E-2</c:v>
                </c:pt>
                <c:pt idx="16052">
                  <c:v>5.1330854027240899E-2</c:v>
                </c:pt>
                <c:pt idx="16053">
                  <c:v>0.14143404073007301</c:v>
                </c:pt>
                <c:pt idx="16054">
                  <c:v>0.124430472994145</c:v>
                </c:pt>
                <c:pt idx="16055">
                  <c:v>0.10742690525821801</c:v>
                </c:pt>
                <c:pt idx="16056">
                  <c:v>0.114054561112126</c:v>
                </c:pt>
                <c:pt idx="16057">
                  <c:v>0.120682216966034</c:v>
                </c:pt>
                <c:pt idx="16058">
                  <c:v>7.7875986155899093E-2</c:v>
                </c:pt>
                <c:pt idx="16059">
                  <c:v>5.1547717567112898E-2</c:v>
                </c:pt>
                <c:pt idx="16060">
                  <c:v>2.6590819448794399E-2</c:v>
                </c:pt>
                <c:pt idx="16061">
                  <c:v>1.6339213304770201E-3</c:v>
                </c:pt>
                <c:pt idx="16062">
                  <c:v>-1.50839956771671E-2</c:v>
                </c:pt>
                <c:pt idx="16063">
                  <c:v>2.5870955089905501E-2</c:v>
                </c:pt>
                <c:pt idx="16064">
                  <c:v>-4.1622315181564298E-2</c:v>
                </c:pt>
                <c:pt idx="16065">
                  <c:v>-7.6159661010338595E-2</c:v>
                </c:pt>
                <c:pt idx="16066">
                  <c:v>-0.11893598794978701</c:v>
                </c:pt>
                <c:pt idx="16067">
                  <c:v>-0.15347333377856301</c:v>
                </c:pt>
                <c:pt idx="16068">
                  <c:v>-0.172355931298763</c:v>
                </c:pt>
                <c:pt idx="16069">
                  <c:v>-0.10060973660155199</c:v>
                </c:pt>
                <c:pt idx="16070">
                  <c:v>-8.6536409679057402E-2</c:v>
                </c:pt>
                <c:pt idx="16071">
                  <c:v>-7.2463082756562602E-2</c:v>
                </c:pt>
                <c:pt idx="16072">
                  <c:v>-5.6703212966893402E-2</c:v>
                </c:pt>
                <c:pt idx="16073">
                  <c:v>-4.0943343177224097E-2</c:v>
                </c:pt>
                <c:pt idx="16074">
                  <c:v>-4.9900416719575902E-2</c:v>
                </c:pt>
                <c:pt idx="16075">
                  <c:v>5.6488245287504298E-2</c:v>
                </c:pt>
                <c:pt idx="16076">
                  <c:v>7.3211681149419797E-2</c:v>
                </c:pt>
                <c:pt idx="16077">
                  <c:v>0.139369003675377</c:v>
                </c:pt>
                <c:pt idx="16078">
                  <c:v>0.230243269533356</c:v>
                </c:pt>
                <c:pt idx="16079">
                  <c:v>0.271683648727292</c:v>
                </c:pt>
                <c:pt idx="16080">
                  <c:v>0.203924927385086</c:v>
                </c:pt>
                <c:pt idx="16081">
                  <c:v>0.14440518715355199</c:v>
                </c:pt>
                <c:pt idx="16082">
                  <c:v>-0.111077582619773</c:v>
                </c:pt>
                <c:pt idx="16083">
                  <c:v>5.8321631133180001E-2</c:v>
                </c:pt>
                <c:pt idx="16084">
                  <c:v>-0.13845615167605099</c:v>
                </c:pt>
                <c:pt idx="16085">
                  <c:v>-0.13307445621097599</c:v>
                </c:pt>
                <c:pt idx="16086">
                  <c:v>-0.117411247257068</c:v>
                </c:pt>
                <c:pt idx="16087">
                  <c:v>-0.103790570681319</c:v>
                </c:pt>
                <c:pt idx="16088">
                  <c:v>-1.2835292786928101E-2</c:v>
                </c:pt>
                <c:pt idx="16089">
                  <c:v>8.0083224256152497E-2</c:v>
                </c:pt>
                <c:pt idx="16090">
                  <c:v>0.17315510694245501</c:v>
                </c:pt>
                <c:pt idx="16091">
                  <c:v>0.46800044338715502</c:v>
                </c:pt>
                <c:pt idx="16092">
                  <c:v>0.38596505090998701</c:v>
                </c:pt>
                <c:pt idx="16093">
                  <c:v>0.30392965843281999</c:v>
                </c:pt>
                <c:pt idx="16094">
                  <c:v>0.24661120928767399</c:v>
                </c:pt>
                <c:pt idx="16095">
                  <c:v>0.28816053347061299</c:v>
                </c:pt>
                <c:pt idx="16096">
                  <c:v>0.35359112702851703</c:v>
                </c:pt>
                <c:pt idx="16097">
                  <c:v>0.31191496614766201</c:v>
                </c:pt>
                <c:pt idx="16098">
                  <c:v>0.25376084304545898</c:v>
                </c:pt>
                <c:pt idx="16099">
                  <c:v>0.30271347438201501</c:v>
                </c:pt>
                <c:pt idx="16100">
                  <c:v>0.343433044601054</c:v>
                </c:pt>
                <c:pt idx="16101">
                  <c:v>0.24408993593863801</c:v>
                </c:pt>
                <c:pt idx="16102">
                  <c:v>0.27657052504700302</c:v>
                </c:pt>
                <c:pt idx="16103">
                  <c:v>0.30905111415536701</c:v>
                </c:pt>
                <c:pt idx="16104">
                  <c:v>0.32527255321249698</c:v>
                </c:pt>
                <c:pt idx="16105">
                  <c:v>0.49803463337242698</c:v>
                </c:pt>
                <c:pt idx="16106">
                  <c:v>0.29180358244136501</c:v>
                </c:pt>
                <c:pt idx="16107">
                  <c:v>0.33274196483051399</c:v>
                </c:pt>
                <c:pt idx="16108">
                  <c:v>0.32455364577518597</c:v>
                </c:pt>
                <c:pt idx="16109">
                  <c:v>0.233975515613118</c:v>
                </c:pt>
                <c:pt idx="16110">
                  <c:v>0.102202479897683</c:v>
                </c:pt>
                <c:pt idx="16111">
                  <c:v>1.1624349735615601E-2</c:v>
                </c:pt>
                <c:pt idx="16112">
                  <c:v>-5.7812536632165901E-2</c:v>
                </c:pt>
                <c:pt idx="16113">
                  <c:v>-0.151966366331969</c:v>
                </c:pt>
                <c:pt idx="16114">
                  <c:v>-0.30379306380648802</c:v>
                </c:pt>
                <c:pt idx="16115">
                  <c:v>-0.27436217684618402</c:v>
                </c:pt>
                <c:pt idx="16116">
                  <c:v>-0.13884931788165999</c:v>
                </c:pt>
                <c:pt idx="16117">
                  <c:v>0.23975313046247501</c:v>
                </c:pt>
                <c:pt idx="16118">
                  <c:v>0.177530442770828</c:v>
                </c:pt>
                <c:pt idx="16119">
                  <c:v>0.25537043396063602</c:v>
                </c:pt>
                <c:pt idx="16120">
                  <c:v>5.9449867065513903E-2</c:v>
                </c:pt>
                <c:pt idx="16121">
                  <c:v>-4.8786488875823797E-4</c:v>
                </c:pt>
                <c:pt idx="16122">
                  <c:v>-4.3947634621682698E-2</c:v>
                </c:pt>
                <c:pt idx="16123">
                  <c:v>-8.7407404354605894E-2</c:v>
                </c:pt>
                <c:pt idx="16124">
                  <c:v>-6.4595786429459401E-2</c:v>
                </c:pt>
                <c:pt idx="16125">
                  <c:v>-0.115934998500375</c:v>
                </c:pt>
                <c:pt idx="16126">
                  <c:v>-0.19199115390331201</c:v>
                </c:pt>
                <c:pt idx="16127">
                  <c:v>-0.23509138486355599</c:v>
                </c:pt>
                <c:pt idx="16128">
                  <c:v>-0.28208663097414</c:v>
                </c:pt>
                <c:pt idx="16129">
                  <c:v>-0.28788697153135701</c:v>
                </c:pt>
                <c:pt idx="16130">
                  <c:v>-0.268970368756552</c:v>
                </c:pt>
                <c:pt idx="16131">
                  <c:v>-0.241814784871073</c:v>
                </c:pt>
                <c:pt idx="16132">
                  <c:v>-0.26076482671461199</c:v>
                </c:pt>
                <c:pt idx="16133">
                  <c:v>-0.13965218967669699</c:v>
                </c:pt>
                <c:pt idx="16134">
                  <c:v>-0.142124269298887</c:v>
                </c:pt>
                <c:pt idx="16135">
                  <c:v>-1.2772651150298299E-2</c:v>
                </c:pt>
                <c:pt idx="16136">
                  <c:v>-7.3651213482557806E-2</c:v>
                </c:pt>
                <c:pt idx="16137">
                  <c:v>-2.7423021376057399E-2</c:v>
                </c:pt>
                <c:pt idx="16138">
                  <c:v>-8.0062602597643501E-2</c:v>
                </c:pt>
                <c:pt idx="16139">
                  <c:v>-4.2073391601816501E-2</c:v>
                </c:pt>
                <c:pt idx="16140">
                  <c:v>-0.127566155050055</c:v>
                </c:pt>
                <c:pt idx="16141">
                  <c:v>-0.18834197516627199</c:v>
                </c:pt>
                <c:pt idx="16142">
                  <c:v>-0.19968390861844701</c:v>
                </c:pt>
                <c:pt idx="16143">
                  <c:v>-0.211025842070622</c:v>
                </c:pt>
                <c:pt idx="16144">
                  <c:v>-8.6858217327244205E-2</c:v>
                </c:pt>
                <c:pt idx="16145">
                  <c:v>1.25924640841109E-2</c:v>
                </c:pt>
                <c:pt idx="16146">
                  <c:v>-1.15415711646403E-2</c:v>
                </c:pt>
                <c:pt idx="16147">
                  <c:v>7.9670129136040296E-2</c:v>
                </c:pt>
                <c:pt idx="16148">
                  <c:v>0.104387072468061</c:v>
                </c:pt>
                <c:pt idx="16149">
                  <c:v>0.21973280801749401</c:v>
                </c:pt>
                <c:pt idx="16150">
                  <c:v>0.120865034689409</c:v>
                </c:pt>
                <c:pt idx="16151">
                  <c:v>-0.223359913001662</c:v>
                </c:pt>
                <c:pt idx="16152">
                  <c:v>-0.210127897037513</c:v>
                </c:pt>
                <c:pt idx="16153">
                  <c:v>-0.180417918852016</c:v>
                </c:pt>
                <c:pt idx="16154">
                  <c:v>-0.12599099733449701</c:v>
                </c:pt>
                <c:pt idx="16155">
                  <c:v>-0.203387773587759</c:v>
                </c:pt>
                <c:pt idx="16156">
                  <c:v>-0.23411296797002201</c:v>
                </c:pt>
                <c:pt idx="16157">
                  <c:v>-0.23188223790958901</c:v>
                </c:pt>
                <c:pt idx="16158">
                  <c:v>-0.23789048895982901</c:v>
                </c:pt>
                <c:pt idx="16159">
                  <c:v>-0.235659758899397</c:v>
                </c:pt>
                <c:pt idx="16160">
                  <c:v>-0.15823204958193601</c:v>
                </c:pt>
                <c:pt idx="16161">
                  <c:v>-0.196150075813908</c:v>
                </c:pt>
                <c:pt idx="16162">
                  <c:v>-0.21759013982453199</c:v>
                </c:pt>
                <c:pt idx="16163">
                  <c:v>-0.18135733606043999</c:v>
                </c:pt>
                <c:pt idx="16164">
                  <c:v>-0.22092043544015</c:v>
                </c:pt>
                <c:pt idx="16165">
                  <c:v>-0.24400557259851299</c:v>
                </c:pt>
                <c:pt idx="16166">
                  <c:v>-0.242373766424854</c:v>
                </c:pt>
                <c:pt idx="16167">
                  <c:v>-0.25721992247254399</c:v>
                </c:pt>
                <c:pt idx="16168">
                  <c:v>-0.27229748021051198</c:v>
                </c:pt>
                <c:pt idx="16169">
                  <c:v>-0.27913605683780901</c:v>
                </c:pt>
                <c:pt idx="16170">
                  <c:v>-0.26125769013308398</c:v>
                </c:pt>
                <c:pt idx="16171">
                  <c:v>-7.8599701214882897E-2</c:v>
                </c:pt>
                <c:pt idx="16172">
                  <c:v>-7.0966424168523903E-2</c:v>
                </c:pt>
                <c:pt idx="16173">
                  <c:v>-5.50941660114928E-2</c:v>
                </c:pt>
                <c:pt idx="16174">
                  <c:v>1.0211978809581501E-2</c:v>
                </c:pt>
                <c:pt idx="16175">
                  <c:v>1.7845255855939299E-2</c:v>
                </c:pt>
                <c:pt idx="16176">
                  <c:v>-4.4729373780835503E-2</c:v>
                </c:pt>
                <c:pt idx="16177">
                  <c:v>-9.9065022306936895E-2</c:v>
                </c:pt>
                <c:pt idx="16178">
                  <c:v>-0.13692270861169101</c:v>
                </c:pt>
                <c:pt idx="16179">
                  <c:v>-0.17478039491644401</c:v>
                </c:pt>
                <c:pt idx="16180">
                  <c:v>-0.23557296193905</c:v>
                </c:pt>
                <c:pt idx="16181">
                  <c:v>-0.29636552896165602</c:v>
                </c:pt>
                <c:pt idx="16182">
                  <c:v>-0.38187503931628403</c:v>
                </c:pt>
                <c:pt idx="16183">
                  <c:v>-0.44266760633889002</c:v>
                </c:pt>
                <c:pt idx="16184">
                  <c:v>-0.36840553386039498</c:v>
                </c:pt>
                <c:pt idx="16185">
                  <c:v>-0.33533836693527003</c:v>
                </c:pt>
                <c:pt idx="16186">
                  <c:v>-0.228120370014081</c:v>
                </c:pt>
                <c:pt idx="16187">
                  <c:v>-0.19505320308895499</c:v>
                </c:pt>
                <c:pt idx="16188">
                  <c:v>-0.14868131621279601</c:v>
                </c:pt>
                <c:pt idx="16189">
                  <c:v>-5.2875542672593902E-2</c:v>
                </c:pt>
                <c:pt idx="16190">
                  <c:v>0.12532004197434499</c:v>
                </c:pt>
                <c:pt idx="16191">
                  <c:v>0.17169192885050499</c:v>
                </c:pt>
                <c:pt idx="16192">
                  <c:v>0.16317191616669999</c:v>
                </c:pt>
                <c:pt idx="16193">
                  <c:v>0.35238745013906497</c:v>
                </c:pt>
                <c:pt idx="16194">
                  <c:v>0.47569113522604101</c:v>
                </c:pt>
                <c:pt idx="16195">
                  <c:v>0.45893214143156202</c:v>
                </c:pt>
                <c:pt idx="16196">
                  <c:v>0.35791045708871599</c:v>
                </c:pt>
                <c:pt idx="16197">
                  <c:v>0.46702243768278501</c:v>
                </c:pt>
                <c:pt idx="16198">
                  <c:v>0.45662954555735202</c:v>
                </c:pt>
                <c:pt idx="16199">
                  <c:v>0.41328072898922302</c:v>
                </c:pt>
                <c:pt idx="16200">
                  <c:v>0.46606958986986802</c:v>
                </c:pt>
                <c:pt idx="16201">
                  <c:v>0.44470762075444897</c:v>
                </c:pt>
                <c:pt idx="16202">
                  <c:v>0.41510667052835698</c:v>
                </c:pt>
                <c:pt idx="16203">
                  <c:v>0.47613451251967598</c:v>
                </c:pt>
                <c:pt idx="16204">
                  <c:v>0.63528105909304999</c:v>
                </c:pt>
                <c:pt idx="16205">
                  <c:v>0.51430224790351697</c:v>
                </c:pt>
                <c:pt idx="16206">
                  <c:v>0.54162509670611103</c:v>
                </c:pt>
                <c:pt idx="16207">
                  <c:v>0.33001749329916702</c:v>
                </c:pt>
                <c:pt idx="16208">
                  <c:v>0.43505579110971998</c:v>
                </c:pt>
                <c:pt idx="16209">
                  <c:v>0.52361612669892499</c:v>
                </c:pt>
                <c:pt idx="16210">
                  <c:v>0.56274257562408903</c:v>
                </c:pt>
                <c:pt idx="16211">
                  <c:v>0.57715208121723105</c:v>
                </c:pt>
                <c:pt idx="16212">
                  <c:v>0.52394628487100503</c:v>
                </c:pt>
                <c:pt idx="16213">
                  <c:v>0.83325565739442498</c:v>
                </c:pt>
                <c:pt idx="16214">
                  <c:v>0.75533291771617705</c:v>
                </c:pt>
                <c:pt idx="16215">
                  <c:v>0.70212712136995203</c:v>
                </c:pt>
                <c:pt idx="16216">
                  <c:v>0.78524754163716604</c:v>
                </c:pt>
                <c:pt idx="16217">
                  <c:v>0.72830528302292696</c:v>
                </c:pt>
                <c:pt idx="16218">
                  <c:v>0.80318672217946696</c:v>
                </c:pt>
                <c:pt idx="16219">
                  <c:v>0.79567835022927003</c:v>
                </c:pt>
                <c:pt idx="16220">
                  <c:v>0.84432219011313103</c:v>
                </c:pt>
                <c:pt idx="16221">
                  <c:v>0.58812372890206299</c:v>
                </c:pt>
                <c:pt idx="16222">
                  <c:v>0.44727100324042701</c:v>
                </c:pt>
                <c:pt idx="16223">
                  <c:v>0.22402846647205399</c:v>
                </c:pt>
                <c:pt idx="16224">
                  <c:v>0.19359060960482599</c:v>
                </c:pt>
                <c:pt idx="16225">
                  <c:v>0.142594946575648</c:v>
                </c:pt>
                <c:pt idx="16226">
                  <c:v>0.13279418909983701</c:v>
                </c:pt>
                <c:pt idx="16227">
                  <c:v>0.17242731828807001</c:v>
                </c:pt>
                <c:pt idx="16228">
                  <c:v>0.152630696793943</c:v>
                </c:pt>
                <c:pt idx="16229">
                  <c:v>0.11635611307846699</c:v>
                </c:pt>
                <c:pt idx="16230">
                  <c:v>8.8320510473665806E-2</c:v>
                </c:pt>
                <c:pt idx="16231">
                  <c:v>0.101479813422234</c:v>
                </c:pt>
                <c:pt idx="16232">
                  <c:v>5.2082326445392603E-2</c:v>
                </c:pt>
                <c:pt idx="16233">
                  <c:v>7.6835669464615897E-2</c:v>
                </c:pt>
                <c:pt idx="16234">
                  <c:v>8.5111050262491494E-2</c:v>
                </c:pt>
                <c:pt idx="16235">
                  <c:v>8.5147449949693699E-2</c:v>
                </c:pt>
                <c:pt idx="16236">
                  <c:v>3.2455064112451498E-2</c:v>
                </c:pt>
                <c:pt idx="16237">
                  <c:v>2.0957583828577899E-2</c:v>
                </c:pt>
                <c:pt idx="16238">
                  <c:v>-8.1168688672706504E-2</c:v>
                </c:pt>
                <c:pt idx="16239">
                  <c:v>-5.97102445138857E-2</c:v>
                </c:pt>
                <c:pt idx="16240">
                  <c:v>-8.8757397358981693E-2</c:v>
                </c:pt>
                <c:pt idx="16241">
                  <c:v>-8.4848625761383398E-2</c:v>
                </c:pt>
                <c:pt idx="16242">
                  <c:v>-0.13037374082782799</c:v>
                </c:pt>
                <c:pt idx="16243">
                  <c:v>-0.22533274255831501</c:v>
                </c:pt>
                <c:pt idx="16244">
                  <c:v>-0.14906533728666799</c:v>
                </c:pt>
                <c:pt idx="16245">
                  <c:v>-0.15518774312175901</c:v>
                </c:pt>
                <c:pt idx="16246">
                  <c:v>-0.18602709228887199</c:v>
                </c:pt>
                <c:pt idx="16247">
                  <c:v>-0.21686644145598499</c:v>
                </c:pt>
                <c:pt idx="16248">
                  <c:v>-0.18695663839658</c:v>
                </c:pt>
                <c:pt idx="16249">
                  <c:v>-8.2896005341109899E-2</c:v>
                </c:pt>
                <c:pt idx="16250">
                  <c:v>-0.16833193783113701</c:v>
                </c:pt>
                <c:pt idx="16251">
                  <c:v>-5.6032323664994402E-2</c:v>
                </c:pt>
                <c:pt idx="16252">
                  <c:v>-0.19215025466059699</c:v>
                </c:pt>
                <c:pt idx="16253">
                  <c:v>-0.10581569566801</c:v>
                </c:pt>
                <c:pt idx="16254">
                  <c:v>-0.13482687222485401</c:v>
                </c:pt>
                <c:pt idx="16255">
                  <c:v>-0.15559906767102399</c:v>
                </c:pt>
                <c:pt idx="16256">
                  <c:v>-0.193766878933714</c:v>
                </c:pt>
                <c:pt idx="16257">
                  <c:v>-7.5394049093603796E-2</c:v>
                </c:pt>
                <c:pt idx="16258">
                  <c:v>-0.121800841466968</c:v>
                </c:pt>
                <c:pt idx="16259">
                  <c:v>-0.127012728286963</c:v>
                </c:pt>
                <c:pt idx="16260">
                  <c:v>4.68076505033088E-3</c:v>
                </c:pt>
                <c:pt idx="16261">
                  <c:v>3.7506485059540302E-2</c:v>
                </c:pt>
                <c:pt idx="16262">
                  <c:v>0.119766091732791</c:v>
                </c:pt>
                <c:pt idx="16263">
                  <c:v>0.127874868409979</c:v>
                </c:pt>
                <c:pt idx="16264">
                  <c:v>6.3836935111363999E-2</c:v>
                </c:pt>
                <c:pt idx="16265">
                  <c:v>0.14810066180487699</c:v>
                </c:pt>
                <c:pt idx="16266">
                  <c:v>0.16645253961300099</c:v>
                </c:pt>
                <c:pt idx="16267">
                  <c:v>0.143609511867755</c:v>
                </c:pt>
                <c:pt idx="16268">
                  <c:v>0.37429442383466199</c:v>
                </c:pt>
                <c:pt idx="16269">
                  <c:v>0.45667767580944102</c:v>
                </c:pt>
                <c:pt idx="16270">
                  <c:v>0.49786602223085002</c:v>
                </c:pt>
                <c:pt idx="16271">
                  <c:v>0.68735602864438805</c:v>
                </c:pt>
                <c:pt idx="16272">
                  <c:v>0.68316112982018196</c:v>
                </c:pt>
                <c:pt idx="16273">
                  <c:v>0.64601030655328096</c:v>
                </c:pt>
                <c:pt idx="16274">
                  <c:v>0.68301031328244499</c:v>
                </c:pt>
                <c:pt idx="16275">
                  <c:v>0.71177133890093403</c:v>
                </c:pt>
                <c:pt idx="16276">
                  <c:v>0.59866338480856196</c:v>
                </c:pt>
                <c:pt idx="16277">
                  <c:v>0.54322829849090604</c:v>
                </c:pt>
                <c:pt idx="16278">
                  <c:v>0.53722709883729403</c:v>
                </c:pt>
                <c:pt idx="16279">
                  <c:v>0.43090295197175399</c:v>
                </c:pt>
                <c:pt idx="16280">
                  <c:v>0.56224719964083003</c:v>
                </c:pt>
                <c:pt idx="16281">
                  <c:v>0.66275212765912295</c:v>
                </c:pt>
                <c:pt idx="16282">
                  <c:v>0.77557588072869299</c:v>
                </c:pt>
                <c:pt idx="16283">
                  <c:v>0.88016065268759003</c:v>
                </c:pt>
                <c:pt idx="16284">
                  <c:v>0.80255603668188802</c:v>
                </c:pt>
                <c:pt idx="16285">
                  <c:v>0.67224726580711902</c:v>
                </c:pt>
                <c:pt idx="16286">
                  <c:v>0.65246888321935503</c:v>
                </c:pt>
                <c:pt idx="16287">
                  <c:v>0.63866473212284502</c:v>
                </c:pt>
                <c:pt idx="16288">
                  <c:v>0.69049110731573804</c:v>
                </c:pt>
                <c:pt idx="16289">
                  <c:v>0.72168038311721305</c:v>
                </c:pt>
                <c:pt idx="16290">
                  <c:v>0.84977941391379597</c:v>
                </c:pt>
                <c:pt idx="16291">
                  <c:v>0.92012628370619498</c:v>
                </c:pt>
                <c:pt idx="16292">
                  <c:v>0.84696496185497305</c:v>
                </c:pt>
                <c:pt idx="16293">
                  <c:v>0.77576687915244102</c:v>
                </c:pt>
                <c:pt idx="16294">
                  <c:v>0.678036758796705</c:v>
                </c:pt>
                <c:pt idx="16295">
                  <c:v>0.64010133182331197</c:v>
                </c:pt>
                <c:pt idx="16296">
                  <c:v>0.818701891698145</c:v>
                </c:pt>
                <c:pt idx="16297">
                  <c:v>0.93547044662819201</c:v>
                </c:pt>
                <c:pt idx="16298">
                  <c:v>0.94882606654417401</c:v>
                </c:pt>
                <c:pt idx="16299">
                  <c:v>0.95817591493330601</c:v>
                </c:pt>
                <c:pt idx="16300">
                  <c:v>0.92685090378450397</c:v>
                </c:pt>
                <c:pt idx="16301">
                  <c:v>0.94465826882901605</c:v>
                </c:pt>
                <c:pt idx="16302">
                  <c:v>0.92588474160418099</c:v>
                </c:pt>
                <c:pt idx="16303">
                  <c:v>0.98919951501535297</c:v>
                </c:pt>
                <c:pt idx="16304">
                  <c:v>1.0640185895785601</c:v>
                </c:pt>
                <c:pt idx="16305">
                  <c:v>0.94055750651076098</c:v>
                </c:pt>
                <c:pt idx="16306">
                  <c:v>0.87976932901760296</c:v>
                </c:pt>
                <c:pt idx="16307">
                  <c:v>1.0164997017550701</c:v>
                </c:pt>
                <c:pt idx="16308">
                  <c:v>1.0333997451663599</c:v>
                </c:pt>
                <c:pt idx="16309">
                  <c:v>1.10743848700896</c:v>
                </c:pt>
                <c:pt idx="16310">
                  <c:v>1.06196713531633</c:v>
                </c:pt>
                <c:pt idx="16311">
                  <c:v>1.02662393146932</c:v>
                </c:pt>
                <c:pt idx="16312">
                  <c:v>0.97230682251551004</c:v>
                </c:pt>
                <c:pt idx="16313">
                  <c:v>0.74330416074387295</c:v>
                </c:pt>
                <c:pt idx="16314">
                  <c:v>0.59269075936783899</c:v>
                </c:pt>
                <c:pt idx="16315">
                  <c:v>0.54141044906526803</c:v>
                </c:pt>
                <c:pt idx="16316">
                  <c:v>0.61610332550105695</c:v>
                </c:pt>
                <c:pt idx="16317">
                  <c:v>0.60613119957926098</c:v>
                </c:pt>
                <c:pt idx="16318">
                  <c:v>0.524272993280822</c:v>
                </c:pt>
                <c:pt idx="16319">
                  <c:v>0.51657083779416002</c:v>
                </c:pt>
                <c:pt idx="16320">
                  <c:v>0.58266581701477704</c:v>
                </c:pt>
                <c:pt idx="16321">
                  <c:v>0.61179910026585105</c:v>
                </c:pt>
                <c:pt idx="16322">
                  <c:v>0.58741343209656505</c:v>
                </c:pt>
                <c:pt idx="16323">
                  <c:v>0.50338643618815804</c:v>
                </c:pt>
                <c:pt idx="16324">
                  <c:v>0.395680262512217</c:v>
                </c:pt>
                <c:pt idx="16325">
                  <c:v>0.29832967473886302</c:v>
                </c:pt>
                <c:pt idx="16326">
                  <c:v>0.25238143359395399</c:v>
                </c:pt>
                <c:pt idx="16327">
                  <c:v>0.17748303953320099</c:v>
                </c:pt>
                <c:pt idx="16328">
                  <c:v>0.51788985572282897</c:v>
                </c:pt>
                <c:pt idx="16329">
                  <c:v>4.5086341744249601E-2</c:v>
                </c:pt>
                <c:pt idx="16330">
                  <c:v>0.453680198070115</c:v>
                </c:pt>
                <c:pt idx="16331">
                  <c:v>0.38038046369038903</c:v>
                </c:pt>
                <c:pt idx="16332">
                  <c:v>0.34580170626012002</c:v>
                </c:pt>
                <c:pt idx="16333">
                  <c:v>0.25355008105513399</c:v>
                </c:pt>
                <c:pt idx="16334">
                  <c:v>0.21897132362486499</c:v>
                </c:pt>
                <c:pt idx="16335">
                  <c:v>0.22558747174796501</c:v>
                </c:pt>
                <c:pt idx="16336">
                  <c:v>0.19046151127428901</c:v>
                </c:pt>
                <c:pt idx="16337">
                  <c:v>8.1184720804548305E-2</c:v>
                </c:pt>
                <c:pt idx="16338">
                  <c:v>2.1341816998851001E-2</c:v>
                </c:pt>
                <c:pt idx="16339">
                  <c:v>-4.6740067917520799E-2</c:v>
                </c:pt>
                <c:pt idx="16340">
                  <c:v>-9.0264689217254904E-2</c:v>
                </c:pt>
                <c:pt idx="16341">
                  <c:v>-0.17498421607035899</c:v>
                </c:pt>
                <c:pt idx="16342">
                  <c:v>-0.119641064042009</c:v>
                </c:pt>
                <c:pt idx="16343">
                  <c:v>-0.22907753422713401</c:v>
                </c:pt>
                <c:pt idx="16344">
                  <c:v>-0.24379643139623999</c:v>
                </c:pt>
                <c:pt idx="16345">
                  <c:v>-0.184364498569282</c:v>
                </c:pt>
                <c:pt idx="16346">
                  <c:v>-0.21556135795973599</c:v>
                </c:pt>
                <c:pt idx="16347">
                  <c:v>-0.24675821735018999</c:v>
                </c:pt>
                <c:pt idx="16348">
                  <c:v>-0.27114939971336399</c:v>
                </c:pt>
                <c:pt idx="16349">
                  <c:v>-6.4849110977674901E-2</c:v>
                </c:pt>
                <c:pt idx="16350">
                  <c:v>-0.23754195333297801</c:v>
                </c:pt>
                <c:pt idx="16351">
                  <c:v>-0.34432294680289099</c:v>
                </c:pt>
                <c:pt idx="16352">
                  <c:v>-0.395648488392287</c:v>
                </c:pt>
                <c:pt idx="16353">
                  <c:v>-0.40577912442831598</c:v>
                </c:pt>
                <c:pt idx="16354">
                  <c:v>-0.38295383602164901</c:v>
                </c:pt>
                <c:pt idx="16355">
                  <c:v>-0.430199533670443</c:v>
                </c:pt>
                <c:pt idx="16356">
                  <c:v>-0.41490711326560498</c:v>
                </c:pt>
                <c:pt idx="16357">
                  <c:v>-0.39961469286076601</c:v>
                </c:pt>
                <c:pt idx="16358">
                  <c:v>-0.39256125356660199</c:v>
                </c:pt>
                <c:pt idx="16359">
                  <c:v>-0.41022475760445798</c:v>
                </c:pt>
                <c:pt idx="16360">
                  <c:v>-0.37819224741588697</c:v>
                </c:pt>
                <c:pt idx="16361">
                  <c:v>-0.32144279389529501</c:v>
                </c:pt>
                <c:pt idx="16362">
                  <c:v>-0.10399356210183</c:v>
                </c:pt>
                <c:pt idx="16363">
                  <c:v>-0.104916976355954</c:v>
                </c:pt>
                <c:pt idx="16364">
                  <c:v>-5.12950163508121E-2</c:v>
                </c:pt>
                <c:pt idx="16365">
                  <c:v>-4.2947805839642902E-2</c:v>
                </c:pt>
                <c:pt idx="16366">
                  <c:v>7.2506159110285698E-2</c:v>
                </c:pt>
                <c:pt idx="16367">
                  <c:v>0.13852623739617201</c:v>
                </c:pt>
                <c:pt idx="16368">
                  <c:v>0.12802494404103901</c:v>
                </c:pt>
                <c:pt idx="16369">
                  <c:v>0.109284669575232</c:v>
                </c:pt>
                <c:pt idx="16370">
                  <c:v>9.8783376220098307E-2</c:v>
                </c:pt>
                <c:pt idx="16371">
                  <c:v>0.17891087508237599</c:v>
                </c:pt>
                <c:pt idx="16372">
                  <c:v>0.37668814078871499</c:v>
                </c:pt>
                <c:pt idx="16373">
                  <c:v>0.60326219376767798</c:v>
                </c:pt>
                <c:pt idx="16374">
                  <c:v>0.68977356786518795</c:v>
                </c:pt>
                <c:pt idx="16375">
                  <c:v>0.87515271529078298</c:v>
                </c:pt>
                <c:pt idx="16376">
                  <c:v>0.88966698616154305</c:v>
                </c:pt>
                <c:pt idx="16377">
                  <c:v>0.34576668940319299</c:v>
                </c:pt>
                <c:pt idx="16378">
                  <c:v>0.42022379848380398</c:v>
                </c:pt>
                <c:pt idx="16379">
                  <c:v>0.53179596917717997</c:v>
                </c:pt>
                <c:pt idx="16380">
                  <c:v>0.65141991837968505</c:v>
                </c:pt>
                <c:pt idx="16381">
                  <c:v>0.77111793999594302</c:v>
                </c:pt>
                <c:pt idx="16382">
                  <c:v>0.84962105605883398</c:v>
                </c:pt>
                <c:pt idx="16383">
                  <c:v>0.98769142744709104</c:v>
                </c:pt>
                <c:pt idx="16384">
                  <c:v>1.0224173568479999</c:v>
                </c:pt>
                <c:pt idx="16385">
                  <c:v>1.03839535359243</c:v>
                </c:pt>
                <c:pt idx="16386">
                  <c:v>1.0484043396613201</c:v>
                </c:pt>
                <c:pt idx="16387">
                  <c:v>1.06249316967081</c:v>
                </c:pt>
                <c:pt idx="16388">
                  <c:v>1.0628898339685999</c:v>
                </c:pt>
                <c:pt idx="16389">
                  <c:v>1.03267461667258</c:v>
                </c:pt>
                <c:pt idx="16390">
                  <c:v>1.04373359815939</c:v>
                </c:pt>
                <c:pt idx="16391">
                  <c:v>1.0748955096942101</c:v>
                </c:pt>
                <c:pt idx="16392">
                  <c:v>1.0236270484612999</c:v>
                </c:pt>
                <c:pt idx="16393">
                  <c:v>1.0855188663878701</c:v>
                </c:pt>
                <c:pt idx="16394">
                  <c:v>1.1206512086042599</c:v>
                </c:pt>
                <c:pt idx="16395">
                  <c:v>1.11420262075137</c:v>
                </c:pt>
                <c:pt idx="16396">
                  <c:v>1.0749935397438599</c:v>
                </c:pt>
                <c:pt idx="16397">
                  <c:v>1.1635335333822501</c:v>
                </c:pt>
                <c:pt idx="16398">
                  <c:v>1.22735658368861</c:v>
                </c:pt>
                <c:pt idx="16399">
                  <c:v>1.18995737618657</c:v>
                </c:pt>
                <c:pt idx="16400">
                  <c:v>1.16812778023979</c:v>
                </c:pt>
                <c:pt idx="16401">
                  <c:v>1.1814500067570901</c:v>
                </c:pt>
                <c:pt idx="16402">
                  <c:v>1.16574278712908</c:v>
                </c:pt>
                <c:pt idx="16403">
                  <c:v>1.1769484088544699</c:v>
                </c:pt>
                <c:pt idx="16404">
                  <c:v>1.2595527723537501</c:v>
                </c:pt>
                <c:pt idx="16405">
                  <c:v>1.30072957142697</c:v>
                </c:pt>
                <c:pt idx="16406">
                  <c:v>1.3502987172540899</c:v>
                </c:pt>
                <c:pt idx="16407">
                  <c:v>1.4431053010127299</c:v>
                </c:pt>
                <c:pt idx="16408">
                  <c:v>1.3879210814832801</c:v>
                </c:pt>
                <c:pt idx="16409">
                  <c:v>1.29146266317099</c:v>
                </c:pt>
                <c:pt idx="16410">
                  <c:v>1.1661281643566099</c:v>
                </c:pt>
                <c:pt idx="16411">
                  <c:v>1.0366345283721601</c:v>
                </c:pt>
                <c:pt idx="16412">
                  <c:v>1.03187169126629</c:v>
                </c:pt>
                <c:pt idx="16413">
                  <c:v>0.96504419034294597</c:v>
                </c:pt>
                <c:pt idx="16414">
                  <c:v>0.84885687516931196</c:v>
                </c:pt>
                <c:pt idx="16415">
                  <c:v>0.71414906539617096</c:v>
                </c:pt>
                <c:pt idx="16416">
                  <c:v>0.60293862041038604</c:v>
                </c:pt>
                <c:pt idx="16417">
                  <c:v>0.55325866989865902</c:v>
                </c:pt>
                <c:pt idx="16418">
                  <c:v>0.46261125189053798</c:v>
                </c:pt>
                <c:pt idx="16419">
                  <c:v>0.36584145756365499</c:v>
                </c:pt>
                <c:pt idx="16420">
                  <c:v>0.26789797367868901</c:v>
                </c:pt>
                <c:pt idx="16421">
                  <c:v>0.13911517014294</c:v>
                </c:pt>
                <c:pt idx="16422">
                  <c:v>4.7447428219956699E-2</c:v>
                </c:pt>
                <c:pt idx="16423">
                  <c:v>-3.18962678360366E-2</c:v>
                </c:pt>
                <c:pt idx="16424">
                  <c:v>-0.107808896282943</c:v>
                </c:pt>
                <c:pt idx="16425">
                  <c:v>-0.17948831514602701</c:v>
                </c:pt>
                <c:pt idx="16426">
                  <c:v>7.4200878040821802E-2</c:v>
                </c:pt>
                <c:pt idx="16427">
                  <c:v>6.8512601292596495E-2</c:v>
                </c:pt>
                <c:pt idx="16428">
                  <c:v>2.19399937301018E-2</c:v>
                </c:pt>
                <c:pt idx="16429">
                  <c:v>5.77571972743436E-2</c:v>
                </c:pt>
                <c:pt idx="16430">
                  <c:v>3.59015330438699E-2</c:v>
                </c:pt>
                <c:pt idx="16431">
                  <c:v>-9.3060885625362397E-2</c:v>
                </c:pt>
                <c:pt idx="16432">
                  <c:v>-0.18541003346404</c:v>
                </c:pt>
                <c:pt idx="16433">
                  <c:v>-0.244803256860021</c:v>
                </c:pt>
                <c:pt idx="16434">
                  <c:v>-0.29595749914532998</c:v>
                </c:pt>
                <c:pt idx="16435">
                  <c:v>-0.37182868476265801</c:v>
                </c:pt>
                <c:pt idx="16436">
                  <c:v>-0.322061422878828</c:v>
                </c:pt>
                <c:pt idx="16437">
                  <c:v>-0.46179072654049202</c:v>
                </c:pt>
                <c:pt idx="16438">
                  <c:v>-0.51089123798474601</c:v>
                </c:pt>
                <c:pt idx="16439">
                  <c:v>-0.53527480609697897</c:v>
                </c:pt>
                <c:pt idx="16440">
                  <c:v>-0.40753691509592399</c:v>
                </c:pt>
                <c:pt idx="16441">
                  <c:v>-0.32923291075891298</c:v>
                </c:pt>
                <c:pt idx="16442">
                  <c:v>-0.30036279308594399</c:v>
                </c:pt>
                <c:pt idx="16443">
                  <c:v>-0.255014713191627</c:v>
                </c:pt>
                <c:pt idx="16444">
                  <c:v>-0.32256899275842899</c:v>
                </c:pt>
                <c:pt idx="16445">
                  <c:v>-0.37364531010388302</c:v>
                </c:pt>
                <c:pt idx="16446">
                  <c:v>-0.40824366522799099</c:v>
                </c:pt>
                <c:pt idx="16447">
                  <c:v>-0.44284202035209802</c:v>
                </c:pt>
                <c:pt idx="16448">
                  <c:v>-0.40292735677647101</c:v>
                </c:pt>
                <c:pt idx="16449">
                  <c:v>-0.40420759875421303</c:v>
                </c:pt>
                <c:pt idx="16450">
                  <c:v>-0.35605395406791202</c:v>
                </c:pt>
                <c:pt idx="16451">
                  <c:v>-0.31613929049228601</c:v>
                </c:pt>
                <c:pt idx="16452">
                  <c:v>-0.37616549756735101</c:v>
                </c:pt>
                <c:pt idx="16453">
                  <c:v>-0.394996799089047</c:v>
                </c:pt>
                <c:pt idx="16454">
                  <c:v>-0.216092553954574</c:v>
                </c:pt>
                <c:pt idx="16455">
                  <c:v>-0.32555264769368097</c:v>
                </c:pt>
                <c:pt idx="16456">
                  <c:v>-0.34747313289026399</c:v>
                </c:pt>
                <c:pt idx="16457">
                  <c:v>-0.28284466981003897</c:v>
                </c:pt>
                <c:pt idx="16458">
                  <c:v>-0.181101145117047</c:v>
                </c:pt>
                <c:pt idx="16459">
                  <c:v>-0.17830468698160901</c:v>
                </c:pt>
                <c:pt idx="16460">
                  <c:v>-0.115060508086818</c:v>
                </c:pt>
                <c:pt idx="16461">
                  <c:v>-2.38244252798403E-3</c:v>
                </c:pt>
                <c:pt idx="16462">
                  <c:v>8.5578679698827903E-2</c:v>
                </c:pt>
                <c:pt idx="16463">
                  <c:v>0.222973688589683</c:v>
                </c:pt>
                <c:pt idx="16464">
                  <c:v>0.24932082291798199</c:v>
                </c:pt>
                <c:pt idx="16465">
                  <c:v>0.242712032803587</c:v>
                </c:pt>
                <c:pt idx="16466">
                  <c:v>0.37208607763004298</c:v>
                </c:pt>
                <c:pt idx="16467">
                  <c:v>0.31188426368153399</c:v>
                </c:pt>
                <c:pt idx="16468">
                  <c:v>0.26556031730713298</c:v>
                </c:pt>
                <c:pt idx="16469">
                  <c:v>0.243953314264754</c:v>
                </c:pt>
                <c:pt idx="16470">
                  <c:v>0.242983410613793</c:v>
                </c:pt>
                <c:pt idx="16471">
                  <c:v>0.48502380311297399</c:v>
                </c:pt>
                <c:pt idx="16472">
                  <c:v>0.96863182221519195</c:v>
                </c:pt>
                <c:pt idx="16473">
                  <c:v>1.39048712960209</c:v>
                </c:pt>
                <c:pt idx="16474">
                  <c:v>0.42398145438749801</c:v>
                </c:pt>
                <c:pt idx="16475">
                  <c:v>0.58869254625179501</c:v>
                </c:pt>
                <c:pt idx="16476">
                  <c:v>0.75906536622292997</c:v>
                </c:pt>
                <c:pt idx="16477">
                  <c:v>0.90645704395375803</c:v>
                </c:pt>
                <c:pt idx="16478">
                  <c:v>0.99420739394546698</c:v>
                </c:pt>
                <c:pt idx="16479">
                  <c:v>1.09216518501225</c:v>
                </c:pt>
                <c:pt idx="16480">
                  <c:v>1.1559360490848101</c:v>
                </c:pt>
                <c:pt idx="16481">
                  <c:v>1.17662284086906</c:v>
                </c:pt>
                <c:pt idx="16482">
                  <c:v>1.2220265759853199</c:v>
                </c:pt>
                <c:pt idx="16483">
                  <c:v>1.2715894482716601</c:v>
                </c:pt>
                <c:pt idx="16484">
                  <c:v>1.3019645968628299</c:v>
                </c:pt>
                <c:pt idx="16485">
                  <c:v>1.2412456354912</c:v>
                </c:pt>
                <c:pt idx="16486">
                  <c:v>1.08815685999473</c:v>
                </c:pt>
                <c:pt idx="16487">
                  <c:v>1.0674363932438899</c:v>
                </c:pt>
                <c:pt idx="16488">
                  <c:v>1.13218874353947</c:v>
                </c:pt>
                <c:pt idx="16489">
                  <c:v>1.03184429870371</c:v>
                </c:pt>
                <c:pt idx="16490">
                  <c:v>0.92961068713301298</c:v>
                </c:pt>
                <c:pt idx="16491">
                  <c:v>0.94696646232699999</c:v>
                </c:pt>
                <c:pt idx="16492">
                  <c:v>1.0444800859868699</c:v>
                </c:pt>
                <c:pt idx="16493">
                  <c:v>1.16890655100013</c:v>
                </c:pt>
                <c:pt idx="16494">
                  <c:v>1.05793257595391</c:v>
                </c:pt>
                <c:pt idx="16495">
                  <c:v>0.84785294789119103</c:v>
                </c:pt>
                <c:pt idx="16496">
                  <c:v>0.89378599984801099</c:v>
                </c:pt>
                <c:pt idx="16497">
                  <c:v>1.08841195712858</c:v>
                </c:pt>
                <c:pt idx="16498">
                  <c:v>1.1734233098468601</c:v>
                </c:pt>
                <c:pt idx="16499">
                  <c:v>1.11201172767652</c:v>
                </c:pt>
                <c:pt idx="16500">
                  <c:v>1.11932880558544</c:v>
                </c:pt>
                <c:pt idx="16501">
                  <c:v>1.1574852031451499</c:v>
                </c:pt>
                <c:pt idx="16502">
                  <c:v>1.15852653909209</c:v>
                </c:pt>
                <c:pt idx="16503">
                  <c:v>1.2255590171538899</c:v>
                </c:pt>
                <c:pt idx="16504">
                  <c:v>1.1836323447672401</c:v>
                </c:pt>
                <c:pt idx="16505">
                  <c:v>1.0675496215688101</c:v>
                </c:pt>
                <c:pt idx="16506">
                  <c:v>0.97807300843734701</c:v>
                </c:pt>
                <c:pt idx="16507">
                  <c:v>0.82487522362615595</c:v>
                </c:pt>
                <c:pt idx="16508">
                  <c:v>0.75723987587462804</c:v>
                </c:pt>
                <c:pt idx="16509">
                  <c:v>0.65883928088607102</c:v>
                </c:pt>
                <c:pt idx="16510">
                  <c:v>0.537531616070963</c:v>
                </c:pt>
                <c:pt idx="16511">
                  <c:v>0.45522817960355799</c:v>
                </c:pt>
                <c:pt idx="16512">
                  <c:v>0.41290913214113201</c:v>
                </c:pt>
                <c:pt idx="16513">
                  <c:v>0.331511783917249</c:v>
                </c:pt>
                <c:pt idx="16514">
                  <c:v>0.223582398040162</c:v>
                </c:pt>
                <c:pt idx="16515">
                  <c:v>0.17121449596159299</c:v>
                </c:pt>
                <c:pt idx="16516">
                  <c:v>7.3420808671957299E-2</c:v>
                </c:pt>
                <c:pt idx="16517">
                  <c:v>1.48587877870005E-2</c:v>
                </c:pt>
                <c:pt idx="16518">
                  <c:v>0.176056545916528</c:v>
                </c:pt>
                <c:pt idx="16519">
                  <c:v>0.17532075844950901</c:v>
                </c:pt>
                <c:pt idx="16520">
                  <c:v>8.3596688209773201E-2</c:v>
                </c:pt>
                <c:pt idx="16521">
                  <c:v>5.7784466855426202E-2</c:v>
                </c:pt>
                <c:pt idx="16522">
                  <c:v>-9.8367894161399704E-4</c:v>
                </c:pt>
                <c:pt idx="16523">
                  <c:v>-9.2707749181350899E-2</c:v>
                </c:pt>
                <c:pt idx="16524">
                  <c:v>-0.16245693998434901</c:v>
                </c:pt>
                <c:pt idx="16525">
                  <c:v>-0.24044511189802001</c:v>
                </c:pt>
                <c:pt idx="16526">
                  <c:v>-0.33491124603303901</c:v>
                </c:pt>
                <c:pt idx="16527">
                  <c:v>-0.36346553128266801</c:v>
                </c:pt>
                <c:pt idx="16528">
                  <c:v>-0.39313530657936502</c:v>
                </c:pt>
                <c:pt idx="16529">
                  <c:v>-0.39808813854403902</c:v>
                </c:pt>
                <c:pt idx="16530">
                  <c:v>-0.31241217829130402</c:v>
                </c:pt>
                <c:pt idx="16531">
                  <c:v>-0.30088704803463101</c:v>
                </c:pt>
                <c:pt idx="16532">
                  <c:v>-0.43932561158071798</c:v>
                </c:pt>
                <c:pt idx="16533">
                  <c:v>-0.50361334513074196</c:v>
                </c:pt>
                <c:pt idx="16534">
                  <c:v>-0.559662097570092</c:v>
                </c:pt>
                <c:pt idx="16535">
                  <c:v>-0.53332103890270499</c:v>
                </c:pt>
                <c:pt idx="16536">
                  <c:v>-0.58051408027229801</c:v>
                </c:pt>
                <c:pt idx="16537">
                  <c:v>-0.51236138609245896</c:v>
                </c:pt>
                <c:pt idx="16538">
                  <c:v>-0.52659850301935796</c:v>
                </c:pt>
                <c:pt idx="16539">
                  <c:v>-0.35957803551143402</c:v>
                </c:pt>
                <c:pt idx="16540">
                  <c:v>-0.41811850109745302</c:v>
                </c:pt>
                <c:pt idx="16541">
                  <c:v>-0.30364036335932398</c:v>
                </c:pt>
                <c:pt idx="16542">
                  <c:v>-0.34570286672399703</c:v>
                </c:pt>
                <c:pt idx="16543">
                  <c:v>-0.29713657787125702</c:v>
                </c:pt>
                <c:pt idx="16544">
                  <c:v>-0.34962509849090401</c:v>
                </c:pt>
                <c:pt idx="16545">
                  <c:v>-0.32796278911448601</c:v>
                </c:pt>
                <c:pt idx="16546">
                  <c:v>-0.281583536406047</c:v>
                </c:pt>
                <c:pt idx="16547">
                  <c:v>-0.35055001924703999</c:v>
                </c:pt>
                <c:pt idx="16548">
                  <c:v>-0.240618821354602</c:v>
                </c:pt>
                <c:pt idx="16549">
                  <c:v>-0.37785705678237702</c:v>
                </c:pt>
                <c:pt idx="16550">
                  <c:v>-0.30088178333263399</c:v>
                </c:pt>
                <c:pt idx="16551">
                  <c:v>-0.38460628815576298</c:v>
                </c:pt>
                <c:pt idx="16552">
                  <c:v>-0.189896429920036</c:v>
                </c:pt>
                <c:pt idx="16553">
                  <c:v>-0.25475412328526598</c:v>
                </c:pt>
                <c:pt idx="16554">
                  <c:v>-0.15483219443702201</c:v>
                </c:pt>
                <c:pt idx="16555">
                  <c:v>-0.15377803891686201</c:v>
                </c:pt>
                <c:pt idx="16556">
                  <c:v>-3.4015818961071899E-2</c:v>
                </c:pt>
                <c:pt idx="16557">
                  <c:v>0.102224363216065</c:v>
                </c:pt>
                <c:pt idx="16558">
                  <c:v>0.246703526503878</c:v>
                </c:pt>
                <c:pt idx="16559">
                  <c:v>0.39942167090236202</c:v>
                </c:pt>
                <c:pt idx="16560">
                  <c:v>0.32854870267005898</c:v>
                </c:pt>
                <c:pt idx="16561">
                  <c:v>0.397738413319211</c:v>
                </c:pt>
                <c:pt idx="16562">
                  <c:v>0.28567053953353999</c:v>
                </c:pt>
                <c:pt idx="16563">
                  <c:v>0.27247043907595397</c:v>
                </c:pt>
                <c:pt idx="16564">
                  <c:v>0.29892234488637698</c:v>
                </c:pt>
                <c:pt idx="16565">
                  <c:v>0.30582701362350101</c:v>
                </c:pt>
                <c:pt idx="16566">
                  <c:v>0.75917129976298303</c:v>
                </c:pt>
                <c:pt idx="16567">
                  <c:v>1.05597494479966</c:v>
                </c:pt>
                <c:pt idx="16568">
                  <c:v>0.35171253718232398</c:v>
                </c:pt>
                <c:pt idx="16569">
                  <c:v>0.44502258746060802</c:v>
                </c:pt>
                <c:pt idx="16570">
                  <c:v>0.58376597369179895</c:v>
                </c:pt>
                <c:pt idx="16571">
                  <c:v>0.72658920386359305</c:v>
                </c:pt>
                <c:pt idx="16572">
                  <c:v>0.79651810490447394</c:v>
                </c:pt>
                <c:pt idx="16573">
                  <c:v>0.84580990655393795</c:v>
                </c:pt>
                <c:pt idx="16574">
                  <c:v>0.95678556832068096</c:v>
                </c:pt>
                <c:pt idx="16575">
                  <c:v>1.93392942757291</c:v>
                </c:pt>
                <c:pt idx="16576">
                  <c:v>1.7771808689952</c:v>
                </c:pt>
                <c:pt idx="16577">
                  <c:v>1.1234358274638301</c:v>
                </c:pt>
                <c:pt idx="16578">
                  <c:v>1.23472646047045</c:v>
                </c:pt>
                <c:pt idx="16579">
                  <c:v>1.3255333597288601</c:v>
                </c:pt>
                <c:pt idx="16580">
                  <c:v>1.31966097125006</c:v>
                </c:pt>
                <c:pt idx="16581">
                  <c:v>1.2313935508488001</c:v>
                </c:pt>
                <c:pt idx="16582">
                  <c:v>1.1244522702048201</c:v>
                </c:pt>
                <c:pt idx="16583">
                  <c:v>1.06929413988948</c:v>
                </c:pt>
                <c:pt idx="16584">
                  <c:v>1.0983371631183301</c:v>
                </c:pt>
                <c:pt idx="16585">
                  <c:v>1.1601086727329</c:v>
                </c:pt>
                <c:pt idx="16586">
                  <c:v>1.145760892387</c:v>
                </c:pt>
                <c:pt idx="16587">
                  <c:v>1.0753174588991601</c:v>
                </c:pt>
                <c:pt idx="16588">
                  <c:v>1.00369345650853</c:v>
                </c:pt>
                <c:pt idx="16589">
                  <c:v>1.0583894589585101</c:v>
                </c:pt>
                <c:pt idx="16590">
                  <c:v>1.2303255845085801</c:v>
                </c:pt>
                <c:pt idx="16591">
                  <c:v>1.2246927242328001</c:v>
                </c:pt>
                <c:pt idx="16592">
                  <c:v>1.20759268960444</c:v>
                </c:pt>
                <c:pt idx="16593">
                  <c:v>1.19411240198702</c:v>
                </c:pt>
                <c:pt idx="16594">
                  <c:v>1.0574229805939801</c:v>
                </c:pt>
                <c:pt idx="16595">
                  <c:v>1.0832536526106999</c:v>
                </c:pt>
                <c:pt idx="16596">
                  <c:v>0.98712061465146095</c:v>
                </c:pt>
                <c:pt idx="16597">
                  <c:v>0.87050384294402094</c:v>
                </c:pt>
                <c:pt idx="16598">
                  <c:v>0.89018185827958696</c:v>
                </c:pt>
                <c:pt idx="16599">
                  <c:v>0.88083042746984097</c:v>
                </c:pt>
                <c:pt idx="16600">
                  <c:v>0.78955027874060102</c:v>
                </c:pt>
                <c:pt idx="16601">
                  <c:v>0.75178908143172096</c:v>
                </c:pt>
                <c:pt idx="16602">
                  <c:v>0.63336865329210501</c:v>
                </c:pt>
                <c:pt idx="16603">
                  <c:v>0.450920322186323</c:v>
                </c:pt>
                <c:pt idx="16604">
                  <c:v>0.34331759399668099</c:v>
                </c:pt>
                <c:pt idx="16605">
                  <c:v>0.324613077748449</c:v>
                </c:pt>
                <c:pt idx="16606">
                  <c:v>0.321931647607615</c:v>
                </c:pt>
                <c:pt idx="16607">
                  <c:v>0.230352005525371</c:v>
                </c:pt>
                <c:pt idx="16608">
                  <c:v>0.16912495240627301</c:v>
                </c:pt>
                <c:pt idx="16609">
                  <c:v>0.14282228369427299</c:v>
                </c:pt>
                <c:pt idx="16610">
                  <c:v>0.14335316310620799</c:v>
                </c:pt>
                <c:pt idx="16611">
                  <c:v>0.117124566807963</c:v>
                </c:pt>
                <c:pt idx="16612">
                  <c:v>1.7445012647506301E-2</c:v>
                </c:pt>
                <c:pt idx="16613">
                  <c:v>-4.9278617070255298E-2</c:v>
                </c:pt>
                <c:pt idx="16614">
                  <c:v>-0.138602585328125</c:v>
                </c:pt>
                <c:pt idx="16615">
                  <c:v>0.33001747548202298</c:v>
                </c:pt>
                <c:pt idx="16616">
                  <c:v>0.34869574286377197</c:v>
                </c:pt>
                <c:pt idx="16617">
                  <c:v>0.29322318024945698</c:v>
                </c:pt>
                <c:pt idx="16618">
                  <c:v>0.22127265541379301</c:v>
                </c:pt>
                <c:pt idx="16619">
                  <c:v>0.124605187246109</c:v>
                </c:pt>
                <c:pt idx="16620">
                  <c:v>0.100395670969444</c:v>
                </c:pt>
                <c:pt idx="16621">
                  <c:v>-3.0920599745980298E-2</c:v>
                </c:pt>
                <c:pt idx="16622">
                  <c:v>-0.104564002686687</c:v>
                </c:pt>
                <c:pt idx="16623">
                  <c:v>-0.161729443406047</c:v>
                </c:pt>
                <c:pt idx="16624">
                  <c:v>-0.163087805819533</c:v>
                </c:pt>
                <c:pt idx="16625">
                  <c:v>-0.19740209267571601</c:v>
                </c:pt>
                <c:pt idx="16626">
                  <c:v>-0.24819434175324501</c:v>
                </c:pt>
                <c:pt idx="16627">
                  <c:v>-0.15068493083864601</c:v>
                </c:pt>
                <c:pt idx="16628">
                  <c:v>-0.32819003249465201</c:v>
                </c:pt>
                <c:pt idx="16629">
                  <c:v>-0.37387143637987702</c:v>
                </c:pt>
                <c:pt idx="16630">
                  <c:v>-0.42779182137577598</c:v>
                </c:pt>
                <c:pt idx="16631">
                  <c:v>-0.39108341415426401</c:v>
                </c:pt>
                <c:pt idx="16632">
                  <c:v>-0.41397373749010402</c:v>
                </c:pt>
                <c:pt idx="16633">
                  <c:v>-0.370952211940556</c:v>
                </c:pt>
                <c:pt idx="16634">
                  <c:v>-0.34440864861235398</c:v>
                </c:pt>
                <c:pt idx="16635">
                  <c:v>-0.33434304750549998</c:v>
                </c:pt>
                <c:pt idx="16636">
                  <c:v>-0.163799228270538</c:v>
                </c:pt>
                <c:pt idx="16637">
                  <c:v>-0.20746891791309199</c:v>
                </c:pt>
                <c:pt idx="16638">
                  <c:v>-0.20994370200227899</c:v>
                </c:pt>
                <c:pt idx="16639">
                  <c:v>-0.228896448312813</c:v>
                </c:pt>
                <c:pt idx="16640">
                  <c:v>-0.23575202632349801</c:v>
                </c:pt>
                <c:pt idx="16641">
                  <c:v>-0.24260760433418099</c:v>
                </c:pt>
                <c:pt idx="16642">
                  <c:v>-0.101161522352738</c:v>
                </c:pt>
                <c:pt idx="16643">
                  <c:v>-0.223362835912855</c:v>
                </c:pt>
                <c:pt idx="16644">
                  <c:v>-0.23491737694468401</c:v>
                </c:pt>
                <c:pt idx="16645">
                  <c:v>-0.25471089908718703</c:v>
                </c:pt>
                <c:pt idx="16646">
                  <c:v>-0.28274340234036399</c:v>
                </c:pt>
                <c:pt idx="16647">
                  <c:v>-0.26134201892949899</c:v>
                </c:pt>
                <c:pt idx="16648">
                  <c:v>-0.25835454597298702</c:v>
                </c:pt>
                <c:pt idx="16649">
                  <c:v>-0.234809266854525</c:v>
                </c:pt>
                <c:pt idx="16650">
                  <c:v>-0.15351182673187799</c:v>
                </c:pt>
                <c:pt idx="16651">
                  <c:v>-2.6939637115260401E-2</c:v>
                </c:pt>
                <c:pt idx="16652">
                  <c:v>-5.2442339808605902E-2</c:v>
                </c:pt>
                <c:pt idx="16653">
                  <c:v>3.33208491068782E-2</c:v>
                </c:pt>
                <c:pt idx="16654">
                  <c:v>0.12732301913303501</c:v>
                </c:pt>
                <c:pt idx="16655">
                  <c:v>0.23780315138054101</c:v>
                </c:pt>
                <c:pt idx="16656">
                  <c:v>0.21038413221573299</c:v>
                </c:pt>
                <c:pt idx="16657">
                  <c:v>0.22416001860429399</c:v>
                </c:pt>
                <c:pt idx="16658">
                  <c:v>0.22145794277150799</c:v>
                </c:pt>
                <c:pt idx="16659">
                  <c:v>0.27642873471343798</c:v>
                </c:pt>
                <c:pt idx="16660">
                  <c:v>0.38686093499112201</c:v>
                </c:pt>
                <c:pt idx="16661">
                  <c:v>0.52608992254143105</c:v>
                </c:pt>
                <c:pt idx="16662">
                  <c:v>0.70651381564510796</c:v>
                </c:pt>
                <c:pt idx="16663">
                  <c:v>0.87869872763811196</c:v>
                </c:pt>
                <c:pt idx="16664">
                  <c:v>1.22975252903881</c:v>
                </c:pt>
                <c:pt idx="16665">
                  <c:v>1.41194686428542</c:v>
                </c:pt>
                <c:pt idx="16666">
                  <c:v>1.50759225125523</c:v>
                </c:pt>
                <c:pt idx="16667">
                  <c:v>0.53431819383631096</c:v>
                </c:pt>
                <c:pt idx="16668">
                  <c:v>0.67800244124958298</c:v>
                </c:pt>
                <c:pt idx="16669">
                  <c:v>0.73936572915415699</c:v>
                </c:pt>
                <c:pt idx="16670">
                  <c:v>0.81509559530387998</c:v>
                </c:pt>
                <c:pt idx="16671">
                  <c:v>0.87850141558661299</c:v>
                </c:pt>
                <c:pt idx="16672">
                  <c:v>0.95106216628638895</c:v>
                </c:pt>
                <c:pt idx="16673">
                  <c:v>1.0258928874213</c:v>
                </c:pt>
                <c:pt idx="16674">
                  <c:v>1.11296836119373</c:v>
                </c:pt>
                <c:pt idx="16675">
                  <c:v>1.15915043988352</c:v>
                </c:pt>
                <c:pt idx="16676">
                  <c:v>1.2510731868307901</c:v>
                </c:pt>
                <c:pt idx="16677">
                  <c:v>1.30822491501417</c:v>
                </c:pt>
                <c:pt idx="16678">
                  <c:v>1.29499892585566</c:v>
                </c:pt>
                <c:pt idx="16679">
                  <c:v>1.3086857780505401</c:v>
                </c:pt>
                <c:pt idx="16680">
                  <c:v>1.23526765435454</c:v>
                </c:pt>
                <c:pt idx="16681">
                  <c:v>1.24644046060237</c:v>
                </c:pt>
                <c:pt idx="16682">
                  <c:v>1.3068197154572601</c:v>
                </c:pt>
                <c:pt idx="16683">
                  <c:v>1.2270517773855201</c:v>
                </c:pt>
                <c:pt idx="16684">
                  <c:v>1.28666737475878</c:v>
                </c:pt>
                <c:pt idx="16685">
                  <c:v>1.32141266315679</c:v>
                </c:pt>
                <c:pt idx="16686">
                  <c:v>1.1499403232838501</c:v>
                </c:pt>
                <c:pt idx="16687">
                  <c:v>1.0507348674877399</c:v>
                </c:pt>
                <c:pt idx="16688">
                  <c:v>1.17074233381199</c:v>
                </c:pt>
                <c:pt idx="16689">
                  <c:v>1.25975711484223</c:v>
                </c:pt>
                <c:pt idx="16690">
                  <c:v>1.30530179906826</c:v>
                </c:pt>
                <c:pt idx="16691">
                  <c:v>1.2808495696525799</c:v>
                </c:pt>
                <c:pt idx="16692">
                  <c:v>1.2461882846976999</c:v>
                </c:pt>
                <c:pt idx="16693">
                  <c:v>1.2404030802449</c:v>
                </c:pt>
                <c:pt idx="16694">
                  <c:v>1.29652917396636</c:v>
                </c:pt>
                <c:pt idx="16695">
                  <c:v>1.26383112816017</c:v>
                </c:pt>
                <c:pt idx="16696">
                  <c:v>1.0639800184401</c:v>
                </c:pt>
                <c:pt idx="16697">
                  <c:v>0.98379236789847202</c:v>
                </c:pt>
                <c:pt idx="16698">
                  <c:v>0.81493394347240899</c:v>
                </c:pt>
                <c:pt idx="16699">
                  <c:v>0.56125715104553997</c:v>
                </c:pt>
                <c:pt idx="16700">
                  <c:v>0.36288610051910802</c:v>
                </c:pt>
                <c:pt idx="16701">
                  <c:v>0.224156377731796</c:v>
                </c:pt>
                <c:pt idx="16702">
                  <c:v>7.7034308190589304E-2</c:v>
                </c:pt>
                <c:pt idx="16703">
                  <c:v>-6.7664425272262102E-2</c:v>
                </c:pt>
                <c:pt idx="16704">
                  <c:v>-8.4577208614577994E-3</c:v>
                </c:pt>
                <c:pt idx="16705">
                  <c:v>-8.7389785465528599E-3</c:v>
                </c:pt>
                <c:pt idx="16706">
                  <c:v>1.13894251027951E-2</c:v>
                </c:pt>
                <c:pt idx="16707">
                  <c:v>4.4217457503616303E-2</c:v>
                </c:pt>
                <c:pt idx="16708">
                  <c:v>3.5658073713965302E-2</c:v>
                </c:pt>
                <c:pt idx="16709">
                  <c:v>2.6514180038102203E-4</c:v>
                </c:pt>
                <c:pt idx="16710" formatCode="0.00E+00">
                  <c:v>2.4032350871006101E-5</c:v>
                </c:pt>
                <c:pt idx="16711">
                  <c:v>-4.7613652200236702E-2</c:v>
                </c:pt>
                <c:pt idx="16712">
                  <c:v>0.472826204223325</c:v>
                </c:pt>
                <c:pt idx="16713">
                  <c:v>0.45407518505106198</c:v>
                </c:pt>
                <c:pt idx="16714">
                  <c:v>0.33645639255071402</c:v>
                </c:pt>
                <c:pt idx="16715">
                  <c:v>0.25179352449305997</c:v>
                </c:pt>
                <c:pt idx="16716">
                  <c:v>0.24428338866337601</c:v>
                </c:pt>
                <c:pt idx="16717">
                  <c:v>0.137905479505606</c:v>
                </c:pt>
                <c:pt idx="16718">
                  <c:v>0.122156362565249</c:v>
                </c:pt>
                <c:pt idx="16719">
                  <c:v>1.5778453407479898E-2</c:v>
                </c:pt>
                <c:pt idx="16720">
                  <c:v>8.4530567993450004E-2</c:v>
                </c:pt>
                <c:pt idx="16721">
                  <c:v>4.6175928140661397E-2</c:v>
                </c:pt>
                <c:pt idx="16722">
                  <c:v>-0.30341340438959802</c:v>
                </c:pt>
                <c:pt idx="16723">
                  <c:v>-0.29037091842965301</c:v>
                </c:pt>
                <c:pt idx="16724">
                  <c:v>-0.35272852888902001</c:v>
                </c:pt>
                <c:pt idx="16725">
                  <c:v>-0.40480462585955501</c:v>
                </c:pt>
                <c:pt idx="16726">
                  <c:v>-0.450684274097575</c:v>
                </c:pt>
                <c:pt idx="16727">
                  <c:v>-0.47592682294417599</c:v>
                </c:pt>
                <c:pt idx="16728">
                  <c:v>-0.46929916709026798</c:v>
                </c:pt>
                <c:pt idx="16729">
                  <c:v>-0.48338268304153198</c:v>
                </c:pt>
                <c:pt idx="16730">
                  <c:v>-0.35055103159913698</c:v>
                </c:pt>
                <c:pt idx="16731">
                  <c:v>-0.409835224630618</c:v>
                </c:pt>
                <c:pt idx="16732">
                  <c:v>-0.46774804719163099</c:v>
                </c:pt>
                <c:pt idx="16733">
                  <c:v>-0.38559819087119002</c:v>
                </c:pt>
                <c:pt idx="16734">
                  <c:v>-0.31168731566142199</c:v>
                </c:pt>
                <c:pt idx="16735">
                  <c:v>-0.43551198710782502</c:v>
                </c:pt>
                <c:pt idx="16736">
                  <c:v>-0.48652729515794702</c:v>
                </c:pt>
                <c:pt idx="16737">
                  <c:v>-0.52106464098672201</c:v>
                </c:pt>
                <c:pt idx="16738">
                  <c:v>-0.572079949036844</c:v>
                </c:pt>
                <c:pt idx="16739">
                  <c:v>-0.57366137042292398</c:v>
                </c:pt>
                <c:pt idx="16740">
                  <c:v>-0.55958804350042901</c:v>
                </c:pt>
                <c:pt idx="16741">
                  <c:v>-0.59086875930137395</c:v>
                </c:pt>
                <c:pt idx="16742">
                  <c:v>-0.60151237571090099</c:v>
                </c:pt>
                <c:pt idx="16743">
                  <c:v>-0.58743904878840603</c:v>
                </c:pt>
                <c:pt idx="16744">
                  <c:v>-0.56344019788806299</c:v>
                </c:pt>
                <c:pt idx="16745">
                  <c:v>-0.630070139205132</c:v>
                </c:pt>
                <c:pt idx="16746">
                  <c:v>-0.63078823163680897</c:v>
                </c:pt>
                <c:pt idx="16747">
                  <c:v>-0.43785062135292102</c:v>
                </c:pt>
                <c:pt idx="16748">
                  <c:v>-0.47472020932511899</c:v>
                </c:pt>
                <c:pt idx="16749">
                  <c:v>-0.42504084902050898</c:v>
                </c:pt>
                <c:pt idx="16750">
                  <c:v>-0.40831741315859399</c:v>
                </c:pt>
                <c:pt idx="16751">
                  <c:v>-0.33392110952196302</c:v>
                </c:pt>
                <c:pt idx="16752">
                  <c:v>-0.40167983086416997</c:v>
                </c:pt>
                <c:pt idx="16753">
                  <c:v>-0.46943855220637698</c:v>
                </c:pt>
                <c:pt idx="16754">
                  <c:v>-0.52895829243791004</c:v>
                </c:pt>
                <c:pt idx="16755">
                  <c:v>-0.53080516489472795</c:v>
                </c:pt>
                <c:pt idx="16756">
                  <c:v>-0.39155723928071301</c:v>
                </c:pt>
                <c:pt idx="16757">
                  <c:v>-0.116405771955316</c:v>
                </c:pt>
                <c:pt idx="16758">
                  <c:v>8.4594865374017697E-2</c:v>
                </c:pt>
                <c:pt idx="16759">
                  <c:v>0.27735652159267699</c:v>
                </c:pt>
                <c:pt idx="16760">
                  <c:v>0.62780005785855797</c:v>
                </c:pt>
                <c:pt idx="16761">
                  <c:v>-0.32402331631419901</c:v>
                </c:pt>
                <c:pt idx="16762">
                  <c:v>-0.133972827034748</c:v>
                </c:pt>
                <c:pt idx="16763">
                  <c:v>0.13446692264030399</c:v>
                </c:pt>
                <c:pt idx="16764">
                  <c:v>0.21963970927067999</c:v>
                </c:pt>
                <c:pt idx="16765">
                  <c:v>0.27177727822889403</c:v>
                </c:pt>
                <c:pt idx="16766">
                  <c:v>0.28876824553874603</c:v>
                </c:pt>
                <c:pt idx="16767">
                  <c:v>0.29547769935976698</c:v>
                </c:pt>
                <c:pt idx="16768">
                  <c:v>0.40445246213564001</c:v>
                </c:pt>
                <c:pt idx="16769">
                  <c:v>0.50934738097091103</c:v>
                </c:pt>
                <c:pt idx="16770">
                  <c:v>0.58763618973922205</c:v>
                </c:pt>
                <c:pt idx="16771">
                  <c:v>0.71717397949275996</c:v>
                </c:pt>
                <c:pt idx="16772">
                  <c:v>0.79955377301054498</c:v>
                </c:pt>
                <c:pt idx="16773">
                  <c:v>0.82418140552414498</c:v>
                </c:pt>
                <c:pt idx="16774">
                  <c:v>0.904291228606796</c:v>
                </c:pt>
                <c:pt idx="16775">
                  <c:v>0.96988632861679003</c:v>
                </c:pt>
                <c:pt idx="16776">
                  <c:v>0.99442604201406104</c:v>
                </c:pt>
                <c:pt idx="16777">
                  <c:v>1.0064142714873701</c:v>
                </c:pt>
                <c:pt idx="16778">
                  <c:v>0.85973481343452895</c:v>
                </c:pt>
                <c:pt idx="16779">
                  <c:v>0.85751505112161996</c:v>
                </c:pt>
                <c:pt idx="16780">
                  <c:v>0.93611356003150104</c:v>
                </c:pt>
                <c:pt idx="16781">
                  <c:v>0.872215612350146</c:v>
                </c:pt>
                <c:pt idx="16782">
                  <c:v>0.71556704684375405</c:v>
                </c:pt>
                <c:pt idx="16783">
                  <c:v>0.57123730638863901</c:v>
                </c:pt>
                <c:pt idx="16784">
                  <c:v>0.57406730409769802</c:v>
                </c:pt>
                <c:pt idx="16785">
                  <c:v>0.62429387690835503</c:v>
                </c:pt>
                <c:pt idx="16786">
                  <c:v>0.55485699054057402</c:v>
                </c:pt>
                <c:pt idx="16787">
                  <c:v>0.52253516578555803</c:v>
                </c:pt>
                <c:pt idx="16788">
                  <c:v>0.57565821364334502</c:v>
                </c:pt>
                <c:pt idx="16789">
                  <c:v>0.59582533705843599</c:v>
                </c:pt>
                <c:pt idx="16790">
                  <c:v>0.69022258369905798</c:v>
                </c:pt>
                <c:pt idx="16791">
                  <c:v>0.75990288700765996</c:v>
                </c:pt>
                <c:pt idx="16792">
                  <c:v>0.66473403935984698</c:v>
                </c:pt>
                <c:pt idx="16793">
                  <c:v>0.52005201181852301</c:v>
                </c:pt>
                <c:pt idx="16794">
                  <c:v>0.35700285532091403</c:v>
                </c:pt>
                <c:pt idx="16795">
                  <c:v>0.336143424128099</c:v>
                </c:pt>
                <c:pt idx="16796">
                  <c:v>0.42918461456764201</c:v>
                </c:pt>
                <c:pt idx="16797">
                  <c:v>0.44572049053080698</c:v>
                </c:pt>
                <c:pt idx="16798">
                  <c:v>0.42945380769449798</c:v>
                </c:pt>
                <c:pt idx="16799">
                  <c:v>0.470785920219151</c:v>
                </c:pt>
                <c:pt idx="16800">
                  <c:v>0.40730749107150499</c:v>
                </c:pt>
                <c:pt idx="16801">
                  <c:v>0.273065320066045</c:v>
                </c:pt>
                <c:pt idx="16802">
                  <c:v>0.19476543655930001</c:v>
                </c:pt>
                <c:pt idx="16803">
                  <c:v>0.120550617808872</c:v>
                </c:pt>
                <c:pt idx="16804">
                  <c:v>6.4099489836657503E-2</c:v>
                </c:pt>
                <c:pt idx="16805">
                  <c:v>9.8442598858227998E-3</c:v>
                </c:pt>
                <c:pt idx="16806">
                  <c:v>1.1071220504038699E-2</c:v>
                </c:pt>
                <c:pt idx="16807">
                  <c:v>-4.9306385765557001E-2</c:v>
                </c:pt>
                <c:pt idx="16808">
                  <c:v>-9.9982727838451399E-2</c:v>
                </c:pt>
                <c:pt idx="16809">
                  <c:v>1.37718841773114E-2</c:v>
                </c:pt>
                <c:pt idx="16810">
                  <c:v>-4.7106678154948102E-2</c:v>
                </c:pt>
                <c:pt idx="16811">
                  <c:v>-0.10798524048720801</c:v>
                </c:pt>
                <c:pt idx="16812">
                  <c:v>-0.20995596615679299</c:v>
                </c:pt>
                <c:pt idx="16813">
                  <c:v>-0.28921034403413998</c:v>
                </c:pt>
                <c:pt idx="16814">
                  <c:v>-0.32326862527855299</c:v>
                </c:pt>
                <c:pt idx="16815">
                  <c:v>-0.29341565317735901</c:v>
                </c:pt>
                <c:pt idx="16816">
                  <c:v>-0.24339885843004599</c:v>
                </c:pt>
                <c:pt idx="16817">
                  <c:v>-0.15218715812936401</c:v>
                </c:pt>
                <c:pt idx="16818">
                  <c:v>-0.25047202337418001</c:v>
                </c:pt>
                <c:pt idx="16819">
                  <c:v>-0.126304398630804</c:v>
                </c:pt>
                <c:pt idx="16820">
                  <c:v>-0.18397726640552001</c:v>
                </c:pt>
                <c:pt idx="16821">
                  <c:v>-0.19221624751619401</c:v>
                </c:pt>
                <c:pt idx="16822">
                  <c:v>-0.26636707751225802</c:v>
                </c:pt>
                <c:pt idx="16823">
                  <c:v>-0.44581240298985397</c:v>
                </c:pt>
                <c:pt idx="16824">
                  <c:v>-0.44905834924705101</c:v>
                </c:pt>
                <c:pt idx="16825">
                  <c:v>-0.56765003105368195</c:v>
                </c:pt>
                <c:pt idx="16826">
                  <c:v>-0.496745147314817</c:v>
                </c:pt>
                <c:pt idx="16827">
                  <c:v>-0.409362301354603</c:v>
                </c:pt>
                <c:pt idx="16828">
                  <c:v>-0.56367221239697196</c:v>
                </c:pt>
                <c:pt idx="16829">
                  <c:v>-0.44609574678710601</c:v>
                </c:pt>
                <c:pt idx="16830">
                  <c:v>-0.55097177116543306</c:v>
                </c:pt>
                <c:pt idx="16831">
                  <c:v>-0.61465288999039003</c:v>
                </c:pt>
                <c:pt idx="16832">
                  <c:v>-0.54546416178360302</c:v>
                </c:pt>
                <c:pt idx="16833">
                  <c:v>-0.64105505579029098</c:v>
                </c:pt>
                <c:pt idx="16834">
                  <c:v>-0.67897308202226203</c:v>
                </c:pt>
                <c:pt idx="16835">
                  <c:v>-0.70457228320295795</c:v>
                </c:pt>
                <c:pt idx="16836">
                  <c:v>-0.71117945813997296</c:v>
                </c:pt>
                <c:pt idx="16837">
                  <c:v>-0.60652074146815804</c:v>
                </c:pt>
                <c:pt idx="16838">
                  <c:v>-0.71615482690332999</c:v>
                </c:pt>
                <c:pt idx="16839">
                  <c:v>-0.74747894517236602</c:v>
                </c:pt>
                <c:pt idx="16840">
                  <c:v>-0.61009570574813698</c:v>
                </c:pt>
                <c:pt idx="16841">
                  <c:v>-0.66636816903947504</c:v>
                </c:pt>
                <c:pt idx="16842">
                  <c:v>-0.71856078839021098</c:v>
                </c:pt>
                <c:pt idx="16843">
                  <c:v>-0.73363834612818002</c:v>
                </c:pt>
                <c:pt idx="16844">
                  <c:v>-0.48291547970221199</c:v>
                </c:pt>
                <c:pt idx="16845">
                  <c:v>-0.561831150932663</c:v>
                </c:pt>
                <c:pt idx="16846">
                  <c:v>-0.52124194944360902</c:v>
                </c:pt>
                <c:pt idx="16847">
                  <c:v>-0.51360867239725205</c:v>
                </c:pt>
                <c:pt idx="16848">
                  <c:v>-0.551466358702005</c:v>
                </c:pt>
                <c:pt idx="16849">
                  <c:v>-0.53165117723204203</c:v>
                </c:pt>
                <c:pt idx="16850">
                  <c:v>-0.60246478797949099</c:v>
                </c:pt>
                <c:pt idx="16851">
                  <c:v>-0.62384451206289804</c:v>
                </c:pt>
                <c:pt idx="16852">
                  <c:v>-0.65992013575348196</c:v>
                </c:pt>
                <c:pt idx="16853">
                  <c:v>-0.70831458449534401</c:v>
                </c:pt>
                <c:pt idx="16854">
                  <c:v>-0.71967326485390803</c:v>
                </c:pt>
                <c:pt idx="16855">
                  <c:v>-0.64864213410573401</c:v>
                </c:pt>
                <c:pt idx="16856">
                  <c:v>-0.41783942052443901</c:v>
                </c:pt>
                <c:pt idx="16857">
                  <c:v>0.278505372424659</c:v>
                </c:pt>
                <c:pt idx="16858">
                  <c:v>0.62465382155538696</c:v>
                </c:pt>
                <c:pt idx="16859">
                  <c:v>-0.28496296511277802</c:v>
                </c:pt>
                <c:pt idx="16860">
                  <c:v>-1.1815643803708999E-2</c:v>
                </c:pt>
                <c:pt idx="16861">
                  <c:v>0.13985834482145301</c:v>
                </c:pt>
                <c:pt idx="16862">
                  <c:v>0.25033220707753301</c:v>
                </c:pt>
                <c:pt idx="16863">
                  <c:v>0.37713588672745202</c:v>
                </c:pt>
                <c:pt idx="16864">
                  <c:v>0.43483445421548</c:v>
                </c:pt>
                <c:pt idx="16865">
                  <c:v>0.48217743580092098</c:v>
                </c:pt>
                <c:pt idx="16866">
                  <c:v>0.54819427762909001</c:v>
                </c:pt>
                <c:pt idx="16867">
                  <c:v>0.64489707346482095</c:v>
                </c:pt>
                <c:pt idx="16868">
                  <c:v>0.69052576206756799</c:v>
                </c:pt>
                <c:pt idx="16869">
                  <c:v>0.69699685667939104</c:v>
                </c:pt>
                <c:pt idx="16870">
                  <c:v>0.73007406135817299</c:v>
                </c:pt>
                <c:pt idx="16871">
                  <c:v>0.77123688150440695</c:v>
                </c:pt>
                <c:pt idx="16872">
                  <c:v>0.69408599053349596</c:v>
                </c:pt>
                <c:pt idx="16873">
                  <c:v>0.56129954335031296</c:v>
                </c:pt>
                <c:pt idx="16874">
                  <c:v>0.54621331619687696</c:v>
                </c:pt>
                <c:pt idx="16875">
                  <c:v>0.61775533054971798</c:v>
                </c:pt>
                <c:pt idx="16876">
                  <c:v>0.601845962236498</c:v>
                </c:pt>
                <c:pt idx="16877">
                  <c:v>0.56953270411568502</c:v>
                </c:pt>
                <c:pt idx="16878">
                  <c:v>0.64652731927072404</c:v>
                </c:pt>
                <c:pt idx="16879">
                  <c:v>0.71936279725569197</c:v>
                </c:pt>
                <c:pt idx="16880">
                  <c:v>0.71101859866550399</c:v>
                </c:pt>
                <c:pt idx="16881">
                  <c:v>0.669792548046375</c:v>
                </c:pt>
                <c:pt idx="16882">
                  <c:v>0.64489109400537104</c:v>
                </c:pt>
                <c:pt idx="16883">
                  <c:v>0.56239084460340605</c:v>
                </c:pt>
                <c:pt idx="16884">
                  <c:v>0.65764529470824196</c:v>
                </c:pt>
                <c:pt idx="16885">
                  <c:v>0.86848336005091398</c:v>
                </c:pt>
                <c:pt idx="16886">
                  <c:v>0.85647246925805698</c:v>
                </c:pt>
                <c:pt idx="16887">
                  <c:v>0.71647984494662098</c:v>
                </c:pt>
                <c:pt idx="16888">
                  <c:v>0.64486427680078995</c:v>
                </c:pt>
                <c:pt idx="16889">
                  <c:v>0.57544460667633801</c:v>
                </c:pt>
                <c:pt idx="16890">
                  <c:v>0.45446922428021902</c:v>
                </c:pt>
                <c:pt idx="16891">
                  <c:v>0.30030525856871498</c:v>
                </c:pt>
                <c:pt idx="16892">
                  <c:v>0.20456869594211699</c:v>
                </c:pt>
                <c:pt idx="16893">
                  <c:v>0.226532353345265</c:v>
                </c:pt>
                <c:pt idx="16894">
                  <c:v>0.26482060732654</c:v>
                </c:pt>
                <c:pt idx="16895">
                  <c:v>0.23273114396591199</c:v>
                </c:pt>
                <c:pt idx="16896">
                  <c:v>0.19382164711532199</c:v>
                </c:pt>
                <c:pt idx="16897">
                  <c:v>0.142439959570233</c:v>
                </c:pt>
                <c:pt idx="16898">
                  <c:v>8.3046728971446701E-2</c:v>
                </c:pt>
                <c:pt idx="16899">
                  <c:v>3.1892479483333097E-2</c:v>
                </c:pt>
                <c:pt idx="16900">
                  <c:v>-2.9331706436852501E-2</c:v>
                </c:pt>
                <c:pt idx="16901">
                  <c:v>-8.6550120830188093E-2</c:v>
                </c:pt>
                <c:pt idx="16902">
                  <c:v>-0.125020602567043</c:v>
                </c:pt>
                <c:pt idx="16903">
                  <c:v>-0.107855528091627</c:v>
                </c:pt>
                <c:pt idx="16904">
                  <c:v>-0.105929961669488</c:v>
                </c:pt>
                <c:pt idx="16905">
                  <c:v>0.33224408389550197</c:v>
                </c:pt>
                <c:pt idx="16906">
                  <c:v>0.43114825691079001</c:v>
                </c:pt>
                <c:pt idx="16907">
                  <c:v>0.38175076993394902</c:v>
                </c:pt>
                <c:pt idx="16908">
                  <c:v>0.42792615742479201</c:v>
                </c:pt>
                <c:pt idx="16909">
                  <c:v>0.35875580936620199</c:v>
                </c:pt>
                <c:pt idx="16910">
                  <c:v>0.12480583909413701</c:v>
                </c:pt>
                <c:pt idx="16911">
                  <c:v>0.129786321031611</c:v>
                </c:pt>
                <c:pt idx="16912">
                  <c:v>7.6022224854493503E-2</c:v>
                </c:pt>
                <c:pt idx="16913">
                  <c:v>3.8736090898723E-2</c:v>
                </c:pt>
                <c:pt idx="16914">
                  <c:v>-2.32669863890697E-2</c:v>
                </c:pt>
                <c:pt idx="16915">
                  <c:v>-7.7031082566186695E-2</c:v>
                </c:pt>
                <c:pt idx="16916">
                  <c:v>-0.124348393954647</c:v>
                </c:pt>
                <c:pt idx="16917">
                  <c:v>-0.122231818679065</c:v>
                </c:pt>
                <c:pt idx="16918">
                  <c:v>-0.18602709228887199</c:v>
                </c:pt>
                <c:pt idx="16919">
                  <c:v>-0.24158338478800601</c:v>
                </c:pt>
                <c:pt idx="16920">
                  <c:v>-0.195195619507253</c:v>
                </c:pt>
                <c:pt idx="16921">
                  <c:v>-0.22295868422256401</c:v>
                </c:pt>
                <c:pt idx="16922">
                  <c:v>-0.25072174893787502</c:v>
                </c:pt>
                <c:pt idx="16923">
                  <c:v>-0.270245832542512</c:v>
                </c:pt>
                <c:pt idx="16924">
                  <c:v>-0.27454006576733497</c:v>
                </c:pt>
                <c:pt idx="16925">
                  <c:v>-0.32002920454552702</c:v>
                </c:pt>
                <c:pt idx="16926">
                  <c:v>-0.20897770222091699</c:v>
                </c:pt>
                <c:pt idx="16927">
                  <c:v>-0.32861767099517297</c:v>
                </c:pt>
                <c:pt idx="16928">
                  <c:v>-0.358546501147189</c:v>
                </c:pt>
                <c:pt idx="16929">
                  <c:v>-0.38023635018853202</c:v>
                </c:pt>
                <c:pt idx="16930">
                  <c:v>-0.40192619922987499</c:v>
                </c:pt>
                <c:pt idx="16931">
                  <c:v>-0.411297223219941</c:v>
                </c:pt>
                <c:pt idx="16932">
                  <c:v>-0.31663949826594501</c:v>
                </c:pt>
                <c:pt idx="16933">
                  <c:v>-0.27973393431613403</c:v>
                </c:pt>
                <c:pt idx="16934">
                  <c:v>-0.246908214306925</c:v>
                </c:pt>
                <c:pt idx="16935">
                  <c:v>-0.205843513187042</c:v>
                </c:pt>
                <c:pt idx="16936">
                  <c:v>-0.17925265426824499</c:v>
                </c:pt>
                <c:pt idx="16937">
                  <c:v>-0.169139757570796</c:v>
                </c:pt>
                <c:pt idx="16938">
                  <c:v>-0.19198278531604199</c:v>
                </c:pt>
                <c:pt idx="16939">
                  <c:v>-0.19834785083994</c:v>
                </c:pt>
                <c:pt idx="16940">
                  <c:v>9.8248910012356902E-2</c:v>
                </c:pt>
                <c:pt idx="16941">
                  <c:v>9.8242350880398094E-2</c:v>
                </c:pt>
                <c:pt idx="16942">
                  <c:v>0.19710356507652499</c:v>
                </c:pt>
                <c:pt idx="16943">
                  <c:v>0.31244274149399898</c:v>
                </c:pt>
                <c:pt idx="16944">
                  <c:v>0.30000886155911899</c:v>
                </c:pt>
                <c:pt idx="16945">
                  <c:v>0.25461905718154398</c:v>
                </c:pt>
                <c:pt idx="16946">
                  <c:v>0.26690212057868601</c:v>
                </c:pt>
                <c:pt idx="16947">
                  <c:v>0.25446824064380602</c:v>
                </c:pt>
                <c:pt idx="16948">
                  <c:v>0.36381277653962601</c:v>
                </c:pt>
                <c:pt idx="16949">
                  <c:v>0.60914014737629696</c:v>
                </c:pt>
                <c:pt idx="16950">
                  <c:v>0.62785589105470496</c:v>
                </c:pt>
                <c:pt idx="16951">
                  <c:v>1.00084782249208</c:v>
                </c:pt>
                <c:pt idx="16952">
                  <c:v>1.130149537783</c:v>
                </c:pt>
                <c:pt idx="16953">
                  <c:v>1.37479698862335</c:v>
                </c:pt>
                <c:pt idx="16954">
                  <c:v>1.6153645955231</c:v>
                </c:pt>
                <c:pt idx="16955">
                  <c:v>1.90120695191682</c:v>
                </c:pt>
                <c:pt idx="16956">
                  <c:v>1.59895916871726</c:v>
                </c:pt>
                <c:pt idx="16957">
                  <c:v>1.47796896995252</c:v>
                </c:pt>
                <c:pt idx="16958">
                  <c:v>1.94194643004562</c:v>
                </c:pt>
                <c:pt idx="16959">
                  <c:v>1.6561766090674099</c:v>
                </c:pt>
                <c:pt idx="16960">
                  <c:v>1.72432758083843</c:v>
                </c:pt>
                <c:pt idx="16961">
                  <c:v>2.0890818725937099</c:v>
                </c:pt>
                <c:pt idx="16962">
                  <c:v>2.2149057121394402</c:v>
                </c:pt>
                <c:pt idx="16963">
                  <c:v>1.14546742751812</c:v>
                </c:pt>
                <c:pt idx="16964">
                  <c:v>1.16127839002206</c:v>
                </c:pt>
                <c:pt idx="16965">
                  <c:v>1.1414826539479701</c:v>
                </c:pt>
                <c:pt idx="16966">
                  <c:v>1.0503350068406601</c:v>
                </c:pt>
                <c:pt idx="16967">
                  <c:v>1.02003031922077</c:v>
                </c:pt>
                <c:pt idx="16968">
                  <c:v>1.0131296434455299</c:v>
                </c:pt>
                <c:pt idx="16969">
                  <c:v>1.0371475805505399</c:v>
                </c:pt>
                <c:pt idx="16970">
                  <c:v>1.14182474848629</c:v>
                </c:pt>
                <c:pt idx="16971">
                  <c:v>1.27318731971846</c:v>
                </c:pt>
                <c:pt idx="16972">
                  <c:v>1.30150363630878</c:v>
                </c:pt>
                <c:pt idx="16973">
                  <c:v>1.25755306882226</c:v>
                </c:pt>
                <c:pt idx="16974">
                  <c:v>1.2755137995099901</c:v>
                </c:pt>
                <c:pt idx="16975">
                  <c:v>1.26459844969563</c:v>
                </c:pt>
                <c:pt idx="16976">
                  <c:v>1.3787284838929901</c:v>
                </c:pt>
                <c:pt idx="16977">
                  <c:v>1.39383215830332</c:v>
                </c:pt>
                <c:pt idx="16978">
                  <c:v>1.3222282979779201</c:v>
                </c:pt>
                <c:pt idx="16979">
                  <c:v>1.30429675471609</c:v>
                </c:pt>
                <c:pt idx="16980">
                  <c:v>1.3184667307625899</c:v>
                </c:pt>
                <c:pt idx="16981">
                  <c:v>1.3615127873111801</c:v>
                </c:pt>
                <c:pt idx="16982">
                  <c:v>1.2744605055492799</c:v>
                </c:pt>
                <c:pt idx="16983">
                  <c:v>1.06358562743887</c:v>
                </c:pt>
                <c:pt idx="16984">
                  <c:v>0.93164608630555801</c:v>
                </c:pt>
                <c:pt idx="16985">
                  <c:v>0.83893821157692905</c:v>
                </c:pt>
                <c:pt idx="16986">
                  <c:v>0.72929227769728899</c:v>
                </c:pt>
                <c:pt idx="16987">
                  <c:v>0.57429230109420903</c:v>
                </c:pt>
                <c:pt idx="16988">
                  <c:v>0.42417298224577898</c:v>
                </c:pt>
                <c:pt idx="16989">
                  <c:v>0.369074251657518</c:v>
                </c:pt>
                <c:pt idx="16990">
                  <c:v>0.38397243471096498</c:v>
                </c:pt>
                <c:pt idx="16991">
                  <c:v>0.339155217611538</c:v>
                </c:pt>
                <c:pt idx="16992">
                  <c:v>0.337523253625582</c:v>
                </c:pt>
                <c:pt idx="16993">
                  <c:v>0.34813604227715</c:v>
                </c:pt>
                <c:pt idx="16994">
                  <c:v>0.34249830676434501</c:v>
                </c:pt>
                <c:pt idx="16995">
                  <c:v>0.69606956657459496</c:v>
                </c:pt>
                <c:pt idx="16996">
                  <c:v>0.63583404041400604</c:v>
                </c:pt>
                <c:pt idx="16997">
                  <c:v>0.571518670312813</c:v>
                </c:pt>
                <c:pt idx="16998">
                  <c:v>0.51544228132229397</c:v>
                </c:pt>
                <c:pt idx="16999">
                  <c:v>0.48408283566379601</c:v>
                </c:pt>
                <c:pt idx="17000">
                  <c:v>0.49317291239080802</c:v>
                </c:pt>
                <c:pt idx="17001">
                  <c:v>0.33748336690434499</c:v>
                </c:pt>
                <c:pt idx="17002">
                  <c:v>0.231227708081923</c:v>
                </c:pt>
                <c:pt idx="17003">
                  <c:v>0.108494087038155</c:v>
                </c:pt>
                <c:pt idx="17004">
                  <c:v>0.246933932932035</c:v>
                </c:pt>
                <c:pt idx="17005">
                  <c:v>0.25355008105513399</c:v>
                </c:pt>
                <c:pt idx="17006">
                  <c:v>0.15305947473947601</c:v>
                </c:pt>
                <c:pt idx="17007">
                  <c:v>0.13495867953055399</c:v>
                </c:pt>
                <c:pt idx="17008">
                  <c:v>9.1593737946203499E-2</c:v>
                </c:pt>
                <c:pt idx="17009">
                  <c:v>3.1750834140506203E-2</c:v>
                </c:pt>
                <c:pt idx="17010">
                  <c:v>-3.6331050775865598E-2</c:v>
                </c:pt>
                <c:pt idx="17011">
                  <c:v>-8.7934973470889605E-2</c:v>
                </c:pt>
                <c:pt idx="17012">
                  <c:v>-0.16441551921331901</c:v>
                </c:pt>
                <c:pt idx="17013">
                  <c:v>-0.191462178291707</c:v>
                </c:pt>
                <c:pt idx="17014">
                  <c:v>-0.14435800737403001</c:v>
                </c:pt>
                <c:pt idx="17015">
                  <c:v>-0.23731651533780701</c:v>
                </c:pt>
                <c:pt idx="17016">
                  <c:v>-0.22731846917489201</c:v>
                </c:pt>
                <c:pt idx="17017">
                  <c:v>-0.13493061190524</c:v>
                </c:pt>
                <c:pt idx="17018">
                  <c:v>-0.10845460352097799</c:v>
                </c:pt>
                <c:pt idx="17019">
                  <c:v>-0.123173500690084</c:v>
                </c:pt>
                <c:pt idx="17020">
                  <c:v>-0.13932570194258501</c:v>
                </c:pt>
                <c:pt idx="17021">
                  <c:v>-0.22962873319114999</c:v>
                </c:pt>
                <c:pt idx="17022">
                  <c:v>-0.28697583999701998</c:v>
                </c:pt>
                <c:pt idx="17023">
                  <c:v>-0.34432294680289099</c:v>
                </c:pt>
                <c:pt idx="17024">
                  <c:v>-0.25558580951083398</c:v>
                </c:pt>
                <c:pt idx="17025">
                  <c:v>-0.323389313321578</c:v>
                </c:pt>
                <c:pt idx="17026">
                  <c:v>-0.35823689268962799</c:v>
                </c:pt>
                <c:pt idx="17027">
                  <c:v>-0.294216698729593</c:v>
                </c:pt>
                <c:pt idx="17028">
                  <c:v>-0.32011918387812299</c:v>
                </c:pt>
                <c:pt idx="17029">
                  <c:v>-0.33778268791597899</c:v>
                </c:pt>
                <c:pt idx="17030">
                  <c:v>-0.38432227245592798</c:v>
                </c:pt>
                <c:pt idx="17031">
                  <c:v>-0.39374679538311103</c:v>
                </c:pt>
                <c:pt idx="17032">
                  <c:v>-0.29164329913907899</c:v>
                </c:pt>
                <c:pt idx="17033">
                  <c:v>-0.21841588339713899</c:v>
                </c:pt>
                <c:pt idx="17034">
                  <c:v>-0.20702047259998599</c:v>
                </c:pt>
                <c:pt idx="17035">
                  <c:v>-0.20794388685411</c:v>
                </c:pt>
                <c:pt idx="17036">
                  <c:v>-9.2489921904180997E-2</c:v>
                </c:pt>
                <c:pt idx="17037">
                  <c:v>0.20838076465064001</c:v>
                </c:pt>
                <c:pt idx="17038">
                  <c:v>0.196090875770392</c:v>
                </c:pt>
                <c:pt idx="17039">
                  <c:v>0.27034993516695199</c:v>
                </c:pt>
                <c:pt idx="17040">
                  <c:v>0.226892717369124</c:v>
                </c:pt>
                <c:pt idx="17041">
                  <c:v>0.19991346179264299</c:v>
                </c:pt>
                <c:pt idx="17042">
                  <c:v>0.18941216843750999</c:v>
                </c:pt>
                <c:pt idx="17043">
                  <c:v>0.22834476174641899</c:v>
                </c:pt>
                <c:pt idx="17044">
                  <c:v>0.294298329681977</c:v>
                </c:pt>
                <c:pt idx="17045">
                  <c:v>0.47143849599689802</c:v>
                </c:pt>
                <c:pt idx="17046">
                  <c:v>0.351975342327563</c:v>
                </c:pt>
                <c:pt idx="17047">
                  <c:v>0.46320365975709499</c:v>
                </c:pt>
                <c:pt idx="17048">
                  <c:v>0.64249755284133003</c:v>
                </c:pt>
                <c:pt idx="17049">
                  <c:v>0.82179144592556597</c:v>
                </c:pt>
                <c:pt idx="17050">
                  <c:v>0.976368395677781</c:v>
                </c:pt>
                <c:pt idx="17051">
                  <c:v>0.80962508211371897</c:v>
                </c:pt>
                <c:pt idx="17052">
                  <c:v>1.43786996215662</c:v>
                </c:pt>
                <c:pt idx="17053">
                  <c:v>0.47964795087308199</c:v>
                </c:pt>
                <c:pt idx="17054">
                  <c:v>0.54998093742333898</c:v>
                </c:pt>
                <c:pt idx="17055">
                  <c:v>0.63241575259932403</c:v>
                </c:pt>
                <c:pt idx="17056">
                  <c:v>0.59275819313148204</c:v>
                </c:pt>
                <c:pt idx="17057">
                  <c:v>0.55929708239615505</c:v>
                </c:pt>
                <c:pt idx="17058">
                  <c:v>0.56703609802990995</c:v>
                </c:pt>
                <c:pt idx="17059">
                  <c:v>0.64295693298418899</c:v>
                </c:pt>
                <c:pt idx="17060">
                  <c:v>0.60654004613993995</c:v>
                </c:pt>
                <c:pt idx="17061">
                  <c:v>0.59060689304388803</c:v>
                </c:pt>
                <c:pt idx="17062">
                  <c:v>0.63227775612451098</c:v>
                </c:pt>
                <c:pt idx="17063">
                  <c:v>0.71741349519363695</c:v>
                </c:pt>
                <c:pt idx="17064">
                  <c:v>0.70711250145712001</c:v>
                </c:pt>
                <c:pt idx="17065">
                  <c:v>0.66770798916153595</c:v>
                </c:pt>
                <c:pt idx="17066">
                  <c:v>0.66768850891385101</c:v>
                </c:pt>
                <c:pt idx="17067">
                  <c:v>0.72776523251923697</c:v>
                </c:pt>
                <c:pt idx="17068">
                  <c:v>0.83482572075712602</c:v>
                </c:pt>
                <c:pt idx="17069">
                  <c:v>0.87407997255897396</c:v>
                </c:pt>
                <c:pt idx="17070">
                  <c:v>0.92323493414945801</c:v>
                </c:pt>
                <c:pt idx="17071">
                  <c:v>0.86338875375053303</c:v>
                </c:pt>
                <c:pt idx="17072">
                  <c:v>0.83528341584177401</c:v>
                </c:pt>
                <c:pt idx="17073">
                  <c:v>0.76394064000148798</c:v>
                </c:pt>
                <c:pt idx="17074">
                  <c:v>0.69872024047996495</c:v>
                </c:pt>
                <c:pt idx="17075">
                  <c:v>0.92874897423227298</c:v>
                </c:pt>
                <c:pt idx="17076">
                  <c:v>1.00318842903463</c:v>
                </c:pt>
                <c:pt idx="17077">
                  <c:v>1.40407706788005</c:v>
                </c:pt>
                <c:pt idx="17078">
                  <c:v>1.16204212084174</c:v>
                </c:pt>
                <c:pt idx="17079">
                  <c:v>1.2054888903501</c:v>
                </c:pt>
                <c:pt idx="17080">
                  <c:v>1.1273976009941</c:v>
                </c:pt>
                <c:pt idx="17081">
                  <c:v>1.00009986303103</c:v>
                </c:pt>
                <c:pt idx="17082">
                  <c:v>0.64127416347384902</c:v>
                </c:pt>
                <c:pt idx="17083">
                  <c:v>0.50142494158681405</c:v>
                </c:pt>
                <c:pt idx="17084">
                  <c:v>0.42439522040410199</c:v>
                </c:pt>
                <c:pt idx="17085">
                  <c:v>0.425754759616992</c:v>
                </c:pt>
                <c:pt idx="17086">
                  <c:v>0.38387686089835599</c:v>
                </c:pt>
                <c:pt idx="17087">
                  <c:v>0.32536763431515098</c:v>
                </c:pt>
                <c:pt idx="17088">
                  <c:v>0.29882219168695001</c:v>
                </c:pt>
                <c:pt idx="17089">
                  <c:v>0.25595215248062397</c:v>
                </c:pt>
                <c:pt idx="17090">
                  <c:v>0.58446178882112099</c:v>
                </c:pt>
                <c:pt idx="17091">
                  <c:v>0.52307647583100103</c:v>
                </c:pt>
                <c:pt idx="17092">
                  <c:v>0.43572123672131002</c:v>
                </c:pt>
                <c:pt idx="17093">
                  <c:v>0.38956090316498798</c:v>
                </c:pt>
                <c:pt idx="17094">
                  <c:v>0.466985286268771</c:v>
                </c:pt>
                <c:pt idx="17095">
                  <c:v>0.32195717938436302</c:v>
                </c:pt>
                <c:pt idx="17096">
                  <c:v>0.31626890263613699</c:v>
                </c:pt>
                <c:pt idx="17097">
                  <c:v>0.33529756921993298</c:v>
                </c:pt>
                <c:pt idx="17098">
                  <c:v>0.30489234913968699</c:v>
                </c:pt>
                <c:pt idx="17099">
                  <c:v>0.101468525735292</c:v>
                </c:pt>
                <c:pt idx="17100">
                  <c:v>3.01789748407751E-2</c:v>
                </c:pt>
                <c:pt idx="17101">
                  <c:v>0.206058857266471</c:v>
                </c:pt>
                <c:pt idx="17102">
                  <c:v>-5.2933725094988504E-3</c:v>
                </c:pt>
                <c:pt idx="17103">
                  <c:v>-6.0104961182667997E-2</c:v>
                </c:pt>
                <c:pt idx="17104">
                  <c:v>2.0564494302804302E-2</c:v>
                </c:pt>
                <c:pt idx="17105">
                  <c:v>-0.137696502421263</c:v>
                </c:pt>
                <c:pt idx="17106">
                  <c:v>-0.19708972581724399</c:v>
                </c:pt>
                <c:pt idx="17107">
                  <c:v>-0.32239479809861599</c:v>
                </c:pt>
                <c:pt idx="17108">
                  <c:v>-0.37973429065354303</c:v>
                </c:pt>
                <c:pt idx="17109">
                  <c:v>-0.42883480209779701</c:v>
                </c:pt>
                <c:pt idx="17110">
                  <c:v>-0.47793531354205099</c:v>
                </c:pt>
                <c:pt idx="17111">
                  <c:v>-0.55999174942899999</c:v>
                </c:pt>
                <c:pt idx="17112">
                  <c:v>-0.40753691509592399</c:v>
                </c:pt>
                <c:pt idx="17113">
                  <c:v>-0.58464132518979905</c:v>
                </c:pt>
                <c:pt idx="17114">
                  <c:v>-0.63408117468296499</c:v>
                </c:pt>
                <c:pt idx="17115">
                  <c:v>-0.67936188700606004</c:v>
                </c:pt>
                <c:pt idx="17116">
                  <c:v>-0.73043820435151396</c:v>
                </c:pt>
                <c:pt idx="17117">
                  <c:v>-0.781514521696969</c:v>
                </c:pt>
                <c:pt idx="17118">
                  <c:v>-0.81611287682107603</c:v>
                </c:pt>
                <c:pt idx="17119">
                  <c:v>-0.87542817527720396</c:v>
                </c:pt>
                <c:pt idx="17120">
                  <c:v>-0.90142536058696698</c:v>
                </c:pt>
                <c:pt idx="17121">
                  <c:v>-0.910944583675383</c:v>
                </c:pt>
                <c:pt idx="17122">
                  <c:v>-0.92870278787447302</c:v>
                </c:pt>
                <c:pt idx="17123">
                  <c:v>-0.87231016207749801</c:v>
                </c:pt>
                <c:pt idx="17124">
                  <c:v>-0.94057535026323702</c:v>
                </c:pt>
                <c:pt idx="17125">
                  <c:v>-0.97588461400628101</c:v>
                </c:pt>
                <c:pt idx="17126">
                  <c:v>-0.994715915527977</c:v>
                </c:pt>
                <c:pt idx="17127">
                  <c:v>-1.06298110371372</c:v>
                </c:pt>
                <c:pt idx="17128">
                  <c:v>-0.99835264063349105</c:v>
                </c:pt>
                <c:pt idx="17129">
                  <c:v>-0.92548519644259197</c:v>
                </c:pt>
                <c:pt idx="17130">
                  <c:v>-0.844378771141019</c:v>
                </c:pt>
                <c:pt idx="17131">
                  <c:v>-0.85390113805685697</c:v>
                </c:pt>
                <c:pt idx="17132">
                  <c:v>-0.78241797805139301</c:v>
                </c:pt>
                <c:pt idx="17133">
                  <c:v>-0.69445685582458005</c:v>
                </c:pt>
                <c:pt idx="17134">
                  <c:v>-0.33460935694553401</c:v>
                </c:pt>
                <c:pt idx="17135">
                  <c:v>-0.42790581915354398</c:v>
                </c:pt>
                <c:pt idx="17136">
                  <c:v>-0.51690442037467699</c:v>
                </c:pt>
                <c:pt idx="17137">
                  <c:v>-0.44936238049300897</c:v>
                </c:pt>
                <c:pt idx="17138">
                  <c:v>-0.50540505727144702</c:v>
                </c:pt>
                <c:pt idx="17139">
                  <c:v>-0.51201384738584199</c:v>
                </c:pt>
                <c:pt idx="17140">
                  <c:v>-0.35236326599339901</c:v>
                </c:pt>
                <c:pt idx="17141">
                  <c:v>-0.21742962793297699</c:v>
                </c:pt>
                <c:pt idx="17142">
                  <c:v>-4.1301084319185902E-2</c:v>
                </c:pt>
                <c:pt idx="17143">
                  <c:v>0.19665946423939201</c:v>
                </c:pt>
                <c:pt idx="17144">
                  <c:v>0.53196582334948295</c:v>
                </c:pt>
                <c:pt idx="17145">
                  <c:v>-0.41344706567864697</c:v>
                </c:pt>
                <c:pt idx="17146">
                  <c:v>-0.33305671818173299</c:v>
                </c:pt>
                <c:pt idx="17147">
                  <c:v>-0.19489854723349501</c:v>
                </c:pt>
                <c:pt idx="17148">
                  <c:v>4.9921392388719399E-2</c:v>
                </c:pt>
                <c:pt idx="17149">
                  <c:v>0.28621128206095697</c:v>
                </c:pt>
                <c:pt idx="17150">
                  <c:v>0.43784139019132401</c:v>
                </c:pt>
                <c:pt idx="17151">
                  <c:v>0.56474933417395601</c:v>
                </c:pt>
                <c:pt idx="17152">
                  <c:v>0.59155850227696605</c:v>
                </c:pt>
                <c:pt idx="17153">
                  <c:v>0.62237344190682498</c:v>
                </c:pt>
                <c:pt idx="17154">
                  <c:v>0.63882702410724801</c:v>
                </c:pt>
                <c:pt idx="17155">
                  <c:v>0.64492502040508604</c:v>
                </c:pt>
                <c:pt idx="17156">
                  <c:v>0.64226495132408601</c:v>
                </c:pt>
                <c:pt idx="17157">
                  <c:v>0.69304976124968998</c:v>
                </c:pt>
                <c:pt idx="17158">
                  <c:v>0.67398580236109595</c:v>
                </c:pt>
                <c:pt idx="17159">
                  <c:v>0.60918699704886603</c:v>
                </c:pt>
                <c:pt idx="17160">
                  <c:v>1.15173824234339</c:v>
                </c:pt>
                <c:pt idx="17161">
                  <c:v>1.32963520935132</c:v>
                </c:pt>
                <c:pt idx="17162">
                  <c:v>1.3180356108137401</c:v>
                </c:pt>
                <c:pt idx="17163">
                  <c:v>1.22404620116943</c:v>
                </c:pt>
                <c:pt idx="17164">
                  <c:v>1.46962360513303</c:v>
                </c:pt>
                <c:pt idx="17165">
                  <c:v>1.14671131246013</c:v>
                </c:pt>
                <c:pt idx="17166">
                  <c:v>1.1780752075462</c:v>
                </c:pt>
                <c:pt idx="17167">
                  <c:v>1.26711197040699</c:v>
                </c:pt>
                <c:pt idx="17168">
                  <c:v>1.32528455418562</c:v>
                </c:pt>
                <c:pt idx="17169">
                  <c:v>1.3257842701895299</c:v>
                </c:pt>
                <c:pt idx="17170">
                  <c:v>0.99855750742179905</c:v>
                </c:pt>
                <c:pt idx="17171">
                  <c:v>0.99834958994689205</c:v>
                </c:pt>
                <c:pt idx="17172">
                  <c:v>1.1217263891320901</c:v>
                </c:pt>
                <c:pt idx="17173">
                  <c:v>1.22038624498527</c:v>
                </c:pt>
                <c:pt idx="17174">
                  <c:v>1.02697530929395</c:v>
                </c:pt>
                <c:pt idx="17175">
                  <c:v>0.87475927915599705</c:v>
                </c:pt>
                <c:pt idx="17176">
                  <c:v>0.697826305686022</c:v>
                </c:pt>
                <c:pt idx="17177">
                  <c:v>0.61152212443345799</c:v>
                </c:pt>
                <c:pt idx="17178">
                  <c:v>0.64033248878961602</c:v>
                </c:pt>
                <c:pt idx="17179">
                  <c:v>0.71857673980981696</c:v>
                </c:pt>
                <c:pt idx="17180">
                  <c:v>0.76386506638732299</c:v>
                </c:pt>
                <c:pt idx="17181">
                  <c:v>0.68556867630472396</c:v>
                </c:pt>
                <c:pt idx="17182">
                  <c:v>0.49043925048345099</c:v>
                </c:pt>
                <c:pt idx="17183">
                  <c:v>0.46832842798632801</c:v>
                </c:pt>
                <c:pt idx="17184">
                  <c:v>0.42150066215718301</c:v>
                </c:pt>
                <c:pt idx="17185">
                  <c:v>0.42410678299207999</c:v>
                </c:pt>
                <c:pt idx="17186">
                  <c:v>0.38621628332908098</c:v>
                </c:pt>
                <c:pt idx="17187">
                  <c:v>0.62021216031831805</c:v>
                </c:pt>
                <c:pt idx="17188">
                  <c:v>0.44225898177386502</c:v>
                </c:pt>
                <c:pt idx="17189">
                  <c:v>0.41260746322154002</c:v>
                </c:pt>
                <c:pt idx="17190">
                  <c:v>0.64846222658331498</c:v>
                </c:pt>
                <c:pt idx="17191">
                  <c:v>0.58771366996083496</c:v>
                </c:pt>
                <c:pt idx="17192">
                  <c:v>0.419858358899596</c:v>
                </c:pt>
                <c:pt idx="17193">
                  <c:v>0.47445553782654798</c:v>
                </c:pt>
                <c:pt idx="17194">
                  <c:v>0.38929776541606997</c:v>
                </c:pt>
                <c:pt idx="17195">
                  <c:v>0.370051841890982</c:v>
                </c:pt>
                <c:pt idx="17196">
                  <c:v>0.227221201705788</c:v>
                </c:pt>
                <c:pt idx="17197">
                  <c:v>0.19973629707002599</c:v>
                </c:pt>
                <c:pt idx="17198">
                  <c:v>9.4255394488010596E-2</c:v>
                </c:pt>
                <c:pt idx="17199">
                  <c:v>-1.1225508094004501E-2</c:v>
                </c:pt>
                <c:pt idx="17200">
                  <c:v>-0.174379278450736</c:v>
                </c:pt>
                <c:pt idx="17201">
                  <c:v>-0.28809916214342601</c:v>
                </c:pt>
                <c:pt idx="17202">
                  <c:v>-0.32445068547156802</c:v>
                </c:pt>
                <c:pt idx="17203">
                  <c:v>-0.47614794434914298</c:v>
                </c:pt>
                <c:pt idx="17204">
                  <c:v>-0.46306558101324302</c:v>
                </c:pt>
                <c:pt idx="17205">
                  <c:v>-0.44998321767734301</c:v>
                </c:pt>
                <c:pt idx="17206">
                  <c:v>-0.530988911595073</c:v>
                </c:pt>
                <c:pt idx="17207">
                  <c:v>-0.56256071884875902</c:v>
                </c:pt>
                <c:pt idx="17208">
                  <c:v>-0.59413252610244605</c:v>
                </c:pt>
                <c:pt idx="17209">
                  <c:v>-0.60098739002411095</c:v>
                </c:pt>
                <c:pt idx="17210">
                  <c:v>-0.58230912264236301</c:v>
                </c:pt>
                <c:pt idx="17211">
                  <c:v>-0.56363085526061496</c:v>
                </c:pt>
                <c:pt idx="17212">
                  <c:v>-0.54495258787886702</c:v>
                </c:pt>
                <c:pt idx="17213">
                  <c:v>-0.52627432049711897</c:v>
                </c:pt>
                <c:pt idx="17214">
                  <c:v>-0.55048383677378299</c:v>
                </c:pt>
                <c:pt idx="17215">
                  <c:v>-0.574693353050448</c:v>
                </c:pt>
                <c:pt idx="17216">
                  <c:v>-0.59890286932711301</c:v>
                </c:pt>
                <c:pt idx="17217">
                  <c:v>-0.62311238560377702</c:v>
                </c:pt>
                <c:pt idx="17218">
                  <c:v>-0.60799278579591698</c:v>
                </c:pt>
                <c:pt idx="17219">
                  <c:v>-0.59287318598805605</c:v>
                </c:pt>
                <c:pt idx="17220">
                  <c:v>-0.57775358618019501</c:v>
                </c:pt>
                <c:pt idx="17221">
                  <c:v>-0.56263398637233397</c:v>
                </c:pt>
                <c:pt idx="17222">
                  <c:v>-0.58359844692553797</c:v>
                </c:pt>
                <c:pt idx="17223">
                  <c:v>-0.60456290747874197</c:v>
                </c:pt>
                <c:pt idx="17224">
                  <c:v>-1.76413520310108</c:v>
                </c:pt>
                <c:pt idx="17225">
                  <c:v>-1.78509966365428</c:v>
                </c:pt>
                <c:pt idx="17226">
                  <c:v>-1.74827458683725</c:v>
                </c:pt>
                <c:pt idx="17227">
                  <c:v>-1.7320813885959201</c:v>
                </c:pt>
                <c:pt idx="17228">
                  <c:v>-1.74265288688048</c:v>
                </c:pt>
                <c:pt idx="17229">
                  <c:v>-1.7140667911741201</c:v>
                </c:pt>
                <c:pt idx="17230">
                  <c:v>-1.6980210806638001</c:v>
                </c:pt>
                <c:pt idx="17231">
                  <c:v>-1.7190904317662501</c:v>
                </c:pt>
                <c:pt idx="17232">
                  <c:v>-1.2272325510244899</c:v>
                </c:pt>
                <c:pt idx="17233">
                  <c:v>-1.3204049789291299</c:v>
                </c:pt>
                <c:pt idx="17234">
                  <c:v>-1.4097244404603</c:v>
                </c:pt>
                <c:pt idx="17235">
                  <c:v>-1.44340834577921</c:v>
                </c:pt>
                <c:pt idx="17236">
                  <c:v>-1.4894162969650999</c:v>
                </c:pt>
                <c:pt idx="17237">
                  <c:v>-1.4942293425976301</c:v>
                </c:pt>
                <c:pt idx="17238">
                  <c:v>-1.5305008269614799</c:v>
                </c:pt>
                <c:pt idx="17239">
                  <c:v>-1.53797030323699</c:v>
                </c:pt>
                <c:pt idx="17240">
                  <c:v>-1.57627909916329</c:v>
                </c:pt>
                <c:pt idx="17241">
                  <c:v>-0.62800705388781097</c:v>
                </c:pt>
                <c:pt idx="17242">
                  <c:v>-0.54404342744312795</c:v>
                </c:pt>
                <c:pt idx="17243">
                  <c:v>-0.47247791927918897</c:v>
                </c:pt>
                <c:pt idx="17244">
                  <c:v>-0.40385408850822302</c:v>
                </c:pt>
                <c:pt idx="17245">
                  <c:v>-0.31255062596767902</c:v>
                </c:pt>
                <c:pt idx="17246">
                  <c:v>-0.262516141394258</c:v>
                </c:pt>
                <c:pt idx="17247">
                  <c:v>-0.19388708980757799</c:v>
                </c:pt>
                <c:pt idx="17248">
                  <c:v>-0.168029557388924</c:v>
                </c:pt>
                <c:pt idx="17249">
                  <c:v>3.4788548785733099E-2</c:v>
                </c:pt>
                <c:pt idx="17250">
                  <c:v>-1.3589262836858001E-2</c:v>
                </c:pt>
                <c:pt idx="17251">
                  <c:v>-6.1967074459449198E-2</c:v>
                </c:pt>
                <c:pt idx="17252">
                  <c:v>-0.11913467399107899</c:v>
                </c:pt>
                <c:pt idx="17253">
                  <c:v>-0.17630227352271</c:v>
                </c:pt>
                <c:pt idx="17254">
                  <c:v>-0.23346987305434</c:v>
                </c:pt>
                <c:pt idx="17255">
                  <c:v>-0.29063747258597</c:v>
                </c:pt>
                <c:pt idx="17256">
                  <c:v>-0.25083356610874602</c:v>
                </c:pt>
                <c:pt idx="17257">
                  <c:v>-0.26960722913109197</c:v>
                </c:pt>
                <c:pt idx="17258">
                  <c:v>-0.26774379276201998</c:v>
                </c:pt>
                <c:pt idx="17259">
                  <c:v>-9.8815101297199198E-2</c:v>
                </c:pt>
                <c:pt idx="17260">
                  <c:v>-0.16038761314135699</c:v>
                </c:pt>
                <c:pt idx="17261">
                  <c:v>-0.23042132333745</c:v>
                </c:pt>
                <c:pt idx="17262">
                  <c:v>-0.217758491140362</c:v>
                </c:pt>
                <c:pt idx="17263">
                  <c:v>-9.3745253289265001E-2</c:v>
                </c:pt>
                <c:pt idx="17264">
                  <c:v>-2.5221041287059699E-2</c:v>
                </c:pt>
                <c:pt idx="17265">
                  <c:v>-0.13419174269694401</c:v>
                </c:pt>
                <c:pt idx="17266">
                  <c:v>-0.27400698457332501</c:v>
                </c:pt>
                <c:pt idx="17267">
                  <c:v>-0.31909792784454999</c:v>
                </c:pt>
                <c:pt idx="17268">
                  <c:v>-0.29814261380724699</c:v>
                </c:pt>
                <c:pt idx="17269">
                  <c:v>-0.27726137218369901</c:v>
                </c:pt>
                <c:pt idx="17270">
                  <c:v>-0.39660661671625103</c:v>
                </c:pt>
                <c:pt idx="17271">
                  <c:v>-0.528424051943303</c:v>
                </c:pt>
                <c:pt idx="17272">
                  <c:v>-0.644246704904062</c:v>
                </c:pt>
                <c:pt idx="17273">
                  <c:v>-0.78070645725624099</c:v>
                </c:pt>
                <c:pt idx="17274">
                  <c:v>-0.90673655129207897</c:v>
                </c:pt>
                <c:pt idx="17275">
                  <c:v>-1.05143528475493</c:v>
                </c:pt>
                <c:pt idx="17276">
                  <c:v>-1.0125589484491</c:v>
                </c:pt>
                <c:pt idx="17277">
                  <c:v>-0.994245639120938</c:v>
                </c:pt>
                <c:pt idx="17278">
                  <c:v>-1.0195453506087799</c:v>
                </c:pt>
                <c:pt idx="17279">
                  <c:v>-1.0982899411032301</c:v>
                </c:pt>
                <c:pt idx="17280">
                  <c:v>-1.1933982731696899</c:v>
                </c:pt>
                <c:pt idx="17281">
                  <c:v>-1.25139154362339</c:v>
                </c:pt>
                <c:pt idx="17282">
                  <c:v>-1.2681106152942401</c:v>
                </c:pt>
                <c:pt idx="17283">
                  <c:v>-1.2848296869650999</c:v>
                </c:pt>
                <c:pt idx="17284">
                  <c:v>-1.3531627376289099</c:v>
                </c:pt>
                <c:pt idx="17285">
                  <c:v>-1.31635227300266</c:v>
                </c:pt>
                <c:pt idx="17286">
                  <c:v>-1.440394952292499</c:v>
                </c:pt>
                <c:pt idx="17287">
                  <c:v>-1.4385140928890601</c:v>
                </c:pt>
                <c:pt idx="17288">
                  <c:v>-1.4852506743077101</c:v>
                </c:pt>
                <c:pt idx="17289">
                  <c:v>-1.52579080699384</c:v>
                </c:pt>
                <c:pt idx="17290">
                  <c:v>-1.5889364990357899</c:v>
                </c:pt>
                <c:pt idx="17291">
                  <c:v>-1.6521510426757899</c:v>
                </c:pt>
                <c:pt idx="17292">
                  <c:v>-1.6947388921124</c:v>
                </c:pt>
                <c:pt idx="17293">
                  <c:v>-1.6692242154579591</c:v>
                </c:pt>
                <c:pt idx="17294">
                  <c:v>-1.67053786611174</c:v>
                </c:pt>
                <c:pt idx="17295">
                  <c:v>-1.6429806570791401</c:v>
                </c:pt>
                <c:pt idx="17296">
                  <c:v>-1.6991418188059899</c:v>
                </c:pt>
                <c:pt idx="17297">
                  <c:v>-1.7780514639004601</c:v>
                </c:pt>
                <c:pt idx="17298">
                  <c:v>-1.8094904614795699</c:v>
                </c:pt>
                <c:pt idx="17299">
                  <c:v>-0.48446687037250902</c:v>
                </c:pt>
                <c:pt idx="17300">
                  <c:v>0.22977882843675601</c:v>
                </c:pt>
                <c:pt idx="17301">
                  <c:v>0.147743435959588</c:v>
                </c:pt>
                <c:pt idx="17302">
                  <c:v>6.5708043482421194E-2</c:v>
                </c:pt>
                <c:pt idx="17303">
                  <c:v>7.3465769265608702E-2</c:v>
                </c:pt>
                <c:pt idx="17304">
                  <c:v>8.1223495048796293E-2</c:v>
                </c:pt>
                <c:pt idx="17305">
                  <c:v>8.8981220831983801E-2</c:v>
                </c:pt>
                <c:pt idx="17306">
                  <c:v>9.6738946615171406E-2</c:v>
                </c:pt>
                <c:pt idx="17307">
                  <c:v>7.9785649059493202E-2</c:v>
                </c:pt>
                <c:pt idx="17308">
                  <c:v>6.2832351503815095E-2</c:v>
                </c:pt>
                <c:pt idx="17309">
                  <c:v>4.5879053948136898E-2</c:v>
                </c:pt>
                <c:pt idx="17310">
                  <c:v>2.8925756392458798E-2</c:v>
                </c:pt>
                <c:pt idx="17311">
                  <c:v>1.2191271006892899E-2</c:v>
                </c:pt>
                <c:pt idx="17312">
                  <c:v>-4.5432143786729596E-3</c:v>
                </c:pt>
                <c:pt idx="17313">
                  <c:v>-2.1277699764238801E-2</c:v>
                </c:pt>
                <c:pt idx="17314">
                  <c:v>-3.80121851498047E-2</c:v>
                </c:pt>
                <c:pt idx="17315">
                  <c:v>-9.5634390869176703E-2</c:v>
                </c:pt>
                <c:pt idx="17316">
                  <c:v>-0.15325659658854901</c:v>
                </c:pt>
                <c:pt idx="17317">
                  <c:v>-0.29095670614114799</c:v>
                </c:pt>
                <c:pt idx="17318">
                  <c:v>-0.34857891186051998</c:v>
                </c:pt>
                <c:pt idx="17319">
                  <c:v>-0.40153783600695397</c:v>
                </c:pt>
                <c:pt idx="17320">
                  <c:v>-0.45449676015338802</c:v>
                </c:pt>
                <c:pt idx="17321">
                  <c:v>-0.50745568429982102</c:v>
                </c:pt>
                <c:pt idx="17322">
                  <c:v>-0.56041460844625501</c:v>
                </c:pt>
                <c:pt idx="17323">
                  <c:v>-0.52376952280981603</c:v>
                </c:pt>
                <c:pt idx="17324">
                  <c:v>-0.487124437173377</c:v>
                </c:pt>
                <c:pt idx="17325">
                  <c:v>-0.45047935153693802</c:v>
                </c:pt>
                <c:pt idx="17326">
                  <c:v>-0.34837810381015599</c:v>
                </c:pt>
                <c:pt idx="17327">
                  <c:v>-0.39183787354307997</c:v>
                </c:pt>
                <c:pt idx="17328">
                  <c:v>-0.46221048462940501</c:v>
                </c:pt>
                <c:pt idx="17329">
                  <c:v>-0.52834988613190603</c:v>
                </c:pt>
                <c:pt idx="17330">
                  <c:v>-0.534694594252064</c:v>
                </c:pt>
                <c:pt idx="17331">
                  <c:v>-0.55935362384226806</c:v>
                </c:pt>
                <c:pt idx="17332">
                  <c:v>-0.61493126631272299</c:v>
                </c:pt>
                <c:pt idx="17333">
                  <c:v>-0.63339384717041103</c:v>
                </c:pt>
                <c:pt idx="17334">
                  <c:v>-0.69728454316529398</c:v>
                </c:pt>
                <c:pt idx="17335">
                  <c:v>-0.72599195354906199</c:v>
                </c:pt>
                <c:pt idx="17336">
                  <c:v>-0.830972019536519</c:v>
                </c:pt>
                <c:pt idx="17337">
                  <c:v>-0.96278563364791003</c:v>
                </c:pt>
                <c:pt idx="17338">
                  <c:v>-0.92950767344366902</c:v>
                </c:pt>
                <c:pt idx="17339">
                  <c:v>-1.0744709888413799</c:v>
                </c:pt>
                <c:pt idx="17340">
                  <c:v>-1.0771705065205499</c:v>
                </c:pt>
                <c:pt idx="17341">
                  <c:v>-0.98900857310961499</c:v>
                </c:pt>
                <c:pt idx="17342">
                  <c:v>-1.00599537580446</c:v>
                </c:pt>
                <c:pt idx="17343">
                  <c:v>-1.0320288469590899</c:v>
                </c:pt>
                <c:pt idx="17344">
                  <c:v>-1.12601669937726</c:v>
                </c:pt>
                <c:pt idx="17345">
                  <c:v>-1.2282487537218301</c:v>
                </c:pt>
                <c:pt idx="17346">
                  <c:v>-1.24596395053631</c:v>
                </c:pt>
                <c:pt idx="17347">
                  <c:v>-1.32949347483586</c:v>
                </c:pt>
                <c:pt idx="17348">
                  <c:v>-1.42126198024608</c:v>
                </c:pt>
                <c:pt idx="17349">
                  <c:v>-1.4799952679841391</c:v>
                </c:pt>
                <c:pt idx="17350">
                  <c:v>-1.54084516051411</c:v>
                </c:pt>
                <c:pt idx="17351">
                  <c:v>-1.4744244759592</c:v>
                </c:pt>
                <c:pt idx="17352">
                  <c:v>-1.4058924074281001</c:v>
                </c:pt>
                <c:pt idx="17353">
                  <c:v>-1.3518646203382201</c:v>
                </c:pt>
                <c:pt idx="17354">
                  <c:v>-1.24001582064612</c:v>
                </c:pt>
                <c:pt idx="17355">
                  <c:v>-1.3060069627609801</c:v>
                </c:pt>
                <c:pt idx="17356">
                  <c:v>-1.3224849249823301</c:v>
                </c:pt>
                <c:pt idx="17357">
                  <c:v>-1.3348778224473601</c:v>
                </c:pt>
                <c:pt idx="17358">
                  <c:v>-1.7141752993730399</c:v>
                </c:pt>
                <c:pt idx="17359">
                  <c:v>-1.72981936391098</c:v>
                </c:pt>
                <c:pt idx="17360">
                  <c:v>-1.76813783940279</c:v>
                </c:pt>
                <c:pt idx="17361">
                  <c:v>-1.7569483558168</c:v>
                </c:pt>
                <c:pt idx="17362">
                  <c:v>-1.7581569905115499</c:v>
                </c:pt>
                <c:pt idx="17363">
                  <c:v>-1.75796357201356</c:v>
                </c:pt>
                <c:pt idx="17364">
                  <c:v>-1.75369553039068</c:v>
                </c:pt>
                <c:pt idx="17365">
                  <c:v>-1.73906668204951</c:v>
                </c:pt>
                <c:pt idx="17366">
                  <c:v>-1.7368359519890699</c:v>
                </c:pt>
                <c:pt idx="17367">
                  <c:v>-1.7315165402895201</c:v>
                </c:pt>
                <c:pt idx="17368">
                  <c:v>-1.7282396609681201</c:v>
                </c:pt>
                <c:pt idx="17369">
                  <c:v>-1.73939821148991</c:v>
                </c:pt>
                <c:pt idx="17370">
                  <c:v>-1.7340787997903599</c:v>
                </c:pt>
                <c:pt idx="17371">
                  <c:v>-1.6874747355872199</c:v>
                </c:pt>
                <c:pt idx="17372">
                  <c:v>-1.7617338003232901</c:v>
                </c:pt>
                <c:pt idx="17373">
                  <c:v>-1.6388623013321799</c:v>
                </c:pt>
                <c:pt idx="17374">
                  <c:v>-1.6681438872230601</c:v>
                </c:pt>
                <c:pt idx="17375">
                  <c:v>-1.5657643254353899</c:v>
                </c:pt>
                <c:pt idx="17376">
                  <c:v>-1.7474303978985399</c:v>
                </c:pt>
                <c:pt idx="17377">
                  <c:v>-1.72954681037811</c:v>
                </c:pt>
                <c:pt idx="17378">
                  <c:v>-1.57395600945029</c:v>
                </c:pt>
                <c:pt idx="17379">
                  <c:v>-1.5753922824065101</c:v>
                </c:pt>
                <c:pt idx="17380">
                  <c:v>-1.43718682100703</c:v>
                </c:pt>
                <c:pt idx="17381">
                  <c:v>-1.21652269690277</c:v>
                </c:pt>
                <c:pt idx="17382">
                  <c:v>-0.99366267477713299</c:v>
                </c:pt>
                <c:pt idx="17383">
                  <c:v>-0.89778282882317795</c:v>
                </c:pt>
                <c:pt idx="17384">
                  <c:v>-0.72147641091117498</c:v>
                </c:pt>
                <c:pt idx="17385">
                  <c:v>-0.56369048759867901</c:v>
                </c:pt>
                <c:pt idx="17386">
                  <c:v>-0.38300271527534402</c:v>
                </c:pt>
                <c:pt idx="17387">
                  <c:v>-0.32961665060060902</c:v>
                </c:pt>
                <c:pt idx="17388">
                  <c:v>-0.28446956703654702</c:v>
                </c:pt>
                <c:pt idx="17389">
                  <c:v>-0.23727995109432601</c:v>
                </c:pt>
                <c:pt idx="17390">
                  <c:v>-0.16106610982250699</c:v>
                </c:pt>
                <c:pt idx="17391">
                  <c:v>-1.8765545913053201E-2</c:v>
                </c:pt>
                <c:pt idx="17392">
                  <c:v>-6.2513682119361702E-3</c:v>
                </c:pt>
                <c:pt idx="17393">
                  <c:v>-0.15693959809151301</c:v>
                </c:pt>
                <c:pt idx="17394">
                  <c:v>-0.23339770474555799</c:v>
                </c:pt>
                <c:pt idx="17395">
                  <c:v>-0.24017087837456599</c:v>
                </c:pt>
                <c:pt idx="17396">
                  <c:v>-0.25329386637931101</c:v>
                </c:pt>
                <c:pt idx="17397">
                  <c:v>-0.105558489652249</c:v>
                </c:pt>
                <c:pt idx="17398">
                  <c:v>-0.18255601497993901</c:v>
                </c:pt>
                <c:pt idx="17399">
                  <c:v>-0.12627779244578499</c:v>
                </c:pt>
                <c:pt idx="17400">
                  <c:v>-0.18928222538987399</c:v>
                </c:pt>
                <c:pt idx="17401">
                  <c:v>-0.26294375470727699</c:v>
                </c:pt>
                <c:pt idx="17402">
                  <c:v>-0.11368747629111101</c:v>
                </c:pt>
                <c:pt idx="17403">
                  <c:v>9.8848821289824501E-2</c:v>
                </c:pt>
                <c:pt idx="17404">
                  <c:v>-8.3683714441624094E-3</c:v>
                </c:pt>
                <c:pt idx="17405">
                  <c:v>2.8641472689088801E-2</c:v>
                </c:pt>
                <c:pt idx="17406">
                  <c:v>-0.18795766573450401</c:v>
                </c:pt>
                <c:pt idx="17407">
                  <c:v>-1.0080745650241399E-2</c:v>
                </c:pt>
                <c:pt idx="17408">
                  <c:v>-0.14387170041344899</c:v>
                </c:pt>
                <c:pt idx="17409">
                  <c:v>-8.58856775645985E-2</c:v>
                </c:pt>
                <c:pt idx="17410">
                  <c:v>3.8318925456083598E-2</c:v>
                </c:pt>
                <c:pt idx="17411">
                  <c:v>0.18342993712701999</c:v>
                </c:pt>
                <c:pt idx="17412">
                  <c:v>0.18015477476064701</c:v>
                </c:pt>
                <c:pt idx="17413">
                  <c:v>-0.11226199632684</c:v>
                </c:pt>
                <c:pt idx="17414">
                  <c:v>-2.9062282830158302E-2</c:v>
                </c:pt>
                <c:pt idx="17415">
                  <c:v>-9.7624910824883903E-4</c:v>
                </c:pt>
                <c:pt idx="17416">
                  <c:v>-0.15453904515278499</c:v>
                </c:pt>
                <c:pt idx="17417">
                  <c:v>-6.2504401694175399E-2</c:v>
                </c:pt>
                <c:pt idx="17418">
                  <c:v>-2.2173615334741902E-2</c:v>
                </c:pt>
                <c:pt idx="17419">
                  <c:v>-1.5649776232425298E-2</c:v>
                </c:pt>
                <c:pt idx="17420">
                  <c:v>-0.19893445477776101</c:v>
                </c:pt>
                <c:pt idx="17421">
                  <c:v>-0.35946542913976698</c:v>
                </c:pt>
                <c:pt idx="17422">
                  <c:v>-0.40660868628531799</c:v>
                </c:pt>
                <c:pt idx="17423">
                  <c:v>-0.50486864058880099</c:v>
                </c:pt>
                <c:pt idx="17424">
                  <c:v>-0.51242050944540596</c:v>
                </c:pt>
                <c:pt idx="17425">
                  <c:v>-0.59011743677122497</c:v>
                </c:pt>
                <c:pt idx="17426">
                  <c:v>-0.69041470263715299</c:v>
                </c:pt>
                <c:pt idx="17427">
                  <c:v>-0.67601694552051605</c:v>
                </c:pt>
                <c:pt idx="17428">
                  <c:v>-0.68633613173590002</c:v>
                </c:pt>
                <c:pt idx="17429">
                  <c:v>-0.713133280172631</c:v>
                </c:pt>
                <c:pt idx="17430">
                  <c:v>-0.81627193581109203</c:v>
                </c:pt>
                <c:pt idx="17431">
                  <c:v>-0.78445790574968499</c:v>
                </c:pt>
                <c:pt idx="17432">
                  <c:v>-0.84962248228142501</c:v>
                </c:pt>
                <c:pt idx="17433">
                  <c:v>-0.86111996256529899</c:v>
                </c:pt>
                <c:pt idx="17434">
                  <c:v>-0.97367589338292304</c:v>
                </c:pt>
                <c:pt idx="17435">
                  <c:v>-1.0357530430844699</c:v>
                </c:pt>
                <c:pt idx="17436">
                  <c:v>-1.0524761500625801</c:v>
                </c:pt>
                <c:pt idx="17437">
                  <c:v>-1.0794859913452299</c:v>
                </c:pt>
                <c:pt idx="17438">
                  <c:v>-1.12712249038787</c:v>
                </c:pt>
                <c:pt idx="17439">
                  <c:v>-1.1847953876789199</c:v>
                </c:pt>
                <c:pt idx="17440">
                  <c:v>-1.1868327287576901</c:v>
                </c:pt>
                <c:pt idx="17441">
                  <c:v>-1.18880121823842</c:v>
                </c:pt>
                <c:pt idx="17442">
                  <c:v>-1.26090954537266</c:v>
                </c:pt>
                <c:pt idx="17443">
                  <c:v>-1.1774067184791399</c:v>
                </c:pt>
                <c:pt idx="17444">
                  <c:v>-1.21552536909704</c:v>
                </c:pt>
                <c:pt idx="17445">
                  <c:v>-1.22272540683468</c:v>
                </c:pt>
                <c:pt idx="17446">
                  <c:v>-1.19281560377528</c:v>
                </c:pt>
                <c:pt idx="17447">
                  <c:v>-1.27753118814244</c:v>
                </c:pt>
                <c:pt idx="17448">
                  <c:v>-1.19316508911425</c:v>
                </c:pt>
                <c:pt idx="17449">
                  <c:v>-1.10056000897539</c:v>
                </c:pt>
                <c:pt idx="17450">
                  <c:v>-1.24506506590918</c:v>
                </c:pt>
                <c:pt idx="17451">
                  <c:v>-1.3018222233694201</c:v>
                </c:pt>
                <c:pt idx="17452">
                  <c:v>-1.16274344253985</c:v>
                </c:pt>
                <c:pt idx="17453">
                  <c:v>-1.17831091526243</c:v>
                </c:pt>
                <c:pt idx="17454">
                  <c:v>-1.22063264287947</c:v>
                </c:pt>
                <c:pt idx="17455">
                  <c:v>-1.17752540938143</c:v>
                </c:pt>
                <c:pt idx="17456">
                  <c:v>-1.08906935397567</c:v>
                </c:pt>
                <c:pt idx="17457">
                  <c:v>-1.0315266906344389</c:v>
                </c:pt>
                <c:pt idx="17458">
                  <c:v>-1.0110938680902599</c:v>
                </c:pt>
                <c:pt idx="17459">
                  <c:v>-1.03809081218986</c:v>
                </c:pt>
                <c:pt idx="17460">
                  <c:v>-1.02797791549241</c:v>
                </c:pt>
                <c:pt idx="17461">
                  <c:v>9.8326612516096104E-2</c:v>
                </c:pt>
                <c:pt idx="17462">
                  <c:v>0.37826880983231498</c:v>
                </c:pt>
                <c:pt idx="17463">
                  <c:v>0.62321777114339405</c:v>
                </c:pt>
                <c:pt idx="17464">
                  <c:v>0.67139376981917898</c:v>
                </c:pt>
                <c:pt idx="17465">
                  <c:v>0.653578626380106</c:v>
                </c:pt>
                <c:pt idx="17466">
                  <c:v>0.64808752880802301</c:v>
                </c:pt>
                <c:pt idx="17467">
                  <c:v>0.65083541234661402</c:v>
                </c:pt>
                <c:pt idx="17468">
                  <c:v>0.76253055333560305</c:v>
                </c:pt>
                <c:pt idx="17469">
                  <c:v>0.79160322434516595</c:v>
                </c:pt>
                <c:pt idx="17470">
                  <c:v>0.81259027988727595</c:v>
                </c:pt>
                <c:pt idx="17471">
                  <c:v>0.89941511190102397</c:v>
                </c:pt>
                <c:pt idx="17472">
                  <c:v>0.82421125767164205</c:v>
                </c:pt>
                <c:pt idx="17473">
                  <c:v>0.76964450283368002</c:v>
                </c:pt>
                <c:pt idx="17474">
                  <c:v>0.70902944409071</c:v>
                </c:pt>
                <c:pt idx="17475">
                  <c:v>0.67298318385225198</c:v>
                </c:pt>
                <c:pt idx="17476">
                  <c:v>0.77123124418279398</c:v>
                </c:pt>
                <c:pt idx="17477">
                  <c:v>0.69183624627373697</c:v>
                </c:pt>
                <c:pt idx="17478">
                  <c:v>0.72794557037304997</c:v>
                </c:pt>
                <c:pt idx="17479">
                  <c:v>0.85703295035437399</c:v>
                </c:pt>
                <c:pt idx="17480">
                  <c:v>0.76984494493632505</c:v>
                </c:pt>
                <c:pt idx="17481">
                  <c:v>0.88267289824100803</c:v>
                </c:pt>
                <c:pt idx="17482">
                  <c:v>0.83872233075448699</c:v>
                </c:pt>
                <c:pt idx="17483">
                  <c:v>0.92078503682214097</c:v>
                </c:pt>
                <c:pt idx="17484">
                  <c:v>0.90497009835222697</c:v>
                </c:pt>
                <c:pt idx="17485">
                  <c:v>0.92203701191125498</c:v>
                </c:pt>
                <c:pt idx="17486">
                  <c:v>1.0732821077213801</c:v>
                </c:pt>
                <c:pt idx="17487">
                  <c:v>1.0121131265280201</c:v>
                </c:pt>
                <c:pt idx="17488">
                  <c:v>0.97064754636224904</c:v>
                </c:pt>
                <c:pt idx="17489">
                  <c:v>1.13955351082179</c:v>
                </c:pt>
                <c:pt idx="17490">
                  <c:v>1.0566603662299601</c:v>
                </c:pt>
                <c:pt idx="17491">
                  <c:v>0.66755426070454005</c:v>
                </c:pt>
                <c:pt idx="17492">
                  <c:v>0.62224296107750798</c:v>
                </c:pt>
                <c:pt idx="17493">
                  <c:v>0.55825780120774904</c:v>
                </c:pt>
                <c:pt idx="17494">
                  <c:v>0.44067961750387802</c:v>
                </c:pt>
                <c:pt idx="17495">
                  <c:v>0.312819920311174</c:v>
                </c:pt>
                <c:pt idx="17496">
                  <c:v>0.28236406064118102</c:v>
                </c:pt>
                <c:pt idx="17497">
                  <c:v>0.21275060698026499</c:v>
                </c:pt>
                <c:pt idx="17498">
                  <c:v>0.11237190608231901</c:v>
                </c:pt>
                <c:pt idx="17499">
                  <c:v>1.5845611068002401E-2</c:v>
                </c:pt>
                <c:pt idx="17500">
                  <c:v>-5.3820027410969001E-2</c:v>
                </c:pt>
                <c:pt idx="17501">
                  <c:v>-0.13180394023008099</c:v>
                </c:pt>
                <c:pt idx="17502">
                  <c:v>-0.189071460428309</c:v>
                </c:pt>
                <c:pt idx="17503">
                  <c:v>-0.23402015557525899</c:v>
                </c:pt>
                <c:pt idx="17504">
                  <c:v>-0.37461340209585398</c:v>
                </c:pt>
                <c:pt idx="17505">
                  <c:v>-0.47415466707487602</c:v>
                </c:pt>
                <c:pt idx="17506">
                  <c:v>-0.58208827880779102</c:v>
                </c:pt>
                <c:pt idx="17507">
                  <c:v>-0.462008278649504</c:v>
                </c:pt>
                <c:pt idx="17508">
                  <c:v>-0.60560643714166495</c:v>
                </c:pt>
                <c:pt idx="17509">
                  <c:v>-0.64398700793000496</c:v>
                </c:pt>
                <c:pt idx="17510">
                  <c:v>-0.71123843840472301</c:v>
                </c:pt>
                <c:pt idx="17511">
                  <c:v>-0.73722089091231902</c:v>
                </c:pt>
                <c:pt idx="17512">
                  <c:v>-0.78011270186701498</c:v>
                </c:pt>
                <c:pt idx="17513">
                  <c:v>-0.72194606228796099</c:v>
                </c:pt>
                <c:pt idx="17514">
                  <c:v>-0.79371395374474996</c:v>
                </c:pt>
                <c:pt idx="17515">
                  <c:v>-0.83660576469944703</c:v>
                </c:pt>
                <c:pt idx="17516">
                  <c:v>-0.85729629532993401</c:v>
                </c:pt>
                <c:pt idx="17517">
                  <c:v>-0.93164870139257505</c:v>
                </c:pt>
                <c:pt idx="17518">
                  <c:v>-0.99156567761202596</c:v>
                </c:pt>
                <c:pt idx="17519">
                  <c:v>-1.0102136758643601</c:v>
                </c:pt>
                <c:pt idx="17520">
                  <c:v>-1.08057184528802</c:v>
                </c:pt>
                <c:pt idx="17521">
                  <c:v>-1.1550839310660499</c:v>
                </c:pt>
                <c:pt idx="17522">
                  <c:v>-1.22544210048972</c:v>
                </c:pt>
                <c:pt idx="17523">
                  <c:v>-1.1926992870014801</c:v>
                </c:pt>
                <c:pt idx="17524">
                  <c:v>-1.18685515719292</c:v>
                </c:pt>
                <c:pt idx="17525">
                  <c:v>-1.18721269693259</c:v>
                </c:pt>
                <c:pt idx="17526">
                  <c:v>-1.02876484595004</c:v>
                </c:pt>
                <c:pt idx="17527">
                  <c:v>-0.95482341086613798</c:v>
                </c:pt>
                <c:pt idx="17528">
                  <c:v>-1.0926659412280999</c:v>
                </c:pt>
                <c:pt idx="17529">
                  <c:v>-1.1665650826690701</c:v>
                </c:pt>
                <c:pt idx="17530">
                  <c:v>-1.18067475154341</c:v>
                </c:pt>
                <c:pt idx="17531">
                  <c:v>-1.14527646133996</c:v>
                </c:pt>
                <c:pt idx="17532">
                  <c:v>-1.09773422960127</c:v>
                </c:pt>
                <c:pt idx="17533">
                  <c:v>-0.97800962783092105</c:v>
                </c:pt>
                <c:pt idx="17534">
                  <c:v>-0.99025686865886098</c:v>
                </c:pt>
                <c:pt idx="17535">
                  <c:v>-0.95299092959329201</c:v>
                </c:pt>
                <c:pt idx="17536">
                  <c:v>-0.964532057312387</c:v>
                </c:pt>
                <c:pt idx="17537">
                  <c:v>-0.95543608564006399</c:v>
                </c:pt>
                <c:pt idx="17538">
                  <c:v>-0.84944080060406002</c:v>
                </c:pt>
                <c:pt idx="17539">
                  <c:v>-0.90633075023088105</c:v>
                </c:pt>
                <c:pt idx="17540">
                  <c:v>-0.86401672655347805</c:v>
                </c:pt>
                <c:pt idx="17541">
                  <c:v>-0.84437711382993796</c:v>
                </c:pt>
                <c:pt idx="17542">
                  <c:v>-0.81854105237388197</c:v>
                </c:pt>
                <c:pt idx="17543">
                  <c:v>-0.73503212314310995</c:v>
                </c:pt>
                <c:pt idx="17544">
                  <c:v>-0.48148393927613098</c:v>
                </c:pt>
                <c:pt idx="17545">
                  <c:v>-0.37645441182682898</c:v>
                </c:pt>
                <c:pt idx="17546">
                  <c:v>-0.24036334748548199</c:v>
                </c:pt>
                <c:pt idx="17547">
                  <c:v>-0.13314836364622801</c:v>
                </c:pt>
                <c:pt idx="17548">
                  <c:v>-0.14576626179327301</c:v>
                </c:pt>
                <c:pt idx="17549">
                  <c:v>-0.12534894226815599</c:v>
                </c:pt>
                <c:pt idx="17550">
                  <c:v>-0.14408921673396299</c:v>
                </c:pt>
                <c:pt idx="17551">
                  <c:v>-0.121634585646402</c:v>
                </c:pt>
                <c:pt idx="17552">
                  <c:v>-2.27303140838616E-2</c:v>
                </c:pt>
                <c:pt idx="17553">
                  <c:v>7.6253250708145801E-2</c:v>
                </c:pt>
                <c:pt idx="17554">
                  <c:v>0.222628169786038</c:v>
                </c:pt>
                <c:pt idx="17555">
                  <c:v>0.28238006817336803</c:v>
                </c:pt>
                <c:pt idx="17556">
                  <c:v>0.35668381161075702</c:v>
                </c:pt>
                <c:pt idx="17557">
                  <c:v>0.44134314095073202</c:v>
                </c:pt>
                <c:pt idx="17558">
                  <c:v>0.52395993791254902</c:v>
                </c:pt>
                <c:pt idx="17559">
                  <c:v>0.64981417280589304</c:v>
                </c:pt>
                <c:pt idx="17560">
                  <c:v>0.77971441468151603</c:v>
                </c:pt>
                <c:pt idx="17561">
                  <c:v>0.856021632723027</c:v>
                </c:pt>
                <c:pt idx="17562">
                  <c:v>0.57719006843175502</c:v>
                </c:pt>
                <c:pt idx="17563">
                  <c:v>0.71540858464752</c:v>
                </c:pt>
                <c:pt idx="17564">
                  <c:v>0.70062133415492001</c:v>
                </c:pt>
                <c:pt idx="17565">
                  <c:v>0.71047695458058702</c:v>
                </c:pt>
                <c:pt idx="17566">
                  <c:v>0.71844340827131803</c:v>
                </c:pt>
                <c:pt idx="17567">
                  <c:v>0.76941986183660005</c:v>
                </c:pt>
                <c:pt idx="17568">
                  <c:v>0.807084953390375</c:v>
                </c:pt>
                <c:pt idx="17569">
                  <c:v>0.78283874676989496</c:v>
                </c:pt>
                <c:pt idx="17570">
                  <c:v>1.0434172359226199</c:v>
                </c:pt>
                <c:pt idx="17571">
                  <c:v>1.0707215207581</c:v>
                </c:pt>
                <c:pt idx="17572">
                  <c:v>1.1099337069150901</c:v>
                </c:pt>
                <c:pt idx="17573">
                  <c:v>1.0747624042033299</c:v>
                </c:pt>
                <c:pt idx="17574">
                  <c:v>0.99439042441135195</c:v>
                </c:pt>
                <c:pt idx="17575">
                  <c:v>1.01697128270378</c:v>
                </c:pt>
                <c:pt idx="17576">
                  <c:v>1.04783318775173</c:v>
                </c:pt>
                <c:pt idx="17577">
                  <c:v>1.1734089497734099</c:v>
                </c:pt>
                <c:pt idx="17578">
                  <c:v>1.17365897322756</c:v>
                </c:pt>
                <c:pt idx="17579">
                  <c:v>0.99808103276328697</c:v>
                </c:pt>
                <c:pt idx="17580">
                  <c:v>1.0877499872980301</c:v>
                </c:pt>
                <c:pt idx="17581">
                  <c:v>1.0701536009350801</c:v>
                </c:pt>
                <c:pt idx="17582">
                  <c:v>0.61882261704962205</c:v>
                </c:pt>
                <c:pt idx="17583">
                  <c:v>0.65890431927710102</c:v>
                </c:pt>
                <c:pt idx="17584">
                  <c:v>0.85489639999283595</c:v>
                </c:pt>
                <c:pt idx="17585">
                  <c:v>1.0469620024111901</c:v>
                </c:pt>
                <c:pt idx="17586">
                  <c:v>1.06334256492292</c:v>
                </c:pt>
                <c:pt idx="17587">
                  <c:v>0.97261115218018401</c:v>
                </c:pt>
                <c:pt idx="17588">
                  <c:v>0.87615273386789705</c:v>
                </c:pt>
                <c:pt idx="17589">
                  <c:v>0.81272953322777297</c:v>
                </c:pt>
                <c:pt idx="17590">
                  <c:v>0.69563401552406801</c:v>
                </c:pt>
                <c:pt idx="17591">
                  <c:v>0.58050173696905405</c:v>
                </c:pt>
                <c:pt idx="17592">
                  <c:v>0.49734963946758098</c:v>
                </c:pt>
                <c:pt idx="17593">
                  <c:v>0.40376266283405499</c:v>
                </c:pt>
                <c:pt idx="17594">
                  <c:v>0.31433482337059998</c:v>
                </c:pt>
                <c:pt idx="17595">
                  <c:v>0.220901212380294</c:v>
                </c:pt>
                <c:pt idx="17596">
                  <c:v>0.15920394728801901</c:v>
                </c:pt>
                <c:pt idx="17597">
                  <c:v>8.5187857144467E-2</c:v>
                </c:pt>
                <c:pt idx="17598">
                  <c:v>3.1808866392333303E-2</c:v>
                </c:pt>
                <c:pt idx="17599">
                  <c:v>3.1468189722205901E-3</c:v>
                </c:pt>
                <c:pt idx="17600">
                  <c:v>-9.6759904061436294E-2</c:v>
                </c:pt>
                <c:pt idx="17601">
                  <c:v>-0.16983307897116001</c:v>
                </c:pt>
                <c:pt idx="17602">
                  <c:v>-0.25522507893216101</c:v>
                </c:pt>
                <c:pt idx="17603">
                  <c:v>-0.30554454965855399</c:v>
                </c:pt>
                <c:pt idx="17604">
                  <c:v>4.0201694869882301E-2</c:v>
                </c:pt>
                <c:pt idx="17605">
                  <c:v>-3.97907775176281E-2</c:v>
                </c:pt>
                <c:pt idx="17606">
                  <c:v>-3.5123468363266998E-2</c:v>
                </c:pt>
                <c:pt idx="17607">
                  <c:v>-0.146108626044782</c:v>
                </c:pt>
                <c:pt idx="17608">
                  <c:v>-0.20931256147184599</c:v>
                </c:pt>
                <c:pt idx="17609">
                  <c:v>-0.17545859707629399</c:v>
                </c:pt>
                <c:pt idx="17610">
                  <c:v>-0.27373506173796602</c:v>
                </c:pt>
                <c:pt idx="17611">
                  <c:v>-0.34517797827570301</c:v>
                </c:pt>
                <c:pt idx="17612">
                  <c:v>-0.35097817783757101</c:v>
                </c:pt>
                <c:pt idx="17613">
                  <c:v>-0.30938702311355598</c:v>
                </c:pt>
                <c:pt idx="17614">
                  <c:v>-0.32758534095616898</c:v>
                </c:pt>
                <c:pt idx="17615">
                  <c:v>-0.45100124650260398</c:v>
                </c:pt>
                <c:pt idx="17616">
                  <c:v>-0.52081292975202997</c:v>
                </c:pt>
                <c:pt idx="17617">
                  <c:v>-0.47716804418695902</c:v>
                </c:pt>
                <c:pt idx="17618">
                  <c:v>-0.54486312264447301</c:v>
                </c:pt>
                <c:pt idx="17619">
                  <c:v>-0.63326937290715901</c:v>
                </c:pt>
                <c:pt idx="17620">
                  <c:v>-0.65594974669014505</c:v>
                </c:pt>
                <c:pt idx="17621">
                  <c:v>-0.64151505886036397</c:v>
                </c:pt>
                <c:pt idx="17622">
                  <c:v>-0.53842003877757705</c:v>
                </c:pt>
                <c:pt idx="17623">
                  <c:v>-0.50954992110460795</c:v>
                </c:pt>
                <c:pt idx="17624">
                  <c:v>-0.59365623530651201</c:v>
                </c:pt>
                <c:pt idx="17625">
                  <c:v>-0.58910221725540801</c:v>
                </c:pt>
                <c:pt idx="17626">
                  <c:v>-0.57426668571547301</c:v>
                </c:pt>
                <c:pt idx="17627">
                  <c:v>-0.56767013528621102</c:v>
                </c:pt>
                <c:pt idx="17628">
                  <c:v>-0.55458901983451803</c:v>
                </c:pt>
                <c:pt idx="17629">
                  <c:v>-0.55798586660417204</c:v>
                </c:pt>
                <c:pt idx="17630">
                  <c:v>-0.47475969268326401</c:v>
                </c:pt>
                <c:pt idx="17631">
                  <c:v>-0.46991755834224402</c:v>
                </c:pt>
                <c:pt idx="17632">
                  <c:v>-0.53001783783106404</c:v>
                </c:pt>
                <c:pt idx="17633">
                  <c:v>-0.58187913620920895</c:v>
                </c:pt>
                <c:pt idx="17634">
                  <c:v>-0.60894941884157905</c:v>
                </c:pt>
                <c:pt idx="17635">
                  <c:v>-0.64637528737653605</c:v>
                </c:pt>
                <c:pt idx="17636">
                  <c:v>-0.58174682429630997</c:v>
                </c:pt>
                <c:pt idx="17637">
                  <c:v>-0.510921912483569</c:v>
                </c:pt>
                <c:pt idx="17638">
                  <c:v>-0.45453243051401698</c:v>
                </c:pt>
                <c:pt idx="17639">
                  <c:v>-0.41673751555772498</c:v>
                </c:pt>
                <c:pt idx="17640">
                  <c:v>-0.233914391529677</c:v>
                </c:pt>
                <c:pt idx="17641">
                  <c:v>-0.172786817426798</c:v>
                </c:pt>
                <c:pt idx="17642">
                  <c:v>-0.11165924332391999</c:v>
                </c:pt>
                <c:pt idx="17643">
                  <c:v>-5.0531669221040902E-2</c:v>
                </c:pt>
                <c:pt idx="17644">
                  <c:v>-4.0662497114088599E-2</c:v>
                </c:pt>
                <c:pt idx="17645">
                  <c:v>1.0475652959986001E-2</c:v>
                </c:pt>
                <c:pt idx="17646">
                  <c:v>4.5135840812713601E-2</c:v>
                </c:pt>
                <c:pt idx="17647">
                  <c:v>8.7960937362360297E-2</c:v>
                </c:pt>
                <c:pt idx="17648">
                  <c:v>0.14269544152171099</c:v>
                </c:pt>
                <c:pt idx="17649">
                  <c:v>0.14587945422510701</c:v>
                </c:pt>
                <c:pt idx="17650">
                  <c:v>0.19441750965194099</c:v>
                </c:pt>
                <c:pt idx="17651">
                  <c:v>0.22647760285742799</c:v>
                </c:pt>
                <c:pt idx="17652">
                  <c:v>0.24870267976191801</c:v>
                </c:pt>
                <c:pt idx="17653">
                  <c:v>0.30811689069292603</c:v>
                </c:pt>
                <c:pt idx="17654">
                  <c:v>0.404646163236699</c:v>
                </c:pt>
                <c:pt idx="17655">
                  <c:v>0.45377886067887602</c:v>
                </c:pt>
                <c:pt idx="17656">
                  <c:v>0.54560905461118703</c:v>
                </c:pt>
                <c:pt idx="17657">
                  <c:v>0.68498396847260401</c:v>
                </c:pt>
                <c:pt idx="17658">
                  <c:v>0.81392922401767998</c:v>
                </c:pt>
                <c:pt idx="17659">
                  <c:v>0.91611500385257805</c:v>
                </c:pt>
                <c:pt idx="17660">
                  <c:v>0.85213679327924097</c:v>
                </c:pt>
                <c:pt idx="17661">
                  <c:v>0.89746123516604404</c:v>
                </c:pt>
                <c:pt idx="17662">
                  <c:v>0.84376453808153895</c:v>
                </c:pt>
                <c:pt idx="17663">
                  <c:v>0.864144598579344</c:v>
                </c:pt>
                <c:pt idx="17664">
                  <c:v>0.85543622559333599</c:v>
                </c:pt>
                <c:pt idx="17665">
                  <c:v>0.91249155666520998</c:v>
                </c:pt>
                <c:pt idx="17666">
                  <c:v>0.84179781309119395</c:v>
                </c:pt>
                <c:pt idx="17667">
                  <c:v>0.86786045886906404</c:v>
                </c:pt>
                <c:pt idx="17668">
                  <c:v>0.79253968865176705</c:v>
                </c:pt>
                <c:pt idx="17669">
                  <c:v>0.82221428889702997</c:v>
                </c:pt>
                <c:pt idx="17670">
                  <c:v>0.81265722273761498</c:v>
                </c:pt>
                <c:pt idx="17671">
                  <c:v>0.80748673180524599</c:v>
                </c:pt>
                <c:pt idx="17672">
                  <c:v>0.95859337929922495</c:v>
                </c:pt>
                <c:pt idx="17673">
                  <c:v>0.95103233926706299</c:v>
                </c:pt>
                <c:pt idx="17674">
                  <c:v>0.98247552758260503</c:v>
                </c:pt>
                <c:pt idx="17675">
                  <c:v>1.0614686566429601</c:v>
                </c:pt>
                <c:pt idx="17676">
                  <c:v>1.0082960555833</c:v>
                </c:pt>
                <c:pt idx="17677">
                  <c:v>0.91392854897026099</c:v>
                </c:pt>
                <c:pt idx="17678">
                  <c:v>0.95570246375700896</c:v>
                </c:pt>
                <c:pt idx="17679">
                  <c:v>0.98719486505492704</c:v>
                </c:pt>
                <c:pt idx="17680">
                  <c:v>0.92617153718439305</c:v>
                </c:pt>
                <c:pt idx="17681">
                  <c:v>1.0696300364931</c:v>
                </c:pt>
                <c:pt idx="17682">
                  <c:v>1.03975275955979</c:v>
                </c:pt>
                <c:pt idx="17683">
                  <c:v>1.0325551143960601</c:v>
                </c:pt>
                <c:pt idx="17684">
                  <c:v>0.98450606569065102</c:v>
                </c:pt>
                <c:pt idx="17685">
                  <c:v>0.97568868338991999</c:v>
                </c:pt>
                <c:pt idx="17686">
                  <c:v>0.85325614581575804</c:v>
                </c:pt>
                <c:pt idx="17687">
                  <c:v>0.87119823922520501</c:v>
                </c:pt>
                <c:pt idx="17688">
                  <c:v>0.33625890693559302</c:v>
                </c:pt>
                <c:pt idx="17689">
                  <c:v>0.243827322622576</c:v>
                </c:pt>
                <c:pt idx="17690">
                  <c:v>0.12879539976945101</c:v>
                </c:pt>
                <c:pt idx="17691">
                  <c:v>3.6353290707141798E-3</c:v>
                </c:pt>
                <c:pt idx="17692">
                  <c:v>-8.1693718266263995E-2</c:v>
                </c:pt>
                <c:pt idx="17693">
                  <c:v>-0.167022765603242</c:v>
                </c:pt>
                <c:pt idx="17694">
                  <c:v>-0.25030928056206098</c:v>
                </c:pt>
                <c:pt idx="17695">
                  <c:v>-0.33147919072896898</c:v>
                </c:pt>
                <c:pt idx="17696">
                  <c:v>-0.42919880560485002</c:v>
                </c:pt>
                <c:pt idx="17697">
                  <c:v>-0.52261113848315399</c:v>
                </c:pt>
                <c:pt idx="17698">
                  <c:v>-0.57497671063559497</c:v>
                </c:pt>
                <c:pt idx="17699">
                  <c:v>-0.61078502733722195</c:v>
                </c:pt>
                <c:pt idx="17700">
                  <c:v>-0.54110009037349704</c:v>
                </c:pt>
                <c:pt idx="17701">
                  <c:v>-0.50508030678305604</c:v>
                </c:pt>
                <c:pt idx="17702">
                  <c:v>-0.58047978044466597</c:v>
                </c:pt>
                <c:pt idx="17703">
                  <c:v>-0.63524215471485801</c:v>
                </c:pt>
                <c:pt idx="17704">
                  <c:v>-0.73394149843370105</c:v>
                </c:pt>
                <c:pt idx="17705">
                  <c:v>-0.78313288307474804</c:v>
                </c:pt>
                <c:pt idx="17706">
                  <c:v>-0.81176124073813105</c:v>
                </c:pt>
                <c:pt idx="17707">
                  <c:v>-0.81348197786382703</c:v>
                </c:pt>
                <c:pt idx="17708">
                  <c:v>-0.89893545420030196</c:v>
                </c:pt>
                <c:pt idx="17709">
                  <c:v>-0.93896081539958498</c:v>
                </c:pt>
                <c:pt idx="17710">
                  <c:v>-0.989341762501453</c:v>
                </c:pt>
                <c:pt idx="17711">
                  <c:v>-0.99225206208797001</c:v>
                </c:pt>
                <c:pt idx="17712">
                  <c:v>-0.96379439862867</c:v>
                </c:pt>
                <c:pt idx="17713">
                  <c:v>-1.03843771808128</c:v>
                </c:pt>
                <c:pt idx="17714">
                  <c:v>-1.1481535667684999</c:v>
                </c:pt>
                <c:pt idx="17715">
                  <c:v>-1.2042763916215999</c:v>
                </c:pt>
                <c:pt idx="17716">
                  <c:v>-1.2350655431836</c:v>
                </c:pt>
                <c:pt idx="17717">
                  <c:v>-1.22873963313283</c:v>
                </c:pt>
                <c:pt idx="17718">
                  <c:v>-0.94083824193836596</c:v>
                </c:pt>
                <c:pt idx="17719">
                  <c:v>-0.94691567098405804</c:v>
                </c:pt>
                <c:pt idx="17720">
                  <c:v>-0.90869974721819102</c:v>
                </c:pt>
                <c:pt idx="17721">
                  <c:v>-0.89528006001381299</c:v>
                </c:pt>
                <c:pt idx="17722">
                  <c:v>-0.87974376801752296</c:v>
                </c:pt>
                <c:pt idx="17723">
                  <c:v>-0.87448898951006504</c:v>
                </c:pt>
                <c:pt idx="17724">
                  <c:v>-0.89613819047892795</c:v>
                </c:pt>
                <c:pt idx="17725">
                  <c:v>-0.90954841033711797</c:v>
                </c:pt>
                <c:pt idx="17726">
                  <c:v>-0.91063458432831601</c:v>
                </c:pt>
                <c:pt idx="17727">
                  <c:v>-0.93228378529718003</c:v>
                </c:pt>
                <c:pt idx="17728">
                  <c:v>-0.65403871321927198</c:v>
                </c:pt>
                <c:pt idx="17729">
                  <c:v>-0.66980883677885195</c:v>
                </c:pt>
                <c:pt idx="17730">
                  <c:v>-0.71444982002481106</c:v>
                </c:pt>
                <c:pt idx="17731">
                  <c:v>-0.69522148676353801</c:v>
                </c:pt>
                <c:pt idx="17732">
                  <c:v>-0.65297242569001002</c:v>
                </c:pt>
                <c:pt idx="17733">
                  <c:v>-0.59220287001697602</c:v>
                </c:pt>
                <c:pt idx="17734">
                  <c:v>-0.54791127656528904</c:v>
                </c:pt>
                <c:pt idx="17735">
                  <c:v>-0.43763376181445901</c:v>
                </c:pt>
                <c:pt idx="17736">
                  <c:v>-0.35294407109327602</c:v>
                </c:pt>
                <c:pt idx="17737">
                  <c:v>-0.31564573465797702</c:v>
                </c:pt>
                <c:pt idx="17738">
                  <c:v>-0.28446977454144001</c:v>
                </c:pt>
                <c:pt idx="17739">
                  <c:v>-0.19154110270958299</c:v>
                </c:pt>
                <c:pt idx="17740">
                  <c:v>-0.15530209568741299</c:v>
                </c:pt>
                <c:pt idx="17741">
                  <c:v>-0.15406676630180999</c:v>
                </c:pt>
                <c:pt idx="17742">
                  <c:v>-0.150788904538049</c:v>
                </c:pt>
                <c:pt idx="17743">
                  <c:v>-0.15575002388496101</c:v>
                </c:pt>
                <c:pt idx="17744">
                  <c:v>-3.3933442136833102E-2</c:v>
                </c:pt>
                <c:pt idx="17745">
                  <c:v>3.8449252947251898E-2</c:v>
                </c:pt>
                <c:pt idx="17746">
                  <c:v>9.2316674247545194E-2</c:v>
                </c:pt>
                <c:pt idx="17747">
                  <c:v>0.13166937247518201</c:v>
                </c:pt>
                <c:pt idx="17748">
                  <c:v>0.17546624285995599</c:v>
                </c:pt>
                <c:pt idx="17749">
                  <c:v>0.239900212636148</c:v>
                </c:pt>
                <c:pt idx="17750">
                  <c:v>0.293978596509754</c:v>
                </c:pt>
                <c:pt idx="17751">
                  <c:v>0.33157901816201202</c:v>
                </c:pt>
                <c:pt idx="17752">
                  <c:v>0.411630846232791</c:v>
                </c:pt>
                <c:pt idx="17753">
                  <c:v>0.54126992661083395</c:v>
                </c:pt>
                <c:pt idx="17754">
                  <c:v>0.62140104791108097</c:v>
                </c:pt>
                <c:pt idx="17755">
                  <c:v>0.68089506981990899</c:v>
                </c:pt>
                <c:pt idx="17756">
                  <c:v>0.80246199549964004</c:v>
                </c:pt>
                <c:pt idx="17757">
                  <c:v>0.75266682571747001</c:v>
                </c:pt>
                <c:pt idx="17758">
                  <c:v>0.86183563311645695</c:v>
                </c:pt>
                <c:pt idx="17759">
                  <c:v>0.88022228265480995</c:v>
                </c:pt>
                <c:pt idx="17760">
                  <c:v>0.938446648740213</c:v>
                </c:pt>
                <c:pt idx="17761">
                  <c:v>0.90785209611367501</c:v>
                </c:pt>
                <c:pt idx="17762">
                  <c:v>0.77831047692958499</c:v>
                </c:pt>
                <c:pt idx="17763">
                  <c:v>0.72088237617911299</c:v>
                </c:pt>
                <c:pt idx="17764">
                  <c:v>0.74372372985973101</c:v>
                </c:pt>
                <c:pt idx="17765">
                  <c:v>0.86755468247606105</c:v>
                </c:pt>
                <c:pt idx="17766">
                  <c:v>0.93363347408820596</c:v>
                </c:pt>
                <c:pt idx="17767">
                  <c:v>0.84505557051677405</c:v>
                </c:pt>
                <c:pt idx="17768">
                  <c:v>1.0643830503527301</c:v>
                </c:pt>
                <c:pt idx="17769">
                  <c:v>1.0939760849547799</c:v>
                </c:pt>
                <c:pt idx="17770">
                  <c:v>1.12334168149985</c:v>
                </c:pt>
                <c:pt idx="17771">
                  <c:v>1.14673826736939</c:v>
                </c:pt>
                <c:pt idx="17772">
                  <c:v>1.0553288162860299</c:v>
                </c:pt>
                <c:pt idx="17773">
                  <c:v>0.99680121723161697</c:v>
                </c:pt>
                <c:pt idx="17774">
                  <c:v>1.0496188030155</c:v>
                </c:pt>
                <c:pt idx="17775">
                  <c:v>1.0343286418926101</c:v>
                </c:pt>
                <c:pt idx="17776">
                  <c:v>1.13451252241569</c:v>
                </c:pt>
                <c:pt idx="17777">
                  <c:v>1.13771257552991</c:v>
                </c:pt>
                <c:pt idx="17778">
                  <c:v>1.18626667136757</c:v>
                </c:pt>
                <c:pt idx="17779">
                  <c:v>1.2038280819112199</c:v>
                </c:pt>
                <c:pt idx="17780">
                  <c:v>1.0175273449218101</c:v>
                </c:pt>
                <c:pt idx="17781">
                  <c:v>1.11190179748587</c:v>
                </c:pt>
                <c:pt idx="17782">
                  <c:v>0.99998454936520798</c:v>
                </c:pt>
                <c:pt idx="17783">
                  <c:v>0.87143597337998102</c:v>
                </c:pt>
                <c:pt idx="17784">
                  <c:v>0.77411475867917201</c:v>
                </c:pt>
                <c:pt idx="17785">
                  <c:v>0.641641721514289</c:v>
                </c:pt>
                <c:pt idx="17786">
                  <c:v>9.57644549318757E-2</c:v>
                </c:pt>
                <c:pt idx="17787">
                  <c:v>-3.0512133500492599E-2</c:v>
                </c:pt>
                <c:pt idx="17788">
                  <c:v>-8.9548509413924907E-2</c:v>
                </c:pt>
                <c:pt idx="17789">
                  <c:v>-0.122052847674153</c:v>
                </c:pt>
                <c:pt idx="17790">
                  <c:v>-0.175194285325799</c:v>
                </c:pt>
                <c:pt idx="17791">
                  <c:v>-0.23029896212613599</c:v>
                </c:pt>
                <c:pt idx="17792">
                  <c:v>-0.313579847294713</c:v>
                </c:pt>
                <c:pt idx="17793">
                  <c:v>-0.23749425763798601</c:v>
                </c:pt>
                <c:pt idx="17794">
                  <c:v>-0.390840908046309</c:v>
                </c:pt>
                <c:pt idx="17795">
                  <c:v>-0.368819691465883</c:v>
                </c:pt>
                <c:pt idx="17796">
                  <c:v>-0.30682991373885399</c:v>
                </c:pt>
                <c:pt idx="17797">
                  <c:v>-0.25096251233058597</c:v>
                </c:pt>
                <c:pt idx="17798">
                  <c:v>-0.275595755294119</c:v>
                </c:pt>
                <c:pt idx="17799">
                  <c:v>-0.31058458416023799</c:v>
                </c:pt>
                <c:pt idx="17800">
                  <c:v>-0.29359919488353398</c:v>
                </c:pt>
                <c:pt idx="17801">
                  <c:v>-0.344642259284132</c:v>
                </c:pt>
                <c:pt idx="17802">
                  <c:v>-0.45547479625135801</c:v>
                </c:pt>
                <c:pt idx="17803">
                  <c:v>-0.53335140877589005</c:v>
                </c:pt>
                <c:pt idx="17804">
                  <c:v>-0.60077498571798804</c:v>
                </c:pt>
                <c:pt idx="17805">
                  <c:v>-0.72178636567848597</c:v>
                </c:pt>
                <c:pt idx="17806">
                  <c:v>-0.81188435357444699</c:v>
                </c:pt>
                <c:pt idx="17807">
                  <c:v>-1.0971749268900901</c:v>
                </c:pt>
                <c:pt idx="17808">
                  <c:v>-1.0585232300768801</c:v>
                </c:pt>
                <c:pt idx="17809">
                  <c:v>-1.0732486447158001</c:v>
                </c:pt>
                <c:pt idx="17810">
                  <c:v>-1.02198813805558</c:v>
                </c:pt>
                <c:pt idx="17811">
                  <c:v>-1.0286168384991199</c:v>
                </c:pt>
                <c:pt idx="17812">
                  <c:v>-0.98165773592426497</c:v>
                </c:pt>
                <c:pt idx="17813">
                  <c:v>-0.91245647410657404</c:v>
                </c:pt>
                <c:pt idx="17814">
                  <c:v>-0.89663764116339495</c:v>
                </c:pt>
                <c:pt idx="17815">
                  <c:v>-0.86025578124255198</c:v>
                </c:pt>
                <c:pt idx="17816">
                  <c:v>-0.81148102385667797</c:v>
                </c:pt>
                <c:pt idx="17817">
                  <c:v>-0.77502509152208099</c:v>
                </c:pt>
                <c:pt idx="17818">
                  <c:v>-0.75362370811121604</c:v>
                </c:pt>
                <c:pt idx="17819">
                  <c:v>-0.73222232470035098</c:v>
                </c:pt>
                <c:pt idx="17820">
                  <c:v>-0.72729890351083204</c:v>
                </c:pt>
                <c:pt idx="17821">
                  <c:v>-0.59871669324745402</c:v>
                </c:pt>
                <c:pt idx="17822">
                  <c:v>-0.62875921714739103</c:v>
                </c:pt>
                <c:pt idx="17823">
                  <c:v>-0.59901226848069999</c:v>
                </c:pt>
                <c:pt idx="17824">
                  <c:v>-0.55278735759266096</c:v>
                </c:pt>
                <c:pt idx="17825">
                  <c:v>-0.54367750831738804</c:v>
                </c:pt>
                <c:pt idx="17826">
                  <c:v>-0.49502416019895601</c:v>
                </c:pt>
                <c:pt idx="17827">
                  <c:v>-0.39694214623219498</c:v>
                </c:pt>
                <c:pt idx="17828">
                  <c:v>-0.29265846271720503</c:v>
                </c:pt>
                <c:pt idx="17829">
                  <c:v>-0.19661376031288899</c:v>
                </c:pt>
                <c:pt idx="17830">
                  <c:v>-0.18283787392432799</c:v>
                </c:pt>
                <c:pt idx="17831">
                  <c:v>-0.144345044203746</c:v>
                </c:pt>
                <c:pt idx="17832">
                  <c:v>-0.12437270908266999</c:v>
                </c:pt>
                <c:pt idx="17833">
                  <c:v>-7.5524293459501304E-2</c:v>
                </c:pt>
                <c:pt idx="17834">
                  <c:v>1.8498796194875902E-2</c:v>
                </c:pt>
                <c:pt idx="17835">
                  <c:v>5.2811706512091897E-2</c:v>
                </c:pt>
                <c:pt idx="17836">
                  <c:v>0.10148597425874301</c:v>
                </c:pt>
                <c:pt idx="17837">
                  <c:v>0.104885492511423</c:v>
                </c:pt>
                <c:pt idx="17838">
                  <c:v>0.153213597609101</c:v>
                </c:pt>
                <c:pt idx="17839">
                  <c:v>0.29224456733794302</c:v>
                </c:pt>
                <c:pt idx="17840">
                  <c:v>0.39628230106164603</c:v>
                </c:pt>
                <c:pt idx="17841">
                  <c:v>0.44461040615932401</c:v>
                </c:pt>
                <c:pt idx="17842">
                  <c:v>0.54293539003344204</c:v>
                </c:pt>
                <c:pt idx="17843">
                  <c:v>0.58351343371909103</c:v>
                </c:pt>
                <c:pt idx="17844">
                  <c:v>0.70043298460646897</c:v>
                </c:pt>
                <c:pt idx="17845">
                  <c:v>0.82143760025016399</c:v>
                </c:pt>
                <c:pt idx="17846">
                  <c:v>0.81160331902748895</c:v>
                </c:pt>
                <c:pt idx="17847">
                  <c:v>0.84100070420949202</c:v>
                </c:pt>
                <c:pt idx="17848">
                  <c:v>0.86828148459958199</c:v>
                </c:pt>
                <c:pt idx="17849">
                  <c:v>0.92239581311360597</c:v>
                </c:pt>
                <c:pt idx="17850">
                  <c:v>0.91937204421445395</c:v>
                </c:pt>
                <c:pt idx="17851">
                  <c:v>0.93917605191238696</c:v>
                </c:pt>
                <c:pt idx="17852">
                  <c:v>1.043491696324679</c:v>
                </c:pt>
                <c:pt idx="17853">
                  <c:v>0.87364055201818402</c:v>
                </c:pt>
                <c:pt idx="17854">
                  <c:v>0.83930072908363695</c:v>
                </c:pt>
                <c:pt idx="17855">
                  <c:v>0.872994580642107</c:v>
                </c:pt>
                <c:pt idx="17856">
                  <c:v>0.91704401810316305</c:v>
                </c:pt>
                <c:pt idx="17857">
                  <c:v>0.94862126486971998</c:v>
                </c:pt>
                <c:pt idx="17858">
                  <c:v>0.86196729299757902</c:v>
                </c:pt>
                <c:pt idx="17859">
                  <c:v>1.13407103978806</c:v>
                </c:pt>
                <c:pt idx="17860">
                  <c:v>1.0494596002940799</c:v>
                </c:pt>
                <c:pt idx="17861">
                  <c:v>1.21845714335694</c:v>
                </c:pt>
                <c:pt idx="17862">
                  <c:v>1.1773735860767001</c:v>
                </c:pt>
                <c:pt idx="17863">
                  <c:v>1.1074139482943599</c:v>
                </c:pt>
                <c:pt idx="17864">
                  <c:v>1.1014822134781801</c:v>
                </c:pt>
                <c:pt idx="17865">
                  <c:v>1.13077637353984</c:v>
                </c:pt>
                <c:pt idx="17866">
                  <c:v>1.1807800909425401</c:v>
                </c:pt>
                <c:pt idx="17867">
                  <c:v>1.11935933027747</c:v>
                </c:pt>
                <c:pt idx="17868">
                  <c:v>1.17790876007729</c:v>
                </c:pt>
                <c:pt idx="17869">
                  <c:v>1.1125730044742801</c:v>
                </c:pt>
                <c:pt idx="17870">
                  <c:v>0.97691464672304695</c:v>
                </c:pt>
                <c:pt idx="17871">
                  <c:v>0.87201005284939703</c:v>
                </c:pt>
                <c:pt idx="17872">
                  <c:v>0.72315218221647404</c:v>
                </c:pt>
                <c:pt idx="17873">
                  <c:v>0.12339421685306</c:v>
                </c:pt>
                <c:pt idx="17874">
                  <c:v>-1.3218901142339401E-2</c:v>
                </c:pt>
                <c:pt idx="17875">
                  <c:v>-0.17031575288593601</c:v>
                </c:pt>
                <c:pt idx="17876">
                  <c:v>-0.22615849436954799</c:v>
                </c:pt>
                <c:pt idx="17877">
                  <c:v>-0.25539512578620199</c:v>
                </c:pt>
                <c:pt idx="17878">
                  <c:v>-0.346543055377111</c:v>
                </c:pt>
                <c:pt idx="17879">
                  <c:v>-0.37373715441560701</c:v>
                </c:pt>
                <c:pt idx="17880">
                  <c:v>-0.47716376082220702</c:v>
                </c:pt>
                <c:pt idx="17881">
                  <c:v>-0.53933506065421999</c:v>
                </c:pt>
                <c:pt idx="17882">
                  <c:v>-0.57042071057022603</c:v>
                </c:pt>
                <c:pt idx="17883">
                  <c:v>-0.225482014196877</c:v>
                </c:pt>
                <c:pt idx="17884">
                  <c:v>-0.326855503348567</c:v>
                </c:pt>
                <c:pt idx="17885">
                  <c:v>-0.42202732295202799</c:v>
                </c:pt>
                <c:pt idx="17886">
                  <c:v>-0.38718531829017799</c:v>
                </c:pt>
                <c:pt idx="17887">
                  <c:v>-0.44209202922146001</c:v>
                </c:pt>
                <c:pt idx="17888">
                  <c:v>-0.52178975589851695</c:v>
                </c:pt>
                <c:pt idx="17889">
                  <c:v>-0.49006822532352201</c:v>
                </c:pt>
                <c:pt idx="17890">
                  <c:v>-0.45137220717325399</c:v>
                </c:pt>
                <c:pt idx="17891">
                  <c:v>-0.57464457364216404</c:v>
                </c:pt>
                <c:pt idx="17892">
                  <c:v>-0.58663181078094895</c:v>
                </c:pt>
                <c:pt idx="17893">
                  <c:v>-0.58000415492704105</c:v>
                </c:pt>
                <c:pt idx="17894">
                  <c:v>-0.58577461735387704</c:v>
                </c:pt>
                <c:pt idx="17895">
                  <c:v>-0.62728355010729597</c:v>
                </c:pt>
                <c:pt idx="17896">
                  <c:v>-0.73069856021925494</c:v>
                </c:pt>
                <c:pt idx="17897">
                  <c:v>-0.70002512294101504</c:v>
                </c:pt>
                <c:pt idx="17898">
                  <c:v>-0.58476597653465801</c:v>
                </c:pt>
                <c:pt idx="17899">
                  <c:v>-0.57606588443190498</c:v>
                </c:pt>
                <c:pt idx="17900">
                  <c:v>-0.56532325995099397</c:v>
                </c:pt>
                <c:pt idx="17901">
                  <c:v>-0.56902128612898695</c:v>
                </c:pt>
                <c:pt idx="17902">
                  <c:v>-0.56856017513690804</c:v>
                </c:pt>
                <c:pt idx="17903">
                  <c:v>-0.55456092062816698</c:v>
                </c:pt>
                <c:pt idx="17904">
                  <c:v>-0.57351759056212104</c:v>
                </c:pt>
                <c:pt idx="17905">
                  <c:v>-0.56775731716405398</c:v>
                </c:pt>
                <c:pt idx="17906">
                  <c:v>-0.55783790659591603</c:v>
                </c:pt>
                <c:pt idx="17907">
                  <c:v>-0.50088313125287798</c:v>
                </c:pt>
                <c:pt idx="17908">
                  <c:v>-0.53463122054100598</c:v>
                </c:pt>
                <c:pt idx="17909">
                  <c:v>-0.55190134760778498</c:v>
                </c:pt>
                <c:pt idx="17910">
                  <c:v>-0.55269351245321696</c:v>
                </c:pt>
                <c:pt idx="17911">
                  <c:v>-0.50301415214860701</c:v>
                </c:pt>
                <c:pt idx="17912">
                  <c:v>-0.463690377746583</c:v>
                </c:pt>
                <c:pt idx="17913">
                  <c:v>-0.39753305522062599</c:v>
                </c:pt>
                <c:pt idx="17914">
                  <c:v>-0.33961471380534197</c:v>
                </c:pt>
                <c:pt idx="17915">
                  <c:v>-0.40737343514754898</c:v>
                </c:pt>
                <c:pt idx="17916">
                  <c:v>-0.46477657058716998</c:v>
                </c:pt>
                <c:pt idx="17917">
                  <c:v>-0.45831038951955999</c:v>
                </c:pt>
                <c:pt idx="17918">
                  <c:v>-0.48691673768655602</c:v>
                </c:pt>
                <c:pt idx="17919">
                  <c:v>-0.48977402333215497</c:v>
                </c:pt>
                <c:pt idx="17920">
                  <c:v>-0.47207350281580202</c:v>
                </c:pt>
                <c:pt idx="17921">
                  <c:v>-0.42957674573796001</c:v>
                </c:pt>
                <c:pt idx="17922">
                  <c:v>-0.428354187442956</c:v>
                </c:pt>
                <c:pt idx="17923">
                  <c:v>-0.33120246081604998</c:v>
                </c:pt>
                <c:pt idx="17924">
                  <c:v>-0.209333790857123</c:v>
                </c:pt>
                <c:pt idx="17925">
                  <c:v>-0.105985615497702</c:v>
                </c:pt>
                <c:pt idx="17926">
                  <c:v>-5.9490776012327605E-4</c:v>
                </c:pt>
                <c:pt idx="17927">
                  <c:v>-3.7202185100096902E-2</c:v>
                </c:pt>
                <c:pt idx="17928">
                  <c:v>-9.02874246614188E-2</c:v>
                </c:pt>
                <c:pt idx="17929">
                  <c:v>-0.110416739780045</c:v>
                </c:pt>
                <c:pt idx="17930">
                  <c:v>-0.140901640801258</c:v>
                </c:pt>
                <c:pt idx="17931">
                  <c:v>-6.7078700489459298E-2</c:v>
                </c:pt>
                <c:pt idx="17932">
                  <c:v>6.7442398223400103E-3</c:v>
                </c:pt>
                <c:pt idx="17933">
                  <c:v>2.48575515081133E-2</c:v>
                </c:pt>
                <c:pt idx="17934">
                  <c:v>8.6356445952921204E-2</c:v>
                </c:pt>
                <c:pt idx="17935">
                  <c:v>0.108560742388167</c:v>
                </c:pt>
                <c:pt idx="17936">
                  <c:v>0.16802824526368701</c:v>
                </c:pt>
                <c:pt idx="17937">
                  <c:v>0.16966951472126801</c:v>
                </c:pt>
                <c:pt idx="17938">
                  <c:v>0.144477236054916</c:v>
                </c:pt>
                <c:pt idx="17939">
                  <c:v>0.197967102368032</c:v>
                </c:pt>
                <c:pt idx="17940">
                  <c:v>0.13995841819963001</c:v>
                </c:pt>
                <c:pt idx="17941">
                  <c:v>0.18921507492892201</c:v>
                </c:pt>
                <c:pt idx="17942">
                  <c:v>0.22418444664253201</c:v>
                </c:pt>
                <c:pt idx="17943">
                  <c:v>0.15832325981248699</c:v>
                </c:pt>
                <c:pt idx="17944">
                  <c:v>0.29678531370274902</c:v>
                </c:pt>
                <c:pt idx="17945">
                  <c:v>0.12154218118309799</c:v>
                </c:pt>
                <c:pt idx="17946">
                  <c:v>0.12590534605173401</c:v>
                </c:pt>
                <c:pt idx="17947">
                  <c:v>0.11006148351806599</c:v>
                </c:pt>
                <c:pt idx="17948">
                  <c:v>-3.36055260752465E-2</c:v>
                </c:pt>
                <c:pt idx="17949">
                  <c:v>-7.8325469111006907E-2</c:v>
                </c:pt>
                <c:pt idx="17950">
                  <c:v>-7.9654608572018698E-2</c:v>
                </c:pt>
                <c:pt idx="17951">
                  <c:v>-5.5407641216323397E-2</c:v>
                </c:pt>
                <c:pt idx="17952">
                  <c:v>7.2098895510215297E-2</c:v>
                </c:pt>
                <c:pt idx="17953">
                  <c:v>0.11501972310863701</c:v>
                </c:pt>
                <c:pt idx="17954">
                  <c:v>0.116512986281002</c:v>
                </c:pt>
                <c:pt idx="17955">
                  <c:v>0.147283339773609</c:v>
                </c:pt>
                <c:pt idx="17956">
                  <c:v>6.2549371257848499E-2</c:v>
                </c:pt>
                <c:pt idx="17957">
                  <c:v>2.1206206316836E-2</c:v>
                </c:pt>
                <c:pt idx="17958">
                  <c:v>3.9731807171919799E-2</c:v>
                </c:pt>
                <c:pt idx="17959">
                  <c:v>1.7189382373628499E-2</c:v>
                </c:pt>
                <c:pt idx="17960">
                  <c:v>-0.40432706281471698</c:v>
                </c:pt>
                <c:pt idx="17961">
                  <c:v>-0.43730436674506301</c:v>
                </c:pt>
                <c:pt idx="17962">
                  <c:v>-0.48048389093477201</c:v>
                </c:pt>
                <c:pt idx="17963">
                  <c:v>-0.52559519112613395</c:v>
                </c:pt>
                <c:pt idx="17964">
                  <c:v>-0.58310460959823995</c:v>
                </c:pt>
                <c:pt idx="17965">
                  <c:v>-0.59306408732552696</c:v>
                </c:pt>
                <c:pt idx="17966">
                  <c:v>-0.62781980161430295</c:v>
                </c:pt>
                <c:pt idx="17967">
                  <c:v>-0.65312487864929103</c:v>
                </c:pt>
                <c:pt idx="17968">
                  <c:v>-0.52648244460264604</c:v>
                </c:pt>
                <c:pt idx="17969">
                  <c:v>-0.59290835477724901</c:v>
                </c:pt>
                <c:pt idx="17970">
                  <c:v>-0.54798908011355696</c:v>
                </c:pt>
                <c:pt idx="17971">
                  <c:v>-0.63993962096928703</c:v>
                </c:pt>
                <c:pt idx="17972">
                  <c:v>-0.70089747653101298</c:v>
                </c:pt>
                <c:pt idx="17973">
                  <c:v>-0.669030641853948</c:v>
                </c:pt>
                <c:pt idx="17974">
                  <c:v>-0.75690133876907595</c:v>
                </c:pt>
                <c:pt idx="17975">
                  <c:v>-0.83014934957979103</c:v>
                </c:pt>
                <c:pt idx="17976">
                  <c:v>-0.85373603566948897</c:v>
                </c:pt>
                <c:pt idx="17977">
                  <c:v>-0.93726555996903504</c:v>
                </c:pt>
                <c:pt idx="17978">
                  <c:v>-1.0022005172553199</c:v>
                </c:pt>
                <c:pt idx="17979">
                  <c:v>-0.89824044946331605</c:v>
                </c:pt>
                <c:pt idx="17980">
                  <c:v>-0.811187886332705</c:v>
                </c:pt>
                <c:pt idx="17981">
                  <c:v>-0.72209279082393596</c:v>
                </c:pt>
                <c:pt idx="17982">
                  <c:v>-0.77364328227989099</c:v>
                </c:pt>
                <c:pt idx="17983">
                  <c:v>-0.80667849995205299</c:v>
                </c:pt>
                <c:pt idx="17984">
                  <c:v>-0.833512048075987</c:v>
                </c:pt>
                <c:pt idx="17985">
                  <c:v>-1.21485205737982</c:v>
                </c:pt>
                <c:pt idx="17986">
                  <c:v>-1.2387351030284399</c:v>
                </c:pt>
                <c:pt idx="17987">
                  <c:v>-1.2605756162988999</c:v>
                </c:pt>
                <c:pt idx="17988">
                  <c:v>-1.2865752667394299</c:v>
                </c:pt>
                <c:pt idx="17989">
                  <c:v>-1.28982121299662</c:v>
                </c:pt>
                <c:pt idx="17990">
                  <c:v>-1.3268221493408701</c:v>
                </c:pt>
                <c:pt idx="17991">
                  <c:v>-1.36586039724756</c:v>
                </c:pt>
                <c:pt idx="17992">
                  <c:v>-1.38426676657854</c:v>
                </c:pt>
                <c:pt idx="17993">
                  <c:v>-1.40886958464205</c:v>
                </c:pt>
                <c:pt idx="17994">
                  <c:v>-1.4489042156659291</c:v>
                </c:pt>
                <c:pt idx="17995">
                  <c:v>-1.4971778278004899</c:v>
                </c:pt>
                <c:pt idx="17996">
                  <c:v>-1.5289734777137001</c:v>
                </c:pt>
                <c:pt idx="17997">
                  <c:v>-1.54429116540556</c:v>
                </c:pt>
                <c:pt idx="17998">
                  <c:v>-1.5735727512964399</c:v>
                </c:pt>
                <c:pt idx="17999">
                  <c:v>-1.6317304176894101</c:v>
                </c:pt>
                <c:pt idx="18000">
                  <c:v>-1.6796065705935499</c:v>
                </c:pt>
                <c:pt idx="18001">
                  <c:v>-1.7295252558758401</c:v>
                </c:pt>
                <c:pt idx="18002">
                  <c:v>-1.7549583995164</c:v>
                </c:pt>
                <c:pt idx="18003">
                  <c:v>-1.77834901077879</c:v>
                </c:pt>
                <c:pt idx="18004">
                  <c:v>-1.78314505502793</c:v>
                </c:pt>
                <c:pt idx="18005">
                  <c:v>-1.14315454389237</c:v>
                </c:pt>
                <c:pt idx="18006">
                  <c:v>-1.00184136198551</c:v>
                </c:pt>
                <c:pt idx="18007">
                  <c:v>-0.90588222280208197</c:v>
                </c:pt>
                <c:pt idx="18008">
                  <c:v>-0.76040990372515005</c:v>
                </c:pt>
                <c:pt idx="18009">
                  <c:v>-0.67276381806615404</c:v>
                </c:pt>
                <c:pt idx="18010">
                  <c:v>-0.53682935582574598</c:v>
                </c:pt>
                <c:pt idx="18011">
                  <c:v>-0.456604522211363</c:v>
                </c:pt>
                <c:pt idx="18012">
                  <c:v>-0.33306817825169999</c:v>
                </c:pt>
                <c:pt idx="18013">
                  <c:v>-0.28383602993132101</c:v>
                </c:pt>
                <c:pt idx="18014">
                  <c:v>-0.21168052449108199</c:v>
                </c:pt>
                <c:pt idx="18015">
                  <c:v>-0.19924041920371899</c:v>
                </c:pt>
                <c:pt idx="18016">
                  <c:v>-0.23223364986926201</c:v>
                </c:pt>
                <c:pt idx="18017">
                  <c:v>-0.23430826765455501</c:v>
                </c:pt>
                <c:pt idx="18018">
                  <c:v>-0.24743125565929999</c:v>
                </c:pt>
                <c:pt idx="18019">
                  <c:v>-9.3494209384008597E-2</c:v>
                </c:pt>
                <c:pt idx="18020">
                  <c:v>-0.151897167698439</c:v>
                </c:pt>
                <c:pt idx="18021">
                  <c:v>-0.17114253202194499</c:v>
                </c:pt>
                <c:pt idx="18022">
                  <c:v>-0.12929973933098099</c:v>
                </c:pt>
                <c:pt idx="18023">
                  <c:v>-0.10386083644761</c:v>
                </c:pt>
                <c:pt idx="18024">
                  <c:v>1.4482049904019001E-2</c:v>
                </c:pt>
                <c:pt idx="18025">
                  <c:v>-0.152009390467889</c:v>
                </c:pt>
                <c:pt idx="18026">
                  <c:v>0.12863987483552999</c:v>
                </c:pt>
                <c:pt idx="18027">
                  <c:v>-5.4901592518578598E-3</c:v>
                </c:pt>
                <c:pt idx="18028">
                  <c:v>-8.3984637126973793E-2</c:v>
                </c:pt>
                <c:pt idx="18029">
                  <c:v>2.5292091083117502E-2</c:v>
                </c:pt>
                <c:pt idx="18030">
                  <c:v>6.9070122145753393E-2</c:v>
                </c:pt>
                <c:pt idx="18031">
                  <c:v>6.9378056404173105E-2</c:v>
                </c:pt>
                <c:pt idx="18032">
                  <c:v>-1.69422508436828E-2</c:v>
                </c:pt>
                <c:pt idx="18033">
                  <c:v>0.16297720161873899</c:v>
                </c:pt>
                <c:pt idx="18034">
                  <c:v>6.6644690140886406E-2</c:v>
                </c:pt>
                <c:pt idx="18035">
                  <c:v>-0.19236128038995601</c:v>
                </c:pt>
                <c:pt idx="18036">
                  <c:v>-0.232904870012316</c:v>
                </c:pt>
                <c:pt idx="18037">
                  <c:v>-0.26709864525893801</c:v>
                </c:pt>
                <c:pt idx="18038">
                  <c:v>-0.28444594748993501</c:v>
                </c:pt>
                <c:pt idx="18039">
                  <c:v>-0.31827121194227898</c:v>
                </c:pt>
                <c:pt idx="18040">
                  <c:v>-0.35837221835660599</c:v>
                </c:pt>
                <c:pt idx="18041">
                  <c:v>-0.41495118699228001</c:v>
                </c:pt>
                <c:pt idx="18042">
                  <c:v>-0.47850355476113798</c:v>
                </c:pt>
                <c:pt idx="18043">
                  <c:v>-0.54417252732190802</c:v>
                </c:pt>
                <c:pt idx="18044">
                  <c:v>-0.61377319899577298</c:v>
                </c:pt>
                <c:pt idx="18045">
                  <c:v>-0.67120319044586996</c:v>
                </c:pt>
                <c:pt idx="18046">
                  <c:v>-0.77020908970260504</c:v>
                </c:pt>
                <c:pt idx="18047">
                  <c:v>-0.79628145315871601</c:v>
                </c:pt>
                <c:pt idx="18048">
                  <c:v>-0.90489699336478502</c:v>
                </c:pt>
                <c:pt idx="18049">
                  <c:v>-0.95991950973674101</c:v>
                </c:pt>
                <c:pt idx="18050">
                  <c:v>-1.0155927386755601</c:v>
                </c:pt>
                <c:pt idx="18051">
                  <c:v>-1.0300710620610201</c:v>
                </c:pt>
                <c:pt idx="18052">
                  <c:v>-1.0589848152896599</c:v>
                </c:pt>
                <c:pt idx="18053">
                  <c:v>-1.1209285653747501</c:v>
                </c:pt>
                <c:pt idx="18054">
                  <c:v>-1.1757375560039101</c:v>
                </c:pt>
                <c:pt idx="18055">
                  <c:v>-1.1665979368963699</c:v>
                </c:pt>
                <c:pt idx="18056">
                  <c:v>-1.1884510030828199</c:v>
                </c:pt>
                <c:pt idx="18057">
                  <c:v>-1.2514989748226499</c:v>
                </c:pt>
                <c:pt idx="18058">
                  <c:v>-1.2516752679813701</c:v>
                </c:pt>
                <c:pt idx="18059">
                  <c:v>-1.28079649324022</c:v>
                </c:pt>
                <c:pt idx="18060">
                  <c:v>-1.3862592257008</c:v>
                </c:pt>
                <c:pt idx="18061">
                  <c:v>-1.45037890778051</c:v>
                </c:pt>
                <c:pt idx="18062">
                  <c:v>5.1091134958010799E-2</c:v>
                </c:pt>
                <c:pt idx="18063">
                  <c:v>0.87816527796352095</c:v>
                </c:pt>
                <c:pt idx="18064">
                  <c:v>0.83752757874307704</c:v>
                </c:pt>
                <c:pt idx="18065">
                  <c:v>1.20773225898463</c:v>
                </c:pt>
                <c:pt idx="18066">
                  <c:v>0.49638028487554298</c:v>
                </c:pt>
                <c:pt idx="18067">
                  <c:v>0.42588525856445603</c:v>
                </c:pt>
                <c:pt idx="18068">
                  <c:v>0.35539023225336902</c:v>
                </c:pt>
                <c:pt idx="18069">
                  <c:v>0.49542011621081999</c:v>
                </c:pt>
                <c:pt idx="18070">
                  <c:v>0.32424890867283501</c:v>
                </c:pt>
                <c:pt idx="18071">
                  <c:v>-2.1544220900648399E-2</c:v>
                </c:pt>
                <c:pt idx="18072">
                  <c:v>-2.55813217448441E-2</c:v>
                </c:pt>
                <c:pt idx="18073">
                  <c:v>-5.8647868734352501E-2</c:v>
                </c:pt>
                <c:pt idx="18074">
                  <c:v>-0.14678181699477399</c:v>
                </c:pt>
                <c:pt idx="18075">
                  <c:v>-0.22675085655827701</c:v>
                </c:pt>
                <c:pt idx="18076">
                  <c:v>-0.31911801440252402</c:v>
                </c:pt>
                <c:pt idx="18077">
                  <c:v>-0.464930051253376</c:v>
                </c:pt>
                <c:pt idx="18078">
                  <c:v>-0.53051584579174405</c:v>
                </c:pt>
                <c:pt idx="18079">
                  <c:v>-0.60018148427071505</c:v>
                </c:pt>
                <c:pt idx="18080">
                  <c:v>-0.69252675451926304</c:v>
                </c:pt>
                <c:pt idx="18081">
                  <c:v>-0.48874544515412399</c:v>
                </c:pt>
                <c:pt idx="18082">
                  <c:v>-0.64392226634541705</c:v>
                </c:pt>
                <c:pt idx="18083">
                  <c:v>-0.85064435817695006</c:v>
                </c:pt>
                <c:pt idx="18084">
                  <c:v>-0.95835053185289099</c:v>
                </c:pt>
                <c:pt idx="18085">
                  <c:v>-1.0495735224917699</c:v>
                </c:pt>
                <c:pt idx="18086">
                  <c:v>-0.970338387295545</c:v>
                </c:pt>
                <c:pt idx="18087">
                  <c:v>-1.0540677799916101</c:v>
                </c:pt>
                <c:pt idx="18088">
                  <c:v>-1.12336174284449</c:v>
                </c:pt>
                <c:pt idx="18089">
                  <c:v>-1.1844167245866899</c:v>
                </c:pt>
                <c:pt idx="18090">
                  <c:v>-1.21491041726064</c:v>
                </c:pt>
                <c:pt idx="18091">
                  <c:v>-1.2866783087174301</c:v>
                </c:pt>
                <c:pt idx="18092">
                  <c:v>-1.1954816722819299</c:v>
                </c:pt>
                <c:pt idx="18093">
                  <c:v>-1.3311929526596999</c:v>
                </c:pt>
                <c:pt idx="18094">
                  <c:v>-1.3271613191424501</c:v>
                </c:pt>
                <c:pt idx="18095">
                  <c:v>-1.40975792713148</c:v>
                </c:pt>
                <c:pt idx="18096">
                  <c:v>-1.54797964970135</c:v>
                </c:pt>
                <c:pt idx="18097">
                  <c:v>-0.139087464712804</c:v>
                </c:pt>
                <c:pt idx="18098">
                  <c:v>-1.32722875934969E-2</c:v>
                </c:pt>
                <c:pt idx="18099">
                  <c:v>6.9231379180529101E-2</c:v>
                </c:pt>
                <c:pt idx="18100">
                  <c:v>0.15793671550278299</c:v>
                </c:pt>
                <c:pt idx="18101">
                  <c:v>0.19046674688231399</c:v>
                </c:pt>
                <c:pt idx="18102">
                  <c:v>0.2105986599811</c:v>
                </c:pt>
                <c:pt idx="18103">
                  <c:v>0.27616390903279298</c:v>
                </c:pt>
                <c:pt idx="18104">
                  <c:v>0.26953634642139901</c:v>
                </c:pt>
                <c:pt idx="18105">
                  <c:v>0.19577695990741001</c:v>
                </c:pt>
                <c:pt idx="18106">
                  <c:v>0.200480906202776</c:v>
                </c:pt>
                <c:pt idx="18107">
                  <c:v>0.219472137513823</c:v>
                </c:pt>
                <c:pt idx="18108">
                  <c:v>0.19530000330709699</c:v>
                </c:pt>
                <c:pt idx="18109">
                  <c:v>0.31078484506777898</c:v>
                </c:pt>
                <c:pt idx="18110">
                  <c:v>0.238498480743254</c:v>
                </c:pt>
                <c:pt idx="18111">
                  <c:v>0.32094810483177399</c:v>
                </c:pt>
                <c:pt idx="18112">
                  <c:v>0.308530506303345</c:v>
                </c:pt>
                <c:pt idx="18113">
                  <c:v>0.37658154537781702</c:v>
                </c:pt>
                <c:pt idx="18114">
                  <c:v>0.33510249393517599</c:v>
                </c:pt>
                <c:pt idx="18115">
                  <c:v>0.41540350646288499</c:v>
                </c:pt>
                <c:pt idx="18116">
                  <c:v>0.532893653017114</c:v>
                </c:pt>
                <c:pt idx="18117">
                  <c:v>0.43668056820158602</c:v>
                </c:pt>
                <c:pt idx="18118">
                  <c:v>0.39436723850661398</c:v>
                </c:pt>
                <c:pt idx="18119">
                  <c:v>0.44064538946660797</c:v>
                </c:pt>
                <c:pt idx="18120">
                  <c:v>0.36506940404249799</c:v>
                </c:pt>
                <c:pt idx="18121">
                  <c:v>0.53241284231311603</c:v>
                </c:pt>
                <c:pt idx="18122">
                  <c:v>0.61070470299910395</c:v>
                </c:pt>
                <c:pt idx="18123">
                  <c:v>0.57765137884679596</c:v>
                </c:pt>
                <c:pt idx="18124">
                  <c:v>0.79435463136770201</c:v>
                </c:pt>
                <c:pt idx="18125">
                  <c:v>0.74128701663016405</c:v>
                </c:pt>
                <c:pt idx="18126">
                  <c:v>0.442542669160013</c:v>
                </c:pt>
                <c:pt idx="18127">
                  <c:v>8.2643410100286405E-2</c:v>
                </c:pt>
                <c:pt idx="18128">
                  <c:v>-4.2691088714092197E-2</c:v>
                </c:pt>
                <c:pt idx="18129">
                  <c:v>-0.11564096595620101</c:v>
                </c:pt>
                <c:pt idx="18130">
                  <c:v>-0.20090966824958501</c:v>
                </c:pt>
                <c:pt idx="18131">
                  <c:v>-0.30273562599378501</c:v>
                </c:pt>
                <c:pt idx="18132">
                  <c:v>-0.435252758561261</c:v>
                </c:pt>
                <c:pt idx="18133">
                  <c:v>-0.51131138108297103</c:v>
                </c:pt>
                <c:pt idx="18134">
                  <c:v>-0.60180543344786996</c:v>
                </c:pt>
                <c:pt idx="18135">
                  <c:v>-0.69638455056908699</c:v>
                </c:pt>
                <c:pt idx="18136">
                  <c:v>-0.78892113531214503</c:v>
                </c:pt>
                <c:pt idx="18137">
                  <c:v>-0.72052442579175902</c:v>
                </c:pt>
                <c:pt idx="18138">
                  <c:v>-0.94205262633683196</c:v>
                </c:pt>
                <c:pt idx="18139">
                  <c:v>-1.0501190372517</c:v>
                </c:pt>
                <c:pt idx="18140">
                  <c:v>-1.0839605457567401</c:v>
                </c:pt>
                <c:pt idx="18141">
                  <c:v>-1.2278223346514801</c:v>
                </c:pt>
                <c:pt idx="18142">
                  <c:v>-1.2954166887582499</c:v>
                </c:pt>
                <c:pt idx="18143">
                  <c:v>-1.3815263166488101</c:v>
                </c:pt>
                <c:pt idx="18144">
                  <c:v>-1.4655986329769199</c:v>
                </c:pt>
                <c:pt idx="18145">
                  <c:v>-1.48132670007292</c:v>
                </c:pt>
                <c:pt idx="18146">
                  <c:v>-1.53205322398977</c:v>
                </c:pt>
                <c:pt idx="18147">
                  <c:v>-1.5745459876116601</c:v>
                </c:pt>
                <c:pt idx="18148">
                  <c:v>-1.63767062980926</c:v>
                </c:pt>
                <c:pt idx="18149">
                  <c:v>-0.13455866222860999</c:v>
                </c:pt>
                <c:pt idx="18150">
                  <c:v>-2.8367110866862801E-2</c:v>
                </c:pt>
                <c:pt idx="18151">
                  <c:v>9.2339163567540405E-2</c:v>
                </c:pt>
                <c:pt idx="18152">
                  <c:v>0.29347200995999001</c:v>
                </c:pt>
                <c:pt idx="18153">
                  <c:v>0.24385515681608899</c:v>
                </c:pt>
                <c:pt idx="18154">
                  <c:v>0.26642589451956</c:v>
                </c:pt>
                <c:pt idx="18155">
                  <c:v>0.237372068353323</c:v>
                </c:pt>
                <c:pt idx="18156">
                  <c:v>0.32185410423104899</c:v>
                </c:pt>
                <c:pt idx="18157">
                  <c:v>0.31692406471491502</c:v>
                </c:pt>
                <c:pt idx="18158">
                  <c:v>0.31003078605008999</c:v>
                </c:pt>
                <c:pt idx="18159">
                  <c:v>0.363001052365648</c:v>
                </c:pt>
                <c:pt idx="18160">
                  <c:v>0.35406524132266398</c:v>
                </c:pt>
                <c:pt idx="18161">
                  <c:v>0.27451126152154198</c:v>
                </c:pt>
                <c:pt idx="18162">
                  <c:v>0.33517854706080902</c:v>
                </c:pt>
                <c:pt idx="18163">
                  <c:v>0.356688238609153</c:v>
                </c:pt>
                <c:pt idx="18164">
                  <c:v>0.316291852798955</c:v>
                </c:pt>
                <c:pt idx="18165">
                  <c:v>0.366329608127756</c:v>
                </c:pt>
                <c:pt idx="18166">
                  <c:v>0.39376702491644799</c:v>
                </c:pt>
                <c:pt idx="18167">
                  <c:v>0.462325274844754</c:v>
                </c:pt>
                <c:pt idx="18168">
                  <c:v>0.38249735073575297</c:v>
                </c:pt>
                <c:pt idx="18169">
                  <c:v>0.430393641841263</c:v>
                </c:pt>
                <c:pt idx="18170">
                  <c:v>0.65177385401629995</c:v>
                </c:pt>
                <c:pt idx="18171">
                  <c:v>0.65023103764205503</c:v>
                </c:pt>
                <c:pt idx="18172">
                  <c:v>0.42690760381911602</c:v>
                </c:pt>
                <c:pt idx="18173">
                  <c:v>0.44442690198740498</c:v>
                </c:pt>
                <c:pt idx="18174">
                  <c:v>0.49074820824403198</c:v>
                </c:pt>
                <c:pt idx="18175">
                  <c:v>0.45459518934874099</c:v>
                </c:pt>
                <c:pt idx="18176">
                  <c:v>0.35472099877372498</c:v>
                </c:pt>
                <c:pt idx="18177">
                  <c:v>0.24476065189406099</c:v>
                </c:pt>
                <c:pt idx="18178">
                  <c:v>9.3526106231560699E-2</c:v>
                </c:pt>
                <c:pt idx="18179">
                  <c:v>2.4839958134732699E-2</c:v>
                </c:pt>
                <c:pt idx="18180">
                  <c:v>1.8970450305441901E-2</c:v>
                </c:pt>
                <c:pt idx="18181">
                  <c:v>-2.1752056092684598E-2</c:v>
                </c:pt>
                <c:pt idx="18182">
                  <c:v>-8.1148422733538894E-2</c:v>
                </c:pt>
                <c:pt idx="18183">
                  <c:v>-0.14046549614492501</c:v>
                </c:pt>
                <c:pt idx="18184">
                  <c:v>-0.25557149141180402</c:v>
                </c:pt>
                <c:pt idx="18185">
                  <c:v>-0.316326519428555</c:v>
                </c:pt>
                <c:pt idx="18186">
                  <c:v>-0.40784679468233498</c:v>
                </c:pt>
                <c:pt idx="18187">
                  <c:v>-0.51372842736555102</c:v>
                </c:pt>
                <c:pt idx="18188">
                  <c:v>-0.80605318350211796</c:v>
                </c:pt>
                <c:pt idx="18189">
                  <c:v>-0.87497079028966096</c:v>
                </c:pt>
                <c:pt idx="18190">
                  <c:v>-0.98092938627621595</c:v>
                </c:pt>
                <c:pt idx="18191">
                  <c:v>-0.89393645797474797</c:v>
                </c:pt>
                <c:pt idx="18192">
                  <c:v>-0.97509881739981397</c:v>
                </c:pt>
                <c:pt idx="18193">
                  <c:v>-1.07929507833405</c:v>
                </c:pt>
                <c:pt idx="18194">
                  <c:v>-1.21244149218413</c:v>
                </c:pt>
                <c:pt idx="18195">
                  <c:v>-1.30423963483762</c:v>
                </c:pt>
                <c:pt idx="18196">
                  <c:v>-1.3713208341590899</c:v>
                </c:pt>
                <c:pt idx="18197">
                  <c:v>-1.41642715404382</c:v>
                </c:pt>
                <c:pt idx="18198">
                  <c:v>-1.3604750233948</c:v>
                </c:pt>
                <c:pt idx="18199">
                  <c:v>-1.5045231890213699</c:v>
                </c:pt>
                <c:pt idx="18200">
                  <c:v>-1.57222984744621</c:v>
                </c:pt>
                <c:pt idx="18201">
                  <c:v>-1.55866218481137</c:v>
                </c:pt>
                <c:pt idx="18202">
                  <c:v>-1.68734787826366</c:v>
                </c:pt>
                <c:pt idx="18203">
                  <c:v>-1.69025817785018</c:v>
                </c:pt>
                <c:pt idx="18204">
                  <c:v>3.6992965474562801E-2</c:v>
                </c:pt>
                <c:pt idx="18205">
                  <c:v>0.143957634898743</c:v>
                </c:pt>
                <c:pt idx="18206">
                  <c:v>0.32099329037838398</c:v>
                </c:pt>
                <c:pt idx="18207">
                  <c:v>0.53741397790592305</c:v>
                </c:pt>
                <c:pt idx="18208">
                  <c:v>0.55580062744427705</c:v>
                </c:pt>
                <c:pt idx="18209">
                  <c:v>0.59875607548714405</c:v>
                </c:pt>
                <c:pt idx="18210">
                  <c:v>0.67701149082159395</c:v>
                </c:pt>
                <c:pt idx="18211">
                  <c:v>0.74286878787529897</c:v>
                </c:pt>
                <c:pt idx="18212">
                  <c:v>0.67720170601415397</c:v>
                </c:pt>
                <c:pt idx="18213">
                  <c:v>0.66112187646027198</c:v>
                </c:pt>
                <c:pt idx="18214">
                  <c:v>0.74195180190149801</c:v>
                </c:pt>
                <c:pt idx="18215">
                  <c:v>0.70939401012626901</c:v>
                </c:pt>
                <c:pt idx="18216">
                  <c:v>0.73412453054182503</c:v>
                </c:pt>
                <c:pt idx="18217">
                  <c:v>0.5897577051149</c:v>
                </c:pt>
                <c:pt idx="18218">
                  <c:v>0.82289653100708104</c:v>
                </c:pt>
                <c:pt idx="18219">
                  <c:v>0.87265072604110006</c:v>
                </c:pt>
                <c:pt idx="18220">
                  <c:v>0.741004592211149</c:v>
                </c:pt>
                <c:pt idx="18221">
                  <c:v>0.95836883289840902</c:v>
                </c:pt>
                <c:pt idx="18222">
                  <c:v>0.74659763758114095</c:v>
                </c:pt>
                <c:pt idx="18223">
                  <c:v>0.84823011820305805</c:v>
                </c:pt>
                <c:pt idx="18224">
                  <c:v>0.78743254871350798</c:v>
                </c:pt>
                <c:pt idx="18225">
                  <c:v>0.85280161842135405</c:v>
                </c:pt>
                <c:pt idx="18226">
                  <c:v>0.932532045558635</c:v>
                </c:pt>
                <c:pt idx="18227">
                  <c:v>0.93999558861907595</c:v>
                </c:pt>
                <c:pt idx="18228">
                  <c:v>0.98031070334605996</c:v>
                </c:pt>
                <c:pt idx="18229">
                  <c:v>0.84094022745528996</c:v>
                </c:pt>
                <c:pt idx="18230">
                  <c:v>0.80898845810543496</c:v>
                </c:pt>
                <c:pt idx="18231">
                  <c:v>0.77492008396366696</c:v>
                </c:pt>
                <c:pt idx="18232">
                  <c:v>0.45142443865367998</c:v>
                </c:pt>
                <c:pt idx="18233">
                  <c:v>0.32287586266845397</c:v>
                </c:pt>
                <c:pt idx="18234">
                  <c:v>0.206799477377725</c:v>
                </c:pt>
                <c:pt idx="18235">
                  <c:v>0.10712698189459</c:v>
                </c:pt>
                <c:pt idx="18236">
                  <c:v>3.8681847695873003E-2</c:v>
                </c:pt>
                <c:pt idx="18237">
                  <c:v>-3.9891434348454699E-2</c:v>
                </c:pt>
                <c:pt idx="18238">
                  <c:v>-0.13524940990057199</c:v>
                </c:pt>
                <c:pt idx="18239">
                  <c:v>-0.292518683626945</c:v>
                </c:pt>
                <c:pt idx="18240">
                  <c:v>-0.38277518289135698</c:v>
                </c:pt>
                <c:pt idx="18241">
                  <c:v>-0.30498179173726903</c:v>
                </c:pt>
                <c:pt idx="18242">
                  <c:v>-0.40339797888288698</c:v>
                </c:pt>
                <c:pt idx="18243">
                  <c:v>-0.460688112073177</c:v>
                </c:pt>
                <c:pt idx="18244">
                  <c:v>-0.46754297599484201</c:v>
                </c:pt>
                <c:pt idx="18245">
                  <c:v>-0.61265064529249202</c:v>
                </c:pt>
                <c:pt idx="18246">
                  <c:v>-0.71852664818546297</c:v>
                </c:pt>
                <c:pt idx="18247">
                  <c:v>-0.83059909981095004</c:v>
                </c:pt>
                <c:pt idx="18248">
                  <c:v>-0.87382690978774302</c:v>
                </c:pt>
                <c:pt idx="18249">
                  <c:v>-0.91501218738637702</c:v>
                </c:pt>
                <c:pt idx="18250">
                  <c:v>-0.85097987728118996</c:v>
                </c:pt>
                <c:pt idx="18251">
                  <c:v>-0.94575817871393697</c:v>
                </c:pt>
                <c:pt idx="18252">
                  <c:v>-1.0462351297785799</c:v>
                </c:pt>
                <c:pt idx="18253">
                  <c:v>-1.11171362402237</c:v>
                </c:pt>
                <c:pt idx="18254">
                  <c:v>-1.04310367087595</c:v>
                </c:pt>
                <c:pt idx="18255">
                  <c:v>-1.2116831480316499</c:v>
                </c:pt>
                <c:pt idx="18256">
                  <c:v>-1.31961223974673</c:v>
                </c:pt>
                <c:pt idx="18257">
                  <c:v>-1.40070778333788</c:v>
                </c:pt>
                <c:pt idx="18258">
                  <c:v>-1.5003836446327601</c:v>
                </c:pt>
                <c:pt idx="18259">
                  <c:v>-1.5584579459830099</c:v>
                </c:pt>
                <c:pt idx="18260">
                  <c:v>-1.6515307041541201</c:v>
                </c:pt>
                <c:pt idx="18261">
                  <c:v>-1.62914105718028</c:v>
                </c:pt>
                <c:pt idx="18262">
                  <c:v>-1.6005549614739201</c:v>
                </c:pt>
                <c:pt idx="18263">
                  <c:v>-1.5266200438598301</c:v>
                </c:pt>
                <c:pt idx="18264">
                  <c:v>-1.4814871343340801</c:v>
                </c:pt>
                <c:pt idx="18265">
                  <c:v>-1.4572024427130901</c:v>
                </c:pt>
                <c:pt idx="18266">
                  <c:v>-1.4329177510921001</c:v>
                </c:pt>
                <c:pt idx="18267">
                  <c:v>-1.39624016200607</c:v>
                </c:pt>
                <c:pt idx="18268">
                  <c:v>-1.3822369838739099</c:v>
                </c:pt>
                <c:pt idx="18269">
                  <c:v>-1.3952890106171101</c:v>
                </c:pt>
                <c:pt idx="18270">
                  <c:v>-1.39186307513896</c:v>
                </c:pt>
                <c:pt idx="18271">
                  <c:v>0.36069134875499098</c:v>
                </c:pt>
                <c:pt idx="18272">
                  <c:v>0.36838754041169802</c:v>
                </c:pt>
                <c:pt idx="18273">
                  <c:v>0.40268984213536402</c:v>
                </c:pt>
                <c:pt idx="18274">
                  <c:v>0.517646153874051</c:v>
                </c:pt>
                <c:pt idx="18275">
                  <c:v>0.60773737745320999</c:v>
                </c:pt>
                <c:pt idx="18276">
                  <c:v>0.62677917673262695</c:v>
                </c:pt>
                <c:pt idx="18277">
                  <c:v>0.67053791934406504</c:v>
                </c:pt>
                <c:pt idx="18278">
                  <c:v>0.730853917406317</c:v>
                </c:pt>
                <c:pt idx="18279">
                  <c:v>0.79336059267423598</c:v>
                </c:pt>
                <c:pt idx="18280">
                  <c:v>0.76146074327299296</c:v>
                </c:pt>
                <c:pt idx="18281">
                  <c:v>0.73372003104181904</c:v>
                </c:pt>
                <c:pt idx="18282">
                  <c:v>0.80915959495202305</c:v>
                </c:pt>
                <c:pt idx="18283">
                  <c:v>0.93214909960704595</c:v>
                </c:pt>
                <c:pt idx="18284">
                  <c:v>0.87498150007541597</c:v>
                </c:pt>
                <c:pt idx="18285">
                  <c:v>0.91495109359586901</c:v>
                </c:pt>
                <c:pt idx="18286">
                  <c:v>0.72564784419130202</c:v>
                </c:pt>
                <c:pt idx="18287">
                  <c:v>0.84612330289926896</c:v>
                </c:pt>
                <c:pt idx="18288">
                  <c:v>0.78998140984131604</c:v>
                </c:pt>
                <c:pt idx="18289">
                  <c:v>0.87633075255888604</c:v>
                </c:pt>
                <c:pt idx="18290">
                  <c:v>0.80637111477654699</c:v>
                </c:pt>
                <c:pt idx="18291">
                  <c:v>0.79015786647154196</c:v>
                </c:pt>
                <c:pt idx="18292">
                  <c:v>0.85845625488090105</c:v>
                </c:pt>
                <c:pt idx="18293">
                  <c:v>0.844285538954055</c:v>
                </c:pt>
                <c:pt idx="18294">
                  <c:v>0.78898715460775104</c:v>
                </c:pt>
                <c:pt idx="18295">
                  <c:v>0.79967991237630398</c:v>
                </c:pt>
                <c:pt idx="18296">
                  <c:v>0.73614254691932701</c:v>
                </c:pt>
                <c:pt idx="18297">
                  <c:v>0.82114472114287895</c:v>
                </c:pt>
                <c:pt idx="18298">
                  <c:v>0.66869018652441004</c:v>
                </c:pt>
                <c:pt idx="18299">
                  <c:v>0.49559855251452301</c:v>
                </c:pt>
                <c:pt idx="18300">
                  <c:v>0.43816460615622399</c:v>
                </c:pt>
                <c:pt idx="18301">
                  <c:v>0.34346223254193797</c:v>
                </c:pt>
                <c:pt idx="18302">
                  <c:v>0.17192995095515301</c:v>
                </c:pt>
                <c:pt idx="18303">
                  <c:v>0.11174285420666399</c:v>
                </c:pt>
                <c:pt idx="18304">
                  <c:v>-3.5072484048100101E-2</c:v>
                </c:pt>
                <c:pt idx="18305">
                  <c:v>-0.25211217400154601</c:v>
                </c:pt>
                <c:pt idx="18306">
                  <c:v>-0.28550272177255698</c:v>
                </c:pt>
                <c:pt idx="18307">
                  <c:v>-0.197039133159465</c:v>
                </c:pt>
                <c:pt idx="18308">
                  <c:v>-0.108575544546372</c:v>
                </c:pt>
                <c:pt idx="18309">
                  <c:v>-2.0111955933279399E-2</c:v>
                </c:pt>
                <c:pt idx="18310">
                  <c:v>-0.57140626855374799</c:v>
                </c:pt>
                <c:pt idx="18311">
                  <c:v>-0.56748824083318805</c:v>
                </c:pt>
                <c:pt idx="18312">
                  <c:v>-0.66047996810773502</c:v>
                </c:pt>
                <c:pt idx="18313">
                  <c:v>-0.72051055012387299</c:v>
                </c:pt>
                <c:pt idx="18314">
                  <c:v>-0.74961715519872196</c:v>
                </c:pt>
                <c:pt idx="18315">
                  <c:v>-0.73949209386889403</c:v>
                </c:pt>
                <c:pt idx="18316">
                  <c:v>-0.87593289143947695</c:v>
                </c:pt>
                <c:pt idx="18317">
                  <c:v>-0.92151745873567403</c:v>
                </c:pt>
                <c:pt idx="18318">
                  <c:v>-0.9269850621872</c:v>
                </c:pt>
                <c:pt idx="18319">
                  <c:v>-0.89118368767160205</c:v>
                </c:pt>
                <c:pt idx="18320">
                  <c:v>-1.02374037208607</c:v>
                </c:pt>
                <c:pt idx="18321">
                  <c:v>-0.928744699121274</c:v>
                </c:pt>
                <c:pt idx="18322">
                  <c:v>-0.87348256580407602</c:v>
                </c:pt>
                <c:pt idx="18323">
                  <c:v>-0.92664438251679604</c:v>
                </c:pt>
                <c:pt idx="18324">
                  <c:v>-0.90353876444154002</c:v>
                </c:pt>
                <c:pt idx="18325">
                  <c:v>-0.85011162297997001</c:v>
                </c:pt>
                <c:pt idx="18326">
                  <c:v>-0.99707809822350701</c:v>
                </c:pt>
                <c:pt idx="18327">
                  <c:v>-1.0715429554196201</c:v>
                </c:pt>
                <c:pt idx="18328">
                  <c:v>-1.2453689029732</c:v>
                </c:pt>
                <c:pt idx="18329">
                  <c:v>-1.2387113432486101</c:v>
                </c:pt>
                <c:pt idx="18330">
                  <c:v>-1.24731242727997</c:v>
                </c:pt>
                <c:pt idx="18331">
                  <c:v>-1.2744340059108501</c:v>
                </c:pt>
                <c:pt idx="18332">
                  <c:v>-1.2974705197854099</c:v>
                </c:pt>
                <c:pt idx="18333">
                  <c:v>-0.62409629892847096</c:v>
                </c:pt>
                <c:pt idx="18334">
                  <c:v>-0.47343084169692001</c:v>
                </c:pt>
                <c:pt idx="18335">
                  <c:v>-0.38247556380253001</c:v>
                </c:pt>
                <c:pt idx="18336">
                  <c:v>-0.26272349863551597</c:v>
                </c:pt>
                <c:pt idx="18337">
                  <c:v>-0.266374851532795</c:v>
                </c:pt>
                <c:pt idx="18338">
                  <c:v>-0.241229417157449</c:v>
                </c:pt>
                <c:pt idx="18339">
                  <c:v>-6.7475591503533203E-2</c:v>
                </c:pt>
                <c:pt idx="18340">
                  <c:v>-0.122751508270521</c:v>
                </c:pt>
                <c:pt idx="18341">
                  <c:v>-0.11907884724365</c:v>
                </c:pt>
                <c:pt idx="18342">
                  <c:v>-7.2163527469538497E-2</c:v>
                </c:pt>
                <c:pt idx="18343">
                  <c:v>6.9761938933316503E-2</c:v>
                </c:pt>
                <c:pt idx="18344">
                  <c:v>0.12083117506178501</c:v>
                </c:pt>
                <c:pt idx="18345">
                  <c:v>0.18241528272921601</c:v>
                </c:pt>
                <c:pt idx="18346">
                  <c:v>0.23772364843466501</c:v>
                </c:pt>
                <c:pt idx="18347">
                  <c:v>0.25599624575681501</c:v>
                </c:pt>
                <c:pt idx="18348">
                  <c:v>0.38568810033101603</c:v>
                </c:pt>
                <c:pt idx="18349">
                  <c:v>0.29049028213609501</c:v>
                </c:pt>
                <c:pt idx="18350">
                  <c:v>0.20776465463567101</c:v>
                </c:pt>
                <c:pt idx="18351">
                  <c:v>0.209624736263365</c:v>
                </c:pt>
                <c:pt idx="18352">
                  <c:v>0.34157793538583697</c:v>
                </c:pt>
                <c:pt idx="18353">
                  <c:v>0.31071520537664399</c:v>
                </c:pt>
                <c:pt idx="18354">
                  <c:v>0.24916130054417701</c:v>
                </c:pt>
                <c:pt idx="18355">
                  <c:v>0.31354659685212999</c:v>
                </c:pt>
                <c:pt idx="18356">
                  <c:v>6.5962507841884399E-2</c:v>
                </c:pt>
                <c:pt idx="18357">
                  <c:v>-3.0387219879297999E-2</c:v>
                </c:pt>
                <c:pt idx="18358">
                  <c:v>-1.52383971189622E-2</c:v>
                </c:pt>
                <c:pt idx="18359">
                  <c:v>-6.8197321265396002E-2</c:v>
                </c:pt>
                <c:pt idx="18360">
                  <c:v>-0.168626892927181</c:v>
                </c:pt>
                <c:pt idx="18361">
                  <c:v>-0.115503845069394</c:v>
                </c:pt>
                <c:pt idx="18362">
                  <c:v>-0.134568388058981</c:v>
                </c:pt>
                <c:pt idx="18363">
                  <c:v>-9.1800926103779906E-2</c:v>
                </c:pt>
                <c:pt idx="18364">
                  <c:v>-3.6561273454081299E-2</c:v>
                </c:pt>
                <c:pt idx="18365">
                  <c:v>-2.0152277390909999E-2</c:v>
                </c:pt>
                <c:pt idx="18366">
                  <c:v>-7.8126770196490405E-2</c:v>
                </c:pt>
                <c:pt idx="18367">
                  <c:v>1.8708797824728101E-2</c:v>
                </c:pt>
                <c:pt idx="18368">
                  <c:v>-0.111453285828226</c:v>
                </c:pt>
                <c:pt idx="18369">
                  <c:v>-0.13815484779658799</c:v>
                </c:pt>
                <c:pt idx="18370">
                  <c:v>-9.8785974420625797E-2</c:v>
                </c:pt>
                <c:pt idx="18371">
                  <c:v>-0.19155275091759999</c:v>
                </c:pt>
                <c:pt idx="18372">
                  <c:v>-0.21621178050780401</c:v>
                </c:pt>
                <c:pt idx="18373">
                  <c:v>-0.36865727319489999</c:v>
                </c:pt>
                <c:pt idx="18374">
                  <c:v>-0.43032060802136302</c:v>
                </c:pt>
                <c:pt idx="18375">
                  <c:v>-0.357810981412444</c:v>
                </c:pt>
                <c:pt idx="18376">
                  <c:v>-0.487502769916209</c:v>
                </c:pt>
                <c:pt idx="18377">
                  <c:v>-0.58287361219094502</c:v>
                </c:pt>
                <c:pt idx="18378">
                  <c:v>-0.50703572464700197</c:v>
                </c:pt>
                <c:pt idx="18379">
                  <c:v>-0.50550203274234395</c:v>
                </c:pt>
                <c:pt idx="18380">
                  <c:v>-0.425584301257797</c:v>
                </c:pt>
                <c:pt idx="18381">
                  <c:v>-0.43411229516479499</c:v>
                </c:pt>
                <c:pt idx="18382">
                  <c:v>-0.44767357562492399</c:v>
                </c:pt>
                <c:pt idx="18383">
                  <c:v>-0.50454636643033401</c:v>
                </c:pt>
                <c:pt idx="18384">
                  <c:v>-0.68497520409356105</c:v>
                </c:pt>
                <c:pt idx="18385">
                  <c:v>-0.74786762900169002</c:v>
                </c:pt>
                <c:pt idx="18386">
                  <c:v>-0.63124349138242597</c:v>
                </c:pt>
                <c:pt idx="18387">
                  <c:v>-0.603353758429923</c:v>
                </c:pt>
                <c:pt idx="18388">
                  <c:v>-0.50601968181047996</c:v>
                </c:pt>
                <c:pt idx="18389">
                  <c:v>-0.342620390662426</c:v>
                </c:pt>
                <c:pt idx="18390">
                  <c:v>-0.18710461059875</c:v>
                </c:pt>
                <c:pt idx="18391">
                  <c:v>-0.24696815557913299</c:v>
                </c:pt>
                <c:pt idx="18392">
                  <c:v>-0.25528120910356</c:v>
                </c:pt>
                <c:pt idx="18393">
                  <c:v>-0.28211475722749402</c:v>
                </c:pt>
                <c:pt idx="18394">
                  <c:v>-0.65936970177501297</c:v>
                </c:pt>
                <c:pt idx="18395">
                  <c:v>-0.69564564488866099</c:v>
                </c:pt>
                <c:pt idx="18396">
                  <c:v>-0.65769668559248995</c:v>
                </c:pt>
                <c:pt idx="18397">
                  <c:v>-0.64242213725018305</c:v>
                </c:pt>
                <c:pt idx="18398">
                  <c:v>-0.63334925845610401</c:v>
                </c:pt>
                <c:pt idx="18399">
                  <c:v>-0.62907599601751196</c:v>
                </c:pt>
                <c:pt idx="18400">
                  <c:v>-0.62684526595708001</c:v>
                </c:pt>
                <c:pt idx="18401">
                  <c:v>-0.54623049631675902</c:v>
                </c:pt>
                <c:pt idx="18402">
                  <c:v>-0.62034127345805601</c:v>
                </c:pt>
                <c:pt idx="18403">
                  <c:v>-0.61918099892857104</c:v>
                </c:pt>
                <c:pt idx="18404">
                  <c:v>-0.61590411960717395</c:v>
                </c:pt>
                <c:pt idx="18405">
                  <c:v>-0.61262724028577697</c:v>
                </c:pt>
                <c:pt idx="18406">
                  <c:v>-0.54581247743218098</c:v>
                </c:pt>
                <c:pt idx="18407">
                  <c:v>-0.60192761144699203</c:v>
                </c:pt>
                <c:pt idx="18408">
                  <c:v>-0.61889037228659305</c:v>
                </c:pt>
                <c:pt idx="18409">
                  <c:v>-0.61725856611293495</c:v>
                </c:pt>
                <c:pt idx="18410">
                  <c:v>-0.58974081381415699</c:v>
                </c:pt>
                <c:pt idx="18411">
                  <c:v>-0.57665849135856895</c:v>
                </c:pt>
                <c:pt idx="18412">
                  <c:v>-0.36290254171785902</c:v>
                </c:pt>
                <c:pt idx="18413">
                  <c:v>-0.39653824263862397</c:v>
                </c:pt>
                <c:pt idx="18414">
                  <c:v>-0.37250107578467201</c:v>
                </c:pt>
                <c:pt idx="18415">
                  <c:v>-0.166984107254636</c:v>
                </c:pt>
                <c:pt idx="18416">
                  <c:v>-0.48055746244448699</c:v>
                </c:pt>
                <c:pt idx="18417">
                  <c:v>-0.55961005430261002</c:v>
                </c:pt>
                <c:pt idx="18418">
                  <c:v>-0.60689621352425105</c:v>
                </c:pt>
                <c:pt idx="18419">
                  <c:v>-0.81911013978687597</c:v>
                </c:pt>
                <c:pt idx="18420">
                  <c:v>-0.79428195397242296</c:v>
                </c:pt>
                <c:pt idx="18421">
                  <c:v>-0.63543939318152498</c:v>
                </c:pt>
                <c:pt idx="18422">
                  <c:v>-0.61265373974523196</c:v>
                </c:pt>
                <c:pt idx="18423">
                  <c:v>-0.602409128601477</c:v>
                </c:pt>
                <c:pt idx="18424">
                  <c:v>-0.68530021422090304</c:v>
                </c:pt>
                <c:pt idx="18425">
                  <c:v>-0.54551856691258105</c:v>
                </c:pt>
                <c:pt idx="18426">
                  <c:v>-0.36227726443146901</c:v>
                </c:pt>
                <c:pt idx="18427">
                  <c:v>-0.39562559908389699</c:v>
                </c:pt>
                <c:pt idx="18428">
                  <c:v>-0.57503132300663096</c:v>
                </c:pt>
                <c:pt idx="18429">
                  <c:v>-0.65957504512812803</c:v>
                </c:pt>
                <c:pt idx="18430">
                  <c:v>-0.71116284280693198</c:v>
                </c:pt>
                <c:pt idx="18431">
                  <c:v>-0.74696024176553899</c:v>
                </c:pt>
                <c:pt idx="18432">
                  <c:v>-0.75191832107336398</c:v>
                </c:pt>
                <c:pt idx="18433">
                  <c:v>-0.71349081762215405</c:v>
                </c:pt>
                <c:pt idx="18434">
                  <c:v>-0.71837482451622603</c:v>
                </c:pt>
                <c:pt idx="18435">
                  <c:v>-0.557037600737185</c:v>
                </c:pt>
                <c:pt idx="18436">
                  <c:v>-0.55435762285285795</c:v>
                </c:pt>
                <c:pt idx="18437">
                  <c:v>-0.639700531715369</c:v>
                </c:pt>
                <c:pt idx="18438">
                  <c:v>-0.60881306390087997</c:v>
                </c:pt>
                <c:pt idx="18439">
                  <c:v>-0.62940201512859095</c:v>
                </c:pt>
                <c:pt idx="18440">
                  <c:v>-0.49329695961027997</c:v>
                </c:pt>
                <c:pt idx="18441">
                  <c:v>-0.470648472906464</c:v>
                </c:pt>
                <c:pt idx="18442">
                  <c:v>-0.45786834795354597</c:v>
                </c:pt>
                <c:pt idx="18443">
                  <c:v>-0.48635720096775098</c:v>
                </c:pt>
                <c:pt idx="18444">
                  <c:v>-0.43238217046146399</c:v>
                </c:pt>
                <c:pt idx="18445">
                  <c:v>-0.38860936021454101</c:v>
                </c:pt>
                <c:pt idx="18446">
                  <c:v>-0.241466257796874</c:v>
                </c:pt>
                <c:pt idx="18447">
                  <c:v>-0.104297937581597</c:v>
                </c:pt>
                <c:pt idx="18448">
                  <c:v>-9.7143441631629995E-2</c:v>
                </c:pt>
                <c:pt idx="18449">
                  <c:v>-7.1695889139131705E-2</c:v>
                </c:pt>
                <c:pt idx="18450">
                  <c:v>-5.3891368906054102E-2</c:v>
                </c:pt>
                <c:pt idx="18451">
                  <c:v>-0.20533233934296399</c:v>
                </c:pt>
                <c:pt idx="18452">
                  <c:v>-0.272113528238003</c:v>
                </c:pt>
                <c:pt idx="18453">
                  <c:v>-0.30185372793402998</c:v>
                </c:pt>
                <c:pt idx="18454">
                  <c:v>-0.40666985285429802</c:v>
                </c:pt>
                <c:pt idx="18455">
                  <c:v>-0.52198448768894401</c:v>
                </c:pt>
                <c:pt idx="18456">
                  <c:v>-0.64735841877116196</c:v>
                </c:pt>
                <c:pt idx="18457">
                  <c:v>-0.61800680307176104</c:v>
                </c:pt>
                <c:pt idx="18458">
                  <c:v>-0.75125477256466999</c:v>
                </c:pt>
                <c:pt idx="18459">
                  <c:v>-0.795916482218327</c:v>
                </c:pt>
                <c:pt idx="18460">
                  <c:v>-0.81571310371245498</c:v>
                </c:pt>
                <c:pt idx="18461">
                  <c:v>-0.83354126524217798</c:v>
                </c:pt>
                <c:pt idx="18462">
                  <c:v>-0.72632403870246398</c:v>
                </c:pt>
                <c:pt idx="18463">
                  <c:v>-0.78191797441181998</c:v>
                </c:pt>
                <c:pt idx="18464">
                  <c:v>-0.82315055269173998</c:v>
                </c:pt>
                <c:pt idx="18465">
                  <c:v>-0.77074231678117899</c:v>
                </c:pt>
                <c:pt idx="18466">
                  <c:v>-0.86054454341547404</c:v>
                </c:pt>
                <c:pt idx="18467">
                  <c:v>-0.91445289604775803</c:v>
                </c:pt>
                <c:pt idx="18468">
                  <c:v>-0.79512953730268698</c:v>
                </c:pt>
                <c:pt idx="18469">
                  <c:v>-0.90043890412004601</c:v>
                </c:pt>
                <c:pt idx="18470">
                  <c:v>-0.93160266175705497</c:v>
                </c:pt>
                <c:pt idx="18471">
                  <c:v>-0.93389033889197204</c:v>
                </c:pt>
                <c:pt idx="18472">
                  <c:v>-0.92353478250571597</c:v>
                </c:pt>
                <c:pt idx="18473">
                  <c:v>-0.92965718834080702</c:v>
                </c:pt>
                <c:pt idx="18474">
                  <c:v>-0.92754061306522395</c:v>
                </c:pt>
                <c:pt idx="18475">
                  <c:v>-0.941902000010989</c:v>
                </c:pt>
                <c:pt idx="18476">
                  <c:v>-0.84600627565244002</c:v>
                </c:pt>
                <c:pt idx="18477">
                  <c:v>-0.85729137814640299</c:v>
                </c:pt>
                <c:pt idx="18478">
                  <c:v>-0.89336749638614199</c:v>
                </c:pt>
                <c:pt idx="18479">
                  <c:v>-0.89437108539127297</c:v>
                </c:pt>
                <c:pt idx="18480">
                  <c:v>-0.93986022416946502</c:v>
                </c:pt>
                <c:pt idx="18481">
                  <c:v>-0.97711038183698296</c:v>
                </c:pt>
                <c:pt idx="18482">
                  <c:v>-0.98140461506180598</c:v>
                </c:pt>
                <c:pt idx="18483">
                  <c:v>-0.99598036177546101</c:v>
                </c:pt>
                <c:pt idx="18484">
                  <c:v>-1.0176702108168001</c:v>
                </c:pt>
                <c:pt idx="18485">
                  <c:v>-1.0126005841479699</c:v>
                </c:pt>
                <c:pt idx="18486">
                  <c:v>-0.98281401414710901</c:v>
                </c:pt>
                <c:pt idx="18487">
                  <c:v>-0.94683099541373605</c:v>
                </c:pt>
                <c:pt idx="18488">
                  <c:v>-0.88928833207250602</c:v>
                </c:pt>
                <c:pt idx="18489">
                  <c:v>-0.81526770650992797</c:v>
                </c:pt>
                <c:pt idx="18490">
                  <c:v>-0.74948606205802404</c:v>
                </c:pt>
                <c:pt idx="18491">
                  <c:v>-0.691943398716794</c:v>
                </c:pt>
                <c:pt idx="18492">
                  <c:v>-0.67359152090867103</c:v>
                </c:pt>
                <c:pt idx="18493">
                  <c:v>-0.66347862421122095</c:v>
                </c:pt>
                <c:pt idx="18494">
                  <c:v>-0.64512674640309797</c:v>
                </c:pt>
                <c:pt idx="18495">
                  <c:v>-0.635013849705649</c:v>
                </c:pt>
                <c:pt idx="18496">
                  <c:v>-0.50319671106682795</c:v>
                </c:pt>
                <c:pt idx="18497">
                  <c:v>-0.37961855353868001</c:v>
                </c:pt>
                <c:pt idx="18498">
                  <c:v>-0.25604039601053202</c:v>
                </c:pt>
                <c:pt idx="18499">
                  <c:v>-0.11598427626103699</c:v>
                </c:pt>
                <c:pt idx="18500">
                  <c:v>-0.14489611841726399</c:v>
                </c:pt>
                <c:pt idx="18501">
                  <c:v>-0.16556897946281801</c:v>
                </c:pt>
                <c:pt idx="18502">
                  <c:v>-9.7655580669118197E-2</c:v>
                </c:pt>
                <c:pt idx="18503">
                  <c:v>-0.16776232837871399</c:v>
                </c:pt>
                <c:pt idx="18504">
                  <c:v>-0.24791435802839101</c:v>
                </c:pt>
                <c:pt idx="18505">
                  <c:v>-0.24567657657132999</c:v>
                </c:pt>
                <c:pt idx="18506">
                  <c:v>-0.16513404876384899</c:v>
                </c:pt>
                <c:pt idx="18507">
                  <c:v>-3.30410295004121E-2</c:v>
                </c:pt>
                <c:pt idx="18508">
                  <c:v>0.18703762283542499</c:v>
                </c:pt>
                <c:pt idx="18509">
                  <c:v>0.37204374593665401</c:v>
                </c:pt>
                <c:pt idx="18510">
                  <c:v>0.50346206601948396</c:v>
                </c:pt>
                <c:pt idx="18511">
                  <c:v>0.606004305600222</c:v>
                </c:pt>
                <c:pt idx="18512">
                  <c:v>0.64797863472777695</c:v>
                </c:pt>
                <c:pt idx="18513">
                  <c:v>0.69403280779593601</c:v>
                </c:pt>
                <c:pt idx="18514">
                  <c:v>0.64782471777394302</c:v>
                </c:pt>
                <c:pt idx="18515">
                  <c:v>0.76556294185222595</c:v>
                </c:pt>
                <c:pt idx="18516">
                  <c:v>0.82358576577763398</c:v>
                </c:pt>
                <c:pt idx="18517">
                  <c:v>0.92091432852147503</c:v>
                </c:pt>
                <c:pt idx="18518">
                  <c:v>0.83237129354647199</c:v>
                </c:pt>
                <c:pt idx="18519">
                  <c:v>0.72739170022490296</c:v>
                </c:pt>
                <c:pt idx="18520">
                  <c:v>0.73896423232930597</c:v>
                </c:pt>
                <c:pt idx="18521">
                  <c:v>0.63065108801400804</c:v>
                </c:pt>
                <c:pt idx="18522">
                  <c:v>0.67311022648905705</c:v>
                </c:pt>
                <c:pt idx="18523">
                  <c:v>0.79191609298154897</c:v>
                </c:pt>
                <c:pt idx="18524">
                  <c:v>0.80126594137068097</c:v>
                </c:pt>
                <c:pt idx="18525">
                  <c:v>0.99430193108870402</c:v>
                </c:pt>
                <c:pt idx="18526">
                  <c:v>0.93387340138083497</c:v>
                </c:pt>
                <c:pt idx="18527">
                  <c:v>0.90795763699580201</c:v>
                </c:pt>
                <c:pt idx="18528">
                  <c:v>0.77396200781383595</c:v>
                </c:pt>
                <c:pt idx="18529">
                  <c:v>0.91704219492703798</c:v>
                </c:pt>
                <c:pt idx="18530">
                  <c:v>0.88263268944386397</c:v>
                </c:pt>
                <c:pt idx="18531">
                  <c:v>0.67889840006123503</c:v>
                </c:pt>
                <c:pt idx="18532">
                  <c:v>0.76933581089570902</c:v>
                </c:pt>
                <c:pt idx="18533">
                  <c:v>0.85373013864088798</c:v>
                </c:pt>
                <c:pt idx="18534">
                  <c:v>0.89896687239514295</c:v>
                </c:pt>
                <c:pt idx="18535">
                  <c:v>0.80171237037387599</c:v>
                </c:pt>
                <c:pt idx="18536">
                  <c:v>0.67813384667711796</c:v>
                </c:pt>
                <c:pt idx="18537">
                  <c:v>0.56475754323972505</c:v>
                </c:pt>
                <c:pt idx="18538">
                  <c:v>0.15203828427371499</c:v>
                </c:pt>
                <c:pt idx="18539">
                  <c:v>7.8344986672195402E-2</c:v>
                </c:pt>
                <c:pt idx="18540">
                  <c:v>4.4983234274545104E-3</c:v>
                </c:pt>
                <c:pt idx="18541">
                  <c:v>-0.149928277418554</c:v>
                </c:pt>
                <c:pt idx="18542">
                  <c:v>-0.188675303017275</c:v>
                </c:pt>
                <c:pt idx="18543">
                  <c:v>-0.18418489068447</c:v>
                </c:pt>
                <c:pt idx="18544">
                  <c:v>-0.21877277911311999</c:v>
                </c:pt>
                <c:pt idx="18545">
                  <c:v>-0.282162675630108</c:v>
                </c:pt>
                <c:pt idx="18546">
                  <c:v>-0.175154285403501</c:v>
                </c:pt>
                <c:pt idx="18547">
                  <c:v>-0.43145840872658497</c:v>
                </c:pt>
                <c:pt idx="18548">
                  <c:v>-0.52914411682970797</c:v>
                </c:pt>
                <c:pt idx="18549">
                  <c:v>-0.43554762420404702</c:v>
                </c:pt>
                <c:pt idx="18550">
                  <c:v>-0.35215857265346401</c:v>
                </c:pt>
                <c:pt idx="18551">
                  <c:v>-0.59716728467566305</c:v>
                </c:pt>
                <c:pt idx="18552">
                  <c:v>-0.61322554750642699</c:v>
                </c:pt>
                <c:pt idx="18553">
                  <c:v>-0.51590653475216097</c:v>
                </c:pt>
                <c:pt idx="18554">
                  <c:v>-0.66802170493752899</c:v>
                </c:pt>
                <c:pt idx="18555">
                  <c:v>-0.66425029954164205</c:v>
                </c:pt>
                <c:pt idx="18556">
                  <c:v>-0.72205067096918096</c:v>
                </c:pt>
                <c:pt idx="18557">
                  <c:v>-0.85452802870584299</c:v>
                </c:pt>
                <c:pt idx="18558">
                  <c:v>-0.912775263216975</c:v>
                </c:pt>
                <c:pt idx="18559">
                  <c:v>-0.94840950628770304</c:v>
                </c:pt>
                <c:pt idx="18560">
                  <c:v>-0.93017247901411404</c:v>
                </c:pt>
                <c:pt idx="18561">
                  <c:v>-0.80687122967992497</c:v>
                </c:pt>
                <c:pt idx="18562">
                  <c:v>-0.72784088897805799</c:v>
                </c:pt>
                <c:pt idx="18563">
                  <c:v>-0.64709377686687897</c:v>
                </c:pt>
                <c:pt idx="18564">
                  <c:v>-0.619934467774099</c:v>
                </c:pt>
                <c:pt idx="18565">
                  <c:v>-0.675342341494517</c:v>
                </c:pt>
                <c:pt idx="18566">
                  <c:v>-0.75750447010940003</c:v>
                </c:pt>
                <c:pt idx="18567">
                  <c:v>-0.75664747954775102</c:v>
                </c:pt>
                <c:pt idx="18568">
                  <c:v>-0.78874641342879703</c:v>
                </c:pt>
                <c:pt idx="18569">
                  <c:v>-0.81676550336924003</c:v>
                </c:pt>
                <c:pt idx="18570">
                  <c:v>-0.80766953169691702</c:v>
                </c:pt>
                <c:pt idx="18571">
                  <c:v>-0.750920078176324</c:v>
                </c:pt>
                <c:pt idx="18572">
                  <c:v>-0.68593164354505798</c:v>
                </c:pt>
                <c:pt idx="18573">
                  <c:v>-0.62094320891379196</c:v>
                </c:pt>
                <c:pt idx="18574">
                  <c:v>-0.53123783095050403</c:v>
                </c:pt>
                <c:pt idx="18575">
                  <c:v>-0.38895031787664203</c:v>
                </c:pt>
                <c:pt idx="18576">
                  <c:v>-0.25701839070536597</c:v>
                </c:pt>
                <c:pt idx="18577">
                  <c:v>-9.4173071469553601E-2</c:v>
                </c:pt>
                <c:pt idx="18578">
                  <c:v>6.2475799033743999E-2</c:v>
                </c:pt>
                <c:pt idx="18579">
                  <c:v>0.109721445867081</c:v>
                </c:pt>
                <c:pt idx="18580">
                  <c:v>0.13837252568715799</c:v>
                </c:pt>
                <c:pt idx="18581">
                  <c:v>3.7168367700859198E-2</c:v>
                </c:pt>
                <c:pt idx="18582">
                  <c:v>-2.20378534065213E-3</c:v>
                </c:pt>
                <c:pt idx="18583">
                  <c:v>-1.6602716949386399E-2</c:v>
                </c:pt>
                <c:pt idx="18584">
                  <c:v>1.2235789373406599E-2</c:v>
                </c:pt>
                <c:pt idx="18585">
                  <c:v>0.232761538447362</c:v>
                </c:pt>
                <c:pt idx="18586">
                  <c:v>0.28019461178341498</c:v>
                </c:pt>
                <c:pt idx="18587">
                  <c:v>0.430691717595027</c:v>
                </c:pt>
                <c:pt idx="18588">
                  <c:v>0.48020444528664102</c:v>
                </c:pt>
                <c:pt idx="18589">
                  <c:v>0.59986177924557404</c:v>
                </c:pt>
                <c:pt idx="18590">
                  <c:v>0.74412365182823403</c:v>
                </c:pt>
                <c:pt idx="18591">
                  <c:v>0.84529595802927304</c:v>
                </c:pt>
                <c:pt idx="18592">
                  <c:v>0.91916903978968001</c:v>
                </c:pt>
                <c:pt idx="18593">
                  <c:v>0.99319548719330797</c:v>
                </c:pt>
                <c:pt idx="18594">
                  <c:v>0.94106573703096796</c:v>
                </c:pt>
                <c:pt idx="18595">
                  <c:v>0.89929157277121297</c:v>
                </c:pt>
                <c:pt idx="18596">
                  <c:v>0.87292876135882103</c:v>
                </c:pt>
                <c:pt idx="18597">
                  <c:v>0.79705277005291897</c:v>
                </c:pt>
                <c:pt idx="18598">
                  <c:v>0.83463856837722605</c:v>
                </c:pt>
                <c:pt idx="18599">
                  <c:v>0.82089609248683904</c:v>
                </c:pt>
                <c:pt idx="18600">
                  <c:v>0.862071517792523</c:v>
                </c:pt>
                <c:pt idx="18601">
                  <c:v>0.86416864233675095</c:v>
                </c:pt>
                <c:pt idx="18602">
                  <c:v>1.0108683866327</c:v>
                </c:pt>
                <c:pt idx="18603">
                  <c:v>1.0539555640704901</c:v>
                </c:pt>
                <c:pt idx="18604">
                  <c:v>1.0785417271564599</c:v>
                </c:pt>
                <c:pt idx="18605">
                  <c:v>0.94635459026694102</c:v>
                </c:pt>
                <c:pt idx="18606">
                  <c:v>0.97321072378804396</c:v>
                </c:pt>
                <c:pt idx="18607">
                  <c:v>1.0802817487806899</c:v>
                </c:pt>
                <c:pt idx="18608">
                  <c:v>0.98287616740980399</c:v>
                </c:pt>
                <c:pt idx="18609">
                  <c:v>0.98487726601195602</c:v>
                </c:pt>
                <c:pt idx="18610">
                  <c:v>1.14995073384744</c:v>
                </c:pt>
                <c:pt idx="18611">
                  <c:v>1.2364815756441001</c:v>
                </c:pt>
                <c:pt idx="18612">
                  <c:v>1.16905260347713</c:v>
                </c:pt>
                <c:pt idx="18613">
                  <c:v>0.92171060263542404</c:v>
                </c:pt>
                <c:pt idx="18614">
                  <c:v>0.47610329592875</c:v>
                </c:pt>
                <c:pt idx="18615">
                  <c:v>0.35900777822504498</c:v>
                </c:pt>
                <c:pt idx="18616">
                  <c:v>0.30412806128986403</c:v>
                </c:pt>
                <c:pt idx="18617">
                  <c:v>0.143718804548705</c:v>
                </c:pt>
                <c:pt idx="18618">
                  <c:v>4.8991542599980599E-2</c:v>
                </c:pt>
                <c:pt idx="18619">
                  <c:v>-1.54238568328822E-4</c:v>
                </c:pt>
                <c:pt idx="18620">
                  <c:v>-0.14847452435116601</c:v>
                </c:pt>
                <c:pt idx="18621">
                  <c:v>-0.27977390596686103</c:v>
                </c:pt>
                <c:pt idx="18622">
                  <c:v>-0.36878982473356497</c:v>
                </c:pt>
                <c:pt idx="18623">
                  <c:v>-0.398884470074713</c:v>
                </c:pt>
                <c:pt idx="18624">
                  <c:v>-0.48884266039624202</c:v>
                </c:pt>
                <c:pt idx="18625">
                  <c:v>-0.55816375132635498</c:v>
                </c:pt>
                <c:pt idx="18626">
                  <c:v>-0.74611752785395802</c:v>
                </c:pt>
                <c:pt idx="18627">
                  <c:v>-0.80728278235916695</c:v>
                </c:pt>
                <c:pt idx="18628">
                  <c:v>-0.87497860283008999</c:v>
                </c:pt>
                <c:pt idx="18629">
                  <c:v>-0.55078393862803998</c:v>
                </c:pt>
                <c:pt idx="18630">
                  <c:v>-0.62169715197141995</c:v>
                </c:pt>
                <c:pt idx="18631">
                  <c:v>-0.55637732707710896</c:v>
                </c:pt>
                <c:pt idx="18632">
                  <c:v>-0.56520833217886302</c:v>
                </c:pt>
                <c:pt idx="18633">
                  <c:v>-0.58050733119058295</c:v>
                </c:pt>
                <c:pt idx="18634">
                  <c:v>-0.55610119478075204</c:v>
                </c:pt>
                <c:pt idx="18635">
                  <c:v>-0.40212732528827999</c:v>
                </c:pt>
                <c:pt idx="18636">
                  <c:v>-0.33749886220805397</c:v>
                </c:pt>
                <c:pt idx="18637">
                  <c:v>-0.184210066874823</c:v>
                </c:pt>
                <c:pt idx="18638">
                  <c:v>-3.92752868994879E-2</c:v>
                </c:pt>
                <c:pt idx="18639">
                  <c:v>4.6569230535411503E-2</c:v>
                </c:pt>
                <c:pt idx="18640">
                  <c:v>0.17572525831559299</c:v>
                </c:pt>
                <c:pt idx="18641">
                  <c:v>0.20207239264389301</c:v>
                </c:pt>
                <c:pt idx="18642">
                  <c:v>0.181028172686308</c:v>
                </c:pt>
                <c:pt idx="18643">
                  <c:v>0.182658363682587</c:v>
                </c:pt>
                <c:pt idx="18644">
                  <c:v>0.19252753578953899</c:v>
                </c:pt>
                <c:pt idx="18645">
                  <c:v>0.17915951385783199</c:v>
                </c:pt>
                <c:pt idx="18646">
                  <c:v>0.14107454859410601</c:v>
                </c:pt>
                <c:pt idx="18647">
                  <c:v>0.14418448888374699</c:v>
                </c:pt>
                <c:pt idx="18648">
                  <c:v>0.21532288285069101</c:v>
                </c:pt>
                <c:pt idx="18649">
                  <c:v>0.39416267327173599</c:v>
                </c:pt>
                <c:pt idx="18650">
                  <c:v>0.62206108872120103</c:v>
                </c:pt>
                <c:pt idx="18651">
                  <c:v>0.704075638192319</c:v>
                </c:pt>
                <c:pt idx="18652">
                  <c:v>0.96808330478552096</c:v>
                </c:pt>
                <c:pt idx="18653">
                  <c:v>1.1218195760763701</c:v>
                </c:pt>
                <c:pt idx="18654">
                  <c:v>1.1930126706172699</c:v>
                </c:pt>
                <c:pt idx="18655">
                  <c:v>1.29003574878753</c:v>
                </c:pt>
                <c:pt idx="18656">
                  <c:v>1.3541821957445701</c:v>
                </c:pt>
                <c:pt idx="18657">
                  <c:v>1.2568376561917001</c:v>
                </c:pt>
                <c:pt idx="18658">
                  <c:v>1.2810852076483901</c:v>
                </c:pt>
                <c:pt idx="18659">
                  <c:v>1.13616134084884</c:v>
                </c:pt>
                <c:pt idx="18660">
                  <c:v>1.08610469666624</c:v>
                </c:pt>
                <c:pt idx="18661">
                  <c:v>1.08948771067454</c:v>
                </c:pt>
                <c:pt idx="18662">
                  <c:v>0.99133916386015397</c:v>
                </c:pt>
                <c:pt idx="18663">
                  <c:v>1.04172493591059</c:v>
                </c:pt>
                <c:pt idx="18664">
                  <c:v>1.0220397219055599</c:v>
                </c:pt>
                <c:pt idx="18665">
                  <c:v>0.93613592772870602</c:v>
                </c:pt>
                <c:pt idx="18666">
                  <c:v>0.95117522623665296</c:v>
                </c:pt>
                <c:pt idx="18667">
                  <c:v>0.941497581412579</c:v>
                </c:pt>
                <c:pt idx="18668">
                  <c:v>1.0307670031460601</c:v>
                </c:pt>
                <c:pt idx="18669">
                  <c:v>0.97974108712539398</c:v>
                </c:pt>
                <c:pt idx="18670">
                  <c:v>0.92248864212512305</c:v>
                </c:pt>
                <c:pt idx="18671">
                  <c:v>0.89411227762694401</c:v>
                </c:pt>
                <c:pt idx="18672">
                  <c:v>0.94624177831627898</c:v>
                </c:pt>
                <c:pt idx="18673">
                  <c:v>0.92610439492877406</c:v>
                </c:pt>
                <c:pt idx="18674">
                  <c:v>0.96426079248848096</c:v>
                </c:pt>
                <c:pt idx="18675">
                  <c:v>0.91578894854191295</c:v>
                </c:pt>
                <c:pt idx="18676">
                  <c:v>0.83632441930134105</c:v>
                </c:pt>
                <c:pt idx="18677">
                  <c:v>0.85792356141023296</c:v>
                </c:pt>
                <c:pt idx="18678">
                  <c:v>0.86165766303346703</c:v>
                </c:pt>
                <c:pt idx="18679">
                  <c:v>0.86107926184340799</c:v>
                </c:pt>
                <c:pt idx="18680">
                  <c:v>0.77803175631714505</c:v>
                </c:pt>
                <c:pt idx="18681">
                  <c:v>0.73822168872240901</c:v>
                </c:pt>
                <c:pt idx="18682">
                  <c:v>0.720099520864391</c:v>
                </c:pt>
                <c:pt idx="18683">
                  <c:v>0.241483279773689</c:v>
                </c:pt>
                <c:pt idx="18684">
                  <c:v>0.157216604157592</c:v>
                </c:pt>
                <c:pt idx="18685">
                  <c:v>2.5780791496873501E-2</c:v>
                </c:pt>
                <c:pt idx="18686">
                  <c:v>-3.5053529749345398E-2</c:v>
                </c:pt>
                <c:pt idx="18687">
                  <c:v>-6.6784332436496494E-2</c:v>
                </c:pt>
                <c:pt idx="18688">
                  <c:v>-0.203663871229429</c:v>
                </c:pt>
                <c:pt idx="18689">
                  <c:v>-0.24763942655410401</c:v>
                </c:pt>
                <c:pt idx="18690">
                  <c:v>-0.29584586153647502</c:v>
                </c:pt>
                <c:pt idx="18691">
                  <c:v>-0.12066313954309101</c:v>
                </c:pt>
                <c:pt idx="18692">
                  <c:v>-0.148232475134044</c:v>
                </c:pt>
                <c:pt idx="18693">
                  <c:v>-0.19432230532450301</c:v>
                </c:pt>
                <c:pt idx="18694">
                  <c:v>-0.244925542424624</c:v>
                </c:pt>
                <c:pt idx="18695">
                  <c:v>-0.29968791669481598</c:v>
                </c:pt>
                <c:pt idx="18696">
                  <c:v>-0.34409470506242101</c:v>
                </c:pt>
                <c:pt idx="18697">
                  <c:v>-0.43181300377530801</c:v>
                </c:pt>
                <c:pt idx="18698">
                  <c:v>-0.56354234435060102</c:v>
                </c:pt>
                <c:pt idx="18699">
                  <c:v>-0.53230715703360099</c:v>
                </c:pt>
                <c:pt idx="18700">
                  <c:v>-0.67227547871956705</c:v>
                </c:pt>
                <c:pt idx="18701">
                  <c:v>-0.73590229320380396</c:v>
                </c:pt>
                <c:pt idx="18702">
                  <c:v>-0.78212410313560099</c:v>
                </c:pt>
                <c:pt idx="18703">
                  <c:v>-0.81594779478665502</c:v>
                </c:pt>
                <c:pt idx="18704">
                  <c:v>-0.82090062675133002</c:v>
                </c:pt>
                <c:pt idx="18705">
                  <c:v>-0.83001259588607601</c:v>
                </c:pt>
                <c:pt idx="18706">
                  <c:v>-0.793315951316102</c:v>
                </c:pt>
                <c:pt idx="18707">
                  <c:v>-0.78337878245630799</c:v>
                </c:pt>
                <c:pt idx="18708">
                  <c:v>-0.92400802320806097</c:v>
                </c:pt>
                <c:pt idx="18709">
                  <c:v>-0.99449220549060002</c:v>
                </c:pt>
                <c:pt idx="18710">
                  <c:v>-1.00880339483125</c:v>
                </c:pt>
                <c:pt idx="18711">
                  <c:v>-1.01071646589116</c:v>
                </c:pt>
                <c:pt idx="18712">
                  <c:v>-0.942563771711322</c:v>
                </c:pt>
                <c:pt idx="18713">
                  <c:v>-0.90117055324166295</c:v>
                </c:pt>
                <c:pt idx="18714">
                  <c:v>-0.93090901073934496</c:v>
                </c:pt>
                <c:pt idx="18715">
                  <c:v>-0.91529864632930003</c:v>
                </c:pt>
                <c:pt idx="18716">
                  <c:v>-0.92856436242134799</c:v>
                </c:pt>
                <c:pt idx="18717">
                  <c:v>-0.93358587658700798</c:v>
                </c:pt>
                <c:pt idx="18718">
                  <c:v>-0.94283695927512701</c:v>
                </c:pt>
                <c:pt idx="18719">
                  <c:v>-0.96236955545207903</c:v>
                </c:pt>
                <c:pt idx="18720">
                  <c:v>-0.78198114858290702</c:v>
                </c:pt>
                <c:pt idx="18721">
                  <c:v>-0.89017407701286499</c:v>
                </c:pt>
                <c:pt idx="18722">
                  <c:v>-0.94297996895574399</c:v>
                </c:pt>
                <c:pt idx="18723">
                  <c:v>-0.89072163883802202</c:v>
                </c:pt>
                <c:pt idx="18724">
                  <c:v>-0.84254837347661704</c:v>
                </c:pt>
                <c:pt idx="18725">
                  <c:v>-0.90155071415201105</c:v>
                </c:pt>
                <c:pt idx="18726">
                  <c:v>-0.87577961529982995</c:v>
                </c:pt>
                <c:pt idx="18727">
                  <c:v>-0.78409666756225904</c:v>
                </c:pt>
                <c:pt idx="18728">
                  <c:v>-0.72536964426738304</c:v>
                </c:pt>
                <c:pt idx="18729">
                  <c:v>-0.67488160208318104</c:v>
                </c:pt>
                <c:pt idx="18730">
                  <c:v>-0.54688040101671698</c:v>
                </c:pt>
                <c:pt idx="18731">
                  <c:v>-0.42711818106092703</c:v>
                </c:pt>
                <c:pt idx="18732">
                  <c:v>-0.29087799888378901</c:v>
                </c:pt>
                <c:pt idx="18733">
                  <c:v>-0.18759374114934599</c:v>
                </c:pt>
                <c:pt idx="18734">
                  <c:v>-0.19051232811810101</c:v>
                </c:pt>
                <c:pt idx="18735">
                  <c:v>-0.117094628700839</c:v>
                </c:pt>
                <c:pt idx="18736">
                  <c:v>-0.19423811807940999</c:v>
                </c:pt>
                <c:pt idx="18737">
                  <c:v>-0.232155161869018</c:v>
                </c:pt>
                <c:pt idx="18738">
                  <c:v>-0.22167332332775999</c:v>
                </c:pt>
                <c:pt idx="18739">
                  <c:v>-0.126690289703565</c:v>
                </c:pt>
                <c:pt idx="18740">
                  <c:v>-0.16768487020450801</c:v>
                </c:pt>
                <c:pt idx="18741">
                  <c:v>0.29925047153596701</c:v>
                </c:pt>
                <c:pt idx="18742">
                  <c:v>0.44403172004073799</c:v>
                </c:pt>
                <c:pt idx="18743">
                  <c:v>0.59304617812933302</c:v>
                </c:pt>
                <c:pt idx="18744">
                  <c:v>0.69388325041903798</c:v>
                </c:pt>
                <c:pt idx="18745">
                  <c:v>0.84219097022409595</c:v>
                </c:pt>
                <c:pt idx="18746">
                  <c:v>0.95164782732467001</c:v>
                </c:pt>
                <c:pt idx="18747">
                  <c:v>0.98052996763969102</c:v>
                </c:pt>
                <c:pt idx="18748">
                  <c:v>1.04215405510957</c:v>
                </c:pt>
                <c:pt idx="18749">
                  <c:v>1.0894167851500201</c:v>
                </c:pt>
                <c:pt idx="18750">
                  <c:v>1.1530834049980601</c:v>
                </c:pt>
                <c:pt idx="18751">
                  <c:v>1.21886662963801</c:v>
                </c:pt>
                <c:pt idx="18752">
                  <c:v>1.1717941147901201</c:v>
                </c:pt>
                <c:pt idx="18753">
                  <c:v>1.0546506138867799</c:v>
                </c:pt>
                <c:pt idx="18754">
                  <c:v>0.90691256035689205</c:v>
                </c:pt>
                <c:pt idx="18755">
                  <c:v>0.85529635275500404</c:v>
                </c:pt>
                <c:pt idx="18756">
                  <c:v>0.81819486822577203</c:v>
                </c:pt>
                <c:pt idx="18757">
                  <c:v>0.76257288909703502</c:v>
                </c:pt>
                <c:pt idx="18758">
                  <c:v>0.71707905781390802</c:v>
                </c:pt>
                <c:pt idx="18759">
                  <c:v>0.752794468734722</c:v>
                </c:pt>
                <c:pt idx="18760">
                  <c:v>0.79667478835245598</c:v>
                </c:pt>
                <c:pt idx="18761">
                  <c:v>0.92725742189021898</c:v>
                </c:pt>
                <c:pt idx="18762">
                  <c:v>0.93810252383579096</c:v>
                </c:pt>
                <c:pt idx="18763">
                  <c:v>0.96431399955271202</c:v>
                </c:pt>
                <c:pt idx="18764">
                  <c:v>0.88726590589878895</c:v>
                </c:pt>
                <c:pt idx="18765">
                  <c:v>0.93184451057199602</c:v>
                </c:pt>
                <c:pt idx="18766">
                  <c:v>0.98285222285040696</c:v>
                </c:pt>
                <c:pt idx="18767">
                  <c:v>0.90750964992580296</c:v>
                </c:pt>
                <c:pt idx="18768">
                  <c:v>0.93331004158013098</c:v>
                </c:pt>
                <c:pt idx="18769">
                  <c:v>0.92395861077038499</c:v>
                </c:pt>
                <c:pt idx="18770">
                  <c:v>0.97251270660804301</c:v>
                </c:pt>
                <c:pt idx="18771">
                  <c:v>0.73050234099260702</c:v>
                </c:pt>
                <c:pt idx="18772">
                  <c:v>0.59159817910479495</c:v>
                </c:pt>
                <c:pt idx="18773">
                  <c:v>0.54567207309899401</c:v>
                </c:pt>
                <c:pt idx="18774">
                  <c:v>0.49778272794450301</c:v>
                </c:pt>
                <c:pt idx="18775">
                  <c:v>0.402350679978631</c:v>
                </c:pt>
                <c:pt idx="18776">
                  <c:v>0.31326844638849599</c:v>
                </c:pt>
                <c:pt idx="18777">
                  <c:v>0.25918466961921399</c:v>
                </c:pt>
                <c:pt idx="18778">
                  <c:v>3.80460793856102E-2</c:v>
                </c:pt>
                <c:pt idx="18779">
                  <c:v>1.1743410673611E-2</c:v>
                </c:pt>
                <c:pt idx="18780">
                  <c:v>2.46724083662897E-2</c:v>
                </c:pt>
                <c:pt idx="18781">
                  <c:v>7.2599862879822299E-2</c:v>
                </c:pt>
                <c:pt idx="18782">
                  <c:v>0.11221426386892699</c:v>
                </c:pt>
                <c:pt idx="18783">
                  <c:v>9.2887209252762906E-2</c:v>
                </c:pt>
                <c:pt idx="18784">
                  <c:v>7.5602687014757794E-2</c:v>
                </c:pt>
                <c:pt idx="18785">
                  <c:v>3.7755137799087998E-2</c:v>
                </c:pt>
                <c:pt idx="18786">
                  <c:v>-5.1642902872536402E-2</c:v>
                </c:pt>
                <c:pt idx="18787">
                  <c:v>-9.2754108057416698E-2</c:v>
                </c:pt>
                <c:pt idx="18788">
                  <c:v>-0.148380036314953</c:v>
                </c:pt>
                <c:pt idx="18789">
                  <c:v>-0.10294229322302501</c:v>
                </c:pt>
                <c:pt idx="18790">
                  <c:v>-8.4264025841277304E-2</c:v>
                </c:pt>
                <c:pt idx="18791">
                  <c:v>-0.240598750359451</c:v>
                </c:pt>
                <c:pt idx="18792">
                  <c:v>-0.205018794069488</c:v>
                </c:pt>
                <c:pt idx="18793">
                  <c:v>-0.326280989353054</c:v>
                </c:pt>
                <c:pt idx="18794">
                  <c:v>-0.33197001103021201</c:v>
                </c:pt>
                <c:pt idx="18795">
                  <c:v>-0.30861143011167802</c:v>
                </c:pt>
                <c:pt idx="18796">
                  <c:v>-0.38842790451880699</c:v>
                </c:pt>
                <c:pt idx="18797">
                  <c:v>-0.38570120217597698</c:v>
                </c:pt>
                <c:pt idx="18798">
                  <c:v>-0.33142922919290602</c:v>
                </c:pt>
                <c:pt idx="18799">
                  <c:v>-0.39154606292131999</c:v>
                </c:pt>
                <c:pt idx="18800">
                  <c:v>-0.41666966064459399</c:v>
                </c:pt>
                <c:pt idx="18801">
                  <c:v>-0.60453034820318696</c:v>
                </c:pt>
                <c:pt idx="18802">
                  <c:v>-0.75528119496472501</c:v>
                </c:pt>
                <c:pt idx="18803">
                  <c:v>-0.81929757225589495</c:v>
                </c:pt>
                <c:pt idx="18804">
                  <c:v>-0.86697891133751104</c:v>
                </c:pt>
                <c:pt idx="18805">
                  <c:v>-0.88374685835459099</c:v>
                </c:pt>
                <c:pt idx="18806">
                  <c:v>-0.89015921946908405</c:v>
                </c:pt>
                <c:pt idx="18807">
                  <c:v>-0.86164653907998001</c:v>
                </c:pt>
                <c:pt idx="18808">
                  <c:v>-0.90743283351444703</c:v>
                </c:pt>
                <c:pt idx="18809">
                  <c:v>-0.89758879255235702</c:v>
                </c:pt>
                <c:pt idx="18810">
                  <c:v>-0.90626002537405903</c:v>
                </c:pt>
                <c:pt idx="18811">
                  <c:v>-0.92135458449541696</c:v>
                </c:pt>
                <c:pt idx="18812">
                  <c:v>-0.94265081316500299</c:v>
                </c:pt>
                <c:pt idx="18813">
                  <c:v>-0.92887451259998299</c:v>
                </c:pt>
                <c:pt idx="18814">
                  <c:v>-0.91917805597556601</c:v>
                </c:pt>
                <c:pt idx="18815">
                  <c:v>-0.87918732636715402</c:v>
                </c:pt>
                <c:pt idx="18816">
                  <c:v>-0.91546403154671796</c:v>
                </c:pt>
                <c:pt idx="18817">
                  <c:v>-0.91673705908971603</c:v>
                </c:pt>
                <c:pt idx="18818">
                  <c:v>-0.934488048854061</c:v>
                </c:pt>
                <c:pt idx="18819">
                  <c:v>-0.90269856780920998</c:v>
                </c:pt>
                <c:pt idx="18820">
                  <c:v>-0.85028242900437001</c:v>
                </c:pt>
                <c:pt idx="18821">
                  <c:v>-0.81638156398332196</c:v>
                </c:pt>
                <c:pt idx="18822">
                  <c:v>-0.76389135276472697</c:v>
                </c:pt>
                <c:pt idx="18823">
                  <c:v>-0.68432461258175903</c:v>
                </c:pt>
                <c:pt idx="18824">
                  <c:v>-0.61511345830137598</c:v>
                </c:pt>
                <c:pt idx="18825">
                  <c:v>-0.55202468033975505</c:v>
                </c:pt>
                <c:pt idx="18826">
                  <c:v>-0.44774099682476498</c:v>
                </c:pt>
                <c:pt idx="18827">
                  <c:v>-0.47523408840332698</c:v>
                </c:pt>
                <c:pt idx="18828">
                  <c:v>-0.51708853741132399</c:v>
                </c:pt>
                <c:pt idx="18829">
                  <c:v>-0.52802959435478403</c:v>
                </c:pt>
                <c:pt idx="18830">
                  <c:v>-0.57895671580459995</c:v>
                </c:pt>
                <c:pt idx="18831">
                  <c:v>-0.60654988284592504</c:v>
                </c:pt>
                <c:pt idx="18832">
                  <c:v>-0.65681746084111203</c:v>
                </c:pt>
                <c:pt idx="18833">
                  <c:v>-0.72356300105764704</c:v>
                </c:pt>
                <c:pt idx="18834">
                  <c:v>-0.66291607090869298</c:v>
                </c:pt>
                <c:pt idx="18835">
                  <c:v>-0.64966049504562196</c:v>
                </c:pt>
                <c:pt idx="18836">
                  <c:v>-0.62604933327996604</c:v>
                </c:pt>
                <c:pt idx="18837">
                  <c:v>-0.59216187884119098</c:v>
                </c:pt>
                <c:pt idx="18838">
                  <c:v>-0.47532162118327997</c:v>
                </c:pt>
                <c:pt idx="18839">
                  <c:v>-0.37080018857664598</c:v>
                </c:pt>
                <c:pt idx="18840">
                  <c:v>-0.38177785716266599</c:v>
                </c:pt>
                <c:pt idx="18841">
                  <c:v>-0.380357407467941</c:v>
                </c:pt>
                <c:pt idx="18842">
                  <c:v>-0.32005185103711598</c:v>
                </c:pt>
                <c:pt idx="18843">
                  <c:v>-0.22678514934788199</c:v>
                </c:pt>
                <c:pt idx="18844">
                  <c:v>-0.36655396160640003</c:v>
                </c:pt>
                <c:pt idx="18845">
                  <c:v>-0.28765383816231399</c:v>
                </c:pt>
                <c:pt idx="18846">
                  <c:v>-0.29891658817214001</c:v>
                </c:pt>
                <c:pt idx="18847">
                  <c:v>-0.306025421827608</c:v>
                </c:pt>
                <c:pt idx="18848">
                  <c:v>-0.327495612912512</c:v>
                </c:pt>
                <c:pt idx="18849">
                  <c:v>-0.34903987641117001</c:v>
                </c:pt>
                <c:pt idx="18850">
                  <c:v>-0.373103406672597</c:v>
                </c:pt>
                <c:pt idx="18851">
                  <c:v>-0.37667798237011402</c:v>
                </c:pt>
                <c:pt idx="18852">
                  <c:v>-0.44201049059866498</c:v>
                </c:pt>
                <c:pt idx="18853">
                  <c:v>-0.46206302851752901</c:v>
                </c:pt>
                <c:pt idx="18854">
                  <c:v>-0.46435872931852801</c:v>
                </c:pt>
                <c:pt idx="18855">
                  <c:v>-0.45213970704687101</c:v>
                </c:pt>
                <c:pt idx="18856">
                  <c:v>-0.402805623162447</c:v>
                </c:pt>
                <c:pt idx="18857">
                  <c:v>-0.374108638669442</c:v>
                </c:pt>
                <c:pt idx="18858">
                  <c:v>-0.37172731996118702</c:v>
                </c:pt>
                <c:pt idx="18859">
                  <c:v>-0.39829615416877701</c:v>
                </c:pt>
                <c:pt idx="18860">
                  <c:v>-0.160826347503185</c:v>
                </c:pt>
                <c:pt idx="18861">
                  <c:v>-0.34001456533190799</c:v>
                </c:pt>
                <c:pt idx="18862">
                  <c:v>-0.349958906954772</c:v>
                </c:pt>
                <c:pt idx="18863">
                  <c:v>-0.33510701201614801</c:v>
                </c:pt>
                <c:pt idx="18864">
                  <c:v>-0.30166055006426401</c:v>
                </c:pt>
                <c:pt idx="18865">
                  <c:v>-0.29504763623631403</c:v>
                </c:pt>
                <c:pt idx="18866">
                  <c:v>-0.38763340505868699</c:v>
                </c:pt>
                <c:pt idx="18867">
                  <c:v>-0.44930056100081101</c:v>
                </c:pt>
                <c:pt idx="18868">
                  <c:v>-0.63252034285630898</c:v>
                </c:pt>
                <c:pt idx="18869">
                  <c:v>-0.76433777808336001</c:v>
                </c:pt>
                <c:pt idx="18870">
                  <c:v>-0.85740672686079</c:v>
                </c:pt>
                <c:pt idx="18871">
                  <c:v>-0.95463481280828999</c:v>
                </c:pt>
                <c:pt idx="18872">
                  <c:v>-1.20251382241252</c:v>
                </c:pt>
                <c:pt idx="18873">
                  <c:v>-1.3534090046078899</c:v>
                </c:pt>
                <c:pt idx="18874">
                  <c:v>-1.3991183774301701</c:v>
                </c:pt>
                <c:pt idx="18875">
                  <c:v>-1.3913573976445099</c:v>
                </c:pt>
                <c:pt idx="18876">
                  <c:v>-1.34008294305794</c:v>
                </c:pt>
                <c:pt idx="18877">
                  <c:v>-1.38151895806082</c:v>
                </c:pt>
                <c:pt idx="18878">
                  <c:v>-1.35900636332699</c:v>
                </c:pt>
                <c:pt idx="18879">
                  <c:v>-1.39628846197552</c:v>
                </c:pt>
                <c:pt idx="18880">
                  <c:v>-1.3036308087724799</c:v>
                </c:pt>
                <c:pt idx="18881">
                  <c:v>-1.4606346333207301</c:v>
                </c:pt>
                <c:pt idx="18882">
                  <c:v>-1.52685107919263</c:v>
                </c:pt>
                <c:pt idx="18883">
                  <c:v>-1.54356478680245</c:v>
                </c:pt>
                <c:pt idx="18884">
                  <c:v>-1.5169669840669899</c:v>
                </c:pt>
                <c:pt idx="18885">
                  <c:v>-1.54095508211802</c:v>
                </c:pt>
                <c:pt idx="18886">
                  <c:v>-1.1773018916042499</c:v>
                </c:pt>
                <c:pt idx="18887">
                  <c:v>-1.1468586140583299</c:v>
                </c:pt>
                <c:pt idx="18888">
                  <c:v>-1.0877975949191001</c:v>
                </c:pt>
                <c:pt idx="18889">
                  <c:v>-1.03248922921366</c:v>
                </c:pt>
                <c:pt idx="18890">
                  <c:v>-0.96055294071478703</c:v>
                </c:pt>
                <c:pt idx="18891">
                  <c:v>-1.00405212262625</c:v>
                </c:pt>
                <c:pt idx="18892">
                  <c:v>-0.94239734761621097</c:v>
                </c:pt>
                <c:pt idx="18893">
                  <c:v>-0.91158711307267104</c:v>
                </c:pt>
                <c:pt idx="18894">
                  <c:v>-0.96913524637828996</c:v>
                </c:pt>
                <c:pt idx="18895">
                  <c:v>-1.0185184709869901</c:v>
                </c:pt>
                <c:pt idx="18896">
                  <c:v>-0.98951243520008403</c:v>
                </c:pt>
                <c:pt idx="18897">
                  <c:v>-1.05537362203013</c:v>
                </c:pt>
                <c:pt idx="18898">
                  <c:v>-1.0278266809890491</c:v>
                </c:pt>
                <c:pt idx="18899">
                  <c:v>-1.04367054352272</c:v>
                </c:pt>
                <c:pt idx="18900">
                  <c:v>-0.999571567846536</c:v>
                </c:pt>
                <c:pt idx="18901">
                  <c:v>-1.05865286831173</c:v>
                </c:pt>
                <c:pt idx="18902">
                  <c:v>-0.95397410818227601</c:v>
                </c:pt>
                <c:pt idx="18903">
                  <c:v>-0.84922127563906802</c:v>
                </c:pt>
                <c:pt idx="18904">
                  <c:v>-0.96935471079383195</c:v>
                </c:pt>
                <c:pt idx="18905">
                  <c:v>-0.77169789478236595</c:v>
                </c:pt>
                <c:pt idx="18906">
                  <c:v>-0.67077726200483001</c:v>
                </c:pt>
                <c:pt idx="18907">
                  <c:v>-1.1163219231928001</c:v>
                </c:pt>
                <c:pt idx="18908">
                  <c:v>-1.1639408300958001</c:v>
                </c:pt>
                <c:pt idx="18909">
                  <c:v>-1.2240319276932901</c:v>
                </c:pt>
                <c:pt idx="18910">
                  <c:v>-1.2568558659804101</c:v>
                </c:pt>
                <c:pt idx="18911">
                  <c:v>-1.2918704814732</c:v>
                </c:pt>
                <c:pt idx="18912">
                  <c:v>-1.33505000566291</c:v>
                </c:pt>
                <c:pt idx="18913">
                  <c:v>-1.5719544421382701</c:v>
                </c:pt>
                <c:pt idx="18914">
                  <c:v>-1.6850994168226501</c:v>
                </c:pt>
                <c:pt idx="18915">
                  <c:v>-1.8436725066442201</c:v>
                </c:pt>
                <c:pt idx="18916">
                  <c:v>-1.8784282209329899</c:v>
                </c:pt>
                <c:pt idx="18917">
                  <c:v>-1.9140148114568101</c:v>
                </c:pt>
                <c:pt idx="18918">
                  <c:v>-1.8879394061199699</c:v>
                </c:pt>
                <c:pt idx="18919">
                  <c:v>-1.9895066971272191</c:v>
                </c:pt>
                <c:pt idx="18920">
                  <c:v>-1.0486508925920299</c:v>
                </c:pt>
                <c:pt idx="18921">
                  <c:v>-0.88391964307899495</c:v>
                </c:pt>
                <c:pt idx="18922">
                  <c:v>-0.791301911999581</c:v>
                </c:pt>
                <c:pt idx="18923">
                  <c:v>-0.71319368317711096</c:v>
                </c:pt>
                <c:pt idx="18924">
                  <c:v>-0.68012169931404298</c:v>
                </c:pt>
                <c:pt idx="18925">
                  <c:v>-0.62043838456830303</c:v>
                </c:pt>
                <c:pt idx="18926">
                  <c:v>-0.70082819033544297</c:v>
                </c:pt>
                <c:pt idx="18927">
                  <c:v>-0.618317098992619</c:v>
                </c:pt>
                <c:pt idx="18928">
                  <c:v>-0.63960499569428397</c:v>
                </c:pt>
                <c:pt idx="18929">
                  <c:v>-0.58046109962218795</c:v>
                </c:pt>
                <c:pt idx="18930">
                  <c:v>-0.55019328405218504</c:v>
                </c:pt>
                <c:pt idx="18931">
                  <c:v>-0.63966300007437304</c:v>
                </c:pt>
                <c:pt idx="18932">
                  <c:v>-0.550349559868057</c:v>
                </c:pt>
                <c:pt idx="18933">
                  <c:v>-0.61774056803919097</c:v>
                </c:pt>
                <c:pt idx="18934">
                  <c:v>-0.54278848526231005</c:v>
                </c:pt>
                <c:pt idx="18935">
                  <c:v>-0.61032763826095104</c:v>
                </c:pt>
                <c:pt idx="18936">
                  <c:v>-0.44518791578161299</c:v>
                </c:pt>
                <c:pt idx="18937">
                  <c:v>-0.44725637240981903</c:v>
                </c:pt>
                <c:pt idx="18938">
                  <c:v>-0.53398983139560896</c:v>
                </c:pt>
                <c:pt idx="18939">
                  <c:v>-0.47422628307902798</c:v>
                </c:pt>
                <c:pt idx="18940">
                  <c:v>-0.41397028979504502</c:v>
                </c:pt>
                <c:pt idx="18941">
                  <c:v>-0.47141451654080802</c:v>
                </c:pt>
                <c:pt idx="18942">
                  <c:v>-0.440187969402138</c:v>
                </c:pt>
                <c:pt idx="18943">
                  <c:v>-0.32217981511397098</c:v>
                </c:pt>
                <c:pt idx="18944">
                  <c:v>-0.209950655471976</c:v>
                </c:pt>
                <c:pt idx="18945">
                  <c:v>-0.59882752625633495</c:v>
                </c:pt>
                <c:pt idx="18946">
                  <c:v>-0.62289315365734699</c:v>
                </c:pt>
                <c:pt idx="18947">
                  <c:v>-0.63667726756952703</c:v>
                </c:pt>
                <c:pt idx="18948">
                  <c:v>-0.65810441374112705</c:v>
                </c:pt>
                <c:pt idx="18949">
                  <c:v>-0.71672591475495995</c:v>
                </c:pt>
                <c:pt idx="18950">
                  <c:v>-0.89784345410556998</c:v>
                </c:pt>
                <c:pt idx="18951">
                  <c:v>-1.06669792362343</c:v>
                </c:pt>
                <c:pt idx="18952">
                  <c:v>-1.18595992001831</c:v>
                </c:pt>
                <c:pt idx="18953">
                  <c:v>-1.2598678736897599</c:v>
                </c:pt>
                <c:pt idx="18954">
                  <c:v>-1.3172185719103899</c:v>
                </c:pt>
                <c:pt idx="18955">
                  <c:v>-1.2304696933815</c:v>
                </c:pt>
                <c:pt idx="18956">
                  <c:v>-1.25654205683762</c:v>
                </c:pt>
                <c:pt idx="18957">
                  <c:v>-1.27021630201298</c:v>
                </c:pt>
                <c:pt idx="18958">
                  <c:v>-1.40354356473536</c:v>
                </c:pt>
                <c:pt idx="18959">
                  <c:v>-1.4613281776503799</c:v>
                </c:pt>
                <c:pt idx="18960">
                  <c:v>-1.54791479865374</c:v>
                </c:pt>
                <c:pt idx="18961">
                  <c:v>-1.52111892325636</c:v>
                </c:pt>
                <c:pt idx="18962">
                  <c:v>-1.60150387471149</c:v>
                </c:pt>
                <c:pt idx="18963">
                  <c:v>-1.6625093140731599</c:v>
                </c:pt>
                <c:pt idx="18964">
                  <c:v>0.26188461983891398</c:v>
                </c:pt>
                <c:pt idx="18965">
                  <c:v>0.56754741564562605</c:v>
                </c:pt>
                <c:pt idx="18966">
                  <c:v>0.58021619684759496</c:v>
                </c:pt>
                <c:pt idx="18967">
                  <c:v>0.60309241912464295</c:v>
                </c:pt>
                <c:pt idx="18968">
                  <c:v>0.38661949613726998</c:v>
                </c:pt>
                <c:pt idx="18969">
                  <c:v>0.282539561405797</c:v>
                </c:pt>
                <c:pt idx="18970">
                  <c:v>0.17634302188241199</c:v>
                </c:pt>
                <c:pt idx="18971">
                  <c:v>0.21260571162494499</c:v>
                </c:pt>
                <c:pt idx="18972">
                  <c:v>0.26730960273751703</c:v>
                </c:pt>
                <c:pt idx="18973">
                  <c:v>0.32216685949330898</c:v>
                </c:pt>
                <c:pt idx="18974">
                  <c:v>0.331240891384042</c:v>
                </c:pt>
                <c:pt idx="18975">
                  <c:v>0.325707466402961</c:v>
                </c:pt>
                <c:pt idx="18976">
                  <c:v>0.41519462968205001</c:v>
                </c:pt>
                <c:pt idx="18977">
                  <c:v>0.42001679060355401</c:v>
                </c:pt>
                <c:pt idx="18978">
                  <c:v>0.41644660477116302</c:v>
                </c:pt>
                <c:pt idx="18979">
                  <c:v>0.41999032030266997</c:v>
                </c:pt>
                <c:pt idx="18980">
                  <c:v>0.26906350121782202</c:v>
                </c:pt>
                <c:pt idx="18981">
                  <c:v>0.18209051268538701</c:v>
                </c:pt>
                <c:pt idx="18982">
                  <c:v>0.163538688768535</c:v>
                </c:pt>
                <c:pt idx="18983">
                  <c:v>7.6953190358667906E-2</c:v>
                </c:pt>
                <c:pt idx="18984">
                  <c:v>0.132784855310568</c:v>
                </c:pt>
                <c:pt idx="18985">
                  <c:v>-3.38789540656351E-3</c:v>
                </c:pt>
                <c:pt idx="18986">
                  <c:v>-3.1525802532806802E-3</c:v>
                </c:pt>
                <c:pt idx="18987">
                  <c:v>-0.13051819491838099</c:v>
                </c:pt>
                <c:pt idx="18988">
                  <c:v>-0.37134559921368998</c:v>
                </c:pt>
                <c:pt idx="18989">
                  <c:v>-0.41215704478626802</c:v>
                </c:pt>
                <c:pt idx="18990">
                  <c:v>-0.44681900562867199</c:v>
                </c:pt>
                <c:pt idx="18991">
                  <c:v>-0.54120158743966496</c:v>
                </c:pt>
                <c:pt idx="18992">
                  <c:v>-0.58395438456523596</c:v>
                </c:pt>
                <c:pt idx="18993">
                  <c:v>-0.624812794140156</c:v>
                </c:pt>
                <c:pt idx="18994">
                  <c:v>-0.74899693003744405</c:v>
                </c:pt>
                <c:pt idx="18995">
                  <c:v>-0.94128359202578904</c:v>
                </c:pt>
                <c:pt idx="18996">
                  <c:v>-1.09025874366885</c:v>
                </c:pt>
                <c:pt idx="18997">
                  <c:v>-1.2226766398611</c:v>
                </c:pt>
                <c:pt idx="18998">
                  <c:v>-1.2095014983777701</c:v>
                </c:pt>
                <c:pt idx="18999">
                  <c:v>-1.3014750930002299</c:v>
                </c:pt>
                <c:pt idx="19000">
                  <c:v>-1.3666099186830301</c:v>
                </c:pt>
                <c:pt idx="19001">
                  <c:v>-1.39878881992314</c:v>
                </c:pt>
                <c:pt idx="19002">
                  <c:v>-1.40865063402139</c:v>
                </c:pt>
                <c:pt idx="19003">
                  <c:v>-1.41238485098516</c:v>
                </c:pt>
                <c:pt idx="19004">
                  <c:v>-1.35626074378427</c:v>
                </c:pt>
                <c:pt idx="19005">
                  <c:v>0.989768248985469</c:v>
                </c:pt>
                <c:pt idx="19006">
                  <c:v>1.0372046073406</c:v>
                </c:pt>
                <c:pt idx="19007">
                  <c:v>1.0017802574565799</c:v>
                </c:pt>
                <c:pt idx="19008">
                  <c:v>0.98676556890700795</c:v>
                </c:pt>
                <c:pt idx="19009">
                  <c:v>0.93274665200972995</c:v>
                </c:pt>
                <c:pt idx="19010">
                  <c:v>0.88061690184738906</c:v>
                </c:pt>
                <c:pt idx="19011">
                  <c:v>0.802624305749575</c:v>
                </c:pt>
                <c:pt idx="19012">
                  <c:v>0.70666124499326399</c:v>
                </c:pt>
                <c:pt idx="19013">
                  <c:v>0.68642080989963306</c:v>
                </c:pt>
                <c:pt idx="19014">
                  <c:v>0.68851793444386</c:v>
                </c:pt>
                <c:pt idx="19015">
                  <c:v>0.73173589212770296</c:v>
                </c:pt>
                <c:pt idx="19016">
                  <c:v>0.73171641188001801</c:v>
                </c:pt>
                <c:pt idx="19017">
                  <c:v>0.72330458487843796</c:v>
                </c:pt>
                <c:pt idx="19018">
                  <c:v>0.72317380463238701</c:v>
                </c:pt>
                <c:pt idx="19019">
                  <c:v>0.59233152965824498</c:v>
                </c:pt>
                <c:pt idx="19020">
                  <c:v>0.57050193371146996</c:v>
                </c:pt>
                <c:pt idx="19021">
                  <c:v>0.54867233776469404</c:v>
                </c:pt>
                <c:pt idx="19022">
                  <c:v>0.52684274181791901</c:v>
                </c:pt>
                <c:pt idx="19023">
                  <c:v>0.57625852200181404</c:v>
                </c:pt>
                <c:pt idx="19024">
                  <c:v>0.62582766782893196</c:v>
                </c:pt>
                <c:pt idx="19025">
                  <c:v>0.68151918997481098</c:v>
                </c:pt>
                <c:pt idx="19026">
                  <c:v>0.73721071212069</c:v>
                </c:pt>
                <c:pt idx="19027">
                  <c:v>0.62835417552765804</c:v>
                </c:pt>
                <c:pt idx="19028">
                  <c:v>0.52154017131278596</c:v>
                </c:pt>
                <c:pt idx="19029">
                  <c:v>0.404444653609081</c:v>
                </c:pt>
                <c:pt idx="19030">
                  <c:v>0.202911571604767</c:v>
                </c:pt>
                <c:pt idx="19031">
                  <c:v>0.105244751030637</c:v>
                </c:pt>
                <c:pt idx="19032">
                  <c:v>-8.9793249943069097E-3</c:v>
                </c:pt>
                <c:pt idx="19033">
                  <c:v>-0.14164460238929</c:v>
                </c:pt>
                <c:pt idx="19034">
                  <c:v>-0.26206512714675001</c:v>
                </c:pt>
                <c:pt idx="19035">
                  <c:v>-0.37509066645371802</c:v>
                </c:pt>
                <c:pt idx="19036">
                  <c:v>-0.492423487758265</c:v>
                </c:pt>
                <c:pt idx="19037">
                  <c:v>-0.56016383593983399</c:v>
                </c:pt>
                <c:pt idx="19038">
                  <c:v>-0.617627891448285</c:v>
                </c:pt>
                <c:pt idx="19039">
                  <c:v>-0.70922156095751399</c:v>
                </c:pt>
                <c:pt idx="19040">
                  <c:v>-0.78433204742968199</c:v>
                </c:pt>
                <c:pt idx="19041">
                  <c:v>-0.90699247464666999</c:v>
                </c:pt>
                <c:pt idx="19042">
                  <c:v>-1.0067510528528201</c:v>
                </c:pt>
                <c:pt idx="19043">
                  <c:v>-1.01863577833356</c:v>
                </c:pt>
                <c:pt idx="19044">
                  <c:v>-1.0635557214864599</c:v>
                </c:pt>
                <c:pt idx="19045">
                  <c:v>-1.15602038456847</c:v>
                </c:pt>
                <c:pt idx="19046">
                  <c:v>-1.27313313938446</c:v>
                </c:pt>
                <c:pt idx="19047">
                  <c:v>-1.31562590300635</c:v>
                </c:pt>
                <c:pt idx="19048">
                  <c:v>-1.32727412616175</c:v>
                </c:pt>
                <c:pt idx="19049">
                  <c:v>-1.39463197794317</c:v>
                </c:pt>
                <c:pt idx="19050">
                  <c:v>-1.4082538818786801</c:v>
                </c:pt>
                <c:pt idx="19051">
                  <c:v>-1.3789815522059401</c:v>
                </c:pt>
                <c:pt idx="19052">
                  <c:v>-1.37865415463334</c:v>
                </c:pt>
                <c:pt idx="19053">
                  <c:v>-1.4257285529780399</c:v>
                </c:pt>
                <c:pt idx="19054">
                  <c:v>-1.45183247671154</c:v>
                </c:pt>
                <c:pt idx="19055">
                  <c:v>-1.409891527489129</c:v>
                </c:pt>
                <c:pt idx="19056">
                  <c:v>-1.4116006846475</c:v>
                </c:pt>
                <c:pt idx="19057">
                  <c:v>-1.3744175134501</c:v>
                </c:pt>
                <c:pt idx="19058">
                  <c:v>-1.3187138476532001</c:v>
                </c:pt>
                <c:pt idx="19059">
                  <c:v>-1.26716409821065</c:v>
                </c:pt>
                <c:pt idx="19060">
                  <c:v>-1.23836805295144</c:v>
                </c:pt>
                <c:pt idx="19061">
                  <c:v>-0.39302011840557399</c:v>
                </c:pt>
                <c:pt idx="19062">
                  <c:v>-0.15483584118268601</c:v>
                </c:pt>
                <c:pt idx="19063">
                  <c:v>-4.4485152650868401E-2</c:v>
                </c:pt>
                <c:pt idx="19064">
                  <c:v>8.6502635272367095E-2</c:v>
                </c:pt>
                <c:pt idx="19065">
                  <c:v>0.21129397446308701</c:v>
                </c:pt>
                <c:pt idx="19066">
                  <c:v>0.19886625534570501</c:v>
                </c:pt>
                <c:pt idx="19067">
                  <c:v>0.217431221522327</c:v>
                </c:pt>
                <c:pt idx="19068">
                  <c:v>0.26684072816544602</c:v>
                </c:pt>
                <c:pt idx="19069">
                  <c:v>0.30596872131973202</c:v>
                </c:pt>
                <c:pt idx="19070">
                  <c:v>0.31971254204632499</c:v>
                </c:pt>
                <c:pt idx="19071">
                  <c:v>0.33148790280851398</c:v>
                </c:pt>
                <c:pt idx="19072">
                  <c:v>0.30819073433609501</c:v>
                </c:pt>
                <c:pt idx="19073">
                  <c:v>0.25185834819151398</c:v>
                </c:pt>
                <c:pt idx="19074">
                  <c:v>0.25711751557548501</c:v>
                </c:pt>
                <c:pt idx="19075">
                  <c:v>0.32209730392804398</c:v>
                </c:pt>
                <c:pt idx="19076">
                  <c:v>0.370445764416034</c:v>
                </c:pt>
                <c:pt idx="19077">
                  <c:v>0.43096490512779301</c:v>
                </c:pt>
                <c:pt idx="19078">
                  <c:v>0.40465593243915099</c:v>
                </c:pt>
                <c:pt idx="19079">
                  <c:v>0.40722304025259998</c:v>
                </c:pt>
                <c:pt idx="19080">
                  <c:v>0.40155116695537502</c:v>
                </c:pt>
                <c:pt idx="19081">
                  <c:v>0.362844075985989</c:v>
                </c:pt>
                <c:pt idx="19082">
                  <c:v>0.37574191027064602</c:v>
                </c:pt>
                <c:pt idx="19083">
                  <c:v>0.40511770677665099</c:v>
                </c:pt>
                <c:pt idx="19084">
                  <c:v>0.331461371968786</c:v>
                </c:pt>
                <c:pt idx="19085">
                  <c:v>0.29469266071671202</c:v>
                </c:pt>
                <c:pt idx="19086">
                  <c:v>0.25257063114588102</c:v>
                </c:pt>
                <c:pt idx="19087">
                  <c:v>0.241213848812078</c:v>
                </c:pt>
                <c:pt idx="19088">
                  <c:v>0.200980985976183</c:v>
                </c:pt>
                <c:pt idx="19089">
                  <c:v>0.177226085361636</c:v>
                </c:pt>
                <c:pt idx="19090">
                  <c:v>0.108539937264808</c:v>
                </c:pt>
                <c:pt idx="19091">
                  <c:v>2.53390660953236E-2</c:v>
                </c:pt>
                <c:pt idx="19092">
                  <c:v>-5.98250442228518E-2</c:v>
                </c:pt>
                <c:pt idx="19093">
                  <c:v>-0.130627797111592</c:v>
                </c:pt>
                <c:pt idx="19094">
                  <c:v>-0.18178518264177199</c:v>
                </c:pt>
                <c:pt idx="19095">
                  <c:v>-0.27013170219847199</c:v>
                </c:pt>
                <c:pt idx="19096">
                  <c:v>-0.39370411663299998</c:v>
                </c:pt>
                <c:pt idx="19097">
                  <c:v>-0.54161789151506701</c:v>
                </c:pt>
                <c:pt idx="19098">
                  <c:v>-0.61046375581498402</c:v>
                </c:pt>
                <c:pt idx="19099">
                  <c:v>-0.64219455850213503</c:v>
                </c:pt>
                <c:pt idx="19100">
                  <c:v>-0.67596267275173105</c:v>
                </c:pt>
                <c:pt idx="19101">
                  <c:v>-0.70346026585505905</c:v>
                </c:pt>
                <c:pt idx="19102">
                  <c:v>-0.76814466305877704</c:v>
                </c:pt>
                <c:pt idx="19103">
                  <c:v>-0.82874399550617905</c:v>
                </c:pt>
                <c:pt idx="19104">
                  <c:v>-0.92434700559014904</c:v>
                </c:pt>
                <c:pt idx="19105">
                  <c:v>-0.97663328451312303</c:v>
                </c:pt>
                <c:pt idx="19106">
                  <c:v>-1.0128751641838101</c:v>
                </c:pt>
                <c:pt idx="19107">
                  <c:v>-1.0325650092193901</c:v>
                </c:pt>
                <c:pt idx="19108">
                  <c:v>-1.0295752224854</c:v>
                </c:pt>
                <c:pt idx="19109">
                  <c:v>-1.07806707560932</c:v>
                </c:pt>
                <c:pt idx="19110">
                  <c:v>-1.1644475942768899</c:v>
                </c:pt>
                <c:pt idx="19111">
                  <c:v>-1.21363897891794</c:v>
                </c:pt>
                <c:pt idx="19112">
                  <c:v>-1.0971997308903401</c:v>
                </c:pt>
                <c:pt idx="19113">
                  <c:v>-1.0856746006336699</c:v>
                </c:pt>
                <c:pt idx="19114">
                  <c:v>-1.074149470377</c:v>
                </c:pt>
                <c:pt idx="19115">
                  <c:v>-1.0972422983736501</c:v>
                </c:pt>
                <c:pt idx="19116">
                  <c:v>-1.1203351263703101</c:v>
                </c:pt>
                <c:pt idx="19117">
                  <c:v>-1.1434279543669601</c:v>
                </c:pt>
                <c:pt idx="19118">
                  <c:v>-1.18095621220681</c:v>
                </c:pt>
                <c:pt idx="19119">
                  <c:v>-1.14575944246966</c:v>
                </c:pt>
                <c:pt idx="19120">
                  <c:v>-1.10232369162185</c:v>
                </c:pt>
                <c:pt idx="19121">
                  <c:v>-1.06924352667661</c:v>
                </c:pt>
                <c:pt idx="19122">
                  <c:v>-1.0526413239527299</c:v>
                </c:pt>
                <c:pt idx="19123">
                  <c:v>-1.09689450452307</c:v>
                </c:pt>
                <c:pt idx="19124">
                  <c:v>-1.1287547876283801</c:v>
                </c:pt>
                <c:pt idx="19125">
                  <c:v>-1.1213834043290101</c:v>
                </c:pt>
                <c:pt idx="19126">
                  <c:v>-1.0707745830981099</c:v>
                </c:pt>
                <c:pt idx="19127">
                  <c:v>-1.08206819816438</c:v>
                </c:pt>
                <c:pt idx="19128">
                  <c:v>-1.0872394369119001</c:v>
                </c:pt>
                <c:pt idx="19129">
                  <c:v>-1.1500835434341301</c:v>
                </c:pt>
                <c:pt idx="19130">
                  <c:v>-1.17377527678115</c:v>
                </c:pt>
                <c:pt idx="19131">
                  <c:v>-1.1379949088847801</c:v>
                </c:pt>
                <c:pt idx="19132">
                  <c:v>-1.1351704654310999</c:v>
                </c:pt>
                <c:pt idx="19133">
                  <c:v>-1.1261495732449101</c:v>
                </c:pt>
                <c:pt idx="19134">
                  <c:v>-1.11720275347247</c:v>
                </c:pt>
                <c:pt idx="19135">
                  <c:v>-1.08319267350961</c:v>
                </c:pt>
                <c:pt idx="19136">
                  <c:v>-1.0615807118275</c:v>
                </c:pt>
                <c:pt idx="19137">
                  <c:v>-1.0110926696433</c:v>
                </c:pt>
                <c:pt idx="19138">
                  <c:v>-1.0101125865368901</c:v>
                </c:pt>
                <c:pt idx="19139">
                  <c:v>-0.90682832880245001</c:v>
                </c:pt>
                <c:pt idx="19140">
                  <c:v>-0.77263067900347104</c:v>
                </c:pt>
                <c:pt idx="19141">
                  <c:v>-0.65491099142583897</c:v>
                </c:pt>
                <c:pt idx="19142">
                  <c:v>-0.55782840323962501</c:v>
                </c:pt>
                <c:pt idx="19143">
                  <c:v>-0.56482683414898205</c:v>
                </c:pt>
                <c:pt idx="19144">
                  <c:v>-0.62957742606252398</c:v>
                </c:pt>
                <c:pt idx="19145">
                  <c:v>-0.66137209353337001</c:v>
                </c:pt>
                <c:pt idx="19146">
                  <c:v>-0.69105015621230403</c:v>
                </c:pt>
                <c:pt idx="19147">
                  <c:v>-0.71148693055129497</c:v>
                </c:pt>
                <c:pt idx="19148">
                  <c:v>-0.69269203848561001</c:v>
                </c:pt>
                <c:pt idx="19149">
                  <c:v>-0.66770069768740803</c:v>
                </c:pt>
                <c:pt idx="19150">
                  <c:v>-0.60771090006835404</c:v>
                </c:pt>
                <c:pt idx="19151">
                  <c:v>-0.53088403282713004</c:v>
                </c:pt>
                <c:pt idx="19152">
                  <c:v>-0.37982704236037701</c:v>
                </c:pt>
                <c:pt idx="19153">
                  <c:v>-0.18545332073262799</c:v>
                </c:pt>
                <c:pt idx="19154">
                  <c:v>-3.4317037036407198E-2</c:v>
                </c:pt>
                <c:pt idx="19155">
                  <c:v>5.8212202544584202E-2</c:v>
                </c:pt>
                <c:pt idx="19156">
                  <c:v>0.16933600913883501</c:v>
                </c:pt>
                <c:pt idx="19157">
                  <c:v>0.24742981887663701</c:v>
                </c:pt>
                <c:pt idx="19158">
                  <c:v>0.32136449144436802</c:v>
                </c:pt>
                <c:pt idx="19159">
                  <c:v>0.37898280738739998</c:v>
                </c:pt>
                <c:pt idx="19160">
                  <c:v>0.43047874701166899</c:v>
                </c:pt>
                <c:pt idx="19161">
                  <c:v>0.479784009430273</c:v>
                </c:pt>
                <c:pt idx="19162">
                  <c:v>0.520924363151957</c:v>
                </c:pt>
                <c:pt idx="19163">
                  <c:v>0.50477046118432201</c:v>
                </c:pt>
                <c:pt idx="19164">
                  <c:v>0.46397368829841901</c:v>
                </c:pt>
                <c:pt idx="19165">
                  <c:v>0.410704724718018</c:v>
                </c:pt>
                <c:pt idx="19166">
                  <c:v>0.39477826080735801</c:v>
                </c:pt>
                <c:pt idx="19167">
                  <c:v>0.43606603667372801</c:v>
                </c:pt>
                <c:pt idx="19168">
                  <c:v>0.44046699966540398</c:v>
                </c:pt>
                <c:pt idx="19169">
                  <c:v>0.446904463538429</c:v>
                </c:pt>
                <c:pt idx="19170">
                  <c:v>0.60785047776752399</c:v>
                </c:pt>
                <c:pt idx="19171">
                  <c:v>0.62716199888074398</c:v>
                </c:pt>
                <c:pt idx="19172">
                  <c:v>0.60081796679979504</c:v>
                </c:pt>
                <c:pt idx="19173">
                  <c:v>0.59518510652401901</c:v>
                </c:pt>
                <c:pt idx="19174">
                  <c:v>0.59567462256700399</c:v>
                </c:pt>
                <c:pt idx="19175">
                  <c:v>0.44840217721440001</c:v>
                </c:pt>
                <c:pt idx="19176">
                  <c:v>0.61271831347979899</c:v>
                </c:pt>
                <c:pt idx="19177">
                  <c:v>0.63688725681856195</c:v>
                </c:pt>
                <c:pt idx="19178">
                  <c:v>0.60935234305815</c:v>
                </c:pt>
                <c:pt idx="19179">
                  <c:v>0.63091952512865301</c:v>
                </c:pt>
                <c:pt idx="19180">
                  <c:v>0.67130871226939204</c:v>
                </c:pt>
                <c:pt idx="19181">
                  <c:v>0.64759592403021005</c:v>
                </c:pt>
                <c:pt idx="19182">
                  <c:v>0.79313384727672998</c:v>
                </c:pt>
                <c:pt idx="19183">
                  <c:v>0.53260298706178799</c:v>
                </c:pt>
                <c:pt idx="19184">
                  <c:v>0.44132283833254898</c:v>
                </c:pt>
                <c:pt idx="19185">
                  <c:v>0.33757049890881102</c:v>
                </c:pt>
                <c:pt idx="19186">
                  <c:v>0.31840386861318998</c:v>
                </c:pt>
                <c:pt idx="19187">
                  <c:v>0.115706479749625</c:v>
                </c:pt>
                <c:pt idx="19188">
                  <c:v>-2.0920473769615901E-2</c:v>
                </c:pt>
                <c:pt idx="19189">
                  <c:v>-4.6128170036805902E-2</c:v>
                </c:pt>
                <c:pt idx="19190">
                  <c:v>-0.31481148019951499</c:v>
                </c:pt>
                <c:pt idx="19191">
                  <c:v>-0.43182223435839301</c:v>
                </c:pt>
                <c:pt idx="19192">
                  <c:v>-0.42093054822815901</c:v>
                </c:pt>
                <c:pt idx="19193">
                  <c:v>-0.51526167061745998</c:v>
                </c:pt>
                <c:pt idx="19194">
                  <c:v>-0.60535958342293705</c:v>
                </c:pt>
                <c:pt idx="19195">
                  <c:v>-0.59369395274509695</c:v>
                </c:pt>
                <c:pt idx="19196">
                  <c:v>-0.72428689897009002</c:v>
                </c:pt>
                <c:pt idx="19197">
                  <c:v>-0.75593277863753106</c:v>
                </c:pt>
                <c:pt idx="19198">
                  <c:v>-0.86596269788485902</c:v>
                </c:pt>
                <c:pt idx="19199">
                  <c:v>-0.92974831402360303</c:v>
                </c:pt>
                <c:pt idx="19200">
                  <c:v>-0.85951955518589995</c:v>
                </c:pt>
                <c:pt idx="19201">
                  <c:v>-0.90478989754085104</c:v>
                </c:pt>
                <c:pt idx="19202">
                  <c:v>-0.98301094352278295</c:v>
                </c:pt>
                <c:pt idx="19203">
                  <c:v>-1.0154594409101201</c:v>
                </c:pt>
                <c:pt idx="19204">
                  <c:v>-1.13248842660986</c:v>
                </c:pt>
                <c:pt idx="19205">
                  <c:v>-1.19592438847549</c:v>
                </c:pt>
                <c:pt idx="19206">
                  <c:v>-1.16654088091804</c:v>
                </c:pt>
                <c:pt idx="19207">
                  <c:v>-1.1926161866635501</c:v>
                </c:pt>
                <c:pt idx="19208">
                  <c:v>-1.08059727349201</c:v>
                </c:pt>
                <c:pt idx="19209">
                  <c:v>-1.1726585005366601</c:v>
                </c:pt>
                <c:pt idx="19210">
                  <c:v>-1.229721270760459</c:v>
                </c:pt>
                <c:pt idx="19211">
                  <c:v>-1.28575826054827</c:v>
                </c:pt>
                <c:pt idx="19212">
                  <c:v>-1.3685495052305501</c:v>
                </c:pt>
                <c:pt idx="19213">
                  <c:v>-1.40394939562694</c:v>
                </c:pt>
                <c:pt idx="19214">
                  <c:v>-1.4269563885583101</c:v>
                </c:pt>
                <c:pt idx="19215">
                  <c:v>-1.431326217294639</c:v>
                </c:pt>
                <c:pt idx="19216">
                  <c:v>-1.4378126508228899</c:v>
                </c:pt>
                <c:pt idx="19217">
                  <c:v>-1.4133063990571291</c:v>
                </c:pt>
                <c:pt idx="19218">
                  <c:v>-1.36824756194514</c:v>
                </c:pt>
                <c:pt idx="19219">
                  <c:v>-1.36867981365617</c:v>
                </c:pt>
                <c:pt idx="19220">
                  <c:v>-1.3917864763210599</c:v>
                </c:pt>
                <c:pt idx="19221">
                  <c:v>-1.3551088872350301</c:v>
                </c:pt>
                <c:pt idx="19222">
                  <c:v>-1.3534986065679</c:v>
                </c:pt>
                <c:pt idx="19223">
                  <c:v>-1.34387622235724</c:v>
                </c:pt>
                <c:pt idx="19224">
                  <c:v>-1.33221130576842</c:v>
                </c:pt>
                <c:pt idx="19225">
                  <c:v>-1.33082790266843</c:v>
                </c:pt>
                <c:pt idx="19226">
                  <c:v>-1.29648857512574</c:v>
                </c:pt>
                <c:pt idx="19227">
                  <c:v>-1.3245210783789201</c:v>
                </c:pt>
                <c:pt idx="19228">
                  <c:v>-1.31339598764117</c:v>
                </c:pt>
                <c:pt idx="19229">
                  <c:v>-1.30643525488921</c:v>
                </c:pt>
                <c:pt idx="19230">
                  <c:v>-1.2994693013215299</c:v>
                </c:pt>
                <c:pt idx="19231">
                  <c:v>-1.29028015881679</c:v>
                </c:pt>
                <c:pt idx="19232">
                  <c:v>-1.2358162668180801</c:v>
                </c:pt>
                <c:pt idx="19233">
                  <c:v>-1.12156812306845</c:v>
                </c:pt>
                <c:pt idx="19234">
                  <c:v>-1.1371752171252001</c:v>
                </c:pt>
                <c:pt idx="19235">
                  <c:v>-1.03697659836653</c:v>
                </c:pt>
                <c:pt idx="19236">
                  <c:v>-0.97388782040490596</c:v>
                </c:pt>
                <c:pt idx="19237">
                  <c:v>-0.85516870704672698</c:v>
                </c:pt>
                <c:pt idx="19238">
                  <c:v>-0.73024792414032003</c:v>
                </c:pt>
                <c:pt idx="19239">
                  <c:v>3.83288508304475E-2</c:v>
                </c:pt>
                <c:pt idx="19240">
                  <c:v>0.17784874025793401</c:v>
                </c:pt>
                <c:pt idx="19241">
                  <c:v>0.40406572278973801</c:v>
                </c:pt>
                <c:pt idx="19242">
                  <c:v>0.50654984383392698</c:v>
                </c:pt>
                <c:pt idx="19243">
                  <c:v>0.60699143249995802</c:v>
                </c:pt>
                <c:pt idx="19244">
                  <c:v>0.67970032802724201</c:v>
                </c:pt>
                <c:pt idx="19245">
                  <c:v>0.752409223554525</c:v>
                </c:pt>
                <c:pt idx="19246">
                  <c:v>0.80659762448230299</c:v>
                </c:pt>
                <c:pt idx="19247">
                  <c:v>0.84839312794504995</c:v>
                </c:pt>
                <c:pt idx="19248">
                  <c:v>0.90115306008567697</c:v>
                </c:pt>
                <c:pt idx="19249">
                  <c:v>0.90863824273233196</c:v>
                </c:pt>
                <c:pt idx="19250">
                  <c:v>0.87885499812300105</c:v>
                </c:pt>
                <c:pt idx="19251">
                  <c:v>0.92345524238242205</c:v>
                </c:pt>
                <c:pt idx="19252">
                  <c:v>0.82713004885986796</c:v>
                </c:pt>
                <c:pt idx="19253">
                  <c:v>0.74524550599621597</c:v>
                </c:pt>
                <c:pt idx="19254">
                  <c:v>0.86352506668280404</c:v>
                </c:pt>
                <c:pt idx="19255">
                  <c:v>0.64950487394621603</c:v>
                </c:pt>
                <c:pt idx="19256">
                  <c:v>0.93211757228250702</c:v>
                </c:pt>
                <c:pt idx="19257">
                  <c:v>0.72149285923435003</c:v>
                </c:pt>
                <c:pt idx="19258">
                  <c:v>0.894723611881036</c:v>
                </c:pt>
                <c:pt idx="19259">
                  <c:v>0.78108272624174002</c:v>
                </c:pt>
                <c:pt idx="19260">
                  <c:v>0.86797568166435801</c:v>
                </c:pt>
                <c:pt idx="19261">
                  <c:v>0.76301758706116596</c:v>
                </c:pt>
                <c:pt idx="19262">
                  <c:v>0.84598406418640304</c:v>
                </c:pt>
                <c:pt idx="19263">
                  <c:v>0.83377658740824701</c:v>
                </c:pt>
                <c:pt idx="19264">
                  <c:v>0.80947088835594805</c:v>
                </c:pt>
                <c:pt idx="19265">
                  <c:v>0.97709553255892601</c:v>
                </c:pt>
                <c:pt idx="19266">
                  <c:v>0.75866881304568201</c:v>
                </c:pt>
                <c:pt idx="19267">
                  <c:v>0.53117706355794803</c:v>
                </c:pt>
                <c:pt idx="19268">
                  <c:v>0.463387531297064</c:v>
                </c:pt>
                <c:pt idx="19269">
                  <c:v>0.35016466308327199</c:v>
                </c:pt>
                <c:pt idx="19270">
                  <c:v>0.234825190077569</c:v>
                </c:pt>
                <c:pt idx="19271">
                  <c:v>0.10512435964243</c:v>
                </c:pt>
                <c:pt idx="19272">
                  <c:v>-7.0339621057451507E-2</c:v>
                </c:pt>
                <c:pt idx="19273">
                  <c:v>-0.24195119587370401</c:v>
                </c:pt>
                <c:pt idx="19274">
                  <c:v>-0.446597988362119</c:v>
                </c:pt>
                <c:pt idx="19275">
                  <c:v>-0.63264499302156096</c:v>
                </c:pt>
                <c:pt idx="19276">
                  <c:v>-0.63096301155796497</c:v>
                </c:pt>
                <c:pt idx="19277">
                  <c:v>-0.59412920763029498</c:v>
                </c:pt>
                <c:pt idx="19278">
                  <c:v>-0.56553438481329799</c:v>
                </c:pt>
                <c:pt idx="19279">
                  <c:v>-0.518419067396795</c:v>
                </c:pt>
                <c:pt idx="19280">
                  <c:v>-0.53310082750520804</c:v>
                </c:pt>
                <c:pt idx="19281">
                  <c:v>-0.48713574128889497</c:v>
                </c:pt>
                <c:pt idx="19282">
                  <c:v>-0.56568681790453901</c:v>
                </c:pt>
                <c:pt idx="19283">
                  <c:v>-0.52873879332752904</c:v>
                </c:pt>
                <c:pt idx="19284">
                  <c:v>-0.65482400499552695</c:v>
                </c:pt>
                <c:pt idx="19285">
                  <c:v>-0.67569162895970203</c:v>
                </c:pt>
                <c:pt idx="19286">
                  <c:v>-0.78318227361444004</c:v>
                </c:pt>
                <c:pt idx="19287">
                  <c:v>-0.75038280133074797</c:v>
                </c:pt>
                <c:pt idx="19288">
                  <c:v>-0.91261848394205103</c:v>
                </c:pt>
                <c:pt idx="19289">
                  <c:v>-0.97787555996020403</c:v>
                </c:pt>
                <c:pt idx="19290">
                  <c:v>-1.0266546737570099</c:v>
                </c:pt>
                <c:pt idx="19291">
                  <c:v>-1.0857153010426499</c:v>
                </c:pt>
                <c:pt idx="19292">
                  <c:v>-1.0252021675673499</c:v>
                </c:pt>
                <c:pt idx="19293">
                  <c:v>-1.0656734122120499</c:v>
                </c:pt>
                <c:pt idx="19294">
                  <c:v>-1.09170400619785</c:v>
                </c:pt>
                <c:pt idx="19295">
                  <c:v>-1.0971767940217001</c:v>
                </c:pt>
                <c:pt idx="19296">
                  <c:v>-1.1677681647760301</c:v>
                </c:pt>
                <c:pt idx="19297">
                  <c:v>-1.23427969158975</c:v>
                </c:pt>
                <c:pt idx="19298">
                  <c:v>-1.2821966513902201</c:v>
                </c:pt>
                <c:pt idx="19299">
                  <c:v>-1.34659157341203</c:v>
                </c:pt>
                <c:pt idx="19300">
                  <c:v>-1.337921385179959</c:v>
                </c:pt>
                <c:pt idx="19301">
                  <c:v>-1.26946694519698</c:v>
                </c:pt>
                <c:pt idx="19302">
                  <c:v>-1.2566428406105601</c:v>
                </c:pt>
                <c:pt idx="19303">
                  <c:v>-1.3447978933284199</c:v>
                </c:pt>
                <c:pt idx="19304">
                  <c:v>-1.3945458071925101</c:v>
                </c:pt>
                <c:pt idx="19305">
                  <c:v>-1.41950270531083</c:v>
                </c:pt>
                <c:pt idx="19306">
                  <c:v>-1.4588950332723301</c:v>
                </c:pt>
                <c:pt idx="19307">
                  <c:v>-1.48800584774501</c:v>
                </c:pt>
                <c:pt idx="19308">
                  <c:v>-1.3226221905276601</c:v>
                </c:pt>
                <c:pt idx="19309">
                  <c:v>-1.43138443876625</c:v>
                </c:pt>
                <c:pt idx="19310">
                  <c:v>-1.46387925221687</c:v>
                </c:pt>
                <c:pt idx="19311">
                  <c:v>-1.47989610344614</c:v>
                </c:pt>
                <c:pt idx="19312">
                  <c:v>-1.5132141308095299</c:v>
                </c:pt>
                <c:pt idx="19313">
                  <c:v>-1.5630101203942699</c:v>
                </c:pt>
                <c:pt idx="19314">
                  <c:v>-1.5633722233149601</c:v>
                </c:pt>
                <c:pt idx="19315">
                  <c:v>-1.5946477183001899</c:v>
                </c:pt>
                <c:pt idx="19316">
                  <c:v>-1.5726913997780101</c:v>
                </c:pt>
                <c:pt idx="19317">
                  <c:v>-1.5486925488776599</c:v>
                </c:pt>
                <c:pt idx="19318">
                  <c:v>-1.53293267908799</c:v>
                </c:pt>
                <c:pt idx="19319">
                  <c:v>-1.56456416358421</c:v>
                </c:pt>
                <c:pt idx="19320">
                  <c:v>-1.5066458221689201</c:v>
                </c:pt>
                <c:pt idx="19321">
                  <c:v>-1.47964087281818</c:v>
                </c:pt>
                <c:pt idx="19322">
                  <c:v>-1.43199882407601</c:v>
                </c:pt>
                <c:pt idx="19323">
                  <c:v>-0.70191188119958303</c:v>
                </c:pt>
                <c:pt idx="19324">
                  <c:v>-0.41088745543156302</c:v>
                </c:pt>
                <c:pt idx="19325">
                  <c:v>-0.34439374985962701</c:v>
                </c:pt>
                <c:pt idx="19326">
                  <c:v>-0.35008763513506402</c:v>
                </c:pt>
                <c:pt idx="19327">
                  <c:v>-0.29190698308755703</c:v>
                </c:pt>
                <c:pt idx="19328">
                  <c:v>-0.27280463180150599</c:v>
                </c:pt>
                <c:pt idx="19329">
                  <c:v>-0.17630728053584399</c:v>
                </c:pt>
                <c:pt idx="19330">
                  <c:v>-0.129317888347978</c:v>
                </c:pt>
                <c:pt idx="19331">
                  <c:v>7.8598720169733599E-2</c:v>
                </c:pt>
                <c:pt idx="19332">
                  <c:v>0.14017690784400899</c:v>
                </c:pt>
                <c:pt idx="19333">
                  <c:v>0.18097577129251599</c:v>
                </c:pt>
                <c:pt idx="19334">
                  <c:v>0.14761858392924301</c:v>
                </c:pt>
                <c:pt idx="19335">
                  <c:v>0.26272164301703399</c:v>
                </c:pt>
                <c:pt idx="19336">
                  <c:v>0.23964596914259501</c:v>
                </c:pt>
                <c:pt idx="19337">
                  <c:v>0.29925821177447198</c:v>
                </c:pt>
                <c:pt idx="19338">
                  <c:v>0.37950755379776802</c:v>
                </c:pt>
                <c:pt idx="19339">
                  <c:v>0.36277306841220203</c:v>
                </c:pt>
                <c:pt idx="19340">
                  <c:v>0.34603858302663598</c:v>
                </c:pt>
                <c:pt idx="19341">
                  <c:v>0.28841637730726399</c:v>
                </c:pt>
                <c:pt idx="19342">
                  <c:v>0.23079417158789201</c:v>
                </c:pt>
                <c:pt idx="19343">
                  <c:v>0.17317196586851999</c:v>
                </c:pt>
                <c:pt idx="19344">
                  <c:v>0.115549760149148</c:v>
                </c:pt>
                <c:pt idx="19345">
                  <c:v>6.2590836002714603E-2</c:v>
                </c:pt>
                <c:pt idx="19346">
                  <c:v>9.6319118562807598E-3</c:v>
                </c:pt>
                <c:pt idx="19347">
                  <c:v>-4.3327012290152997E-2</c:v>
                </c:pt>
                <c:pt idx="19348">
                  <c:v>-9.6285936436586797E-2</c:v>
                </c:pt>
                <c:pt idx="19349">
                  <c:v>-5.96408508001477E-2</c:v>
                </c:pt>
                <c:pt idx="19350">
                  <c:v>-2.2995765163708801E-2</c:v>
                </c:pt>
                <c:pt idx="19351">
                  <c:v>1.36493204727302E-2</c:v>
                </c:pt>
                <c:pt idx="19352">
                  <c:v>5.0294406109169201E-2</c:v>
                </c:pt>
                <c:pt idx="19353">
                  <c:v>2.3312598597592601E-2</c:v>
                </c:pt>
                <c:pt idx="19354">
                  <c:v>-7.4264733362531907E-2</c:v>
                </c:pt>
                <c:pt idx="19355">
                  <c:v>-0.14463734444885701</c:v>
                </c:pt>
                <c:pt idx="19356">
                  <c:v>-0.24592856841543201</c:v>
                </c:pt>
                <c:pt idx="19357">
                  <c:v>-0.33227145812291498</c:v>
                </c:pt>
                <c:pt idx="19358">
                  <c:v>-0.41060280477670003</c:v>
                </c:pt>
                <c:pt idx="19359">
                  <c:v>-0.49105075622239702</c:v>
                </c:pt>
                <c:pt idx="19360">
                  <c:v>-0.62925086867227797</c:v>
                </c:pt>
                <c:pt idx="19361">
                  <c:v>-0.71986957723029998</c:v>
                </c:pt>
                <c:pt idx="19362">
                  <c:v>-0.820616433633933</c:v>
                </c:pt>
                <c:pt idx="19363">
                  <c:v>-0.88220569604664201</c:v>
                </c:pt>
                <c:pt idx="19364">
                  <c:v>-0.89639838335775401</c:v>
                </c:pt>
                <c:pt idx="19365">
                  <c:v>-0.899097901036919</c:v>
                </c:pt>
                <c:pt idx="19366">
                  <c:v>-0.941029085120763</c:v>
                </c:pt>
                <c:pt idx="19367">
                  <c:v>-1.00752906770912</c:v>
                </c:pt>
                <c:pt idx="19368">
                  <c:v>-0.97916182768052995</c:v>
                </c:pt>
                <c:pt idx="19369">
                  <c:v>-1.0525918739367499</c:v>
                </c:pt>
                <c:pt idx="19370">
                  <c:v>-1.0578401008724501</c:v>
                </c:pt>
                <c:pt idx="19371">
                  <c:v>-1.04252530083049</c:v>
                </c:pt>
                <c:pt idx="19372">
                  <c:v>-1.04165115144743</c:v>
                </c:pt>
                <c:pt idx="19373">
                  <c:v>-1.0942620628667299</c:v>
                </c:pt>
                <c:pt idx="19374">
                  <c:v>-1.17567498237436</c:v>
                </c:pt>
                <c:pt idx="19375">
                  <c:v>-1.22828589379366</c:v>
                </c:pt>
                <c:pt idx="19376">
                  <c:v>-1.2301297854140101</c:v>
                </c:pt>
                <c:pt idx="19377">
                  <c:v>-1.2213819686338201</c:v>
                </c:pt>
                <c:pt idx="19378">
                  <c:v>-1.1961561896322901</c:v>
                </c:pt>
                <c:pt idx="19379">
                  <c:v>-1.12761890028547</c:v>
                </c:pt>
                <c:pt idx="19380">
                  <c:v>-1.1003505889057701</c:v>
                </c:pt>
                <c:pt idx="19381">
                  <c:v>-1.03436466760663</c:v>
                </c:pt>
                <c:pt idx="19382">
                  <c:v>-1.15598092430233</c:v>
                </c:pt>
                <c:pt idx="19383">
                  <c:v>-1.23640227544466</c:v>
                </c:pt>
                <c:pt idx="19384">
                  <c:v>-1.58682367186825</c:v>
                </c:pt>
                <c:pt idx="19385">
                  <c:v>-1.55915622606091</c:v>
                </c:pt>
                <c:pt idx="19386">
                  <c:v>-1.5541631912074401</c:v>
                </c:pt>
                <c:pt idx="19387">
                  <c:v>-1.5491701563539599</c:v>
                </c:pt>
                <c:pt idx="19388">
                  <c:v>-1.5977649245188801</c:v>
                </c:pt>
                <c:pt idx="19389">
                  <c:v>-1.6346865676336599</c:v>
                </c:pt>
                <c:pt idx="19390">
                  <c:v>-1.66336922963777</c:v>
                </c:pt>
                <c:pt idx="19391">
                  <c:v>-1.7085298538632201</c:v>
                </c:pt>
                <c:pt idx="19392">
                  <c:v>-1.7124955725352999</c:v>
                </c:pt>
                <c:pt idx="19393">
                  <c:v>-1.7050647768595499</c:v>
                </c:pt>
                <c:pt idx="19394">
                  <c:v>-1.74713671944587</c:v>
                </c:pt>
                <c:pt idx="19395">
                  <c:v>-1.7665342510783399</c:v>
                </c:pt>
                <c:pt idx="19396">
                  <c:v>-1.80445227731031</c:v>
                </c:pt>
                <c:pt idx="19397">
                  <c:v>-1.8172559009798399</c:v>
                </c:pt>
                <c:pt idx="19398">
                  <c:v>-1.8156240948061799</c:v>
                </c:pt>
                <c:pt idx="19399">
                  <c:v>-1.8139922886325299</c:v>
                </c:pt>
                <c:pt idx="19400">
                  <c:v>-0.81312826809701999</c:v>
                </c:pt>
                <c:pt idx="19401">
                  <c:v>-0.64506083129569103</c:v>
                </c:pt>
                <c:pt idx="19402">
                  <c:v>-0.456282222689191</c:v>
                </c:pt>
                <c:pt idx="19403">
                  <c:v>-0.23658500120244</c:v>
                </c:pt>
                <c:pt idx="19404">
                  <c:v>-2.00017497627243E-2</c:v>
                </c:pt>
                <c:pt idx="19405">
                  <c:v>1.2826508750061199E-2</c:v>
                </c:pt>
                <c:pt idx="19406">
                  <c:v>7.0371710594867104E-2</c:v>
                </c:pt>
                <c:pt idx="19407">
                  <c:v>8.6642713656837497E-2</c:v>
                </c:pt>
                <c:pt idx="19408">
                  <c:v>0.14239432928948201</c:v>
                </c:pt>
                <c:pt idx="19409">
                  <c:v>0.15679767372553699</c:v>
                </c:pt>
                <c:pt idx="19410">
                  <c:v>0.19607132713683401</c:v>
                </c:pt>
                <c:pt idx="19411">
                  <c:v>0.222946862267386</c:v>
                </c:pt>
                <c:pt idx="19412">
                  <c:v>0.185106930930621</c:v>
                </c:pt>
                <c:pt idx="19413">
                  <c:v>0.190578509939136</c:v>
                </c:pt>
                <c:pt idx="19414">
                  <c:v>0.34474299427140198</c:v>
                </c:pt>
                <c:pt idx="19415">
                  <c:v>0.193361980074959</c:v>
                </c:pt>
                <c:pt idx="19416">
                  <c:v>0.204286159885673</c:v>
                </c:pt>
                <c:pt idx="19417">
                  <c:v>0.36601984981205099</c:v>
                </c:pt>
                <c:pt idx="19418">
                  <c:v>0.30891035512975001</c:v>
                </c:pt>
                <c:pt idx="19419">
                  <c:v>9.2831662450578195E-2</c:v>
                </c:pt>
                <c:pt idx="19420">
                  <c:v>5.5611383358297101E-2</c:v>
                </c:pt>
                <c:pt idx="19421">
                  <c:v>0.129889654747536</c:v>
                </c:pt>
                <c:pt idx="19422">
                  <c:v>0.164936259732095</c:v>
                </c:pt>
                <c:pt idx="19423">
                  <c:v>0.20421607430048</c:v>
                </c:pt>
                <c:pt idx="19424">
                  <c:v>0.142538637970892</c:v>
                </c:pt>
                <c:pt idx="19425">
                  <c:v>7.2775586173851298E-2</c:v>
                </c:pt>
                <c:pt idx="19426">
                  <c:v>0.18450799850003499</c:v>
                </c:pt>
                <c:pt idx="19427">
                  <c:v>0.139461890035016</c:v>
                </c:pt>
                <c:pt idx="19428">
                  <c:v>0.25169104967701</c:v>
                </c:pt>
                <c:pt idx="19429">
                  <c:v>0.14711955708848501</c:v>
                </c:pt>
                <c:pt idx="19430">
                  <c:v>0.116857480954957</c:v>
                </c:pt>
                <c:pt idx="19431">
                  <c:v>0.117588090115434</c:v>
                </c:pt>
                <c:pt idx="19432">
                  <c:v>7.7487083701107101E-2</c:v>
                </c:pt>
                <c:pt idx="19433">
                  <c:v>2.3135480521733198E-3</c:v>
                </c:pt>
                <c:pt idx="19434">
                  <c:v>5.5292727988403003E-3</c:v>
                </c:pt>
                <c:pt idx="19435">
                  <c:v>-9.0281362241511606E-2</c:v>
                </c:pt>
                <c:pt idx="19436">
                  <c:v>-0.21785641216082199</c:v>
                </c:pt>
                <c:pt idx="19437">
                  <c:v>-0.30627386808920898</c:v>
                </c:pt>
                <c:pt idx="19438">
                  <c:v>-0.36982101504235299</c:v>
                </c:pt>
                <c:pt idx="19439">
                  <c:v>-0.43548476678740899</c:v>
                </c:pt>
                <c:pt idx="19440">
                  <c:v>-0.49662965947812698</c:v>
                </c:pt>
                <c:pt idx="19441">
                  <c:v>-0.56601353327951898</c:v>
                </c:pt>
                <c:pt idx="19442">
                  <c:v>-0.61891944485956296</c:v>
                </c:pt>
                <c:pt idx="19443">
                  <c:v>-0.68626078628279596</c:v>
                </c:pt>
                <c:pt idx="19444">
                  <c:v>-0.77496401207806798</c:v>
                </c:pt>
                <c:pt idx="19445">
                  <c:v>-0.72345119334866503</c:v>
                </c:pt>
                <c:pt idx="19446">
                  <c:v>-0.84511034358663295</c:v>
                </c:pt>
                <c:pt idx="19447">
                  <c:v>-0.783241938954644</c:v>
                </c:pt>
                <c:pt idx="19448">
                  <c:v>-0.93291293138503395</c:v>
                </c:pt>
                <c:pt idx="19449">
                  <c:v>-0.92793244944756004</c:v>
                </c:pt>
                <c:pt idx="19450">
                  <c:v>-1.0074583834087401</c:v>
                </c:pt>
                <c:pt idx="19451">
                  <c:v>-1.10557888438317</c:v>
                </c:pt>
                <c:pt idx="19452">
                  <c:v>-1.1738524828172301</c:v>
                </c:pt>
                <c:pt idx="19453">
                  <c:v>-1.17818269233031</c:v>
                </c:pt>
                <c:pt idx="19454">
                  <c:v>-1.1000490183228899</c:v>
                </c:pt>
                <c:pt idx="19455">
                  <c:v>-1.21571397104284</c:v>
                </c:pt>
                <c:pt idx="19456">
                  <c:v>-1.26514788722321</c:v>
                </c:pt>
                <c:pt idx="19457">
                  <c:v>-1.3207782521361</c:v>
                </c:pt>
                <c:pt idx="19458">
                  <c:v>-1.39281250685658</c:v>
                </c:pt>
                <c:pt idx="19459">
                  <c:v>-1.41548172651106</c:v>
                </c:pt>
                <c:pt idx="19460">
                  <c:v>-1.4082463344055101</c:v>
                </c:pt>
                <c:pt idx="19461">
                  <c:v>-1.37833653134611</c:v>
                </c:pt>
                <c:pt idx="19462">
                  <c:v>-1.2948389252682999</c:v>
                </c:pt>
                <c:pt idx="19463">
                  <c:v>-1.3185169252272999</c:v>
                </c:pt>
                <c:pt idx="19464">
                  <c:v>-1.37020251273801</c:v>
                </c:pt>
                <c:pt idx="19465">
                  <c:v>-1.40133029408676</c:v>
                </c:pt>
                <c:pt idx="19466">
                  <c:v>-1.4612496418924299</c:v>
                </c:pt>
                <c:pt idx="19467">
                  <c:v>-1.4696977914716101</c:v>
                </c:pt>
                <c:pt idx="19468">
                  <c:v>-1.4522352673377401</c:v>
                </c:pt>
                <c:pt idx="19469">
                  <c:v>-1.3317510535214301</c:v>
                </c:pt>
                <c:pt idx="19470">
                  <c:v>-1.4152676866918501</c:v>
                </c:pt>
                <c:pt idx="19471">
                  <c:v>-1.4575894143089001</c:v>
                </c:pt>
                <c:pt idx="19472">
                  <c:v>-1.4247636942996891</c:v>
                </c:pt>
                <c:pt idx="19473">
                  <c:v>0.130797866041374</c:v>
                </c:pt>
                <c:pt idx="19474">
                  <c:v>0.50976120232889899</c:v>
                </c:pt>
                <c:pt idx="19475">
                  <c:v>-0.32189177493621601</c:v>
                </c:pt>
                <c:pt idx="19476">
                  <c:v>-0.18913006713231401</c:v>
                </c:pt>
                <c:pt idx="19477">
                  <c:v>5.6170112595956296E-3</c:v>
                </c:pt>
                <c:pt idx="19478">
                  <c:v>0.20846014675038499</c:v>
                </c:pt>
                <c:pt idx="19479">
                  <c:v>0.39658130898628502</c:v>
                </c:pt>
                <c:pt idx="19480">
                  <c:v>0.53103015415860499</c:v>
                </c:pt>
                <c:pt idx="19481">
                  <c:v>0.611811903083057</c:v>
                </c:pt>
                <c:pt idx="19482">
                  <c:v>0.671956552616092</c:v>
                </c:pt>
                <c:pt idx="19483">
                  <c:v>0.93132323292611496</c:v>
                </c:pt>
                <c:pt idx="19484">
                  <c:v>0.86851749697747804</c:v>
                </c:pt>
                <c:pt idx="19485">
                  <c:v>0.83670444632284602</c:v>
                </c:pt>
                <c:pt idx="19486">
                  <c:v>0.813130376778887</c:v>
                </c:pt>
                <c:pt idx="19487">
                  <c:v>0.96285485615162902</c:v>
                </c:pt>
                <c:pt idx="19488">
                  <c:v>0.96608232822200002</c:v>
                </c:pt>
                <c:pt idx="19489">
                  <c:v>0.98783029489187602</c:v>
                </c:pt>
                <c:pt idx="19490">
                  <c:v>0.98894116217033501</c:v>
                </c:pt>
                <c:pt idx="19491">
                  <c:v>0.95322957579448797</c:v>
                </c:pt>
                <c:pt idx="19492">
                  <c:v>0.88251953259778704</c:v>
                </c:pt>
                <c:pt idx="19493">
                  <c:v>0.844691341430028</c:v>
                </c:pt>
                <c:pt idx="19494">
                  <c:v>0.84624818231016796</c:v>
                </c:pt>
                <c:pt idx="19495">
                  <c:v>0.97496701199393399</c:v>
                </c:pt>
                <c:pt idx="19496">
                  <c:v>0.96731698222094098</c:v>
                </c:pt>
                <c:pt idx="19497">
                  <c:v>1.0195357182440401</c:v>
                </c:pt>
                <c:pt idx="19498">
                  <c:v>0.98112044123401998</c:v>
                </c:pt>
                <c:pt idx="19499">
                  <c:v>0.94358133936562705</c:v>
                </c:pt>
                <c:pt idx="19500">
                  <c:v>0.951475573450142</c:v>
                </c:pt>
                <c:pt idx="19501">
                  <c:v>1.12053490355291</c:v>
                </c:pt>
                <c:pt idx="19502">
                  <c:v>0.940657931552213</c:v>
                </c:pt>
                <c:pt idx="19503">
                  <c:v>0.56645403922201498</c:v>
                </c:pt>
                <c:pt idx="19504">
                  <c:v>0.46747042253140297</c:v>
                </c:pt>
                <c:pt idx="19505">
                  <c:v>0.38912390523220902</c:v>
                </c:pt>
                <c:pt idx="19506">
                  <c:v>0.32105890142184701</c:v>
                </c:pt>
                <c:pt idx="19507">
                  <c:v>0.236930724688275</c:v>
                </c:pt>
                <c:pt idx="19508">
                  <c:v>7.4640725616075099E-2</c:v>
                </c:pt>
                <c:pt idx="19509">
                  <c:v>-1.16040559094104E-2</c:v>
                </c:pt>
                <c:pt idx="19510">
                  <c:v>-0.13496389904766101</c:v>
                </c:pt>
                <c:pt idx="19511">
                  <c:v>-0.18610904292712599</c:v>
                </c:pt>
                <c:pt idx="19512">
                  <c:v>-0.22092436941275301</c:v>
                </c:pt>
                <c:pt idx="19513">
                  <c:v>-0.29671238421048501</c:v>
                </c:pt>
                <c:pt idx="19514">
                  <c:v>-0.296153670990775</c:v>
                </c:pt>
                <c:pt idx="19515">
                  <c:v>-0.25870136162762702</c:v>
                </c:pt>
                <c:pt idx="19516">
                  <c:v>-0.38915601867118399</c:v>
                </c:pt>
                <c:pt idx="19517">
                  <c:v>-0.45763052594244702</c:v>
                </c:pt>
                <c:pt idx="19518">
                  <c:v>-0.60244654041543999</c:v>
                </c:pt>
                <c:pt idx="19519">
                  <c:v>-0.53356699112179995</c:v>
                </c:pt>
                <c:pt idx="19520">
                  <c:v>-0.61109993508535099</c:v>
                </c:pt>
                <c:pt idx="19521">
                  <c:v>-0.65567695460620601</c:v>
                </c:pt>
                <c:pt idx="19522">
                  <c:v>-0.69609483695699104</c:v>
                </c:pt>
                <c:pt idx="19523">
                  <c:v>-0.751384766192431</c:v>
                </c:pt>
                <c:pt idx="19524">
                  <c:v>-0.68905898944330601</c:v>
                </c:pt>
                <c:pt idx="19525">
                  <c:v>-0.76082688090009498</c:v>
                </c:pt>
                <c:pt idx="19526">
                  <c:v>-0.83879122108939896</c:v>
                </c:pt>
                <c:pt idx="19527">
                  <c:v>-0.87807109791743199</c:v>
                </c:pt>
                <c:pt idx="19528">
                  <c:v>-0.84925366947012404</c:v>
                </c:pt>
                <c:pt idx="19529">
                  <c:v>-0.96691758587804499</c:v>
                </c:pt>
                <c:pt idx="19530">
                  <c:v>-1.0597904865401899</c:v>
                </c:pt>
                <c:pt idx="19531">
                  <c:v>-1.1363451046963799</c:v>
                </c:pt>
                <c:pt idx="19532">
                  <c:v>-1.20050160457181</c:v>
                </c:pt>
                <c:pt idx="19533">
                  <c:v>-1.25233927939598</c:v>
                </c:pt>
                <c:pt idx="19534">
                  <c:v>-1.2484725464098301</c:v>
                </c:pt>
                <c:pt idx="19535">
                  <c:v>-1.19727959469354</c:v>
                </c:pt>
                <c:pt idx="19536">
                  <c:v>-1.21819494059517</c:v>
                </c:pt>
                <c:pt idx="19537">
                  <c:v>-1.1834799511002301</c:v>
                </c:pt>
                <c:pt idx="19538">
                  <c:v>-1.17348190493731</c:v>
                </c:pt>
                <c:pt idx="19539">
                  <c:v>-1.0906922604479801</c:v>
                </c:pt>
                <c:pt idx="19540">
                  <c:v>-1.21198275617483</c:v>
                </c:pt>
                <c:pt idx="19541">
                  <c:v>-1.43628972076842</c:v>
                </c:pt>
                <c:pt idx="19542">
                  <c:v>-1.4442029409102399</c:v>
                </c:pt>
                <c:pt idx="19543">
                  <c:v>-1.4213776525035799</c:v>
                </c:pt>
                <c:pt idx="19544">
                  <c:v>-1.39855236409691</c:v>
                </c:pt>
                <c:pt idx="19545">
                  <c:v>-1.37572707569024</c:v>
                </c:pt>
                <c:pt idx="19546">
                  <c:v>-1.35290178728358</c:v>
                </c:pt>
                <c:pt idx="19547">
                  <c:v>-1.32733307420562</c:v>
                </c:pt>
                <c:pt idx="19548">
                  <c:v>-1.3367575971328001</c:v>
                </c:pt>
                <c:pt idx="19549">
                  <c:v>-1.3152635071797401</c:v>
                </c:pt>
                <c:pt idx="19550">
                  <c:v>-1.2999710867748999</c:v>
                </c:pt>
                <c:pt idx="19551">
                  <c:v>-1.28033669486707</c:v>
                </c:pt>
                <c:pt idx="19552">
                  <c:v>-1.22562455290892</c:v>
                </c:pt>
                <c:pt idx="19553">
                  <c:v>-1.20803269337925</c:v>
                </c:pt>
                <c:pt idx="19554">
                  <c:v>-1.1677612020800101</c:v>
                </c:pt>
                <c:pt idx="19555">
                  <c:v>-1.0934969218677399</c:v>
                </c:pt>
                <c:pt idx="19556">
                  <c:v>-0.97804295691780796</c:v>
                </c:pt>
                <c:pt idx="19557">
                  <c:v>-0.87906695418922698</c:v>
                </c:pt>
                <c:pt idx="19558">
                  <c:v>-0.73889604590727698</c:v>
                </c:pt>
                <c:pt idx="19559">
                  <c:v>-0.74115835815173703</c:v>
                </c:pt>
                <c:pt idx="19560">
                  <c:v>-0.74342067039619597</c:v>
                </c:pt>
                <c:pt idx="19561">
                  <c:v>-0.75392196375132903</c:v>
                </c:pt>
                <c:pt idx="19562">
                  <c:v>-0.76442325710646297</c:v>
                </c:pt>
                <c:pt idx="19563">
                  <c:v>-0.75206271300501704</c:v>
                </c:pt>
                <c:pt idx="19564">
                  <c:v>-0.72526673906038197</c:v>
                </c:pt>
                <c:pt idx="19565">
                  <c:v>-0.64284042971918998</c:v>
                </c:pt>
                <c:pt idx="19566">
                  <c:v>-0.55217513926732298</c:v>
                </c:pt>
                <c:pt idx="19567">
                  <c:v>-0.422241060433376</c:v>
                </c:pt>
                <c:pt idx="19568">
                  <c:v>-0.22843766509219701</c:v>
                </c:pt>
                <c:pt idx="19569">
                  <c:v>3.97387774863069E-2</c:v>
                </c:pt>
                <c:pt idx="19570">
                  <c:v>0.18629896336910901</c:v>
                </c:pt>
                <c:pt idx="19571">
                  <c:v>0.31423074528032802</c:v>
                </c:pt>
                <c:pt idx="19572">
                  <c:v>0.44201438236404</c:v>
                </c:pt>
                <c:pt idx="19573">
                  <c:v>0.57198869665341701</c:v>
                </c:pt>
                <c:pt idx="19574">
                  <c:v>0.73507230102871102</c:v>
                </c:pt>
                <c:pt idx="19575">
                  <c:v>0.76964486478640004</c:v>
                </c:pt>
                <c:pt idx="19576">
                  <c:v>0.83112504908177598</c:v>
                </c:pt>
                <c:pt idx="19577">
                  <c:v>0.87416403200711301</c:v>
                </c:pt>
                <c:pt idx="19578">
                  <c:v>0.89225863354345503</c:v>
                </c:pt>
                <c:pt idx="19579">
                  <c:v>0.921605450757088</c:v>
                </c:pt>
                <c:pt idx="19580">
                  <c:v>0.92835192943061196</c:v>
                </c:pt>
                <c:pt idx="19581">
                  <c:v>0.91234470392080602</c:v>
                </c:pt>
                <c:pt idx="19582">
                  <c:v>0.90261322037298197</c:v>
                </c:pt>
                <c:pt idx="19583">
                  <c:v>0.98506284446150305</c:v>
                </c:pt>
                <c:pt idx="19584">
                  <c:v>0.978767622251835</c:v>
                </c:pt>
                <c:pt idx="19585">
                  <c:v>1.1294783588903501</c:v>
                </c:pt>
                <c:pt idx="19586">
                  <c:v>1.0035989707317099</c:v>
                </c:pt>
                <c:pt idx="19587">
                  <c:v>0.92296232529814304</c:v>
                </c:pt>
                <c:pt idx="19588">
                  <c:v>0.88571648343932596</c:v>
                </c:pt>
                <c:pt idx="19589">
                  <c:v>0.94122125940554602</c:v>
                </c:pt>
                <c:pt idx="19590">
                  <c:v>0.93096233131388395</c:v>
                </c:pt>
                <c:pt idx="19591">
                  <c:v>0.88426242639186603</c:v>
                </c:pt>
                <c:pt idx="19592">
                  <c:v>0.93258310973001901</c:v>
                </c:pt>
                <c:pt idx="19593">
                  <c:v>0.84460900602516498</c:v>
                </c:pt>
                <c:pt idx="19594">
                  <c:v>0.88892391783646796</c:v>
                </c:pt>
                <c:pt idx="19595">
                  <c:v>0.94461543998234698</c:v>
                </c:pt>
                <c:pt idx="19596">
                  <c:v>0.971430881626135</c:v>
                </c:pt>
                <c:pt idx="19597">
                  <c:v>1.0063319387373699</c:v>
                </c:pt>
                <c:pt idx="19598">
                  <c:v>1.1715587722160801</c:v>
                </c:pt>
                <c:pt idx="19599">
                  <c:v>0.98219637043553498</c:v>
                </c:pt>
                <c:pt idx="19600">
                  <c:v>0.817630205216478</c:v>
                </c:pt>
                <c:pt idx="19601">
                  <c:v>0.68201419291326704</c:v>
                </c:pt>
                <c:pt idx="19602">
                  <c:v>0.55456308930697595</c:v>
                </c:pt>
                <c:pt idx="19603">
                  <c:v>0.44041830651149899</c:v>
                </c:pt>
                <c:pt idx="19604">
                  <c:v>0.27676034382251302</c:v>
                </c:pt>
                <c:pt idx="19605">
                  <c:v>0.195650778699198</c:v>
                </c:pt>
                <c:pt idx="19606">
                  <c:v>0.15165627518864899</c:v>
                </c:pt>
                <c:pt idx="19607">
                  <c:v>6.72845991425116E-2</c:v>
                </c:pt>
                <c:pt idx="19608">
                  <c:v>-0.126389729363765</c:v>
                </c:pt>
                <c:pt idx="19609">
                  <c:v>-0.21279871697234801</c:v>
                </c:pt>
                <c:pt idx="19610">
                  <c:v>-0.20834625349083</c:v>
                </c:pt>
                <c:pt idx="19611">
                  <c:v>-0.34113482855342903</c:v>
                </c:pt>
                <c:pt idx="19612">
                  <c:v>-0.44512139552768898</c:v>
                </c:pt>
                <c:pt idx="19613">
                  <c:v>-0.58213795935839896</c:v>
                </c:pt>
                <c:pt idx="19614">
                  <c:v>-0.66752995931939896</c:v>
                </c:pt>
                <c:pt idx="19615">
                  <c:v>-0.63821977924677098</c:v>
                </c:pt>
                <c:pt idx="19616">
                  <c:v>-0.71405311446421105</c:v>
                </c:pt>
                <c:pt idx="19617">
                  <c:v>-0.80848101669491101</c:v>
                </c:pt>
                <c:pt idx="19618">
                  <c:v>-0.88431435191234997</c:v>
                </c:pt>
                <c:pt idx="19619">
                  <c:v>-0.92476458315608401</c:v>
                </c:pt>
                <c:pt idx="19620">
                  <c:v>-0.96105567722974705</c:v>
                </c:pt>
                <c:pt idx="19621">
                  <c:v>-1.0139040267542201</c:v>
                </c:pt>
                <c:pt idx="19622">
                  <c:v>-1.0585081743523199</c:v>
                </c:pt>
                <c:pt idx="19623">
                  <c:v>-1.12409784648081</c:v>
                </c:pt>
                <c:pt idx="19624">
                  <c:v>-1.17532616117987</c:v>
                </c:pt>
                <c:pt idx="19625">
                  <c:v>-1.2697919138104601</c:v>
                </c:pt>
                <c:pt idx="19626">
                  <c:v>-1.2694697370535699</c:v>
                </c:pt>
                <c:pt idx="19627">
                  <c:v>-1.28357179167697</c:v>
                </c:pt>
                <c:pt idx="19628">
                  <c:v>-1.2811958840790201</c:v>
                </c:pt>
                <c:pt idx="19629">
                  <c:v>-1.3426945138040201</c:v>
                </c:pt>
                <c:pt idx="19630">
                  <c:v>-1.3815135117594399</c:v>
                </c:pt>
                <c:pt idx="19631">
                  <c:v>-1.23102713739077</c:v>
                </c:pt>
                <c:pt idx="19632">
                  <c:v>-1.2495483740036899</c:v>
                </c:pt>
                <c:pt idx="19633">
                  <c:v>-1.22687470506323</c:v>
                </c:pt>
                <c:pt idx="19634">
                  <c:v>-1.2186416867816801</c:v>
                </c:pt>
                <c:pt idx="19635">
                  <c:v>-1.25943649063831</c:v>
                </c:pt>
                <c:pt idx="19636">
                  <c:v>-1.2590363889415599</c:v>
                </c:pt>
                <c:pt idx="19637">
                  <c:v>-1.1431424068678699</c:v>
                </c:pt>
                <c:pt idx="19638">
                  <c:v>-1.2045743101159101</c:v>
                </c:pt>
                <c:pt idx="19639">
                  <c:v>-1.1976896433967299</c:v>
                </c:pt>
                <c:pt idx="19640">
                  <c:v>-1.15573244744295</c:v>
                </c:pt>
                <c:pt idx="19641">
                  <c:v>-1.1384921948211899</c:v>
                </c:pt>
                <c:pt idx="19642">
                  <c:v>-1.12125194219942</c:v>
                </c:pt>
                <c:pt idx="19643">
                  <c:v>-1.14627969245363</c:v>
                </c:pt>
                <c:pt idx="19644">
                  <c:v>-1.1403940506433099</c:v>
                </c:pt>
                <c:pt idx="19645">
                  <c:v>-1.14274738994366</c:v>
                </c:pt>
                <c:pt idx="19646">
                  <c:v>-1.1574988475247501</c:v>
                </c:pt>
                <c:pt idx="19647">
                  <c:v>-1.0990668331770399</c:v>
                </c:pt>
                <c:pt idx="19648">
                  <c:v>-1.01796040787547</c:v>
                </c:pt>
                <c:pt idx="19649">
                  <c:v>-0.95333194479524197</c:v>
                </c:pt>
                <c:pt idx="19650">
                  <c:v>-0.88666094933685802</c:v>
                </c:pt>
                <c:pt idx="19651">
                  <c:v>-0.78222186488869805</c:v>
                </c:pt>
                <c:pt idx="19652">
                  <c:v>-0.68602176155121297</c:v>
                </c:pt>
                <c:pt idx="19653">
                  <c:v>-0.57954014472489501</c:v>
                </c:pt>
                <c:pt idx="19654">
                  <c:v>-0.47510106027673499</c:v>
                </c:pt>
                <c:pt idx="19655">
                  <c:v>-0.47966731801297202</c:v>
                </c:pt>
                <c:pt idx="19656">
                  <c:v>-0.46979814590601998</c:v>
                </c:pt>
                <c:pt idx="19657">
                  <c:v>-0.47436440364225702</c:v>
                </c:pt>
                <c:pt idx="19658">
                  <c:v>-0.48921217486732499</c:v>
                </c:pt>
                <c:pt idx="19659">
                  <c:v>-0.54997155108491502</c:v>
                </c:pt>
                <c:pt idx="19660">
                  <c:v>-0.56333957301662096</c:v>
                </c:pt>
                <c:pt idx="19661">
                  <c:v>-0.549874046824393</c:v>
                </c:pt>
                <c:pt idx="19662">
                  <c:v>-0.53232867669156303</c:v>
                </c:pt>
                <c:pt idx="19663">
                  <c:v>-0.33905345642732998</c:v>
                </c:pt>
                <c:pt idx="19664">
                  <c:v>-3.8518116081115897E-2</c:v>
                </c:pt>
                <c:pt idx="19665">
                  <c:v>6.6244916757617803E-2</c:v>
                </c:pt>
                <c:pt idx="19666">
                  <c:v>0.16677996082824101</c:v>
                </c:pt>
                <c:pt idx="19667">
                  <c:v>0.27916796092250301</c:v>
                </c:pt>
                <c:pt idx="19668">
                  <c:v>0.39775763056499402</c:v>
                </c:pt>
                <c:pt idx="19669">
                  <c:v>0.54726069227202101</c:v>
                </c:pt>
                <c:pt idx="19670">
                  <c:v>0.71732678095671398</c:v>
                </c:pt>
                <c:pt idx="19671">
                  <c:v>0.71102143815809304</c:v>
                </c:pt>
                <c:pt idx="19672">
                  <c:v>0.66344711739235096</c:v>
                </c:pt>
                <c:pt idx="19673">
                  <c:v>0.64678618869114302</c:v>
                </c:pt>
                <c:pt idx="19674">
                  <c:v>0.56209680631263603</c:v>
                </c:pt>
                <c:pt idx="19675">
                  <c:v>0.53048136350007602</c:v>
                </c:pt>
                <c:pt idx="19676">
                  <c:v>0.52562539639769501</c:v>
                </c:pt>
                <c:pt idx="19677">
                  <c:v>0.504365539487722</c:v>
                </c:pt>
                <c:pt idx="19678">
                  <c:v>0.48303161016399399</c:v>
                </c:pt>
                <c:pt idx="19679">
                  <c:v>0.57461228776779805</c:v>
                </c:pt>
                <c:pt idx="19680">
                  <c:v>0.57971808950854697</c:v>
                </c:pt>
                <c:pt idx="19681">
                  <c:v>0.60946676216756401</c:v>
                </c:pt>
                <c:pt idx="19682">
                  <c:v>0.65373015789923705</c:v>
                </c:pt>
                <c:pt idx="19683">
                  <c:v>0.52424090906921805</c:v>
                </c:pt>
                <c:pt idx="19684">
                  <c:v>0.51652650339383499</c:v>
                </c:pt>
                <c:pt idx="19685">
                  <c:v>0.58931796290596605</c:v>
                </c:pt>
                <c:pt idx="19686">
                  <c:v>0.58372016202249499</c:v>
                </c:pt>
                <c:pt idx="19687">
                  <c:v>0.49351179257952899</c:v>
                </c:pt>
                <c:pt idx="19688">
                  <c:v>0.60119755625166904</c:v>
                </c:pt>
                <c:pt idx="19689">
                  <c:v>0.55422662474022999</c:v>
                </c:pt>
                <c:pt idx="19690">
                  <c:v>0.53824837852279495</c:v>
                </c:pt>
                <c:pt idx="19691">
                  <c:v>0.60323832420643697</c:v>
                </c:pt>
                <c:pt idx="19692">
                  <c:v>0.54025175718721097</c:v>
                </c:pt>
                <c:pt idx="19693">
                  <c:v>0.58264136433074298</c:v>
                </c:pt>
                <c:pt idx="19694">
                  <c:v>0.48669887286882302</c:v>
                </c:pt>
                <c:pt idx="19695">
                  <c:v>0.44688880527408698</c:v>
                </c:pt>
                <c:pt idx="19696">
                  <c:v>0.37608605238534598</c:v>
                </c:pt>
                <c:pt idx="19697">
                  <c:v>0.37550765119528901</c:v>
                </c:pt>
                <c:pt idx="19698">
                  <c:v>0.329501134868037</c:v>
                </c:pt>
                <c:pt idx="19699">
                  <c:v>0.20003378217172199</c:v>
                </c:pt>
                <c:pt idx="19700">
                  <c:v>2.91440858650641E-2</c:v>
                </c:pt>
                <c:pt idx="19701">
                  <c:v>-6.7288049159088301E-2</c:v>
                </c:pt>
                <c:pt idx="19702">
                  <c:v>-0.18443135598841201</c:v>
                </c:pt>
                <c:pt idx="19703">
                  <c:v>-0.154176788087555</c:v>
                </c:pt>
                <c:pt idx="19704">
                  <c:v>-0.19610981103407199</c:v>
                </c:pt>
                <c:pt idx="19705">
                  <c:v>-0.23388369681051799</c:v>
                </c:pt>
                <c:pt idx="19706">
                  <c:v>-0.26341860147628898</c:v>
                </c:pt>
                <c:pt idx="19707">
                  <c:v>-0.455994997337692</c:v>
                </c:pt>
                <c:pt idx="19708">
                  <c:v>-0.57018735361920803</c:v>
                </c:pt>
                <c:pt idx="19709">
                  <c:v>-0.575002985026831</c:v>
                </c:pt>
                <c:pt idx="19710">
                  <c:v>-0.67060077429508602</c:v>
                </c:pt>
                <c:pt idx="19711">
                  <c:v>-0.69852960044134405</c:v>
                </c:pt>
                <c:pt idx="19712">
                  <c:v>-0.73053827052820597</c:v>
                </c:pt>
                <c:pt idx="19713">
                  <c:v>-0.81825656924109302</c:v>
                </c:pt>
                <c:pt idx="19714">
                  <c:v>-0.86885980634121396</c:v>
                </c:pt>
                <c:pt idx="19715">
                  <c:v>-0.91804597016654699</c:v>
                </c:pt>
                <c:pt idx="19716">
                  <c:v>-0.95899837369692098</c:v>
                </c:pt>
                <c:pt idx="19717">
                  <c:v>-1.0184660510110899</c:v>
                </c:pt>
                <c:pt idx="19718">
                  <c:v>-0.96251392036206496</c:v>
                </c:pt>
                <c:pt idx="19719">
                  <c:v>-1.0025392815613501</c:v>
                </c:pt>
                <c:pt idx="19720">
                  <c:v>-1.04052211038247</c:v>
                </c:pt>
                <c:pt idx="19721">
                  <c:v>-0.94441649181339604</c:v>
                </c:pt>
                <c:pt idx="19722">
                  <c:v>-1.0483852419336599</c:v>
                </c:pt>
                <c:pt idx="19723">
                  <c:v>-1.1271084053268801</c:v>
                </c:pt>
                <c:pt idx="19724">
                  <c:v>-1.1997091924013299</c:v>
                </c:pt>
                <c:pt idx="19725">
                  <c:v>-1.2701933746838701</c:v>
                </c:pt>
                <c:pt idx="19726">
                  <c:v>-1.27476570808102</c:v>
                </c:pt>
                <c:pt idx="19727">
                  <c:v>-1.29724180611859</c:v>
                </c:pt>
                <c:pt idx="19728">
                  <c:v>-1.29091589606782</c:v>
                </c:pt>
                <c:pt idx="19729">
                  <c:v>-1.2145242207773099</c:v>
                </c:pt>
                <c:pt idx="19730">
                  <c:v>-1.189608964529</c:v>
                </c:pt>
                <c:pt idx="19731">
                  <c:v>-1.17399860011895</c:v>
                </c:pt>
                <c:pt idx="19732">
                  <c:v>-1.1748661979302599</c:v>
                </c:pt>
                <c:pt idx="19733">
                  <c:v>-1.1592558335202101</c:v>
                </c:pt>
                <c:pt idx="19734">
                  <c:v>-1.15808089895336</c:v>
                </c:pt>
                <c:pt idx="19735">
                  <c:v>-1.21676586830552</c:v>
                </c:pt>
                <c:pt idx="19736">
                  <c:v>-1.2404576016525399</c:v>
                </c:pt>
                <c:pt idx="19737">
                  <c:v>-1.24554954717059</c:v>
                </c:pt>
                <c:pt idx="19738">
                  <c:v>-1.2774802616282901</c:v>
                </c:pt>
                <c:pt idx="19739">
                  <c:v>-1.3076117426173</c:v>
                </c:pt>
                <c:pt idx="19740">
                  <c:v>-1.2161958185086601</c:v>
                </c:pt>
                <c:pt idx="19741">
                  <c:v>-1.1886544317229499</c:v>
                </c:pt>
                <c:pt idx="19742">
                  <c:v>-1.1920316578175001</c:v>
                </c:pt>
                <c:pt idx="19743">
                  <c:v>-1.1271029649744</c:v>
                </c:pt>
                <c:pt idx="19744">
                  <c:v>-1.05189797945818</c:v>
                </c:pt>
                <c:pt idx="19745">
                  <c:v>-1.0281694129841501</c:v>
                </c:pt>
                <c:pt idx="19746">
                  <c:v>-1.0065574513020401</c:v>
                </c:pt>
                <c:pt idx="19747">
                  <c:v>-0.92799013689962295</c:v>
                </c:pt>
                <c:pt idx="19748">
                  <c:v>-0.81646689805450601</c:v>
                </c:pt>
                <c:pt idx="19749">
                  <c:v>-0.70494365920938995</c:v>
                </c:pt>
                <c:pt idx="19750">
                  <c:v>-0.60785585020746202</c:v>
                </c:pt>
                <c:pt idx="19751">
                  <c:v>-0.63753391288639605</c:v>
                </c:pt>
                <c:pt idx="19752">
                  <c:v>-0.67545095667600397</c:v>
                </c:pt>
                <c:pt idx="19753">
                  <c:v>-0.69689003824426399</c:v>
                </c:pt>
                <c:pt idx="19754">
                  <c:v>-0.75128504425521903</c:v>
                </c:pt>
                <c:pt idx="19755">
                  <c:v>-0.77783897409725899</c:v>
                </c:pt>
                <c:pt idx="19756">
                  <c:v>-0.74468272460213703</c:v>
                </c:pt>
                <c:pt idx="19757">
                  <c:v>-0.65589613971045801</c:v>
                </c:pt>
                <c:pt idx="19758">
                  <c:v>-0.45993394878198002</c:v>
                </c:pt>
                <c:pt idx="19759">
                  <c:v>-0.28847251779649702</c:v>
                </c:pt>
                <c:pt idx="19760">
                  <c:v>-7.1657044087574007E-2</c:v>
                </c:pt>
                <c:pt idx="19761">
                  <c:v>-1.10069799262014E-3</c:v>
                </c:pt>
                <c:pt idx="19762">
                  <c:v>0.15191953162282501</c:v>
                </c:pt>
                <c:pt idx="19763">
                  <c:v>0.279510858806995</c:v>
                </c:pt>
                <c:pt idx="19764">
                  <c:v>0.310054727799979</c:v>
                </c:pt>
                <c:pt idx="19765">
                  <c:v>0.35926723621997497</c:v>
                </c:pt>
                <c:pt idx="19766">
                  <c:v>0.38368872889419597</c:v>
                </c:pt>
                <c:pt idx="19767">
                  <c:v>0.527850772298323</c:v>
                </c:pt>
                <c:pt idx="19768">
                  <c:v>0.71328701448528498</c:v>
                </c:pt>
                <c:pt idx="19769">
                  <c:v>0.79169057464724202</c:v>
                </c:pt>
                <c:pt idx="19770">
                  <c:v>0.87190922913038205</c:v>
                </c:pt>
                <c:pt idx="19771">
                  <c:v>0.89709837754362298</c:v>
                </c:pt>
                <c:pt idx="19772">
                  <c:v>0.84602009116888899</c:v>
                </c:pt>
                <c:pt idx="19773">
                  <c:v>0.790782667624083</c:v>
                </c:pt>
                <c:pt idx="19774">
                  <c:v>0.69623950526084499</c:v>
                </c:pt>
                <c:pt idx="19775">
                  <c:v>0.62625616870267298</c:v>
                </c:pt>
                <c:pt idx="19776">
                  <c:v>0.60563264639478898</c:v>
                </c:pt>
                <c:pt idx="19777">
                  <c:v>0.61600180938090898</c:v>
                </c:pt>
                <c:pt idx="19778">
                  <c:v>0.59326168228111298</c:v>
                </c:pt>
                <c:pt idx="19779">
                  <c:v>0.56086934629515806</c:v>
                </c:pt>
                <c:pt idx="19780">
                  <c:v>0.65841676216075895</c:v>
                </c:pt>
                <c:pt idx="19781">
                  <c:v>0.71688587726490205</c:v>
                </c:pt>
                <c:pt idx="19782">
                  <c:v>0.59567462256700399</c:v>
                </c:pt>
                <c:pt idx="19783">
                  <c:v>0.55785819531776004</c:v>
                </c:pt>
                <c:pt idx="19784">
                  <c:v>0.55708275726752698</c:v>
                </c:pt>
                <c:pt idx="19785">
                  <c:v>0.71512315157094297</c:v>
                </c:pt>
                <c:pt idx="19786">
                  <c:v>0.64011759029517801</c:v>
                </c:pt>
                <c:pt idx="19787">
                  <c:v>0.76713501894219305</c:v>
                </c:pt>
                <c:pt idx="19788">
                  <c:v>0.65467738440482304</c:v>
                </c:pt>
                <c:pt idx="19789">
                  <c:v>0.62688475222503803</c:v>
                </c:pt>
                <c:pt idx="19790">
                  <c:v>0.49583255067440901</c:v>
                </c:pt>
                <c:pt idx="19791">
                  <c:v>0.44778983987669602</c:v>
                </c:pt>
                <c:pt idx="19792">
                  <c:v>0.37911002968756602</c:v>
                </c:pt>
                <c:pt idx="19793">
                  <c:v>0.225844510370318</c:v>
                </c:pt>
                <c:pt idx="19794">
                  <c:v>0.13857013316792799</c:v>
                </c:pt>
                <c:pt idx="19795">
                  <c:v>3.0893332564532899E-2</c:v>
                </c:pt>
                <c:pt idx="19796">
                  <c:v>-5.8262973439356998E-2</c:v>
                </c:pt>
                <c:pt idx="19797">
                  <c:v>-0.18453434105601199</c:v>
                </c:pt>
                <c:pt idx="19798">
                  <c:v>-0.298407590391921</c:v>
                </c:pt>
                <c:pt idx="19799">
                  <c:v>-0.27096386962658697</c:v>
                </c:pt>
                <c:pt idx="19800">
                  <c:v>-0.26627385304458101</c:v>
                </c:pt>
                <c:pt idx="19801">
                  <c:v>-0.280178403475836</c:v>
                </c:pt>
                <c:pt idx="19802">
                  <c:v>-0.37027631628131302</c:v>
                </c:pt>
                <c:pt idx="19803">
                  <c:v>-0.52158043431147805</c:v>
                </c:pt>
                <c:pt idx="19804">
                  <c:v>-0.613015786545547</c:v>
                </c:pt>
                <c:pt idx="19805">
                  <c:v>-0.66529876560440504</c:v>
                </c:pt>
                <c:pt idx="19806">
                  <c:v>-0.74229868799528498</c:v>
                </c:pt>
                <c:pt idx="19807">
                  <c:v>-0.72157788823537905</c:v>
                </c:pt>
                <c:pt idx="19808">
                  <c:v>-0.74001468246639601</c:v>
                </c:pt>
                <c:pt idx="19809">
                  <c:v>-0.81415588450772602</c:v>
                </c:pt>
                <c:pt idx="19810">
                  <c:v>-0.84498557620377401</c:v>
                </c:pt>
                <c:pt idx="19811">
                  <c:v>-0.90222508933688705</c:v>
                </c:pt>
                <c:pt idx="19812">
                  <c:v>-0.98206494101010999</c:v>
                </c:pt>
                <c:pt idx="19813">
                  <c:v>-1.0145134383974499</c:v>
                </c:pt>
                <c:pt idx="19814">
                  <c:v>-1.07379548390872</c:v>
                </c:pt>
                <c:pt idx="19815">
                  <c:v>-1.0895892761654</c:v>
                </c:pt>
                <c:pt idx="19816">
                  <c:v>-1.10130322448147</c:v>
                </c:pt>
                <c:pt idx="19817">
                  <c:v>-1.1562493899133599</c:v>
                </c:pt>
                <c:pt idx="19818">
                  <c:v>-1.1762023193401001</c:v>
                </c:pt>
                <c:pt idx="19819">
                  <c:v>-1.23631915306852</c:v>
                </c:pt>
                <c:pt idx="19820">
                  <c:v>-1.2943934544187701</c:v>
                </c:pt>
                <c:pt idx="19821">
                  <c:v>-1.1525467527229101</c:v>
                </c:pt>
                <c:pt idx="19822">
                  <c:v>-1.20027068898629</c:v>
                </c:pt>
                <c:pt idx="19823">
                  <c:v>-1.2623874579111001</c:v>
                </c:pt>
                <c:pt idx="19824">
                  <c:v>-1.28535185366069</c:v>
                </c:pt>
                <c:pt idx="19825">
                  <c:v>-1.25056930922181</c:v>
                </c:pt>
                <c:pt idx="19826">
                  <c:v>-1.2693745678013399</c:v>
                </c:pt>
                <c:pt idx="19827">
                  <c:v>-1.26980681951237</c:v>
                </c:pt>
                <c:pt idx="19828">
                  <c:v>-1.21460873582684</c:v>
                </c:pt>
                <c:pt idx="19829">
                  <c:v>-1.2088445388053499</c:v>
                </c:pt>
                <c:pt idx="19830">
                  <c:v>-1.19484136067319</c:v>
                </c:pt>
                <c:pt idx="19831">
                  <c:v>-1.16874101424118</c:v>
                </c:pt>
                <c:pt idx="19832">
                  <c:v>-1.1261627055878201</c:v>
                </c:pt>
                <c:pt idx="19833">
                  <c:v>-1.0073169621464799</c:v>
                </c:pt>
                <c:pt idx="19834">
                  <c:v>-0.735941569944911</c:v>
                </c:pt>
                <c:pt idx="19835">
                  <c:v>-0.47531344466949099</c:v>
                </c:pt>
                <c:pt idx="19836">
                  <c:v>-0.39412258869199701</c:v>
                </c:pt>
                <c:pt idx="19837">
                  <c:v>-0.38919916750247902</c:v>
                </c:pt>
                <c:pt idx="19838">
                  <c:v>-0.343080840759592</c:v>
                </c:pt>
                <c:pt idx="19839">
                  <c:v>-0.31545049688481303</c:v>
                </c:pt>
                <c:pt idx="19840">
                  <c:v>-0.28577762063187601</c:v>
                </c:pt>
                <c:pt idx="19841">
                  <c:v>-0.29525711755414802</c:v>
                </c:pt>
                <c:pt idx="19842">
                  <c:v>-0.30889575164649202</c:v>
                </c:pt>
                <c:pt idx="19843">
                  <c:v>-0.229329011463523</c:v>
                </c:pt>
                <c:pt idx="19844">
                  <c:v>-0.15392140845062599</c:v>
                </c:pt>
                <c:pt idx="19845">
                  <c:v>-1.0411279346671701E-2</c:v>
                </c:pt>
                <c:pt idx="19846">
                  <c:v>9.1829871790159806E-2</c:v>
                </c:pt>
                <c:pt idx="19847">
                  <c:v>5.8214403892836303E-2</c:v>
                </c:pt>
                <c:pt idx="19848">
                  <c:v>3.6917761046790003E-2</c:v>
                </c:pt>
                <c:pt idx="19849">
                  <c:v>-6.9792203393650399E-3</c:v>
                </c:pt>
                <c:pt idx="19850">
                  <c:v>-4.0668760650441803E-2</c:v>
                </c:pt>
                <c:pt idx="19851">
                  <c:v>-0.123892263088325</c:v>
                </c:pt>
                <c:pt idx="19852">
                  <c:v>-0.16592085997283801</c:v>
                </c:pt>
                <c:pt idx="19853">
                  <c:v>-0.12752810571501899</c:v>
                </c:pt>
                <c:pt idx="19854">
                  <c:v>-7.2657389235852105E-2</c:v>
                </c:pt>
                <c:pt idx="19855">
                  <c:v>2.30620701477092E-2</c:v>
                </c:pt>
                <c:pt idx="19856">
                  <c:v>9.6181190991161805E-2</c:v>
                </c:pt>
                <c:pt idx="19857">
                  <c:v>0.123872196697422</c:v>
                </c:pt>
                <c:pt idx="19858">
                  <c:v>0.14544082608492001</c:v>
                </c:pt>
                <c:pt idx="19859">
                  <c:v>0.27467920202357499</c:v>
                </c:pt>
                <c:pt idx="19860">
                  <c:v>0.321527766855493</c:v>
                </c:pt>
                <c:pt idx="19861">
                  <c:v>0.33950025118531801</c:v>
                </c:pt>
                <c:pt idx="19862">
                  <c:v>0.427543721570605</c:v>
                </c:pt>
                <c:pt idx="19863">
                  <c:v>0.50849159820856205</c:v>
                </c:pt>
                <c:pt idx="19864">
                  <c:v>0.56275407155009405</c:v>
                </c:pt>
                <c:pt idx="19865">
                  <c:v>0.59834790546461203</c:v>
                </c:pt>
                <c:pt idx="19866">
                  <c:v>0.60098581493643499</c:v>
                </c:pt>
                <c:pt idx="19867">
                  <c:v>0.56099512925202499</c:v>
                </c:pt>
                <c:pt idx="19868">
                  <c:v>0.58284166932811599</c:v>
                </c:pt>
                <c:pt idx="19869">
                  <c:v>0.46242441168566001</c:v>
                </c:pt>
                <c:pt idx="19870">
                  <c:v>0.418353882060647</c:v>
                </c:pt>
                <c:pt idx="19871">
                  <c:v>0.482887053269899</c:v>
                </c:pt>
                <c:pt idx="19872">
                  <c:v>0.43811757201901302</c:v>
                </c:pt>
                <c:pt idx="19873">
                  <c:v>0.44089281069723202</c:v>
                </c:pt>
                <c:pt idx="19874">
                  <c:v>0.35084335913666098</c:v>
                </c:pt>
                <c:pt idx="19875">
                  <c:v>0.38369948079973698</c:v>
                </c:pt>
                <c:pt idx="19876">
                  <c:v>0.51769856704174499</c:v>
                </c:pt>
                <c:pt idx="19877">
                  <c:v>0.41237073492687698</c:v>
                </c:pt>
                <c:pt idx="19878">
                  <c:v>0.39163383275583902</c:v>
                </c:pt>
                <c:pt idx="19879">
                  <c:v>0.37730975118577198</c:v>
                </c:pt>
                <c:pt idx="19880">
                  <c:v>0.381733602272186</c:v>
                </c:pt>
                <c:pt idx="19881">
                  <c:v>0.43151149608203798</c:v>
                </c:pt>
                <c:pt idx="19882">
                  <c:v>0.48968173664578601</c:v>
                </c:pt>
                <c:pt idx="19883">
                  <c:v>0.37451458650338698</c:v>
                </c:pt>
                <c:pt idx="19884">
                  <c:v>0.43887966133552098</c:v>
                </c:pt>
                <c:pt idx="19885">
                  <c:v>0.43521106167463902</c:v>
                </c:pt>
                <c:pt idx="19886">
                  <c:v>0.55120592119219503</c:v>
                </c:pt>
                <c:pt idx="19887">
                  <c:v>0.29360265046794398</c:v>
                </c:pt>
                <c:pt idx="19888">
                  <c:v>-6.8699701063851107E-2</c:v>
                </c:pt>
                <c:pt idx="19889">
                  <c:v>-0.192278155180229</c:v>
                </c:pt>
                <c:pt idx="19890">
                  <c:v>-0.32197898561536697</c:v>
                </c:pt>
                <c:pt idx="19891">
                  <c:v>-0.45019975685687202</c:v>
                </c:pt>
                <c:pt idx="19892">
                  <c:v>-0.62377457082181598</c:v>
                </c:pt>
                <c:pt idx="19893">
                  <c:v>-0.80158259437058399</c:v>
                </c:pt>
                <c:pt idx="19894">
                  <c:v>-0.98952398658067697</c:v>
                </c:pt>
                <c:pt idx="19895">
                  <c:v>-0.86053214413799906</c:v>
                </c:pt>
                <c:pt idx="19896">
                  <c:v>-0.93927673463244998</c:v>
                </c:pt>
                <c:pt idx="19897">
                  <c:v>-1.0014640696760899</c:v>
                </c:pt>
                <c:pt idx="19898">
                  <c:v>-1.01618075720437</c:v>
                </c:pt>
                <c:pt idx="19899">
                  <c:v>-1.05353692826665</c:v>
                </c:pt>
                <c:pt idx="19900">
                  <c:v>-1.08053751342634</c:v>
                </c:pt>
                <c:pt idx="19901">
                  <c:v>-1.1034530338297099</c:v>
                </c:pt>
                <c:pt idx="19902">
                  <c:v>-1.11185905197614</c:v>
                </c:pt>
                <c:pt idx="19903">
                  <c:v>-1.1575176916860901</c:v>
                </c:pt>
                <c:pt idx="19904">
                  <c:v>-1.1495092351481699</c:v>
                </c:pt>
                <c:pt idx="19905">
                  <c:v>-1.1682602543204399</c:v>
                </c:pt>
                <c:pt idx="19906">
                  <c:v>-1.20969090526228</c:v>
                </c:pt>
                <c:pt idx="19907">
                  <c:v>-1.2626291562291501</c:v>
                </c:pt>
                <c:pt idx="19908">
                  <c:v>-1.29697284018277</c:v>
                </c:pt>
                <c:pt idx="19909">
                  <c:v>-1.33955550524706</c:v>
                </c:pt>
                <c:pt idx="19910">
                  <c:v>-1.3800215655194401</c:v>
                </c:pt>
                <c:pt idx="19911">
                  <c:v>-1.3524643564868399</c:v>
                </c:pt>
                <c:pt idx="19912">
                  <c:v>-1.3393477981131401</c:v>
                </c:pt>
                <c:pt idx="19913">
                  <c:v>-1.3612985481583399</c:v>
                </c:pt>
                <c:pt idx="19914">
                  <c:v>-1.3935308116923599</c:v>
                </c:pt>
                <c:pt idx="19915">
                  <c:v>-1.42912894644155</c:v>
                </c:pt>
                <c:pt idx="19916">
                  <c:v>-1.48528488735269</c:v>
                </c:pt>
                <c:pt idx="19917">
                  <c:v>-0.84453189908352599</c:v>
                </c:pt>
                <c:pt idx="19918">
                  <c:v>-0.87297426772658004</c:v>
                </c:pt>
                <c:pt idx="19919">
                  <c:v>-0.86430157475686797</c:v>
                </c:pt>
                <c:pt idx="19920">
                  <c:v>-0.74724119651354204</c:v>
                </c:pt>
                <c:pt idx="19921">
                  <c:v>-0.62194183715954199</c:v>
                </c:pt>
                <c:pt idx="19922">
                  <c:v>-0.58939309563057996</c:v>
                </c:pt>
                <c:pt idx="19923">
                  <c:v>-0.55684435410161703</c:v>
                </c:pt>
                <c:pt idx="19924">
                  <c:v>-0.51597141823935799</c:v>
                </c:pt>
                <c:pt idx="19925">
                  <c:v>-0.41538308222422399</c:v>
                </c:pt>
                <c:pt idx="19926">
                  <c:v>-0.41979011667165</c:v>
                </c:pt>
                <c:pt idx="19927">
                  <c:v>-0.335605670464109</c:v>
                </c:pt>
                <c:pt idx="19928">
                  <c:v>-0.33994203756893099</c:v>
                </c:pt>
                <c:pt idx="19929">
                  <c:v>-0.259618623131881</c:v>
                </c:pt>
                <c:pt idx="19930">
                  <c:v>-0.21036196640259</c:v>
                </c:pt>
                <c:pt idx="19931">
                  <c:v>-0.117640433684796</c:v>
                </c:pt>
                <c:pt idx="19932">
                  <c:v>-0.187660757684912</c:v>
                </c:pt>
                <c:pt idx="19933">
                  <c:v>-0.27415904390637602</c:v>
                </c:pt>
                <c:pt idx="19934">
                  <c:v>-0.34002023073642201</c:v>
                </c:pt>
                <c:pt idx="19935">
                  <c:v>-0.356368237672958</c:v>
                </c:pt>
                <c:pt idx="19936">
                  <c:v>-0.37213802779287197</c:v>
                </c:pt>
                <c:pt idx="19937">
                  <c:v>-0.334235500849206</c:v>
                </c:pt>
                <c:pt idx="19938">
                  <c:v>-0.57503970349460098</c:v>
                </c:pt>
                <c:pt idx="19939">
                  <c:v>-0.52685566306210196</c:v>
                </c:pt>
                <c:pt idx="19940">
                  <c:v>-0.51908665792775499</c:v>
                </c:pt>
                <c:pt idx="19941">
                  <c:v>-0.64141077028818605</c:v>
                </c:pt>
                <c:pt idx="19942">
                  <c:v>-0.60680821702990595</c:v>
                </c:pt>
                <c:pt idx="19943">
                  <c:v>-0.47930168030336701</c:v>
                </c:pt>
                <c:pt idx="19944">
                  <c:v>-0.31843820931598199</c:v>
                </c:pt>
                <c:pt idx="19945">
                  <c:v>-0.38253507844032397</c:v>
                </c:pt>
                <c:pt idx="19946">
                  <c:v>-0.50861731815267397</c:v>
                </c:pt>
                <c:pt idx="19947">
                  <c:v>-0.63258295307311196</c:v>
                </c:pt>
                <c:pt idx="19948">
                  <c:v>-1.0216087915641401</c:v>
                </c:pt>
                <c:pt idx="19949">
                  <c:v>-1.0875420199371799</c:v>
                </c:pt>
                <c:pt idx="19950">
                  <c:v>-1.1926328423011501</c:v>
                </c:pt>
                <c:pt idx="19951">
                  <c:v>-1.2792031700655999</c:v>
                </c:pt>
                <c:pt idx="19952">
                  <c:v>-1.3717851177723199</c:v>
                </c:pt>
                <c:pt idx="19953">
                  <c:v>-1.4189389503418399</c:v>
                </c:pt>
                <c:pt idx="19954">
                  <c:v>-1.42685589569097</c:v>
                </c:pt>
                <c:pt idx="19955">
                  <c:v>-1.4575265452234201</c:v>
                </c:pt>
                <c:pt idx="19956">
                  <c:v>-1.3061306221347599</c:v>
                </c:pt>
                <c:pt idx="19957">
                  <c:v>-1.4056553807638501</c:v>
                </c:pt>
                <c:pt idx="19958">
                  <c:v>-1.41024406517796</c:v>
                </c:pt>
                <c:pt idx="19959">
                  <c:v>-1.5225916020372201</c:v>
                </c:pt>
                <c:pt idx="19960">
                  <c:v>-1.6225938677424001</c:v>
                </c:pt>
                <c:pt idx="19961">
                  <c:v>-1.7102032359825501</c:v>
                </c:pt>
                <c:pt idx="19962">
                  <c:v>-1.82048701517657</c:v>
                </c:pt>
                <c:pt idx="19963">
                  <c:v>-1.8689387894257901</c:v>
                </c:pt>
                <c:pt idx="19964">
                  <c:v>-1.76124912690376</c:v>
                </c:pt>
                <c:pt idx="19965">
                  <c:v>-1.6844728564462701</c:v>
                </c:pt>
                <c:pt idx="19966">
                  <c:v>-1.64065251043147</c:v>
                </c:pt>
                <c:pt idx="19967">
                  <c:v>-1.5927523204760701</c:v>
                </c:pt>
                <c:pt idx="19968">
                  <c:v>-1.6381011423837999</c:v>
                </c:pt>
                <c:pt idx="19969">
                  <c:v>-1.64429759111632</c:v>
                </c:pt>
                <c:pt idx="19970">
                  <c:v>-1.66077555333766</c:v>
                </c:pt>
                <c:pt idx="19971">
                  <c:v>-1.0692239568358599</c:v>
                </c:pt>
                <c:pt idx="19972">
                  <c:v>-1.04055483549315</c:v>
                </c:pt>
                <c:pt idx="19973">
                  <c:v>-1.0264745096368399</c:v>
                </c:pt>
                <c:pt idx="19974">
                  <c:v>-0.90498069805533798</c:v>
                </c:pt>
                <c:pt idx="19975">
                  <c:v>-0.83504259874550102</c:v>
                </c:pt>
                <c:pt idx="19976">
                  <c:v>-0.76697215806157903</c:v>
                </c:pt>
                <c:pt idx="19977">
                  <c:v>-0.71341121963460097</c:v>
                </c:pt>
                <c:pt idx="19978">
                  <c:v>-0.758728496167134</c:v>
                </c:pt>
                <c:pt idx="19979">
                  <c:v>-0.73404363824224805</c:v>
                </c:pt>
                <c:pt idx="19980">
                  <c:v>-0.69969597873164102</c:v>
                </c:pt>
                <c:pt idx="19981">
                  <c:v>-0.64471121982961599</c:v>
                </c:pt>
                <c:pt idx="19982">
                  <c:v>-0.69079013227705599</c:v>
                </c:pt>
                <c:pt idx="19983">
                  <c:v>-0.68743515806045297</c:v>
                </c:pt>
                <c:pt idx="19984">
                  <c:v>-0.74031144315893105</c:v>
                </c:pt>
                <c:pt idx="19985">
                  <c:v>-0.75826334385030802</c:v>
                </c:pt>
                <c:pt idx="19986">
                  <c:v>-0.755578145150267</c:v>
                </c:pt>
                <c:pt idx="19987">
                  <c:v>-0.83339881163774099</c:v>
                </c:pt>
                <c:pt idx="19988">
                  <c:v>-0.82722828715527297</c:v>
                </c:pt>
                <c:pt idx="19989">
                  <c:v>-0.80034659086763305</c:v>
                </c:pt>
                <c:pt idx="19990">
                  <c:v>-0.77558149937190501</c:v>
                </c:pt>
                <c:pt idx="19991">
                  <c:v>-0.78392569796209299</c:v>
                </c:pt>
                <c:pt idx="19992">
                  <c:v>-0.78981421243618899</c:v>
                </c:pt>
                <c:pt idx="19993">
                  <c:v>-0.81633982630170199</c:v>
                </c:pt>
                <c:pt idx="19994">
                  <c:v>-0.828424789508313</c:v>
                </c:pt>
                <c:pt idx="19995">
                  <c:v>-0.85283379858191499</c:v>
                </c:pt>
                <c:pt idx="19996">
                  <c:v>-0.86661791249409503</c:v>
                </c:pt>
                <c:pt idx="19997">
                  <c:v>-0.79982208880500605</c:v>
                </c:pt>
                <c:pt idx="19998">
                  <c:v>-0.836280613671049</c:v>
                </c:pt>
                <c:pt idx="19999">
                  <c:v>-0.88710571678224104</c:v>
                </c:pt>
                <c:pt idx="20000">
                  <c:v>-0.94572199698035997</c:v>
                </c:pt>
                <c:pt idx="20001">
                  <c:v>-1.0373734948506399</c:v>
                </c:pt>
                <c:pt idx="20002">
                  <c:v>-1.1124677372701099</c:v>
                </c:pt>
                <c:pt idx="20003">
                  <c:v>-1.1732006222601401</c:v>
                </c:pt>
                <c:pt idx="20004">
                  <c:v>-1.27801674718041</c:v>
                </c:pt>
                <c:pt idx="20005">
                  <c:v>-1.26521716611611</c:v>
                </c:pt>
                <c:pt idx="20006">
                  <c:v>-1.33488668938801</c:v>
                </c:pt>
                <c:pt idx="20007">
                  <c:v>-1.3818765808903399</c:v>
                </c:pt>
                <c:pt idx="20008">
                  <c:v>-1.4161827046414099</c:v>
                </c:pt>
                <c:pt idx="20009">
                  <c:v>-1.3556320474069601</c:v>
                </c:pt>
                <c:pt idx="20010">
                  <c:v>-1.3280320937994901</c:v>
                </c:pt>
                <c:pt idx="20011">
                  <c:v>-1.3519878524636899</c:v>
                </c:pt>
                <c:pt idx="20012">
                  <c:v>-1.4675246263829</c:v>
                </c:pt>
                <c:pt idx="20013">
                  <c:v>-1.5314316156166801</c:v>
                </c:pt>
                <c:pt idx="20014">
                  <c:v>-1.55822876405341</c:v>
                </c:pt>
                <c:pt idx="20015">
                  <c:v>-1.4510115375137</c:v>
                </c:pt>
                <c:pt idx="20016">
                  <c:v>-1.53673392020739</c:v>
                </c:pt>
                <c:pt idx="20017">
                  <c:v>-1.62865275163359</c:v>
                </c:pt>
                <c:pt idx="20018">
                  <c:v>-0.20124061334596699</c:v>
                </c:pt>
                <c:pt idx="20019">
                  <c:v>-0.210896068903834</c:v>
                </c:pt>
                <c:pt idx="20020">
                  <c:v>-0.247379851769921</c:v>
                </c:pt>
                <c:pt idx="20021">
                  <c:v>-0.263226535244589</c:v>
                </c:pt>
                <c:pt idx="20022">
                  <c:v>-0.25639880776539498</c:v>
                </c:pt>
                <c:pt idx="20023">
                  <c:v>-0.14689956479778499</c:v>
                </c:pt>
                <c:pt idx="20024">
                  <c:v>-3.7252177002667503E-2</c:v>
                </c:pt>
                <c:pt idx="20025">
                  <c:v>3.7396753971596003E-2</c:v>
                </c:pt>
                <c:pt idx="20026">
                  <c:v>0.16768646197384501</c:v>
                </c:pt>
                <c:pt idx="20027">
                  <c:v>0.10903464237956501</c:v>
                </c:pt>
                <c:pt idx="20028">
                  <c:v>3.3830788150184699E-2</c:v>
                </c:pt>
                <c:pt idx="20029">
                  <c:v>-2.49691762716031E-2</c:v>
                </c:pt>
                <c:pt idx="20030">
                  <c:v>-0.100247102914738</c:v>
                </c:pt>
                <c:pt idx="20031">
                  <c:v>8.0550328476606398E-3</c:v>
                </c:pt>
                <c:pt idx="20032">
                  <c:v>8.5438555729808893E-2</c:v>
                </c:pt>
                <c:pt idx="20033">
                  <c:v>0.14225905163429201</c:v>
                </c:pt>
                <c:pt idx="20034">
                  <c:v>0.26908168199619698</c:v>
                </c:pt>
                <c:pt idx="20035">
                  <c:v>0.24365160910918199</c:v>
                </c:pt>
                <c:pt idx="20036">
                  <c:v>0.156310238047912</c:v>
                </c:pt>
                <c:pt idx="20037">
                  <c:v>0.17011183156557499</c:v>
                </c:pt>
                <c:pt idx="20038">
                  <c:v>0.18603002987514999</c:v>
                </c:pt>
                <c:pt idx="20039">
                  <c:v>0.12886682020864601</c:v>
                </c:pt>
                <c:pt idx="20040">
                  <c:v>0.19151521454808801</c:v>
                </c:pt>
                <c:pt idx="20041">
                  <c:v>0.12822962856282299</c:v>
                </c:pt>
                <c:pt idx="20042">
                  <c:v>7.5225556066389906E-2</c:v>
                </c:pt>
                <c:pt idx="20043">
                  <c:v>0.136940252041993</c:v>
                </c:pt>
                <c:pt idx="20044">
                  <c:v>0.192305133641859</c:v>
                </c:pt>
                <c:pt idx="20045">
                  <c:v>0.144563811514102</c:v>
                </c:pt>
                <c:pt idx="20046">
                  <c:v>0.140213292961093</c:v>
                </c:pt>
                <c:pt idx="20047">
                  <c:v>0.132017054946827</c:v>
                </c:pt>
                <c:pt idx="20048">
                  <c:v>0.15693010701847801</c:v>
                </c:pt>
                <c:pt idx="20049">
                  <c:v>4.13944556927641E-2</c:v>
                </c:pt>
                <c:pt idx="20050">
                  <c:v>-9.2661690232455296E-2</c:v>
                </c:pt>
                <c:pt idx="20051">
                  <c:v>-0.26545542003474798</c:v>
                </c:pt>
                <c:pt idx="20052">
                  <c:v>-0.36197649423335199</c:v>
                </c:pt>
                <c:pt idx="20053">
                  <c:v>-0.493496025252809</c:v>
                </c:pt>
                <c:pt idx="20054">
                  <c:v>-0.61677657516159201</c:v>
                </c:pt>
                <c:pt idx="20055">
                  <c:v>-0.69255936914361205</c:v>
                </c:pt>
                <c:pt idx="20056">
                  <c:v>-0.74362521979360996</c:v>
                </c:pt>
                <c:pt idx="20057">
                  <c:v>-0.767852301503961</c:v>
                </c:pt>
                <c:pt idx="20058">
                  <c:v>-0.85194814901040805</c:v>
                </c:pt>
                <c:pt idx="20059">
                  <c:v>-0.93485808612485999</c:v>
                </c:pt>
                <c:pt idx="20060">
                  <c:v>-0.98269549400470502</c:v>
                </c:pt>
                <c:pt idx="20061">
                  <c:v>-1.02849559032211</c:v>
                </c:pt>
                <c:pt idx="20062">
                  <c:v>-1.0433030013455</c:v>
                </c:pt>
                <c:pt idx="20063">
                  <c:v>-1.0548500240099099</c:v>
                </c:pt>
                <c:pt idx="20064">
                  <c:v>-1.0725194229930799</c:v>
                </c:pt>
                <c:pt idx="20065">
                  <c:v>-1.0861089780356401</c:v>
                </c:pt>
                <c:pt idx="20066">
                  <c:v>-1.07701890130863</c:v>
                </c:pt>
                <c:pt idx="20067">
                  <c:v>-1.0765992019180499</c:v>
                </c:pt>
                <c:pt idx="20068">
                  <c:v>-1.06998305379495</c:v>
                </c:pt>
                <c:pt idx="20069">
                  <c:v>-1.1230875266404301</c:v>
                </c:pt>
                <c:pt idx="20070">
                  <c:v>-1.1164713785173299</c:v>
                </c:pt>
                <c:pt idx="20071">
                  <c:v>-1.1268803956589899</c:v>
                </c:pt>
                <c:pt idx="20072">
                  <c:v>-1.1372894128006401</c:v>
                </c:pt>
                <c:pt idx="20073">
                  <c:v>-1.24876210129176</c:v>
                </c:pt>
                <c:pt idx="20074">
                  <c:v>-1.2818455293872799</c:v>
                </c:pt>
                <c:pt idx="20075">
                  <c:v>-1.27797879640113</c:v>
                </c:pt>
                <c:pt idx="20076">
                  <c:v>-1.2843935769038199</c:v>
                </c:pt>
                <c:pt idx="20077">
                  <c:v>-1.2825641554801099</c:v>
                </c:pt>
                <c:pt idx="20078">
                  <c:v>-1.2972919895072199</c:v>
                </c:pt>
                <c:pt idx="20079">
                  <c:v>-1.28729394334431</c:v>
                </c:pt>
                <c:pt idx="20080">
                  <c:v>-1.29589046419465</c:v>
                </c:pt>
                <c:pt idx="20081">
                  <c:v>-1.2900515552018099</c:v>
                </c:pt>
                <c:pt idx="20082">
                  <c:v>-1.2862499577714099</c:v>
                </c:pt>
                <c:pt idx="20083">
                  <c:v>-1.31275774492649</c:v>
                </c:pt>
                <c:pt idx="20084">
                  <c:v>-1.3453879084003399</c:v>
                </c:pt>
                <c:pt idx="20085">
                  <c:v>-1.3801346766661</c:v>
                </c:pt>
                <c:pt idx="20086">
                  <c:v>-1.38185144807542</c:v>
                </c:pt>
                <c:pt idx="20087">
                  <c:v>-1.35698362729059</c:v>
                </c:pt>
                <c:pt idx="20088">
                  <c:v>-1.3279618901514101</c:v>
                </c:pt>
                <c:pt idx="20089">
                  <c:v>-1.3092905180990999</c:v>
                </c:pt>
                <c:pt idx="20090">
                  <c:v>-1.31322470540261</c:v>
                </c:pt>
                <c:pt idx="20091">
                  <c:v>-1.2732153416657499</c:v>
                </c:pt>
                <c:pt idx="20092">
                  <c:v>-1.2517264725284001</c:v>
                </c:pt>
                <c:pt idx="20093">
                  <c:v>-1.2446730332342399</c:v>
                </c:pt>
                <c:pt idx="20094">
                  <c:v>-1.2788885719071901</c:v>
                </c:pt>
                <c:pt idx="20095">
                  <c:v>-1.2221391183865999</c:v>
                </c:pt>
                <c:pt idx="20096">
                  <c:v>-1.20461611045497</c:v>
                </c:pt>
                <c:pt idx="20097">
                  <c:v>-1.17462613264456</c:v>
                </c:pt>
                <c:pt idx="20098">
                  <c:v>-1.1240731278564799</c:v>
                </c:pt>
                <c:pt idx="20099">
                  <c:v>-1.03341017865233</c:v>
                </c:pt>
                <c:pt idx="20100">
                  <c:v>-0.91999874608055798</c:v>
                </c:pt>
                <c:pt idx="20101">
                  <c:v>-0.78595021411736998</c:v>
                </c:pt>
                <c:pt idx="20102">
                  <c:v>-0.680851835070028</c:v>
                </c:pt>
                <c:pt idx="20103">
                  <c:v>-0.69135312842516095</c:v>
                </c:pt>
                <c:pt idx="20104">
                  <c:v>-0.71009340289096801</c:v>
                </c:pt>
                <c:pt idx="20105">
                  <c:v>-0.74122657482180598</c:v>
                </c:pt>
                <c:pt idx="20106">
                  <c:v>-0.78468379261963495</c:v>
                </c:pt>
                <c:pt idx="20107">
                  <c:v>-0.81147562169339904</c:v>
                </c:pt>
                <c:pt idx="20108">
                  <c:v>-0.83002846965649002</c:v>
                </c:pt>
                <c:pt idx="20109">
                  <c:v>-0.82590690666571798</c:v>
                </c:pt>
                <c:pt idx="20110">
                  <c:v>-0.82790771999370805</c:v>
                </c:pt>
                <c:pt idx="20111">
                  <c:v>-0.79071903816908395</c:v>
                </c:pt>
                <c:pt idx="20112">
                  <c:v>-0.74732868679623199</c:v>
                </c:pt>
                <c:pt idx="20113">
                  <c:v>-0.72457543481479803</c:v>
                </c:pt>
                <c:pt idx="20114">
                  <c:v>-0.69766826647900604</c:v>
                </c:pt>
                <c:pt idx="20115">
                  <c:v>-0.66467255878277598</c:v>
                </c:pt>
                <c:pt idx="20116">
                  <c:v>-0.59255876707155597</c:v>
                </c:pt>
                <c:pt idx="20117">
                  <c:v>-0.54724423432404901</c:v>
                </c:pt>
                <c:pt idx="20118">
                  <c:v>-0.578662812681218</c:v>
                </c:pt>
                <c:pt idx="20119">
                  <c:v>-0.58536444770636598</c:v>
                </c:pt>
                <c:pt idx="20120">
                  <c:v>-0.55699355349690605</c:v>
                </c:pt>
                <c:pt idx="20121">
                  <c:v>-0.52862265928744601</c:v>
                </c:pt>
                <c:pt idx="20122">
                  <c:v>-0.51371649273271602</c:v>
                </c:pt>
                <c:pt idx="20123">
                  <c:v>-0.43070257927121602</c:v>
                </c:pt>
                <c:pt idx="20124">
                  <c:v>-0.434390979729745</c:v>
                </c:pt>
                <c:pt idx="20125">
                  <c:v>-0.45244073761770898</c:v>
                </c:pt>
                <c:pt idx="20126">
                  <c:v>-0.41541922866638198</c:v>
                </c:pt>
                <c:pt idx="20127">
                  <c:v>-0.328889760637259</c:v>
                </c:pt>
                <c:pt idx="20128">
                  <c:v>-0.32687192932249898</c:v>
                </c:pt>
                <c:pt idx="20129">
                  <c:v>-0.32076903325142198</c:v>
                </c:pt>
                <c:pt idx="20130">
                  <c:v>-0.30442185127612598</c:v>
                </c:pt>
                <c:pt idx="20131">
                  <c:v>-0.372660378428947</c:v>
                </c:pt>
                <c:pt idx="20132">
                  <c:v>-0.35631319645365001</c:v>
                </c:pt>
                <c:pt idx="20133">
                  <c:v>-0.38124021326119001</c:v>
                </c:pt>
                <c:pt idx="20134">
                  <c:v>-0.33291952992303703</c:v>
                </c:pt>
                <c:pt idx="20135">
                  <c:v>-0.19389076113800599</c:v>
                </c:pt>
                <c:pt idx="20136">
                  <c:v>-0.20536477118219501</c:v>
                </c:pt>
                <c:pt idx="20137">
                  <c:v>-0.20444066294564001</c:v>
                </c:pt>
                <c:pt idx="20138">
                  <c:v>-8.8880375003665801E-2</c:v>
                </c:pt>
                <c:pt idx="20139">
                  <c:v>-7.6579656432535406E-2</c:v>
                </c:pt>
                <c:pt idx="20140">
                  <c:v>-0.14682211461136299</c:v>
                </c:pt>
                <c:pt idx="20141">
                  <c:v>-8.2891611354811101E-2</c:v>
                </c:pt>
                <c:pt idx="20142">
                  <c:v>-0.245341171781955</c:v>
                </c:pt>
                <c:pt idx="20143">
                  <c:v>-0.30468452848147598</c:v>
                </c:pt>
                <c:pt idx="20144">
                  <c:v>-0.39698380962369301</c:v>
                </c:pt>
                <c:pt idx="20145">
                  <c:v>-0.58014454185600906</c:v>
                </c:pt>
                <c:pt idx="20146">
                  <c:v>-0.69013018748141497</c:v>
                </c:pt>
                <c:pt idx="20147">
                  <c:v>-0.79814737314241702</c:v>
                </c:pt>
                <c:pt idx="20148">
                  <c:v>-0.87509780109566104</c:v>
                </c:pt>
                <c:pt idx="20149">
                  <c:v>-0.95416483384081696</c:v>
                </c:pt>
                <c:pt idx="20150">
                  <c:v>-1.02394249358483</c:v>
                </c:pt>
                <c:pt idx="20151">
                  <c:v>-1.0730830539374301</c:v>
                </c:pt>
                <c:pt idx="20152">
                  <c:v>-1.0892676898473299</c:v>
                </c:pt>
                <c:pt idx="20153">
                  <c:v>-1.1466472313106</c:v>
                </c:pt>
                <c:pt idx="20154">
                  <c:v>-1.2835897227275499</c:v>
                </c:pt>
                <c:pt idx="20155">
                  <c:v>-1.3936934452048599</c:v>
                </c:pt>
                <c:pt idx="20156">
                  <c:v>-1.4976007189496501</c:v>
                </c:pt>
                <c:pt idx="20157">
                  <c:v>-1.59742814875384</c:v>
                </c:pt>
                <c:pt idx="20158">
                  <c:v>-1.6587519817143399</c:v>
                </c:pt>
                <c:pt idx="20159">
                  <c:v>-1.7077465479921301</c:v>
                </c:pt>
                <c:pt idx="20160">
                  <c:v>-1.75674633508564</c:v>
                </c:pt>
                <c:pt idx="20161">
                  <c:v>-0.49872975831280503</c:v>
                </c:pt>
                <c:pt idx="20162">
                  <c:v>-0.30598925867425097</c:v>
                </c:pt>
                <c:pt idx="20163">
                  <c:v>-0.131769253635202</c:v>
                </c:pt>
                <c:pt idx="20164">
                  <c:v>-0.12575577138254501</c:v>
                </c:pt>
                <c:pt idx="20165">
                  <c:v>-0.11973706831417499</c:v>
                </c:pt>
                <c:pt idx="20166">
                  <c:v>-6.21730946055635E-2</c:v>
                </c:pt>
                <c:pt idx="20167">
                  <c:v>-6.6435905026025296E-2</c:v>
                </c:pt>
                <c:pt idx="20168">
                  <c:v>-2.58637569912121E-2</c:v>
                </c:pt>
                <c:pt idx="20169">
                  <c:v>-7.3957162025119497E-2</c:v>
                </c:pt>
                <c:pt idx="20170">
                  <c:v>-0.179876800476965</c:v>
                </c:pt>
                <c:pt idx="20171">
                  <c:v>-0.238325791413458</c:v>
                </c:pt>
                <c:pt idx="20172">
                  <c:v>-0.28900369071248799</c:v>
                </c:pt>
                <c:pt idx="20173">
                  <c:v>-0.31912378384956702</c:v>
                </c:pt>
                <c:pt idx="20174">
                  <c:v>-0.29761409230122299</c:v>
                </c:pt>
                <c:pt idx="20175">
                  <c:v>-0.34421214765965003</c:v>
                </c:pt>
                <c:pt idx="20176">
                  <c:v>-0.318896556478584</c:v>
                </c:pt>
                <c:pt idx="20177">
                  <c:v>-0.28927368329994002</c:v>
                </c:pt>
                <c:pt idx="20178">
                  <c:v>-0.34650126886883298</c:v>
                </c:pt>
                <c:pt idx="20179">
                  <c:v>-0.36449718803304798</c:v>
                </c:pt>
                <c:pt idx="20180">
                  <c:v>-0.31448429213562501</c:v>
                </c:pt>
                <c:pt idx="20181">
                  <c:v>-0.28291781842395403</c:v>
                </c:pt>
                <c:pt idx="20182">
                  <c:v>-0.28665131200386601</c:v>
                </c:pt>
                <c:pt idx="20183">
                  <c:v>-0.373781033937445</c:v>
                </c:pt>
                <c:pt idx="20184">
                  <c:v>-0.420136273092102</c:v>
                </c:pt>
                <c:pt idx="20185">
                  <c:v>-0.47276725420874</c:v>
                </c:pt>
                <c:pt idx="20186">
                  <c:v>-0.490320485275059</c:v>
                </c:pt>
                <c:pt idx="20187">
                  <c:v>-0.57760120038514595</c:v>
                </c:pt>
                <c:pt idx="20188">
                  <c:v>-0.64212821131190301</c:v>
                </c:pt>
                <c:pt idx="20189">
                  <c:v>-0.72321247768947605</c:v>
                </c:pt>
                <c:pt idx="20190">
                  <c:v>-0.808376588007651</c:v>
                </c:pt>
                <c:pt idx="20191">
                  <c:v>-0.88833076081045603</c:v>
                </c:pt>
                <c:pt idx="20192">
                  <c:v>-0.97652391472393496</c:v>
                </c:pt>
                <c:pt idx="20193">
                  <c:v>-1.0440799692459899</c:v>
                </c:pt>
                <c:pt idx="20194">
                  <c:v>-1.11579516093813</c:v>
                </c:pt>
                <c:pt idx="20195">
                  <c:v>-1.1061036200149299</c:v>
                </c:pt>
                <c:pt idx="20196">
                  <c:v>-1.11704395766744</c:v>
                </c:pt>
                <c:pt idx="20197">
                  <c:v>-1.1321434324900299</c:v>
                </c:pt>
                <c:pt idx="20198">
                  <c:v>-1.1699173182664699</c:v>
                </c:pt>
                <c:pt idx="20199">
                  <c:v>-1.2717115562672401</c:v>
                </c:pt>
                <c:pt idx="20200">
                  <c:v>-1.40238187477011</c:v>
                </c:pt>
                <c:pt idx="20201">
                  <c:v>-1.50621864514904</c:v>
                </c:pt>
                <c:pt idx="20202">
                  <c:v>-1.56470137280453</c:v>
                </c:pt>
                <c:pt idx="20203">
                  <c:v>-1.6420640856148301</c:v>
                </c:pt>
                <c:pt idx="20204">
                  <c:v>-1.6906247903367899</c:v>
                </c:pt>
                <c:pt idx="20205">
                  <c:v>-0.43594174456224399</c:v>
                </c:pt>
                <c:pt idx="20206">
                  <c:v>-0.50569389117970598</c:v>
                </c:pt>
                <c:pt idx="20207">
                  <c:v>-0.50536983092599397</c:v>
                </c:pt>
                <c:pt idx="20208">
                  <c:v>-0.426892921033104</c:v>
                </c:pt>
                <c:pt idx="20209">
                  <c:v>-0.447516443340988</c:v>
                </c:pt>
                <c:pt idx="20210">
                  <c:v>-0.36284308471558302</c:v>
                </c:pt>
                <c:pt idx="20211">
                  <c:v>-0.32783105081119501</c:v>
                </c:pt>
                <c:pt idx="20212">
                  <c:v>-0.26323955938828902</c:v>
                </c:pt>
                <c:pt idx="20213">
                  <c:v>-0.28936137422797598</c:v>
                </c:pt>
                <c:pt idx="20214">
                  <c:v>-0.19589380230297801</c:v>
                </c:pt>
                <c:pt idx="20215">
                  <c:v>-0.17053397728475</c:v>
                </c:pt>
                <c:pt idx="20216">
                  <c:v>-0.107281512368816</c:v>
                </c:pt>
                <c:pt idx="20217">
                  <c:v>-1.49297515783482E-3</c:v>
                </c:pt>
                <c:pt idx="20218">
                  <c:v>-2.0937052635081499E-2</c:v>
                </c:pt>
                <c:pt idx="20219">
                  <c:v>-0.16642990484461301</c:v>
                </c:pt>
                <c:pt idx="20220">
                  <c:v>-0.17366473086244799</c:v>
                </c:pt>
                <c:pt idx="20221">
                  <c:v>-7.3480850339367298E-2</c:v>
                </c:pt>
                <c:pt idx="20222">
                  <c:v>8.1084631704536093E-3</c:v>
                </c:pt>
                <c:pt idx="20223">
                  <c:v>-0.33285941063396102</c:v>
                </c:pt>
                <c:pt idx="20224">
                  <c:v>-0.45082496265962702</c:v>
                </c:pt>
                <c:pt idx="20225">
                  <c:v>-0.55661983446152297</c:v>
                </c:pt>
                <c:pt idx="20226">
                  <c:v>-0.69756652872749403</c:v>
                </c:pt>
                <c:pt idx="20227">
                  <c:v>-0.79700434822021604</c:v>
                </c:pt>
                <c:pt idx="20228">
                  <c:v>-0.91088281837183904</c:v>
                </c:pt>
                <c:pt idx="20229">
                  <c:v>-1.03919671836665</c:v>
                </c:pt>
                <c:pt idx="20230">
                  <c:v>-1.24393663960838</c:v>
                </c:pt>
                <c:pt idx="20231">
                  <c:v>-1.4623762063697701</c:v>
                </c:pt>
                <c:pt idx="20232">
                  <c:v>-1.46176603372837</c:v>
                </c:pt>
                <c:pt idx="20233">
                  <c:v>-1.43016317579297</c:v>
                </c:pt>
                <c:pt idx="20234">
                  <c:v>-1.5058997311690101</c:v>
                </c:pt>
                <c:pt idx="20235">
                  <c:v>-0.62963653884187298</c:v>
                </c:pt>
                <c:pt idx="20236">
                  <c:v>-0.66561623218372001</c:v>
                </c:pt>
                <c:pt idx="20237">
                  <c:v>-0.65208796644777001</c:v>
                </c:pt>
                <c:pt idx="20238">
                  <c:v>-0.71129809835755897</c:v>
                </c:pt>
                <c:pt idx="20239">
                  <c:v>-0.72311165516574905</c:v>
                </c:pt>
                <c:pt idx="20240">
                  <c:v>-0.70809166385000699</c:v>
                </c:pt>
                <c:pt idx="20241">
                  <c:v>-0.70131065364493805</c:v>
                </c:pt>
                <c:pt idx="20242">
                  <c:v>-0.68909163137328</c:v>
                </c:pt>
                <c:pt idx="20243">
                  <c:v>-0.70370615722555596</c:v>
                </c:pt>
                <c:pt idx="20244">
                  <c:v>-0.74931336837183604</c:v>
                </c:pt>
                <c:pt idx="20245">
                  <c:v>-0.73301450215957498</c:v>
                </c:pt>
                <c:pt idx="20246">
                  <c:v>-0.72246827475440001</c:v>
                </c:pt>
                <c:pt idx="20247">
                  <c:v>-0.74699457658383195</c:v>
                </c:pt>
                <c:pt idx="20248">
                  <c:v>-0.71173140584663597</c:v>
                </c:pt>
                <c:pt idx="20249">
                  <c:v>-0.727944654151641</c:v>
                </c:pt>
                <c:pt idx="20250">
                  <c:v>-0.73372985860443496</c:v>
                </c:pt>
                <c:pt idx="20251">
                  <c:v>-0.675566453320529</c:v>
                </c:pt>
                <c:pt idx="20252">
                  <c:v>-0.67099607187073695</c:v>
                </c:pt>
                <c:pt idx="20253">
                  <c:v>-0.592195567195414</c:v>
                </c:pt>
                <c:pt idx="20254">
                  <c:v>-0.672309145323289</c:v>
                </c:pt>
                <c:pt idx="20255">
                  <c:v>-0.80208404817218204</c:v>
                </c:pt>
                <c:pt idx="20256">
                  <c:v>-0.91734422794841797</c:v>
                </c:pt>
                <c:pt idx="20257">
                  <c:v>-1.0532415071160699</c:v>
                </c:pt>
                <c:pt idx="20258">
                  <c:v>-1.19589770820077</c:v>
                </c:pt>
                <c:pt idx="20259">
                  <c:v>-1.3715839061419099</c:v>
                </c:pt>
                <c:pt idx="20260">
                  <c:v>-1.5761461845851401</c:v>
                </c:pt>
                <c:pt idx="20261">
                  <c:v>-1.8033088015684899</c:v>
                </c:pt>
                <c:pt idx="20262">
                  <c:v>-1.7911867201571201</c:v>
                </c:pt>
                <c:pt idx="20263">
                  <c:v>-1.76258667652441</c:v>
                </c:pt>
                <c:pt idx="20264">
                  <c:v>-1.7607408877861701</c:v>
                </c:pt>
                <c:pt idx="20265">
                  <c:v>-1.7382684412879299</c:v>
                </c:pt>
                <c:pt idx="20266">
                  <c:v>-1.79617719769645</c:v>
                </c:pt>
                <c:pt idx="20267">
                  <c:v>-1.8375339194698601</c:v>
                </c:pt>
                <c:pt idx="20268">
                  <c:v>-1.1519579802656399</c:v>
                </c:pt>
                <c:pt idx="20269">
                  <c:v>-1.06376776253125</c:v>
                </c:pt>
                <c:pt idx="20270">
                  <c:v>-1.03507413277962</c:v>
                </c:pt>
                <c:pt idx="20271">
                  <c:v>-0.98786000842848698</c:v>
                </c:pt>
                <c:pt idx="20272">
                  <c:v>-0.88493625545132903</c:v>
                </c:pt>
                <c:pt idx="20273">
                  <c:v>-0.91195225432572702</c:v>
                </c:pt>
                <c:pt idx="20274">
                  <c:v>-0.99021155943651695</c:v>
                </c:pt>
                <c:pt idx="20275">
                  <c:v>-0.89718284149916006</c:v>
                </c:pt>
                <c:pt idx="20276">
                  <c:v>-0.96092742353729399</c:v>
                </c:pt>
                <c:pt idx="20277">
                  <c:v>-0.97319558653322602</c:v>
                </c:pt>
                <c:pt idx="20278">
                  <c:v>-0.92304830695203699</c:v>
                </c:pt>
                <c:pt idx="20279">
                  <c:v>-0.97389062630655898</c:v>
                </c:pt>
                <c:pt idx="20280">
                  <c:v>-1.0164939645504101</c:v>
                </c:pt>
                <c:pt idx="20281">
                  <c:v>-1.0219822411814901</c:v>
                </c:pt>
                <c:pt idx="20282">
                  <c:v>-0.95434447025104596</c:v>
                </c:pt>
                <c:pt idx="20283">
                  <c:v>-0.996088645010209</c:v>
                </c:pt>
                <c:pt idx="20284">
                  <c:v>-0.86661886913497899</c:v>
                </c:pt>
                <c:pt idx="20285">
                  <c:v>-1.0933509934636501</c:v>
                </c:pt>
                <c:pt idx="20286">
                  <c:v>-1.15336801864739</c:v>
                </c:pt>
                <c:pt idx="20287">
                  <c:v>-1.231979610844389</c:v>
                </c:pt>
                <c:pt idx="20288">
                  <c:v>-1.28995410364997</c:v>
                </c:pt>
                <c:pt idx="20289">
                  <c:v>-1.35405097277431</c:v>
                </c:pt>
                <c:pt idx="20290">
                  <c:v>-1.39934710175594</c:v>
                </c:pt>
                <c:pt idx="20291">
                  <c:v>-1.4528822118482301</c:v>
                </c:pt>
                <c:pt idx="20292">
                  <c:v>-1.5559305018340399</c:v>
                </c:pt>
                <c:pt idx="20293">
                  <c:v>-1.68785487232194</c:v>
                </c:pt>
                <c:pt idx="20294">
                  <c:v>-1.77212376650422</c:v>
                </c:pt>
                <c:pt idx="20295">
                  <c:v>-1.8234315154281</c:v>
                </c:pt>
                <c:pt idx="20296">
                  <c:v>-1.86226707365748</c:v>
                </c:pt>
                <c:pt idx="20297">
                  <c:v>-1.84586452281568</c:v>
                </c:pt>
                <c:pt idx="20298">
                  <c:v>-1.17144960073264</c:v>
                </c:pt>
                <c:pt idx="20299">
                  <c:v>-1.16528523740726</c:v>
                </c:pt>
                <c:pt idx="20300">
                  <c:v>-1.1124170832971501</c:v>
                </c:pt>
                <c:pt idx="20301">
                  <c:v>-1.10286043953232</c:v>
                </c:pt>
                <c:pt idx="20302">
                  <c:v>-1.0912664842050399</c:v>
                </c:pt>
                <c:pt idx="20303">
                  <c:v>-1.1188249020529699</c:v>
                </c:pt>
                <c:pt idx="20304">
                  <c:v>-1.0459946448837201</c:v>
                </c:pt>
                <c:pt idx="20305">
                  <c:v>-1.0824670401745999</c:v>
                </c:pt>
                <c:pt idx="20306">
                  <c:v>-1.06534641163137</c:v>
                </c:pt>
                <c:pt idx="20307">
                  <c:v>-1.1843619836722199</c:v>
                </c:pt>
                <c:pt idx="20308">
                  <c:v>-1.17411161524914</c:v>
                </c:pt>
                <c:pt idx="20309">
                  <c:v>-1.1473039913752601</c:v>
                </c:pt>
                <c:pt idx="20310">
                  <c:v>-1.1700095473948799</c:v>
                </c:pt>
                <c:pt idx="20311">
                  <c:v>-1.1102459990783</c:v>
                </c:pt>
                <c:pt idx="20312">
                  <c:v>-1.1903646367779299</c:v>
                </c:pt>
                <c:pt idx="20313">
                  <c:v>-1.16730299833618</c:v>
                </c:pt>
                <c:pt idx="20314">
                  <c:v>-1.1360023787837501</c:v>
                </c:pt>
                <c:pt idx="20315">
                  <c:v>-1.1562522506872801</c:v>
                </c:pt>
                <c:pt idx="20316">
                  <c:v>-1.17003636459946</c:v>
                </c:pt>
                <c:pt idx="20317">
                  <c:v>-1.2228987792731001</c:v>
                </c:pt>
                <c:pt idx="20318">
                  <c:v>-1.2799944035305599</c:v>
                </c:pt>
                <c:pt idx="20319">
                  <c:v>-1.34116987172863</c:v>
                </c:pt>
                <c:pt idx="20320">
                  <c:v>-1.39154717081607</c:v>
                </c:pt>
                <c:pt idx="20321">
                  <c:v>-1.4624822760654701</c:v>
                </c:pt>
                <c:pt idx="20322">
                  <c:v>-1.5375765184849299</c:v>
                </c:pt>
                <c:pt idx="20323">
                  <c:v>-1.6311860346881899</c:v>
                </c:pt>
                <c:pt idx="20324">
                  <c:v>-1.6864149073012</c:v>
                </c:pt>
                <c:pt idx="20325">
                  <c:v>-0.56463578641245704</c:v>
                </c:pt>
                <c:pt idx="20326">
                  <c:v>-0.46858362410329502</c:v>
                </c:pt>
                <c:pt idx="20327">
                  <c:v>-0.46127630809232101</c:v>
                </c:pt>
                <c:pt idx="20328">
                  <c:v>-0.47627672266299698</c:v>
                </c:pt>
                <c:pt idx="20329">
                  <c:v>-0.48515476091491</c:v>
                </c:pt>
                <c:pt idx="20330">
                  <c:v>-0.483603140850484</c:v>
                </c:pt>
                <c:pt idx="20331">
                  <c:v>-0.54622234776401901</c:v>
                </c:pt>
                <c:pt idx="20332">
                  <c:v>-0.533161205731841</c:v>
                </c:pt>
                <c:pt idx="20333">
                  <c:v>-0.43755688694970402</c:v>
                </c:pt>
                <c:pt idx="20334">
                  <c:v>-0.40393271793986202</c:v>
                </c:pt>
                <c:pt idx="20335">
                  <c:v>-0.40326969418842801</c:v>
                </c:pt>
                <c:pt idx="20336">
                  <c:v>-0.49840759141778201</c:v>
                </c:pt>
                <c:pt idx="20337">
                  <c:v>-0.40176851103507999</c:v>
                </c:pt>
                <c:pt idx="20338">
                  <c:v>-0.44950983316283699</c:v>
                </c:pt>
                <c:pt idx="20339">
                  <c:v>-0.47041760716665998</c:v>
                </c:pt>
                <c:pt idx="20340">
                  <c:v>-0.532206869015039</c:v>
                </c:pt>
                <c:pt idx="20341">
                  <c:v>-0.64562591554884097</c:v>
                </c:pt>
                <c:pt idx="20342">
                  <c:v>-0.64346656766052002</c:v>
                </c:pt>
                <c:pt idx="20343">
                  <c:v>-0.794000675807087</c:v>
                </c:pt>
                <c:pt idx="20344">
                  <c:v>-0.89664412632445301</c:v>
                </c:pt>
                <c:pt idx="20345">
                  <c:v>-1.00548402557433</c:v>
                </c:pt>
                <c:pt idx="20346">
                  <c:v>-1.1328444194237199</c:v>
                </c:pt>
                <c:pt idx="20347">
                  <c:v>-1.2333712651491691</c:v>
                </c:pt>
                <c:pt idx="20348">
                  <c:v>-1.2596408792376801</c:v>
                </c:pt>
                <c:pt idx="20349">
                  <c:v>-0.51904554045590201</c:v>
                </c:pt>
                <c:pt idx="20350">
                  <c:v>-0.57428443237038596</c:v>
                </c:pt>
                <c:pt idx="20351">
                  <c:v>-0.64044319956043605</c:v>
                </c:pt>
                <c:pt idx="20352">
                  <c:v>-0.72314878056987397</c:v>
                </c:pt>
                <c:pt idx="20353">
                  <c:v>-0.85318208508286897</c:v>
                </c:pt>
                <c:pt idx="20354">
                  <c:v>-0.748206194867994</c:v>
                </c:pt>
                <c:pt idx="20355">
                  <c:v>-0.72770509653834003</c:v>
                </c:pt>
                <c:pt idx="20356">
                  <c:v>-0.62480896628623595</c:v>
                </c:pt>
                <c:pt idx="20357">
                  <c:v>-0.43105660575974503</c:v>
                </c:pt>
                <c:pt idx="20358">
                  <c:v>-0.44365957670029399</c:v>
                </c:pt>
                <c:pt idx="20359">
                  <c:v>-0.38294599589710998</c:v>
                </c:pt>
                <c:pt idx="20360">
                  <c:v>-0.33258800099651298</c:v>
                </c:pt>
                <c:pt idx="20361">
                  <c:v>-0.33582302993002899</c:v>
                </c:pt>
                <c:pt idx="20362">
                  <c:v>-0.59995352278368996</c:v>
                </c:pt>
                <c:pt idx="20363">
                  <c:v>-0.54426200063781105</c:v>
                </c:pt>
                <c:pt idx="20364">
                  <c:v>-0.47211062275073101</c:v>
                </c:pt>
                <c:pt idx="20365">
                  <c:v>-1.66283901984672</c:v>
                </c:pt>
                <c:pt idx="20366">
                  <c:v>-1.7675364192696801</c:v>
                </c:pt>
                <c:pt idx="20367">
                  <c:v>-2.091149070934589</c:v>
                </c:pt>
                <c:pt idx="20368">
                  <c:v>-2.0938745964780101</c:v>
                </c:pt>
                <c:pt idx="20369">
                  <c:v>-2.0986374335838889</c:v>
                </c:pt>
                <c:pt idx="20370">
                  <c:v>-2.05291599213525</c:v>
                </c:pt>
                <c:pt idx="20371">
                  <c:v>-2.0092370830647601</c:v>
                </c:pt>
                <c:pt idx="20372">
                  <c:v>-1.9717546227267999</c:v>
                </c:pt>
                <c:pt idx="20373">
                  <c:v>-1.9260331812781599</c:v>
                </c:pt>
                <c:pt idx="20374">
                  <c:v>-0.21294741717336599</c:v>
                </c:pt>
                <c:pt idx="20375">
                  <c:v>-0.19989892397695799</c:v>
                </c:pt>
                <c:pt idx="20376">
                  <c:v>-0.18671120578165701</c:v>
                </c:pt>
                <c:pt idx="20377">
                  <c:v>-0.16769099517823799</c:v>
                </c:pt>
                <c:pt idx="20378">
                  <c:v>-0.16726535158807901</c:v>
                </c:pt>
                <c:pt idx="20379">
                  <c:v>-0.100700421055555</c:v>
                </c:pt>
                <c:pt idx="20380">
                  <c:v>-1.1002728508681899E-3</c:v>
                </c:pt>
                <c:pt idx="20381">
                  <c:v>-9.2962920372184801E-2</c:v>
                </c:pt>
                <c:pt idx="20382">
                  <c:v>5.0622429836180401E-3</c:v>
                </c:pt>
                <c:pt idx="20383">
                  <c:v>-2.1354021801137401E-3</c:v>
                </c:pt>
                <c:pt idx="20384">
                  <c:v>-0.23982318446430401</c:v>
                </c:pt>
                <c:pt idx="20385">
                  <c:v>-0.337385413063224</c:v>
                </c:pt>
                <c:pt idx="20386">
                  <c:v>-0.43479949683463598</c:v>
                </c:pt>
                <c:pt idx="20387">
                  <c:v>-0.48503922274571198</c:v>
                </c:pt>
                <c:pt idx="20388">
                  <c:v>-0.58041077413896602</c:v>
                </c:pt>
                <c:pt idx="20389">
                  <c:v>-0.65628510300116805</c:v>
                </c:pt>
                <c:pt idx="20390">
                  <c:v>-0.79618733482953596</c:v>
                </c:pt>
                <c:pt idx="20391">
                  <c:v>-1.0020807087727599</c:v>
                </c:pt>
                <c:pt idx="20392">
                  <c:v>-1.14810531691989</c:v>
                </c:pt>
                <c:pt idx="20393">
                  <c:v>-1.2457531893081499</c:v>
                </c:pt>
                <c:pt idx="20394">
                  <c:v>-1.3165675135724699</c:v>
                </c:pt>
                <c:pt idx="20395">
                  <c:v>-1.35850053651898</c:v>
                </c:pt>
                <c:pt idx="20396">
                  <c:v>-1.4066352290137301</c:v>
                </c:pt>
                <c:pt idx="20397">
                  <c:v>-5.0263094961284102E-2</c:v>
                </c:pt>
                <c:pt idx="20398">
                  <c:v>-3.5424311634915502E-2</c:v>
                </c:pt>
                <c:pt idx="20399">
                  <c:v>1.6460681706178398E-2</c:v>
                </c:pt>
                <c:pt idx="20400">
                  <c:v>1.48215028111995E-2</c:v>
                </c:pt>
                <c:pt idx="20401">
                  <c:v>5.55997444807418E-2</c:v>
                </c:pt>
                <c:pt idx="20402">
                  <c:v>0.105126501457786</c:v>
                </c:pt>
                <c:pt idx="20403">
                  <c:v>0.20008137357202399</c:v>
                </c:pt>
                <c:pt idx="20404">
                  <c:v>0.210450536558144</c:v>
                </c:pt>
                <c:pt idx="20405">
                  <c:v>0.22293630433617601</c:v>
                </c:pt>
                <c:pt idx="20406">
                  <c:v>0.28541119096716899</c:v>
                </c:pt>
                <c:pt idx="20407">
                  <c:v>0.24266326907862801</c:v>
                </c:pt>
                <c:pt idx="20408">
                  <c:v>0.44951855822008102</c:v>
                </c:pt>
                <c:pt idx="20409">
                  <c:v>0.40888724112345098</c:v>
                </c:pt>
                <c:pt idx="20410">
                  <c:v>0.42670637008647799</c:v>
                </c:pt>
                <c:pt idx="20411">
                  <c:v>0.32078219593046398</c:v>
                </c:pt>
                <c:pt idx="20412">
                  <c:v>0.29725305369690003</c:v>
                </c:pt>
                <c:pt idx="20413">
                  <c:v>0.31711471503808603</c:v>
                </c:pt>
                <c:pt idx="20414">
                  <c:v>0.35115408780308799</c:v>
                </c:pt>
                <c:pt idx="20415">
                  <c:v>0.35843398485791</c:v>
                </c:pt>
                <c:pt idx="20416">
                  <c:v>0.37387879060965201</c:v>
                </c:pt>
                <c:pt idx="20417">
                  <c:v>0.45130896694940198</c:v>
                </c:pt>
                <c:pt idx="20418">
                  <c:v>0.35579560863633802</c:v>
                </c:pt>
                <c:pt idx="20419">
                  <c:v>0.26035632273702802</c:v>
                </c:pt>
                <c:pt idx="20420">
                  <c:v>-0.234818590952729</c:v>
                </c:pt>
                <c:pt idx="20421">
                  <c:v>-0.37772852436739102</c:v>
                </c:pt>
                <c:pt idx="20422">
                  <c:v>-0.51020156153227403</c:v>
                </c:pt>
                <c:pt idx="20423">
                  <c:v>-0.68380065265248602</c:v>
                </c:pt>
                <c:pt idx="20424">
                  <c:v>-0.83902739400070103</c:v>
                </c:pt>
                <c:pt idx="20425">
                  <c:v>-1.0003765116676799</c:v>
                </c:pt>
                <c:pt idx="20426">
                  <c:v>-1.06787930674876</c:v>
                </c:pt>
                <c:pt idx="20427">
                  <c:v>-1.13538210182984</c:v>
                </c:pt>
                <c:pt idx="20428">
                  <c:v>-1.14097359873667</c:v>
                </c:pt>
                <c:pt idx="20429">
                  <c:v>-1.11628703040846</c:v>
                </c:pt>
                <c:pt idx="20430">
                  <c:v>-1.2201205009232701</c:v>
                </c:pt>
                <c:pt idx="20431">
                  <c:v>-1.27232940756838</c:v>
                </c:pt>
                <c:pt idx="20432">
                  <c:v>-9.9236863616176604E-2</c:v>
                </c:pt>
                <c:pt idx="20433">
                  <c:v>0.10474551791568799</c:v>
                </c:pt>
                <c:pt idx="20434">
                  <c:v>9.9753289052132196E-2</c:v>
                </c:pt>
                <c:pt idx="20435">
                  <c:v>0.113281554788082</c:v>
                </c:pt>
                <c:pt idx="20436">
                  <c:v>0.14139861601044099</c:v>
                </c:pt>
                <c:pt idx="20437">
                  <c:v>9.2469997589485306E-2</c:v>
                </c:pt>
                <c:pt idx="20438">
                  <c:v>6.2210018595542399E-2</c:v>
                </c:pt>
                <c:pt idx="20439">
                  <c:v>5.0396461787351299E-2</c:v>
                </c:pt>
                <c:pt idx="20440">
                  <c:v>8.0005248589504294E-2</c:v>
                </c:pt>
                <c:pt idx="20441">
                  <c:v>0.135535781206443</c:v>
                </c:pt>
                <c:pt idx="20442">
                  <c:v>0.20558103689603799</c:v>
                </c:pt>
                <c:pt idx="20443">
                  <c:v>0.153925521844751</c:v>
                </c:pt>
                <c:pt idx="20444">
                  <c:v>0.232061613817512</c:v>
                </c:pt>
                <c:pt idx="20445">
                  <c:v>0.27979697524920599</c:v>
                </c:pt>
                <c:pt idx="20446">
                  <c:v>0.20575749352626399</c:v>
                </c:pt>
                <c:pt idx="20447">
                  <c:v>0.195740693953775</c:v>
                </c:pt>
                <c:pt idx="20448">
                  <c:v>0.142338311622251</c:v>
                </c:pt>
                <c:pt idx="20449">
                  <c:v>0.15507360176896301</c:v>
                </c:pt>
                <c:pt idx="20450">
                  <c:v>0.221475988163542</c:v>
                </c:pt>
                <c:pt idx="20451">
                  <c:v>0.170336740987309</c:v>
                </c:pt>
                <c:pt idx="20452">
                  <c:v>0.14807357431316701</c:v>
                </c:pt>
                <c:pt idx="20453">
                  <c:v>8.6480490784797803E-2</c:v>
                </c:pt>
                <c:pt idx="20454">
                  <c:v>-4.1177807272182197E-2</c:v>
                </c:pt>
                <c:pt idx="20455">
                  <c:v>-0.102844963214306</c:v>
                </c:pt>
                <c:pt idx="20456">
                  <c:v>-0.242901379552031</c:v>
                </c:pt>
                <c:pt idx="20457">
                  <c:v>-0.509374956169519</c:v>
                </c:pt>
                <c:pt idx="20458">
                  <c:v>-0.594278996250029</c:v>
                </c:pt>
                <c:pt idx="20459">
                  <c:v>-0.83187649236542605</c:v>
                </c:pt>
                <c:pt idx="20460">
                  <c:v>-1.14369889089064</c:v>
                </c:pt>
                <c:pt idx="20461">
                  <c:v>-1.1625694947732801</c:v>
                </c:pt>
                <c:pt idx="20462">
                  <c:v>-1.1607289268507499</c:v>
                </c:pt>
                <c:pt idx="20463">
                  <c:v>-1.20015733689534</c:v>
                </c:pt>
                <c:pt idx="20464">
                  <c:v>-1.1674033769082801</c:v>
                </c:pt>
                <c:pt idx="20465">
                  <c:v>-1.2293971980731</c:v>
                </c:pt>
                <c:pt idx="20466">
                  <c:v>-1.2419571325738901</c:v>
                </c:pt>
                <c:pt idx="20467">
                  <c:v>-1.2874729915173699</c:v>
                </c:pt>
                <c:pt idx="20468">
                  <c:v>-1.3309463180826999</c:v>
                </c:pt>
                <c:pt idx="20469">
                  <c:v>-1.36829190426822</c:v>
                </c:pt>
                <c:pt idx="20470">
                  <c:v>-1.7290848614393399</c:v>
                </c:pt>
                <c:pt idx="20471">
                  <c:v>-1.80353731646626</c:v>
                </c:pt>
                <c:pt idx="20472">
                  <c:v>-1.8367155727103599</c:v>
                </c:pt>
                <c:pt idx="20473">
                  <c:v>-1.91116802773729</c:v>
                </c:pt>
                <c:pt idx="20474">
                  <c:v>-2.0227355443769799</c:v>
                </c:pt>
                <c:pt idx="20475">
                  <c:v>-2.1175396324364</c:v>
                </c:pt>
                <c:pt idx="20476">
                  <c:v>-2.1875527047500398</c:v>
                </c:pt>
                <c:pt idx="20477">
                  <c:v>-2.2513641075154598</c:v>
                </c:pt>
                <c:pt idx="20478">
                  <c:v>-2.346094123161119</c:v>
                </c:pt>
                <c:pt idx="20479">
                  <c:v>-2.372610856339219</c:v>
                </c:pt>
                <c:pt idx="20480">
                  <c:v>-1.94438246142144</c:v>
                </c:pt>
                <c:pt idx="20481">
                  <c:v>-1.94781098943104</c:v>
                </c:pt>
                <c:pt idx="20482">
                  <c:v>-2.01927319193365</c:v>
                </c:pt>
                <c:pt idx="20483">
                  <c:v>-2.08613367405815</c:v>
                </c:pt>
                <c:pt idx="20484">
                  <c:v>-2.1467924866344301</c:v>
                </c:pt>
                <c:pt idx="20485">
                  <c:v>-2.2116104363807789</c:v>
                </c:pt>
                <c:pt idx="20486">
                  <c:v>-2.34241430742627</c:v>
                </c:pt>
                <c:pt idx="20487">
                  <c:v>-1.0278758570001101</c:v>
                </c:pt>
                <c:pt idx="20488">
                  <c:v>-1.03879642763018</c:v>
                </c:pt>
                <c:pt idx="20489">
                  <c:v>-1.06006736334713</c:v>
                </c:pt>
                <c:pt idx="20490">
                  <c:v>-1.0152730845354601</c:v>
                </c:pt>
                <c:pt idx="20491">
                  <c:v>-0.97047880572379297</c:v>
                </c:pt>
                <c:pt idx="20492">
                  <c:v>-0.93473803192203797</c:v>
                </c:pt>
                <c:pt idx="20493">
                  <c:v>-0.87624877475266705</c:v>
                </c:pt>
                <c:pt idx="20494">
                  <c:v>-0.84262460574282505</c:v>
                </c:pt>
                <c:pt idx="20495">
                  <c:v>-0.94098794177841105</c:v>
                </c:pt>
                <c:pt idx="20496">
                  <c:v>-0.91857898462123999</c:v>
                </c:pt>
                <c:pt idx="20497">
                  <c:v>-0.92920524513623004</c:v>
                </c:pt>
                <c:pt idx="20498">
                  <c:v>-0.93567236848115198</c:v>
                </c:pt>
                <c:pt idx="20499">
                  <c:v>-0.94418202420423003</c:v>
                </c:pt>
                <c:pt idx="20500">
                  <c:v>-0.99365246100133298</c:v>
                </c:pt>
                <c:pt idx="20501">
                  <c:v>-1.0348046234582899</c:v>
                </c:pt>
                <c:pt idx="20502">
                  <c:v>-1.11110860837933</c:v>
                </c:pt>
                <c:pt idx="20503">
                  <c:v>-1.21833120618062</c:v>
                </c:pt>
                <c:pt idx="20504">
                  <c:v>-1.3788061109316301</c:v>
                </c:pt>
                <c:pt idx="20505">
                  <c:v>-1.5330793461344201</c:v>
                </c:pt>
                <c:pt idx="20506">
                  <c:v>-1.72235103815806</c:v>
                </c:pt>
                <c:pt idx="20507">
                  <c:v>-1.87247035700649</c:v>
                </c:pt>
                <c:pt idx="20508">
                  <c:v>-1.4824330408331501</c:v>
                </c:pt>
                <c:pt idx="20509">
                  <c:v>-1.53767193274763</c:v>
                </c:pt>
                <c:pt idx="20510">
                  <c:v>-1.59291082466211</c:v>
                </c:pt>
                <c:pt idx="20511">
                  <c:v>-1.6074450279824599</c:v>
                </c:pt>
                <c:pt idx="20512">
                  <c:v>-1.6219792313028001</c:v>
                </c:pt>
                <c:pt idx="20513">
                  <c:v>-1.63651343462314</c:v>
                </c:pt>
                <c:pt idx="20514">
                  <c:v>-1.65104763794348</c:v>
                </c:pt>
                <c:pt idx="20515">
                  <c:v>-1.6821711034835301</c:v>
                </c:pt>
                <c:pt idx="20516">
                  <c:v>-1.7132945690235899</c:v>
                </c:pt>
                <c:pt idx="20517">
                  <c:v>-1.74441803456364</c:v>
                </c:pt>
                <c:pt idx="20518">
                  <c:v>-1.7755415001037</c:v>
                </c:pt>
                <c:pt idx="20519">
                  <c:v>-0.57559078889869197</c:v>
                </c:pt>
                <c:pt idx="20520">
                  <c:v>-0.52727010556053899</c:v>
                </c:pt>
                <c:pt idx="20521">
                  <c:v>-0.49958652161380401</c:v>
                </c:pt>
                <c:pt idx="20522">
                  <c:v>-0.50901799927983604</c:v>
                </c:pt>
                <c:pt idx="20523">
                  <c:v>-0.43268937774253902</c:v>
                </c:pt>
                <c:pt idx="20524">
                  <c:v>-0.33370445173152502</c:v>
                </c:pt>
                <c:pt idx="20525">
                  <c:v>-0.203703513130648</c:v>
                </c:pt>
                <c:pt idx="20526">
                  <c:v>-0.260930265038256</c:v>
                </c:pt>
                <c:pt idx="20527">
                  <c:v>-0.30583297107887503</c:v>
                </c:pt>
                <c:pt idx="20528">
                  <c:v>-0.79038528548554299</c:v>
                </c:pt>
                <c:pt idx="20529">
                  <c:v>-0.97763108247417596</c:v>
                </c:pt>
                <c:pt idx="20530">
                  <c:v>-1.0752979030483101</c:v>
                </c:pt>
                <c:pt idx="20531">
                  <c:v>-1.1894426858437801</c:v>
                </c:pt>
                <c:pt idx="20532">
                  <c:v>-1.3118264497499299</c:v>
                </c:pt>
                <c:pt idx="20533">
                  <c:v>-1.42801376492357</c:v>
                </c:pt>
                <c:pt idx="20534">
                  <c:v>-1.4586390514923699</c:v>
                </c:pt>
                <c:pt idx="20535">
                  <c:v>-1.5139812813932001</c:v>
                </c:pt>
                <c:pt idx="20536">
                  <c:v>-1.64158517455515</c:v>
                </c:pt>
                <c:pt idx="20537">
                  <c:v>-1.6804494422346301</c:v>
                </c:pt>
                <c:pt idx="20538">
                  <c:v>-1.75140079153672</c:v>
                </c:pt>
                <c:pt idx="20539">
                  <c:v>-0.48197333403359</c:v>
                </c:pt>
                <c:pt idx="20540">
                  <c:v>-0.40996348885036199</c:v>
                </c:pt>
                <c:pt idx="20541">
                  <c:v>-0.47817490900752302</c:v>
                </c:pt>
                <c:pt idx="20542">
                  <c:v>-0.41025012858061199</c:v>
                </c:pt>
                <c:pt idx="20543">
                  <c:v>-0.39439492387781999</c:v>
                </c:pt>
                <c:pt idx="20544">
                  <c:v>-0.39100668905381297</c:v>
                </c:pt>
                <c:pt idx="20545">
                  <c:v>-0.42889265301264201</c:v>
                </c:pt>
                <c:pt idx="20546">
                  <c:v>-0.49769200903600802</c:v>
                </c:pt>
                <c:pt idx="20547">
                  <c:v>-0.457735895301913</c:v>
                </c:pt>
                <c:pt idx="20548">
                  <c:v>-0.50229141828218105</c:v>
                </c:pt>
                <c:pt idx="20549">
                  <c:v>-0.53248036301729995</c:v>
                </c:pt>
                <c:pt idx="20550">
                  <c:v>-0.52344286216345504</c:v>
                </c:pt>
                <c:pt idx="20551">
                  <c:v>-0.374458040277102</c:v>
                </c:pt>
                <c:pt idx="20552">
                  <c:v>-0.38217244595248501</c:v>
                </c:pt>
                <c:pt idx="20553">
                  <c:v>-0.29706216138907698</c:v>
                </c:pt>
                <c:pt idx="20554">
                  <c:v>-0.26977811024360598</c:v>
                </c:pt>
                <c:pt idx="20555">
                  <c:v>-0.26927839423969302</c:v>
                </c:pt>
                <c:pt idx="20556">
                  <c:v>-0.30589373984854601</c:v>
                </c:pt>
                <c:pt idx="20557">
                  <c:v>-0.25792337632928097</c:v>
                </c:pt>
                <c:pt idx="20558">
                  <c:v>-0.19347505058867001</c:v>
                </c:pt>
                <c:pt idx="20559">
                  <c:v>-0.28737500967243101</c:v>
                </c:pt>
                <c:pt idx="20560">
                  <c:v>-0.31732635901949402</c:v>
                </c:pt>
                <c:pt idx="20561">
                  <c:v>-0.32664060897513802</c:v>
                </c:pt>
                <c:pt idx="20562">
                  <c:v>-0.33799739130894102</c:v>
                </c:pt>
                <c:pt idx="20563">
                  <c:v>-0.43147455515154398</c:v>
                </c:pt>
                <c:pt idx="20564">
                  <c:v>-0.46516224642751802</c:v>
                </c:pt>
                <c:pt idx="20565">
                  <c:v>-0.53792823846494897</c:v>
                </c:pt>
                <c:pt idx="20566">
                  <c:v>-0.60252932180546104</c:v>
                </c:pt>
                <c:pt idx="20567">
                  <c:v>-0.63712945188482595</c:v>
                </c:pt>
                <c:pt idx="20568">
                  <c:v>-0.66349060085351697</c:v>
                </c:pt>
                <c:pt idx="20569">
                  <c:v>-0.68773514503029698</c:v>
                </c:pt>
                <c:pt idx="20570">
                  <c:v>-0.73881323733100901</c:v>
                </c:pt>
                <c:pt idx="20571">
                  <c:v>-0.74763697019160902</c:v>
                </c:pt>
                <c:pt idx="20572">
                  <c:v>-0.75865138025787504</c:v>
                </c:pt>
                <c:pt idx="20573">
                  <c:v>-0.76551187396978404</c:v>
                </c:pt>
                <c:pt idx="20574">
                  <c:v>-0.74961866349836304</c:v>
                </c:pt>
                <c:pt idx="20575">
                  <c:v>-0.76683241318673001</c:v>
                </c:pt>
                <c:pt idx="20576">
                  <c:v>-0.83771325912296402</c:v>
                </c:pt>
                <c:pt idx="20577">
                  <c:v>-0.93119444359930803</c:v>
                </c:pt>
                <c:pt idx="20578">
                  <c:v>-0.95890670320205396</c:v>
                </c:pt>
                <c:pt idx="20579">
                  <c:v>-1.0031705675578699</c:v>
                </c:pt>
                <c:pt idx="20580">
                  <c:v>-0.98362874618877305</c:v>
                </c:pt>
                <c:pt idx="20581">
                  <c:v>-0.98472402421109795</c:v>
                </c:pt>
                <c:pt idx="20582">
                  <c:v>-0.94666692905821204</c:v>
                </c:pt>
                <c:pt idx="20583">
                  <c:v>-0.92162819047372802</c:v>
                </c:pt>
                <c:pt idx="20584">
                  <c:v>-0.91722655128066199</c:v>
                </c:pt>
                <c:pt idx="20585">
                  <c:v>-0.96021626637348001</c:v>
                </c:pt>
                <c:pt idx="20586">
                  <c:v>-0.96405360829108699</c:v>
                </c:pt>
                <c:pt idx="20587">
                  <c:v>-0.95252847803441498</c:v>
                </c:pt>
                <c:pt idx="20588">
                  <c:v>-0.94100334777774297</c:v>
                </c:pt>
                <c:pt idx="20589">
                  <c:v>-0.93983380342365697</c:v>
                </c:pt>
                <c:pt idx="20590">
                  <c:v>-0.96746104634219499</c:v>
                </c:pt>
                <c:pt idx="20591">
                  <c:v>-1.01119097373027</c:v>
                </c:pt>
                <c:pt idx="20592">
                  <c:v>-1.0651971937914599</c:v>
                </c:pt>
                <c:pt idx="20593">
                  <c:v>-1.08829002178811</c:v>
                </c:pt>
                <c:pt idx="20594">
                  <c:v>-1.1299774167980301</c:v>
                </c:pt>
                <c:pt idx="20595">
                  <c:v>-1.0865416659502101</c:v>
                </c:pt>
                <c:pt idx="20596">
                  <c:v>-1.0761359119588401</c:v>
                </c:pt>
                <c:pt idx="20597">
                  <c:v>-1.0553745720648899</c:v>
                </c:pt>
                <c:pt idx="20598">
                  <c:v>-1.05525033156235</c:v>
                </c:pt>
                <c:pt idx="20599">
                  <c:v>-1.02316200493096</c:v>
                </c:pt>
                <c:pt idx="20600">
                  <c:v>-1.0137480892534301</c:v>
                </c:pt>
                <c:pt idx="20601">
                  <c:v>-1.01053584312413</c:v>
                </c:pt>
                <c:pt idx="20602">
                  <c:v>-1.00731837617912</c:v>
                </c:pt>
                <c:pt idx="20603">
                  <c:v>-1.0227711284154599</c:v>
                </c:pt>
                <c:pt idx="20604">
                  <c:v>-1.01758678126039</c:v>
                </c:pt>
                <c:pt idx="20605">
                  <c:v>-1.0515548072805401</c:v>
                </c:pt>
                <c:pt idx="20606">
                  <c:v>-1.0525669088579801</c:v>
                </c:pt>
                <c:pt idx="20607">
                  <c:v>-1.0332645031829499</c:v>
                </c:pt>
                <c:pt idx="20608">
                  <c:v>-1.01396209750793</c:v>
                </c:pt>
                <c:pt idx="20609">
                  <c:v>-1.0008561405654199</c:v>
                </c:pt>
                <c:pt idx="20610">
                  <c:v>-0.95683679155836698</c:v>
                </c:pt>
                <c:pt idx="20611">
                  <c:v>-0.88987078715281798</c:v>
                </c:pt>
                <c:pt idx="20612">
                  <c:v>-0.83938274496861598</c:v>
                </c:pt>
                <c:pt idx="20613">
                  <c:v>-0.78889470278441398</c:v>
                </c:pt>
                <c:pt idx="20614">
                  <c:v>-0.73840666060021198</c:v>
                </c:pt>
                <c:pt idx="20615">
                  <c:v>-0.61864444064442103</c:v>
                </c:pt>
                <c:pt idx="20616">
                  <c:v>-0.49888222068863097</c:v>
                </c:pt>
                <c:pt idx="20617">
                  <c:v>-0.37912000073284102</c:v>
                </c:pt>
                <c:pt idx="20618">
                  <c:v>-0.25935778077705102</c:v>
                </c:pt>
                <c:pt idx="20619">
                  <c:v>-0.27255788123463698</c:v>
                </c:pt>
                <c:pt idx="20620">
                  <c:v>-0.285757981692223</c:v>
                </c:pt>
                <c:pt idx="20621">
                  <c:v>-0.29895808214981001</c:v>
                </c:pt>
                <c:pt idx="20622">
                  <c:v>-0.31215818260739597</c:v>
                </c:pt>
                <c:pt idx="20623">
                  <c:v>-0.32019683866564402</c:v>
                </c:pt>
                <c:pt idx="20624">
                  <c:v>-0.32823549472389102</c:v>
                </c:pt>
                <c:pt idx="20625">
                  <c:v>-0.33627415078213901</c:v>
                </c:pt>
                <c:pt idx="20626">
                  <c:v>-0.34431280684038601</c:v>
                </c:pt>
                <c:pt idx="20627">
                  <c:v>-0.34178491442273501</c:v>
                </c:pt>
                <c:pt idx="20628">
                  <c:v>-0.72057853349782297</c:v>
                </c:pt>
                <c:pt idx="20629">
                  <c:v>-0.45834538628313398</c:v>
                </c:pt>
                <c:pt idx="20630">
                  <c:v>-0.37137992956487398</c:v>
                </c:pt>
                <c:pt idx="20631">
                  <c:v>-0.26661115816207298</c:v>
                </c:pt>
                <c:pt idx="20632">
                  <c:v>-0.26902321361178499</c:v>
                </c:pt>
                <c:pt idx="20633">
                  <c:v>-0.224043914775613</c:v>
                </c:pt>
                <c:pt idx="20634">
                  <c:v>-0.123354987313416</c:v>
                </c:pt>
                <c:pt idx="20635">
                  <c:v>-4.93380023785044E-2</c:v>
                </c:pt>
                <c:pt idx="20636">
                  <c:v>1.8482533823891801E-2</c:v>
                </c:pt>
                <c:pt idx="20637">
                  <c:v>1.8274616348985601E-2</c:v>
                </c:pt>
                <c:pt idx="20638">
                  <c:v>0.15208107385052599</c:v>
                </c:pt>
                <c:pt idx="20639">
                  <c:v>0.10711994297883901</c:v>
                </c:pt>
                <c:pt idx="20640">
                  <c:v>0.10955538720874899</c:v>
                </c:pt>
                <c:pt idx="20641">
                  <c:v>1.50122248455122E-2</c:v>
                </c:pt>
                <c:pt idx="20642">
                  <c:v>-3.00229784399288E-2</c:v>
                </c:pt>
                <c:pt idx="20643">
                  <c:v>-5.0646500747812698E-2</c:v>
                </c:pt>
                <c:pt idx="20644">
                  <c:v>-5.05588512505247E-2</c:v>
                </c:pt>
                <c:pt idx="20645">
                  <c:v>4.2274195256086999E-2</c:v>
                </c:pt>
                <c:pt idx="20646">
                  <c:v>2.1650672948203199E-2</c:v>
                </c:pt>
                <c:pt idx="20647">
                  <c:v>-0.10764619721714699</c:v>
                </c:pt>
                <c:pt idx="20648">
                  <c:v>-0.121518038603597</c:v>
                </c:pt>
                <c:pt idx="20649">
                  <c:v>-7.5600407423417906E-2</c:v>
                </c:pt>
                <c:pt idx="20650">
                  <c:v>1.7861943685866001E-2</c:v>
                </c:pt>
                <c:pt idx="20651">
                  <c:v>-3.5505937557849501E-3</c:v>
                </c:pt>
                <c:pt idx="20652">
                  <c:v>-6.3685641841763098E-3</c:v>
                </c:pt>
                <c:pt idx="20653">
                  <c:v>-7.1440022344092403E-3</c:v>
                </c:pt>
                <c:pt idx="20654">
                  <c:v>-2.8482467262306299E-2</c:v>
                </c:pt>
                <c:pt idx="20655">
                  <c:v>-3.1558156110069999E-2</c:v>
                </c:pt>
                <c:pt idx="20656">
                  <c:v>-3.4633844957833802E-2</c:v>
                </c:pt>
                <c:pt idx="20657">
                  <c:v>-3.7709533805597599E-2</c:v>
                </c:pt>
                <c:pt idx="20658">
                  <c:v>-4.0785222653361299E-2</c:v>
                </c:pt>
                <c:pt idx="20659">
                  <c:v>-0.12594299506383899</c:v>
                </c:pt>
                <c:pt idx="20660">
                  <c:v>-0.211100767474318</c:v>
                </c:pt>
                <c:pt idx="20661">
                  <c:v>-0.296258539884796</c:v>
                </c:pt>
                <c:pt idx="20662">
                  <c:v>-0.38141631229527401</c:v>
                </c:pt>
                <c:pt idx="20663">
                  <c:v>-0.42098536599189901</c:v>
                </c:pt>
                <c:pt idx="20664">
                  <c:v>-0.46055441968852401</c:v>
                </c:pt>
                <c:pt idx="20665">
                  <c:v>-0.50012347338514995</c:v>
                </c:pt>
                <c:pt idx="20666">
                  <c:v>-0.53969252708177495</c:v>
                </c:pt>
                <c:pt idx="20667">
                  <c:v>-0.48541525819250603</c:v>
                </c:pt>
                <c:pt idx="20668">
                  <c:v>-0.43113798930323699</c:v>
                </c:pt>
                <c:pt idx="20669">
                  <c:v>-0.37686072041396901</c:v>
                </c:pt>
                <c:pt idx="20670">
                  <c:v>-1.2136891882212799</c:v>
                </c:pt>
                <c:pt idx="20671">
                  <c:v>-1.31744336550662</c:v>
                </c:pt>
                <c:pt idx="20672">
                  <c:v>-1.4005656642162601</c:v>
                </c:pt>
                <c:pt idx="20673">
                  <c:v>-1.4651674683264</c:v>
                </c:pt>
                <c:pt idx="20674">
                  <c:v>-1.5132172378014299</c:v>
                </c:pt>
                <c:pt idx="20675">
                  <c:v>-1.4904539056633701</c:v>
                </c:pt>
                <c:pt idx="20676">
                  <c:v>-1.63043288417633</c:v>
                </c:pt>
                <c:pt idx="20677">
                  <c:v>-1.7106912417207101</c:v>
                </c:pt>
                <c:pt idx="20678">
                  <c:v>-1.7044058718039901</c:v>
                </c:pt>
                <c:pt idx="20679">
                  <c:v>-1.75537486379084</c:v>
                </c:pt>
                <c:pt idx="20680">
                  <c:v>-1.85380928247732</c:v>
                </c:pt>
                <c:pt idx="20681">
                  <c:v>-1.9686423701556801</c:v>
                </c:pt>
                <c:pt idx="20682">
                  <c:v>-0.72596772527280096</c:v>
                </c:pt>
                <c:pt idx="20683">
                  <c:v>-0.76814908816287697</c:v>
                </c:pt>
                <c:pt idx="20684">
                  <c:v>-0.96701923698326198</c:v>
                </c:pt>
                <c:pt idx="20685">
                  <c:v>-1.0153970486058499</c:v>
                </c:pt>
                <c:pt idx="20686">
                  <c:v>-1.0705221157593301</c:v>
                </c:pt>
                <c:pt idx="20687">
                  <c:v>-1.17304375801439</c:v>
                </c:pt>
                <c:pt idx="20688">
                  <c:v>-1.1497900064036899</c:v>
                </c:pt>
                <c:pt idx="20689">
                  <c:v>-1.19871862482465</c:v>
                </c:pt>
                <c:pt idx="20690">
                  <c:v>-1.19685518845558</c:v>
                </c:pt>
                <c:pt idx="20691">
                  <c:v>-1.1228093820548499</c:v>
                </c:pt>
                <c:pt idx="20692">
                  <c:v>-1.0384820621652799</c:v>
                </c:pt>
                <c:pt idx="20693">
                  <c:v>-1.0551391203957201</c:v>
                </c:pt>
                <c:pt idx="20694">
                  <c:v>-1.0734689734926299</c:v>
                </c:pt>
                <c:pt idx="20695">
                  <c:v>-1.08355984547888</c:v>
                </c:pt>
                <c:pt idx="20696">
                  <c:v>-1.0709763065112601</c:v>
                </c:pt>
                <c:pt idx="20697">
                  <c:v>-1.07895057370559</c:v>
                </c:pt>
                <c:pt idx="20698">
                  <c:v>-1.0353018914943399</c:v>
                </c:pt>
                <c:pt idx="20699">
                  <c:v>-1.03481657480086</c:v>
                </c:pt>
                <c:pt idx="20700">
                  <c:v>-1.0406017792536599</c:v>
                </c:pt>
                <c:pt idx="20701">
                  <c:v>-1.05674256960904</c:v>
                </c:pt>
                <c:pt idx="20702">
                  <c:v>-1.1369302201506699</c:v>
                </c:pt>
                <c:pt idx="20703">
                  <c:v>-1.2171178706923</c:v>
                </c:pt>
                <c:pt idx="20704">
                  <c:v>-1.29730552123392</c:v>
                </c:pt>
                <c:pt idx="20705">
                  <c:v>-1.3774931717755501</c:v>
                </c:pt>
                <c:pt idx="20706">
                  <c:v>-1.4726787253449001</c:v>
                </c:pt>
                <c:pt idx="20707">
                  <c:v>-1.5678642789142401</c:v>
                </c:pt>
                <c:pt idx="20708">
                  <c:v>-1.6630498324835801</c:v>
                </c:pt>
                <c:pt idx="20709">
                  <c:v>-1.7582353860529201</c:v>
                </c:pt>
                <c:pt idx="20710">
                  <c:v>-1.6697717974398301</c:v>
                </c:pt>
                <c:pt idx="20711">
                  <c:v>-1.5813082088267401</c:v>
                </c:pt>
                <c:pt idx="20712">
                  <c:v>-1.4928446202136401</c:v>
                </c:pt>
                <c:pt idx="20713">
                  <c:v>-1.7285070201649799</c:v>
                </c:pt>
                <c:pt idx="20714">
                  <c:v>-1.69330975646127</c:v>
                </c:pt>
                <c:pt idx="20715">
                  <c:v>-1.6745852341631999</c:v>
                </c:pt>
                <c:pt idx="20716">
                  <c:v>-1.6908696103174099</c:v>
                </c:pt>
                <c:pt idx="20717">
                  <c:v>-1.71910637031611</c:v>
                </c:pt>
                <c:pt idx="20718">
                  <c:v>-1.7720652944625399</c:v>
                </c:pt>
                <c:pt idx="20719">
                  <c:v>-1.7857977730200101</c:v>
                </c:pt>
                <c:pt idx="20720">
                  <c:v>-1.78924351727294</c:v>
                </c:pt>
                <c:pt idx="20721">
                  <c:v>-1.72372235113441</c:v>
                </c:pt>
                <c:pt idx="20722">
                  <c:v>-1.6973587789868001</c:v>
                </c:pt>
                <c:pt idx="20723">
                  <c:v>-1.6442357311290099</c:v>
                </c:pt>
                <c:pt idx="20724">
                  <c:v>-1.6075906454925799</c:v>
                </c:pt>
                <c:pt idx="20725">
                  <c:v>-1.63245584821224</c:v>
                </c:pt>
                <c:pt idx="20726">
                  <c:v>-1.6697932416264001</c:v>
                </c:pt>
                <c:pt idx="20727">
                  <c:v>-1.7422031642751701</c:v>
                </c:pt>
                <c:pt idx="20728">
                  <c:v>-1.84137256263412</c:v>
                </c:pt>
                <c:pt idx="20729">
                  <c:v>-1.8350389069303199</c:v>
                </c:pt>
                <c:pt idx="20730">
                  <c:v>-1.8782184311200301</c:v>
                </c:pt>
                <c:pt idx="20731">
                  <c:v>-2.0059784436221491</c:v>
                </c:pt>
                <c:pt idx="20732">
                  <c:v>-2.0656359300331988</c:v>
                </c:pt>
                <c:pt idx="20733">
                  <c:v>-1.5629935896801701</c:v>
                </c:pt>
                <c:pt idx="20734">
                  <c:v>-1.55547947829349</c:v>
                </c:pt>
                <c:pt idx="20735">
                  <c:v>-1.5589166559122101</c:v>
                </c:pt>
                <c:pt idx="20736">
                  <c:v>-1.5211589279775699</c:v>
                </c:pt>
                <c:pt idx="20737">
                  <c:v>-1.5122720597293</c:v>
                </c:pt>
                <c:pt idx="20738">
                  <c:v>-1.57558322395983</c:v>
                </c:pt>
                <c:pt idx="20739">
                  <c:v>-1.53849408659711</c:v>
                </c:pt>
                <c:pt idx="20740">
                  <c:v>-1.52408458100397</c:v>
                </c:pt>
                <c:pt idx="20741">
                  <c:v>-1.54474760464543</c:v>
                </c:pt>
                <c:pt idx="20742">
                  <c:v>-1.58189381132396</c:v>
                </c:pt>
                <c:pt idx="20743">
                  <c:v>-1.60222297645696</c:v>
                </c:pt>
                <c:pt idx="20744">
                  <c:v>-1.5833152543695601</c:v>
                </c:pt>
                <c:pt idx="20745">
                  <c:v>-1.58089071531923</c:v>
                </c:pt>
                <c:pt idx="20746">
                  <c:v>-1.58882176217149</c:v>
                </c:pt>
                <c:pt idx="20747">
                  <c:v>-1.59633013412168</c:v>
                </c:pt>
                <c:pt idx="20748">
                  <c:v>-1.5894771486424399</c:v>
                </c:pt>
                <c:pt idx="20749">
                  <c:v>-1.6362171869973201</c:v>
                </c:pt>
                <c:pt idx="20750">
                  <c:v>-1.6973978760110999</c:v>
                </c:pt>
                <c:pt idx="20751">
                  <c:v>-1.7436212587441891</c:v>
                </c:pt>
                <c:pt idx="20752">
                  <c:v>-1.8022375389423</c:v>
                </c:pt>
                <c:pt idx="20753">
                  <c:v>-4.5048532869141598</c:v>
                </c:pt>
                <c:pt idx="20754">
                  <c:v>-1.65570164404181</c:v>
                </c:pt>
                <c:pt idx="20755">
                  <c:v>-1.6573374928207001</c:v>
                </c:pt>
                <c:pt idx="20756">
                  <c:v>-1.6589785624153</c:v>
                </c:pt>
                <c:pt idx="20757">
                  <c:v>-1.61934543322707</c:v>
                </c:pt>
                <c:pt idx="20758">
                  <c:v>-1.7365387931652201</c:v>
                </c:pt>
                <c:pt idx="20759">
                  <c:v>-1.81614054967312</c:v>
                </c:pt>
                <c:pt idx="20760">
                  <c:v>-1.7555158200249199</c:v>
                </c:pt>
                <c:pt idx="20761">
                  <c:v>-0.65121620676382397</c:v>
                </c:pt>
                <c:pt idx="20762">
                  <c:v>-0.66910542261665196</c:v>
                </c:pt>
                <c:pt idx="20763">
                  <c:v>-0.69734500355634998</c:v>
                </c:pt>
                <c:pt idx="20764">
                  <c:v>-0.65383690270359895</c:v>
                </c:pt>
                <c:pt idx="20765">
                  <c:v>-0.64539611026973998</c:v>
                </c:pt>
                <c:pt idx="20766">
                  <c:v>-0.63900307102975296</c:v>
                </c:pt>
                <c:pt idx="20767">
                  <c:v>-0.64296039687663897</c:v>
                </c:pt>
                <c:pt idx="20768">
                  <c:v>-0.71605286712982197</c:v>
                </c:pt>
                <c:pt idx="20769">
                  <c:v>-0.73766369752508898</c:v>
                </c:pt>
                <c:pt idx="20770">
                  <c:v>-0.72828184262635298</c:v>
                </c:pt>
                <c:pt idx="20771">
                  <c:v>-0.66099968189592495</c:v>
                </c:pt>
                <c:pt idx="20772">
                  <c:v>-0.45148050914084098</c:v>
                </c:pt>
                <c:pt idx="20773">
                  <c:v>-0.390649020893795</c:v>
                </c:pt>
                <c:pt idx="20774">
                  <c:v>-0.34199343368623097</c:v>
                </c:pt>
                <c:pt idx="20775">
                  <c:v>-0.26045077363401198</c:v>
                </c:pt>
                <c:pt idx="20776">
                  <c:v>-0.28369016931536101</c:v>
                </c:pt>
                <c:pt idx="20777">
                  <c:v>-0.25749045751695399</c:v>
                </c:pt>
                <c:pt idx="20778">
                  <c:v>-0.25200191752371898</c:v>
                </c:pt>
                <c:pt idx="20779">
                  <c:v>-0.35786378318449402</c:v>
                </c:pt>
                <c:pt idx="20780">
                  <c:v>-0.40459733453465802</c:v>
                </c:pt>
                <c:pt idx="20781">
                  <c:v>-0.37301569790297401</c:v>
                </c:pt>
                <c:pt idx="20782">
                  <c:v>-0.34959896996820999</c:v>
                </c:pt>
                <c:pt idx="20783">
                  <c:v>-0.324213782069042</c:v>
                </c:pt>
                <c:pt idx="20784">
                  <c:v>-0.336956647375945</c:v>
                </c:pt>
                <c:pt idx="20785">
                  <c:v>-0.372299851222958</c:v>
                </c:pt>
                <c:pt idx="20786">
                  <c:v>-0.40975965986188201</c:v>
                </c:pt>
                <c:pt idx="20787">
                  <c:v>-0.441023019768292</c:v>
                </c:pt>
                <c:pt idx="20788">
                  <c:v>-0.47393620111457901</c:v>
                </c:pt>
                <c:pt idx="20789">
                  <c:v>-0.51924750074160997</c:v>
                </c:pt>
                <c:pt idx="20790">
                  <c:v>-0.58731250455197204</c:v>
                </c:pt>
                <c:pt idx="20791">
                  <c:v>-0.62226821827641798</c:v>
                </c:pt>
                <c:pt idx="20792">
                  <c:v>-0.62997037376307996</c:v>
                </c:pt>
                <c:pt idx="20793">
                  <c:v>-0.62731694334715604</c:v>
                </c:pt>
                <c:pt idx="20794">
                  <c:v>-0.63706163121197601</c:v>
                </c:pt>
                <c:pt idx="20795">
                  <c:v>-0.64053057711481398</c:v>
                </c:pt>
                <c:pt idx="20796">
                  <c:v>-0.40424821942092998</c:v>
                </c:pt>
                <c:pt idx="20797">
                  <c:v>-0.53630172613205596</c:v>
                </c:pt>
                <c:pt idx="20798">
                  <c:v>-0.343479023610961</c:v>
                </c:pt>
                <c:pt idx="20799">
                  <c:v>-0.31622968627911102</c:v>
                </c:pt>
                <c:pt idx="20800">
                  <c:v>-0.36830030374278</c:v>
                </c:pt>
                <c:pt idx="20801">
                  <c:v>-0.40789873051195202</c:v>
                </c:pt>
                <c:pt idx="20802">
                  <c:v>-0.45369360601363901</c:v>
                </c:pt>
                <c:pt idx="20803">
                  <c:v>-0.48716965646404797</c:v>
                </c:pt>
                <c:pt idx="20804">
                  <c:v>-0.48427602846955098</c:v>
                </c:pt>
                <c:pt idx="20805">
                  <c:v>-0.48342493285321397</c:v>
                </c:pt>
                <c:pt idx="20806">
                  <c:v>-0.50743892539640501</c:v>
                </c:pt>
                <c:pt idx="20807">
                  <c:v>-0.55821239364977604</c:v>
                </c:pt>
                <c:pt idx="20808">
                  <c:v>-1.0127271474375501</c:v>
                </c:pt>
                <c:pt idx="20809">
                  <c:v>-1.02878541026832</c:v>
                </c:pt>
                <c:pt idx="20810">
                  <c:v>-1.0453908761424899</c:v>
                </c:pt>
                <c:pt idx="20811">
                  <c:v>-1.0475609121734699</c:v>
                </c:pt>
                <c:pt idx="20812">
                  <c:v>-1.03571020538229</c:v>
                </c:pt>
                <c:pt idx="20813">
                  <c:v>-1.03184347239614</c:v>
                </c:pt>
                <c:pt idx="20814">
                  <c:v>-1.05889013147453</c:v>
                </c:pt>
                <c:pt idx="20815">
                  <c:v>-1.15593370419462</c:v>
                </c:pt>
                <c:pt idx="20816">
                  <c:v>-1.3422696793753099</c:v>
                </c:pt>
                <c:pt idx="20817">
                  <c:v>-1.3405106143230701</c:v>
                </c:pt>
                <c:pt idx="20818">
                  <c:v>-1.40609670223961</c:v>
                </c:pt>
                <c:pt idx="20819">
                  <c:v>-1.4449233144459801</c:v>
                </c:pt>
                <c:pt idx="20820">
                  <c:v>-1.4693144968091501</c:v>
                </c:pt>
                <c:pt idx="20821">
                  <c:v>-1.49370567917233</c:v>
                </c:pt>
                <c:pt idx="20822">
                  <c:v>-1.5141178286971899</c:v>
                </c:pt>
                <c:pt idx="20823">
                  <c:v>-1.5139669512443801</c:v>
                </c:pt>
                <c:pt idx="20824">
                  <c:v>-1.4911416628377201</c:v>
                </c:pt>
                <c:pt idx="20825">
                  <c:v>-1.46627384205289</c:v>
                </c:pt>
                <c:pt idx="20826">
                  <c:v>-1.0048712842260299</c:v>
                </c:pt>
                <c:pt idx="20827">
                  <c:v>-0.77396335432617103</c:v>
                </c:pt>
                <c:pt idx="20828">
                  <c:v>-0.80094260990265198</c:v>
                </c:pt>
                <c:pt idx="20829">
                  <c:v>-0.32064600481841998</c:v>
                </c:pt>
                <c:pt idx="20830">
                  <c:v>-0.28819526666835699</c:v>
                </c:pt>
                <c:pt idx="20831">
                  <c:v>-0.21146231598455301</c:v>
                </c:pt>
                <c:pt idx="20832">
                  <c:v>-0.24395272453142</c:v>
                </c:pt>
                <c:pt idx="20833">
                  <c:v>-0.260039243270694</c:v>
                </c:pt>
                <c:pt idx="20834">
                  <c:v>-0.21210307985951399</c:v>
                </c:pt>
                <c:pt idx="20835">
                  <c:v>-0.148253243599968</c:v>
                </c:pt>
                <c:pt idx="20836">
                  <c:v>-8.2509019789769905E-2</c:v>
                </c:pt>
                <c:pt idx="20837">
                  <c:v>1.9038434474408499E-3</c:v>
                </c:pt>
                <c:pt idx="20838">
                  <c:v>2.2368096947952901E-2</c:v>
                </c:pt>
                <c:pt idx="20839">
                  <c:v>-2.6329922733408602E-3</c:v>
                </c:pt>
                <c:pt idx="20840">
                  <c:v>1.1597584910043699E-2</c:v>
                </c:pt>
                <c:pt idx="20841">
                  <c:v>-3.8120447643271001E-2</c:v>
                </c:pt>
                <c:pt idx="20842">
                  <c:v>-7.5514434329595495E-2</c:v>
                </c:pt>
                <c:pt idx="20843">
                  <c:v>-0.12206097360839201</c:v>
                </c:pt>
                <c:pt idx="20844">
                  <c:v>-0.16255920898218201</c:v>
                </c:pt>
                <c:pt idx="20845">
                  <c:v>-0.18438880492895701</c:v>
                </c:pt>
                <c:pt idx="20846">
                  <c:v>-1.99484314911428</c:v>
                </c:pt>
                <c:pt idx="20847">
                  <c:v>-0.22694245834533699</c:v>
                </c:pt>
                <c:pt idx="20848">
                  <c:v>-0.171250936199458</c:v>
                </c:pt>
                <c:pt idx="20849">
                  <c:v>-0.15471178722879</c:v>
                </c:pt>
                <c:pt idx="20850">
                  <c:v>-0.107333318607339</c:v>
                </c:pt>
                <c:pt idx="20851">
                  <c:v>-0.20379173691962499</c:v>
                </c:pt>
                <c:pt idx="20852">
                  <c:v>-0.30025015523191201</c:v>
                </c:pt>
                <c:pt idx="20853">
                  <c:v>-0.353397063198918</c:v>
                </c:pt>
                <c:pt idx="20854">
                  <c:v>-0.44161650040053102</c:v>
                </c:pt>
                <c:pt idx="20855">
                  <c:v>-0.43814035639572801</c:v>
                </c:pt>
                <c:pt idx="20856">
                  <c:v>-0.44290319350159901</c:v>
                </c:pt>
                <c:pt idx="20857">
                  <c:v>-0.52393346539544605</c:v>
                </c:pt>
                <c:pt idx="20858">
                  <c:v>-0.56784867567652697</c:v>
                </c:pt>
                <c:pt idx="20859">
                  <c:v>-0.58191670679451701</c:v>
                </c:pt>
                <c:pt idx="20860">
                  <c:v>-0.58358661963175995</c:v>
                </c:pt>
                <c:pt idx="20861">
                  <c:v>-0.53786517818312196</c:v>
                </c:pt>
                <c:pt idx="20862">
                  <c:v>-0.48390475562380703</c:v>
                </c:pt>
                <c:pt idx="20863">
                  <c:v>-0.51358712695878195</c:v>
                </c:pt>
                <c:pt idx="20864">
                  <c:v>-0.51031357385106302</c:v>
                </c:pt>
                <c:pt idx="20865">
                  <c:v>-0.52351798296469099</c:v>
                </c:pt>
                <c:pt idx="20866">
                  <c:v>-0.52848341096764495</c:v>
                </c:pt>
                <c:pt idx="20867">
                  <c:v>-0.41875187975268402</c:v>
                </c:pt>
                <c:pt idx="20868">
                  <c:v>-0.35641170282360601</c:v>
                </c:pt>
                <c:pt idx="20869">
                  <c:v>-0.36209997957183099</c:v>
                </c:pt>
                <c:pt idx="20870">
                  <c:v>-0.32447674597477599</c:v>
                </c:pt>
                <c:pt idx="20871">
                  <c:v>-0.28865954243053399</c:v>
                </c:pt>
                <c:pt idx="20872">
                  <c:v>-0.283681658537074</c:v>
                </c:pt>
                <c:pt idx="20873">
                  <c:v>-0.28082037943552701</c:v>
                </c:pt>
                <c:pt idx="20874">
                  <c:v>-0.26972011922330502</c:v>
                </c:pt>
                <c:pt idx="20875">
                  <c:v>-0.27967945595524502</c:v>
                </c:pt>
                <c:pt idx="20876">
                  <c:v>-0.283442343954669</c:v>
                </c:pt>
                <c:pt idx="20877">
                  <c:v>-0.29340168068660799</c:v>
                </c:pt>
                <c:pt idx="20878">
                  <c:v>-0.31159999852922099</c:v>
                </c:pt>
                <c:pt idx="20879">
                  <c:v>-0.32774458553077901</c:v>
                </c:pt>
                <c:pt idx="20880">
                  <c:v>-0.34388917253233803</c:v>
                </c:pt>
                <c:pt idx="20881">
                  <c:v>-0.35179477842322299</c:v>
                </c:pt>
                <c:pt idx="20882">
                  <c:v>-0.35765785193595001</c:v>
                </c:pt>
                <c:pt idx="20883">
                  <c:v>-0.32878773426298102</c:v>
                </c:pt>
                <c:pt idx="20884">
                  <c:v>-0.30196014896816997</c:v>
                </c:pt>
                <c:pt idx="20885">
                  <c:v>-0.27309003129520099</c:v>
                </c:pt>
                <c:pt idx="20886">
                  <c:v>-0.23598093251155799</c:v>
                </c:pt>
                <c:pt idx="20887">
                  <c:v>-0.24586234430364401</c:v>
                </c:pt>
                <c:pt idx="20888">
                  <c:v>-0.24750477498505599</c:v>
                </c:pt>
                <c:pt idx="20889">
                  <c:v>-0.25738618677714098</c:v>
                </c:pt>
                <c:pt idx="20890">
                  <c:v>-0.25902861745855299</c:v>
                </c:pt>
                <c:pt idx="20891">
                  <c:v>-0.21087497277225301</c:v>
                </c:pt>
                <c:pt idx="20892">
                  <c:v>-0.16891777681846801</c:v>
                </c:pt>
                <c:pt idx="20893">
                  <c:v>-0.149640212634259</c:v>
                </c:pt>
                <c:pt idx="20894">
                  <c:v>-0.124160978901821</c:v>
                </c:pt>
                <c:pt idx="20895">
                  <c:v>-0.13475329931284399</c:v>
                </c:pt>
                <c:pt idx="20896">
                  <c:v>-0.137106638613193</c:v>
                </c:pt>
                <c:pt idx="20897">
                  <c:v>-0.14769895902421501</c:v>
                </c:pt>
                <c:pt idx="20898">
                  <c:v>-0.15005229832456399</c:v>
                </c:pt>
                <c:pt idx="20899">
                  <c:v>-8.5423835244338803E-2</c:v>
                </c:pt>
                <c:pt idx="20900">
                  <c:v>-1.2556391053439499E-2</c:v>
                </c:pt>
                <c:pt idx="20901">
                  <c:v>4.9955467234873902E-2</c:v>
                </c:pt>
                <c:pt idx="20902">
                  <c:v>8.3670538250562407E-2</c:v>
                </c:pt>
                <c:pt idx="20903">
                  <c:v>0.19430607143123799</c:v>
                </c:pt>
                <c:pt idx="20904">
                  <c:v>0.31522311810074499</c:v>
                </c:pt>
                <c:pt idx="20905">
                  <c:v>0.405226772705716</c:v>
                </c:pt>
                <c:pt idx="20906">
                  <c:v>0.51790483826454903</c:v>
                </c:pt>
                <c:pt idx="20907">
                  <c:v>0.50917944335824195</c:v>
                </c:pt>
                <c:pt idx="20908">
                  <c:v>0.48601861860874501</c:v>
                </c:pt>
                <c:pt idx="20909">
                  <c:v>0.46497439865116003</c:v>
                </c:pt>
                <c:pt idx="20910">
                  <c:v>0.47484357075811301</c:v>
                </c:pt>
                <c:pt idx="20911">
                  <c:v>0.42851962438371199</c:v>
                </c:pt>
                <c:pt idx="20912">
                  <c:v>0.37395669689863698</c:v>
                </c:pt>
                <c:pt idx="20913">
                  <c:v>0.31115478830288901</c:v>
                </c:pt>
                <c:pt idx="20914">
                  <c:v>0.281308804149835</c:v>
                </c:pt>
                <c:pt idx="20915">
                  <c:v>0.29529489994364999</c:v>
                </c:pt>
                <c:pt idx="20916">
                  <c:v>0.323716425580655</c:v>
                </c:pt>
                <c:pt idx="20917">
                  <c:v>0.354180483595817</c:v>
                </c:pt>
                <c:pt idx="20918">
                  <c:v>0.38471861402473301</c:v>
                </c:pt>
                <c:pt idx="20919">
                  <c:v>0.45379510377371501</c:v>
                </c:pt>
                <c:pt idx="20920">
                  <c:v>0.51879174958209195</c:v>
                </c:pt>
                <c:pt idx="20921">
                  <c:v>0.55483824247462399</c:v>
                </c:pt>
                <c:pt idx="20922">
                  <c:v>0.60124032126974203</c:v>
                </c:pt>
                <c:pt idx="20923">
                  <c:v>0.53302890111258105</c:v>
                </c:pt>
                <c:pt idx="20924">
                  <c:v>0.46481748095542003</c:v>
                </c:pt>
                <c:pt idx="20925">
                  <c:v>0.396606060798259</c:v>
                </c:pt>
                <c:pt idx="20926">
                  <c:v>0.32839464064109802</c:v>
                </c:pt>
                <c:pt idx="20927">
                  <c:v>0.26170666859393099</c:v>
                </c:pt>
                <c:pt idx="20928">
                  <c:v>0.19501869654676399</c:v>
                </c:pt>
                <c:pt idx="20929">
                  <c:v>0.12833072449959701</c:v>
                </c:pt>
                <c:pt idx="20930">
                  <c:v>6.1642752452429998E-2</c:v>
                </c:pt>
                <c:pt idx="20931">
                  <c:v>1.7087229472161701E-2</c:v>
                </c:pt>
                <c:pt idx="20932">
                  <c:v>-2.74682935081066E-2</c:v>
                </c:pt>
                <c:pt idx="20933">
                  <c:v>-7.2023816488374803E-2</c:v>
                </c:pt>
                <c:pt idx="20934">
                  <c:v>-0.116579339468643</c:v>
                </c:pt>
                <c:pt idx="20935">
                  <c:v>-0.14288831215728601</c:v>
                </c:pt>
                <c:pt idx="20936">
                  <c:v>-0.169197284845928</c:v>
                </c:pt>
                <c:pt idx="20937">
                  <c:v>-0.650914968241047</c:v>
                </c:pt>
                <c:pt idx="20938">
                  <c:v>-0.68130900568600705</c:v>
                </c:pt>
                <c:pt idx="20939">
                  <c:v>-0.70953722535667796</c:v>
                </c:pt>
                <c:pt idx="20940">
                  <c:v>-0.75424862806440995</c:v>
                </c:pt>
                <c:pt idx="20941">
                  <c:v>-0.74135601459546696</c:v>
                </c:pt>
                <c:pt idx="20942">
                  <c:v>-0.73662830982344296</c:v>
                </c:pt>
                <c:pt idx="20943">
                  <c:v>-0.76213467397684598</c:v>
                </c:pt>
                <c:pt idx="20944">
                  <c:v>-0.75905602646745995</c:v>
                </c:pt>
                <c:pt idx="20945">
                  <c:v>-0.76837027642310396</c:v>
                </c:pt>
                <c:pt idx="20946">
                  <c:v>-0.71162453266585102</c:v>
                </c:pt>
                <c:pt idx="20947">
                  <c:v>-0.81326660520537397</c:v>
                </c:pt>
                <c:pt idx="20948">
                  <c:v>-0.86948578342341698</c:v>
                </c:pt>
                <c:pt idx="20949">
                  <c:v>-0.97323923993913897</c:v>
                </c:pt>
                <c:pt idx="20950">
                  <c:v>-1.0541753614892</c:v>
                </c:pt>
                <c:pt idx="20951">
                  <c:v>-1.1156090396925</c:v>
                </c:pt>
                <c:pt idx="20952">
                  <c:v>-1.2037281211922299</c:v>
                </c:pt>
                <c:pt idx="20953">
                  <c:v>-1.3041023969609</c:v>
                </c:pt>
                <c:pt idx="20954">
                  <c:v>-1.36947821590872</c:v>
                </c:pt>
                <c:pt idx="20955">
                  <c:v>-1.4340115773953499</c:v>
                </c:pt>
                <c:pt idx="20956">
                  <c:v>-1.4634776304630801</c:v>
                </c:pt>
                <c:pt idx="20957">
                  <c:v>-1.4764605004937501</c:v>
                </c:pt>
                <c:pt idx="20958">
                  <c:v>-1.48740605896198</c:v>
                </c:pt>
                <c:pt idx="20959">
                  <c:v>-0.30465028530568899</c:v>
                </c:pt>
                <c:pt idx="20960">
                  <c:v>-0.30672710684406601</c:v>
                </c:pt>
                <c:pt idx="20961">
                  <c:v>-0.41652450396541002</c:v>
                </c:pt>
                <c:pt idx="20962">
                  <c:v>-0.513929003621722</c:v>
                </c:pt>
                <c:pt idx="20963">
                  <c:v>-0.60309452216736104</c:v>
                </c:pt>
                <c:pt idx="20964">
                  <c:v>-0.663394401842335</c:v>
                </c:pt>
                <c:pt idx="20965">
                  <c:v>-0.72067582613497705</c:v>
                </c:pt>
                <c:pt idx="20966">
                  <c:v>-0.83358758582417802</c:v>
                </c:pt>
                <c:pt idx="20967">
                  <c:v>-0.91762848582699996</c:v>
                </c:pt>
                <c:pt idx="20968">
                  <c:v>-0.98111157966787099</c:v>
                </c:pt>
                <c:pt idx="20969">
                  <c:v>-1.04507966965225</c:v>
                </c:pt>
                <c:pt idx="20970">
                  <c:v>-1.0596138729725999</c:v>
                </c:pt>
                <c:pt idx="20971">
                  <c:v>-1.0597126464497499</c:v>
                </c:pt>
                <c:pt idx="20972">
                  <c:v>-1.08044329850261</c:v>
                </c:pt>
                <c:pt idx="20973">
                  <c:v>-1.1939565751493999</c:v>
                </c:pt>
                <c:pt idx="20974">
                  <c:v>-1.2642324138646599</c:v>
                </c:pt>
                <c:pt idx="20975">
                  <c:v>-1.2624051757777399</c:v>
                </c:pt>
                <c:pt idx="20976">
                  <c:v>-1.4925278756932201</c:v>
                </c:pt>
                <c:pt idx="20977">
                  <c:v>-1.53137753542572</c:v>
                </c:pt>
                <c:pt idx="20978">
                  <c:v>-1.4959918511169801</c:v>
                </c:pt>
                <c:pt idx="20979">
                  <c:v>-1.52625392725051</c:v>
                </c:pt>
                <c:pt idx="20980">
                  <c:v>-1.64314424489031</c:v>
                </c:pt>
                <c:pt idx="20981">
                  <c:v>-1.6940434204152599</c:v>
                </c:pt>
                <c:pt idx="20982">
                  <c:v>-1.7449425959402001</c:v>
                </c:pt>
                <c:pt idx="20983">
                  <c:v>-1.8262385079079</c:v>
                </c:pt>
                <c:pt idx="20984">
                  <c:v>-1.9033752827055199</c:v>
                </c:pt>
                <c:pt idx="20985">
                  <c:v>-1.8344229389733</c:v>
                </c:pt>
                <c:pt idx="20986">
                  <c:v>-0.387584281930279</c:v>
                </c:pt>
                <c:pt idx="20987">
                  <c:v>-0.43646618307710999</c:v>
                </c:pt>
                <c:pt idx="20988">
                  <c:v>-0.442466041302154</c:v>
                </c:pt>
                <c:pt idx="20989">
                  <c:v>-0.45670488063787201</c:v>
                </c:pt>
                <c:pt idx="20990">
                  <c:v>-0.499814579659969</c:v>
                </c:pt>
                <c:pt idx="20991">
                  <c:v>-0.53672782994954904</c:v>
                </c:pt>
                <c:pt idx="20992">
                  <c:v>-0.72100706907588596</c:v>
                </c:pt>
                <c:pt idx="20993">
                  <c:v>-0.59234954864058198</c:v>
                </c:pt>
                <c:pt idx="20994">
                  <c:v>-0.65641611443632497</c:v>
                </c:pt>
                <c:pt idx="20995">
                  <c:v>-0.61953077831278502</c:v>
                </c:pt>
                <c:pt idx="20996">
                  <c:v>-0.64959935537023406</c:v>
                </c:pt>
                <c:pt idx="20997">
                  <c:v>-0.59186530084619704</c:v>
                </c:pt>
                <c:pt idx="20998">
                  <c:v>-0.55265174092166502</c:v>
                </c:pt>
                <c:pt idx="20999">
                  <c:v>-0.505199199886461</c:v>
                </c:pt>
                <c:pt idx="21000">
                  <c:v>-0.45774665885125498</c:v>
                </c:pt>
                <c:pt idx="21001">
                  <c:v>-0.55420507716354195</c:v>
                </c:pt>
                <c:pt idx="21002">
                  <c:v>-0.76404077106085699</c:v>
                </c:pt>
                <c:pt idx="21003">
                  <c:v>-0.79867240524407002</c:v>
                </c:pt>
                <c:pt idx="21004">
                  <c:v>-0.928086747999052</c:v>
                </c:pt>
                <c:pt idx="21005">
                  <c:v>-0.94728501494811201</c:v>
                </c:pt>
                <c:pt idx="21006">
                  <c:v>-0.95204785205398301</c:v>
                </c:pt>
                <c:pt idx="21007">
                  <c:v>-0.99596306233506504</c:v>
                </c:pt>
                <c:pt idx="21008">
                  <c:v>-1.00072589944094</c:v>
                </c:pt>
                <c:pt idx="21009">
                  <c:v>-0.96324343910296994</c:v>
                </c:pt>
                <c:pt idx="21010">
                  <c:v>-0.95047792209702497</c:v>
                </c:pt>
                <c:pt idx="21011">
                  <c:v>-0.94595138620175401</c:v>
                </c:pt>
                <c:pt idx="21012">
                  <c:v>-0.91670790697446103</c:v>
                </c:pt>
                <c:pt idx="21013">
                  <c:v>-0.96286824053078401</c:v>
                </c:pt>
                <c:pt idx="21014">
                  <c:v>-1.0255065363084499</c:v>
                </c:pt>
                <c:pt idx="21015">
                  <c:v>-0.80172659729025297</c:v>
                </c:pt>
                <c:pt idx="21016">
                  <c:v>-0.72775821804465401</c:v>
                </c:pt>
                <c:pt idx="21017">
                  <c:v>-0.63488808656623197</c:v>
                </c:pt>
                <c:pt idx="21018">
                  <c:v>-0.59976489527627996</c:v>
                </c:pt>
                <c:pt idx="21019">
                  <c:v>-0.56456763157257495</c:v>
                </c:pt>
                <c:pt idx="21020">
                  <c:v>-0.62218983729194699</c:v>
                </c:pt>
                <c:pt idx="21021">
                  <c:v>-0.65043181810635897</c:v>
                </c:pt>
                <c:pt idx="21022">
                  <c:v>-0.70134820987463498</c:v>
                </c:pt>
                <c:pt idx="21023">
                  <c:v>-0.75430713402106797</c:v>
                </c:pt>
                <c:pt idx="21024">
                  <c:v>-0.80726605816750197</c:v>
                </c:pt>
                <c:pt idx="21025">
                  <c:v>-0.77062097253106299</c:v>
                </c:pt>
                <c:pt idx="21026">
                  <c:v>-0.73397588689462401</c:v>
                </c:pt>
                <c:pt idx="21027">
                  <c:v>-0.69113435252567001</c:v>
                </c:pt>
                <c:pt idx="21028">
                  <c:v>-0.65448926688923104</c:v>
                </c:pt>
                <c:pt idx="21029">
                  <c:v>-0.673232093290134</c:v>
                </c:pt>
                <c:pt idx="21030">
                  <c:v>-0.71464933064489999</c:v>
                </c:pt>
                <c:pt idx="21031">
                  <c:v>-0.76846468628040998</c:v>
                </c:pt>
                <c:pt idx="21032">
                  <c:v>-0.79544649379198595</c:v>
                </c:pt>
                <c:pt idx="21033">
                  <c:v>-0.81594638621212001</c:v>
                </c:pt>
                <c:pt idx="21034">
                  <c:v>-0.82609069272966695</c:v>
                </c:pt>
                <c:pt idx="21035">
                  <c:v>-0.84243144797973102</c:v>
                </c:pt>
                <c:pt idx="21036">
                  <c:v>-0.83609779227593095</c:v>
                </c:pt>
                <c:pt idx="21037">
                  <c:v>-0.79246424616910405</c:v>
                </c:pt>
                <c:pt idx="21038">
                  <c:v>-0.77354764339429904</c:v>
                </c:pt>
                <c:pt idx="21039">
                  <c:v>-0.75674764541140704</c:v>
                </c:pt>
                <c:pt idx="21040">
                  <c:v>-0.72747545673401603</c:v>
                </c:pt>
                <c:pt idx="21041">
                  <c:v>-0.68051364969216499</c:v>
                </c:pt>
                <c:pt idx="21042">
                  <c:v>-0.62742946633155205</c:v>
                </c:pt>
                <c:pt idx="21043">
                  <c:v>-0.57222867817902601</c:v>
                </c:pt>
                <c:pt idx="21044">
                  <c:v>-0.52526687113717396</c:v>
                </c:pt>
                <c:pt idx="21045">
                  <c:v>-0.51199460347337</c:v>
                </c:pt>
                <c:pt idx="21046">
                  <c:v>-0.50696131692023905</c:v>
                </c:pt>
                <c:pt idx="21047">
                  <c:v>-0.49368904925643398</c:v>
                </c:pt>
                <c:pt idx="21048">
                  <c:v>-0.49485221143581798</c:v>
                </c:pt>
                <c:pt idx="21049">
                  <c:v>-0.77669924975747195</c:v>
                </c:pt>
                <c:pt idx="21050">
                  <c:v>-0.57520894611488305</c:v>
                </c:pt>
                <c:pt idx="21051">
                  <c:v>-0.61126782289907899</c:v>
                </c:pt>
                <c:pt idx="21052">
                  <c:v>-0.64732669968327505</c:v>
                </c:pt>
                <c:pt idx="21053">
                  <c:v>-0.54787601827192001</c:v>
                </c:pt>
                <c:pt idx="21054">
                  <c:v>-0.45666431797123802</c:v>
                </c:pt>
                <c:pt idx="21055">
                  <c:v>-0.34897465544920903</c:v>
                </c:pt>
                <c:pt idx="21056">
                  <c:v>-0.23508854419466499</c:v>
                </c:pt>
                <c:pt idx="21057">
                  <c:v>-0.23508854419466499</c:v>
                </c:pt>
                <c:pt idx="21058">
                  <c:v>-0.23508854419466499</c:v>
                </c:pt>
                <c:pt idx="21059">
                  <c:v>-0.22684956308399201</c:v>
                </c:pt>
                <c:pt idx="21060">
                  <c:v>-0.579313491885736</c:v>
                </c:pt>
                <c:pt idx="21061">
                  <c:v>-0.56608147592158697</c:v>
                </c:pt>
                <c:pt idx="21062">
                  <c:v>-0.55904590868995296</c:v>
                </c:pt>
                <c:pt idx="21063">
                  <c:v>-0.52933593050445604</c:v>
                </c:pt>
                <c:pt idx="21064">
                  <c:v>-0.52434289565098002</c:v>
                </c:pt>
                <c:pt idx="21065">
                  <c:v>-0.52211216559054796</c:v>
                </c:pt>
                <c:pt idx="21066">
                  <c:v>-0.51988143553011501</c:v>
                </c:pt>
                <c:pt idx="21067">
                  <c:v>-0.51969323784784005</c:v>
                </c:pt>
                <c:pt idx="21068">
                  <c:v>-0.52774402127623898</c:v>
                </c:pt>
                <c:pt idx="21069">
                  <c:v>-0.53058951827360401</c:v>
                </c:pt>
                <c:pt idx="21070">
                  <c:v>-0.52731263895220704</c:v>
                </c:pt>
                <c:pt idx="21071">
                  <c:v>-0.52403575963080995</c:v>
                </c:pt>
                <c:pt idx="21072">
                  <c:v>-0.52899786142008698</c:v>
                </c:pt>
                <c:pt idx="21073">
                  <c:v>-0.56032197968912301</c:v>
                </c:pt>
                <c:pt idx="21074">
                  <c:v>-0.57516813573681203</c:v>
                </c:pt>
                <c:pt idx="21075">
                  <c:v>-0.58177531067382704</c:v>
                </c:pt>
                <c:pt idx="21076">
                  <c:v>-0.60697705262410295</c:v>
                </c:pt>
                <c:pt idx="21077">
                  <c:v>-0.59529513465189199</c:v>
                </c:pt>
                <c:pt idx="21078">
                  <c:v>-0.58565574905784001</c:v>
                </c:pt>
                <c:pt idx="21079">
                  <c:v>-0.56777738235311404</c:v>
                </c:pt>
                <c:pt idx="21080">
                  <c:v>-0.54989901564838894</c:v>
                </c:pt>
                <c:pt idx="21081">
                  <c:v>-0.46811490860596799</c:v>
                </c:pt>
                <c:pt idx="21082">
                  <c:v>-0.67117727639907498</c:v>
                </c:pt>
                <c:pt idx="21083">
                  <c:v>-0.68950712949599102</c:v>
                </c:pt>
                <c:pt idx="21084">
                  <c:v>-0.70783698259290795</c:v>
                </c:pt>
                <c:pt idx="21085">
                  <c:v>-0.72616683568982499</c:v>
                </c:pt>
                <c:pt idx="21086">
                  <c:v>-0.74449668878674202</c:v>
                </c:pt>
                <c:pt idx="21087">
                  <c:v>-0.75028189323953598</c:v>
                </c:pt>
                <c:pt idx="21088">
                  <c:v>-0.75606709769232905</c:v>
                </c:pt>
                <c:pt idx="21089">
                  <c:v>-0.76185230214512301</c:v>
                </c:pt>
                <c:pt idx="21090">
                  <c:v>-0.76763750659791696</c:v>
                </c:pt>
                <c:pt idx="21091">
                  <c:v>-0.84782515713954598</c:v>
                </c:pt>
                <c:pt idx="21092">
                  <c:v>-0.928012807681175</c:v>
                </c:pt>
                <c:pt idx="21093">
                  <c:v>-1.0082004582227999</c:v>
                </c:pt>
                <c:pt idx="21094">
                  <c:v>-1.08838810876443</c:v>
                </c:pt>
                <c:pt idx="21095">
                  <c:v>-1.18357366233378</c:v>
                </c:pt>
                <c:pt idx="21096">
                  <c:v>-0.60121333745983196</c:v>
                </c:pt>
                <c:pt idx="21097">
                  <c:v>-0.56669021597330904</c:v>
                </c:pt>
                <c:pt idx="21098">
                  <c:v>-0.57336200004015603</c:v>
                </c:pt>
                <c:pt idx="21099">
                  <c:v>-0.62334529445228304</c:v>
                </c:pt>
                <c:pt idx="21100">
                  <c:v>-0.56993472136863399</c:v>
                </c:pt>
                <c:pt idx="21101">
                  <c:v>-0.53716124767640305</c:v>
                </c:pt>
                <c:pt idx="21102">
                  <c:v>-0.504387773984173</c:v>
                </c:pt>
                <c:pt idx="21103">
                  <c:v>-0.516963122199668</c:v>
                </c:pt>
                <c:pt idx="21104">
                  <c:v>-0.56838887918652403</c:v>
                </c:pt>
                <c:pt idx="21105">
                  <c:v>-0.62396855252773797</c:v>
                </c:pt>
                <c:pt idx="21106">
                  <c:v>-0.46911305046130802</c:v>
                </c:pt>
                <c:pt idx="21107">
                  <c:v>-0.53701676966951295</c:v>
                </c:pt>
                <c:pt idx="21108">
                  <c:v>-0.63328720416122697</c:v>
                </c:pt>
                <c:pt idx="21109">
                  <c:v>-0.67800714719698796</c:v>
                </c:pt>
                <c:pt idx="21110">
                  <c:v>-0.69801014690072605</c:v>
                </c:pt>
                <c:pt idx="21111">
                  <c:v>-0.76744703326850705</c:v>
                </c:pt>
                <c:pt idx="21112">
                  <c:v>-0.74115753353465497</c:v>
                </c:pt>
                <c:pt idx="21113">
                  <c:v>-0.75606293935417002</c:v>
                </c:pt>
                <c:pt idx="21114">
                  <c:v>-0.72765683482840504</c:v>
                </c:pt>
                <c:pt idx="21115">
                  <c:v>-0.74672137781799097</c:v>
                </c:pt>
                <c:pt idx="21116">
                  <c:v>-0.81701469567484897</c:v>
                </c:pt>
                <c:pt idx="21117">
                  <c:v>-0.87702650004287397</c:v>
                </c:pt>
                <c:pt idx="21118">
                  <c:v>-0.95555879901040597</c:v>
                </c:pt>
                <c:pt idx="21119">
                  <c:v>-1.04444668388052</c:v>
                </c:pt>
                <c:pt idx="21120">
                  <c:v>-1.1309324975998001</c:v>
                </c:pt>
                <c:pt idx="21121">
                  <c:v>-1.20094034909773</c:v>
                </c:pt>
                <c:pt idx="21122">
                  <c:v>-1.24199804767981</c:v>
                </c:pt>
                <c:pt idx="21123">
                  <c:v>-1.30165031327516</c:v>
                </c:pt>
                <c:pt idx="21124">
                  <c:v>-1.3384381183106699</c:v>
                </c:pt>
                <c:pt idx="21125">
                  <c:v>-1.3648755582593</c:v>
                </c:pt>
                <c:pt idx="21126">
                  <c:v>-0.61338883849620396</c:v>
                </c:pt>
                <c:pt idx="21127">
                  <c:v>-0.60543088895866204</c:v>
                </c:pt>
                <c:pt idx="21128">
                  <c:v>-0.64877970552679098</c:v>
                </c:pt>
                <c:pt idx="21129">
                  <c:v>-0.69212852209492004</c:v>
                </c:pt>
                <c:pt idx="21130">
                  <c:v>-0.73547733866304899</c:v>
                </c:pt>
                <c:pt idx="21131">
                  <c:v>-0.77882615523117804</c:v>
                </c:pt>
                <c:pt idx="21132">
                  <c:v>-0.80018812434659703</c:v>
                </c:pt>
                <c:pt idx="21133">
                  <c:v>-0.82155009346201502</c:v>
                </c:pt>
                <c:pt idx="21134">
                  <c:v>-0.49831436736583701</c:v>
                </c:pt>
                <c:pt idx="21135">
                  <c:v>-0.420581125096195</c:v>
                </c:pt>
                <c:pt idx="21136">
                  <c:v>-0.43021997226314601</c:v>
                </c:pt>
                <c:pt idx="21137">
                  <c:v>-0.44809780054076898</c:v>
                </c:pt>
                <c:pt idx="21138">
                  <c:v>-0.43513630916760998</c:v>
                </c:pt>
                <c:pt idx="21139">
                  <c:v>-0.48196429036108002</c:v>
                </c:pt>
                <c:pt idx="21140">
                  <c:v>-0.48199021461112601</c:v>
                </c:pt>
                <c:pt idx="21141">
                  <c:v>-0.55216641814610201</c:v>
                </c:pt>
                <c:pt idx="21142">
                  <c:v>-0.47592490760817302</c:v>
                </c:pt>
                <c:pt idx="21143">
                  <c:v>-0.49658793124963801</c:v>
                </c:pt>
                <c:pt idx="21144">
                  <c:v>-0.492120859821148</c:v>
                </c:pt>
                <c:pt idx="21145">
                  <c:v>-0.46082024026872298</c:v>
                </c:pt>
                <c:pt idx="21146">
                  <c:v>-0.47290520347533499</c:v>
                </c:pt>
                <c:pt idx="21147">
                  <c:v>-0.52414776067286994</c:v>
                </c:pt>
                <c:pt idx="21148">
                  <c:v>-0.58736576124909201</c:v>
                </c:pt>
                <c:pt idx="21149">
                  <c:v>-0.61346870021254896</c:v>
                </c:pt>
                <c:pt idx="21150">
                  <c:v>-0.64992722507859202</c:v>
                </c:pt>
                <c:pt idx="21151">
                  <c:v>-0.64095763480744095</c:v>
                </c:pt>
                <c:pt idx="21152">
                  <c:v>-0.69620482461567101</c:v>
                </c:pt>
                <c:pt idx="21153">
                  <c:v>-0.87855396630140503</c:v>
                </c:pt>
                <c:pt idx="21154">
                  <c:v>-0.85666960212772303</c:v>
                </c:pt>
                <c:pt idx="21155">
                  <c:v>-0.91809492347324195</c:v>
                </c:pt>
                <c:pt idx="21156">
                  <c:v>-0.76412300667393596</c:v>
                </c:pt>
                <c:pt idx="21157">
                  <c:v>-0.75512284089544002</c:v>
                </c:pt>
                <c:pt idx="21158">
                  <c:v>-0.72336897093361296</c:v>
                </c:pt>
                <c:pt idx="21159">
                  <c:v>-0.70197068687437103</c:v>
                </c:pt>
                <c:pt idx="21160">
                  <c:v>-0.707405950939064</c:v>
                </c:pt>
                <c:pt idx="21161">
                  <c:v>-0.69905649772743395</c:v>
                </c:pt>
                <c:pt idx="21162">
                  <c:v>-0.70840746738725602</c:v>
                </c:pt>
                <c:pt idx="21163">
                  <c:v>-0.76321645801641103</c:v>
                </c:pt>
                <c:pt idx="21164">
                  <c:v>-0.77471393830028501</c:v>
                </c:pt>
                <c:pt idx="21165">
                  <c:v>-0.83980444241827201</c:v>
                </c:pt>
                <c:pt idx="21166">
                  <c:v>-0.83589567082067295</c:v>
                </c:pt>
                <c:pt idx="21167">
                  <c:v>-0.831986899223075</c:v>
                </c:pt>
                <c:pt idx="21168">
                  <c:v>-0.83420050394423795</c:v>
                </c:pt>
                <c:pt idx="21169">
                  <c:v>-0.84888629935990001</c:v>
                </c:pt>
                <c:pt idx="21170">
                  <c:v>-0.83853074297364305</c:v>
                </c:pt>
                <c:pt idx="21171">
                  <c:v>-0.83641416769805998</c:v>
                </c:pt>
                <c:pt idx="21172">
                  <c:v>-0.801267595566029</c:v>
                </c:pt>
                <c:pt idx="21173">
                  <c:v>-0.78055645327718703</c:v>
                </c:pt>
                <c:pt idx="21174">
                  <c:v>-0.76092816370661398</c:v>
                </c:pt>
                <c:pt idx="21175">
                  <c:v>-0.71454039842586103</c:v>
                </c:pt>
                <c:pt idx="21176">
                  <c:v>-0.81252259402413995</c:v>
                </c:pt>
                <c:pt idx="21177">
                  <c:v>-0.90627158003859398</c:v>
                </c:pt>
                <c:pt idx="21178">
                  <c:v>-0.95183479123054004</c:v>
                </c:pt>
                <c:pt idx="21179">
                  <c:v>-0.95612902445536296</c:v>
                </c:pt>
                <c:pt idx="21180">
                  <c:v>-0.93774884672632297</c:v>
                </c:pt>
                <c:pt idx="21181">
                  <c:v>-0.98739190185887205</c:v>
                </c:pt>
                <c:pt idx="21182">
                  <c:v>-0.94521243439298397</c:v>
                </c:pt>
                <c:pt idx="21183">
                  <c:v>-0.90099043454893601</c:v>
                </c:pt>
                <c:pt idx="21184">
                  <c:v>-0.937115713433469</c:v>
                </c:pt>
                <c:pt idx="21185">
                  <c:v>0.11491107792171899</c:v>
                </c:pt>
                <c:pt idx="21186">
                  <c:v>0.14775716829652499</c:v>
                </c:pt>
                <c:pt idx="21187">
                  <c:v>0.13729174832605001</c:v>
                </c:pt>
                <c:pt idx="21188">
                  <c:v>7.5734285689632697E-2</c:v>
                </c:pt>
                <c:pt idx="21189">
                  <c:v>3.6777161593324302E-2</c:v>
                </c:pt>
                <c:pt idx="21190">
                  <c:v>-2.68969058350047E-2</c:v>
                </c:pt>
                <c:pt idx="21191">
                  <c:v>-9.8809954374007705E-2</c:v>
                </c:pt>
                <c:pt idx="21192">
                  <c:v>3.7322852067301899E-3</c:v>
                </c:pt>
                <c:pt idx="21193">
                  <c:v>0.10831705716562701</c:v>
                </c:pt>
                <c:pt idx="21194">
                  <c:v>0.19642386690317501</c:v>
                </c:pt>
                <c:pt idx="21195">
                  <c:v>0.31136422476465803</c:v>
                </c:pt>
                <c:pt idx="21196">
                  <c:v>0.23156893155329</c:v>
                </c:pt>
                <c:pt idx="21197">
                  <c:v>0.15177363834192201</c:v>
                </c:pt>
                <c:pt idx="21198">
                  <c:v>7.1978345130554497E-2</c:v>
                </c:pt>
                <c:pt idx="21199">
                  <c:v>-7.8169480808132404E-3</c:v>
                </c:pt>
                <c:pt idx="21200">
                  <c:v>-1.38168063058575E-2</c:v>
                </c:pt>
                <c:pt idx="21201">
                  <c:v>-1.9816664530901799E-2</c:v>
                </c:pt>
                <c:pt idx="21202">
                  <c:v>-2.5816522755946002E-2</c:v>
                </c:pt>
                <c:pt idx="21203">
                  <c:v>-3.1816380980990301E-2</c:v>
                </c:pt>
                <c:pt idx="21204">
                  <c:v>-0.146251901615049</c:v>
                </c:pt>
                <c:pt idx="21205">
                  <c:v>-0.26068742224910801</c:v>
                </c:pt>
                <c:pt idx="21206">
                  <c:v>-0.375122942883166</c:v>
                </c:pt>
                <c:pt idx="21207">
                  <c:v>-0.48955846351722498</c:v>
                </c:pt>
                <c:pt idx="21208">
                  <c:v>-0.45957151573667498</c:v>
                </c:pt>
                <c:pt idx="21209">
                  <c:v>-0.42958456795612499</c:v>
                </c:pt>
                <c:pt idx="21210">
                  <c:v>-0.39959762017557399</c:v>
                </c:pt>
                <c:pt idx="21211">
                  <c:v>0.12102393318928099</c:v>
                </c:pt>
                <c:pt idx="21212">
                  <c:v>6.2712008273325195E-2</c:v>
                </c:pt>
                <c:pt idx="21213">
                  <c:v>8.4747362085948005E-2</c:v>
                </c:pt>
                <c:pt idx="21214">
                  <c:v>4.9035775710101003E-2</c:v>
                </c:pt>
                <c:pt idx="21215">
                  <c:v>1.7483326504324201E-2</c:v>
                </c:pt>
                <c:pt idx="21216">
                  <c:v>8.6174803933060207E-2</c:v>
                </c:pt>
                <c:pt idx="21217">
                  <c:v>7.2402397841305102E-2</c:v>
                </c:pt>
                <c:pt idx="21218">
                  <c:v>1.32018766123564E-2</c:v>
                </c:pt>
                <c:pt idx="21219">
                  <c:v>1.7949965120106399E-2</c:v>
                </c:pt>
                <c:pt idx="21220">
                  <c:v>0.14761382154354399</c:v>
                </c:pt>
                <c:pt idx="21221">
                  <c:v>4.0083026849159299E-2</c:v>
                </c:pt>
                <c:pt idx="21222">
                  <c:v>6.7823553803050898E-3</c:v>
                </c:pt>
                <c:pt idx="21223">
                  <c:v>-3.8916434369293998E-2</c:v>
                </c:pt>
                <c:pt idx="21224">
                  <c:v>-8.4227733996325604E-2</c:v>
                </c:pt>
                <c:pt idx="21225">
                  <c:v>-0.183206129871224</c:v>
                </c:pt>
                <c:pt idx="21226">
                  <c:v>-0.30478486428623103</c:v>
                </c:pt>
                <c:pt idx="21227">
                  <c:v>-0.39552427905045701</c:v>
                </c:pt>
                <c:pt idx="21228">
                  <c:v>-0.68984975150326999</c:v>
                </c:pt>
                <c:pt idx="21229">
                  <c:v>-0.551139413732742</c:v>
                </c:pt>
                <c:pt idx="21230">
                  <c:v>-0.55884156921940398</c:v>
                </c:pt>
                <c:pt idx="21231">
                  <c:v>-0.70055809968251204</c:v>
                </c:pt>
                <c:pt idx="21232">
                  <c:v>-0.80717499249960101</c:v>
                </c:pt>
                <c:pt idx="21233">
                  <c:v>-0.82520040466172295</c:v>
                </c:pt>
                <c:pt idx="21234">
                  <c:v>-0.79984545488052405</c:v>
                </c:pt>
                <c:pt idx="21235">
                  <c:v>-0.81364287827453496</c:v>
                </c:pt>
                <c:pt idx="21236">
                  <c:v>-0.832678278066042</c:v>
                </c:pt>
                <c:pt idx="21237">
                  <c:v>-1.00206309104355</c:v>
                </c:pt>
                <c:pt idx="21238">
                  <c:v>-1.04581543416708</c:v>
                </c:pt>
                <c:pt idx="21239">
                  <c:v>-1.11013080426827</c:v>
                </c:pt>
                <c:pt idx="21240">
                  <c:v>-1.1484320818271401</c:v>
                </c:pt>
                <c:pt idx="21241">
                  <c:v>-1.1063860806574399</c:v>
                </c:pt>
                <c:pt idx="21242">
                  <c:v>-4.1032231386235199E-2</c:v>
                </c:pt>
                <c:pt idx="21243">
                  <c:v>6.3248337394291596E-3</c:v>
                </c:pt>
                <c:pt idx="21244">
                  <c:v>2.0725974422398801E-2</c:v>
                </c:pt>
                <c:pt idx="21245">
                  <c:v>-2.9287170948029601E-2</c:v>
                </c:pt>
                <c:pt idx="21246">
                  <c:v>-7.9300316318458006E-2</c:v>
                </c:pt>
                <c:pt idx="21247">
                  <c:v>-0.12931346168888599</c:v>
                </c:pt>
                <c:pt idx="21248">
                  <c:v>-0.179326607059315</c:v>
                </c:pt>
                <c:pt idx="21249">
                  <c:v>-0.234565498973799</c:v>
                </c:pt>
                <c:pt idx="21250">
                  <c:v>-0.28980439088828303</c:v>
                </c:pt>
                <c:pt idx="21251">
                  <c:v>-0.34504328280276703</c:v>
                </c:pt>
                <c:pt idx="21252">
                  <c:v>-0.40028217471725103</c:v>
                </c:pt>
                <c:pt idx="21253">
                  <c:v>-0.41481637803759203</c:v>
                </c:pt>
                <c:pt idx="21254">
                  <c:v>-0.42935058135793303</c:v>
                </c:pt>
                <c:pt idx="21255">
                  <c:v>-0.44388478467827502</c:v>
                </c:pt>
                <c:pt idx="21256">
                  <c:v>-0.45841898799861602</c:v>
                </c:pt>
                <c:pt idx="21257">
                  <c:v>-0.48954245353867099</c:v>
                </c:pt>
                <c:pt idx="21258">
                  <c:v>-0.52066591907872695</c:v>
                </c:pt>
                <c:pt idx="21259">
                  <c:v>-0.45693260363325899</c:v>
                </c:pt>
                <c:pt idx="21260">
                  <c:v>-0.52517113078608002</c:v>
                </c:pt>
                <c:pt idx="21261">
                  <c:v>-0.47692974067739502</c:v>
                </c:pt>
                <c:pt idx="21262">
                  <c:v>-0.53375779344502405</c:v>
                </c:pt>
                <c:pt idx="21263">
                  <c:v>-0.58242093751573298</c:v>
                </c:pt>
                <c:pt idx="21264">
                  <c:v>-0.593894947559922</c:v>
                </c:pt>
                <c:pt idx="21265">
                  <c:v>-0.490812071128159</c:v>
                </c:pt>
                <c:pt idx="21266">
                  <c:v>-0.457794959936143</c:v>
                </c:pt>
                <c:pt idx="21267">
                  <c:v>-0.38562547556891602</c:v>
                </c:pt>
                <c:pt idx="21268">
                  <c:v>-0.36288987786573301</c:v>
                </c:pt>
                <c:pt idx="21269">
                  <c:v>-0.494420825412627</c:v>
                </c:pt>
                <c:pt idx="21270">
                  <c:v>-0.638270598010798</c:v>
                </c:pt>
                <c:pt idx="21271">
                  <c:v>-0.80683731394099001</c:v>
                </c:pt>
                <c:pt idx="21272">
                  <c:v>-0.94449063780664599</c:v>
                </c:pt>
                <c:pt idx="21273">
                  <c:v>-0.96989057430393499</c:v>
                </c:pt>
                <c:pt idx="21274">
                  <c:v>-0.991131373631154</c:v>
                </c:pt>
                <c:pt idx="21275">
                  <c:v>-0.91343032721653294</c:v>
                </c:pt>
                <c:pt idx="21276">
                  <c:v>-0.99234399431846798</c:v>
                </c:pt>
                <c:pt idx="21277">
                  <c:v>-1.0043694930583</c:v>
                </c:pt>
                <c:pt idx="21278">
                  <c:v>-0.61804879669801105</c:v>
                </c:pt>
                <c:pt idx="21279">
                  <c:v>-0.50628318908526904</c:v>
                </c:pt>
                <c:pt idx="21280">
                  <c:v>-1.0604198775532601</c:v>
                </c:pt>
                <c:pt idx="21281">
                  <c:v>-0.65538261915971596</c:v>
                </c:pt>
                <c:pt idx="21282">
                  <c:v>-0.64617637451585397</c:v>
                </c:pt>
                <c:pt idx="21283">
                  <c:v>-0.64316657860450899</c:v>
                </c:pt>
                <c:pt idx="21284">
                  <c:v>-0.67311792795157099</c:v>
                </c:pt>
                <c:pt idx="21285">
                  <c:v>-0.72116697665698104</c:v>
                </c:pt>
                <c:pt idx="21286">
                  <c:v>-0.79808688504876801</c:v>
                </c:pt>
                <c:pt idx="21287">
                  <c:v>-0.88120846298878597</c:v>
                </c:pt>
                <c:pt idx="21288">
                  <c:v>-0.92925751169419601</c:v>
                </c:pt>
                <c:pt idx="21289">
                  <c:v>-0.98645798031367005</c:v>
                </c:pt>
                <c:pt idx="21290">
                  <c:v>-1.01894150560112</c:v>
                </c:pt>
                <c:pt idx="21291">
                  <c:v>-1.0700143770861199</c:v>
                </c:pt>
                <c:pt idx="21292">
                  <c:v>-1.1024979023735799</c:v>
                </c:pt>
                <c:pt idx="21293">
                  <c:v>-1.0124538619060901</c:v>
                </c:pt>
                <c:pt idx="21294">
                  <c:v>-0.94712676477062596</c:v>
                </c:pt>
                <c:pt idx="21295">
                  <c:v>-0.91475559207785695</c:v>
                </c:pt>
                <c:pt idx="21296">
                  <c:v>-0.86386392478558205</c:v>
                </c:pt>
                <c:pt idx="21297">
                  <c:v>-0.85636073114192901</c:v>
                </c:pt>
                <c:pt idx="21298">
                  <c:v>-0.86533549971962198</c:v>
                </c:pt>
                <c:pt idx="21299">
                  <c:v>-0.88050671702983097</c:v>
                </c:pt>
                <c:pt idx="21300">
                  <c:v>-0.89772046671819805</c:v>
                </c:pt>
                <c:pt idx="21301">
                  <c:v>-0.88233778251917505</c:v>
                </c:pt>
                <c:pt idx="21302">
                  <c:v>-0.88343306054149995</c:v>
                </c:pt>
                <c:pt idx="21303">
                  <c:v>-0.87628935745315095</c:v>
                </c:pt>
                <c:pt idx="21304">
                  <c:v>-0.87738463547547596</c:v>
                </c:pt>
                <c:pt idx="21305">
                  <c:v>-0.88741842612559896</c:v>
                </c:pt>
                <c:pt idx="21306">
                  <c:v>-0.88301678693253305</c:v>
                </c:pt>
                <c:pt idx="21307">
                  <c:v>-0.88685412885014003</c:v>
                </c:pt>
                <c:pt idx="21308">
                  <c:v>-0.89893045187842102</c:v>
                </c:pt>
                <c:pt idx="21309">
                  <c:v>-0.87916634051107601</c:v>
                </c:pt>
                <c:pt idx="21310">
                  <c:v>-0.85940222914372999</c:v>
                </c:pt>
                <c:pt idx="21311">
                  <c:v>-0.83139913666570997</c:v>
                </c:pt>
                <c:pt idx="21312">
                  <c:v>-0.79515706307701595</c:v>
                </c:pt>
                <c:pt idx="21313">
                  <c:v>-0.81001090996299696</c:v>
                </c:pt>
                <c:pt idx="21314">
                  <c:v>-0.83310373795965198</c:v>
                </c:pt>
                <c:pt idx="21315">
                  <c:v>-0.856196565956307</c:v>
                </c:pt>
                <c:pt idx="21316">
                  <c:v>-0.87105041284228901</c:v>
                </c:pt>
                <c:pt idx="21317">
                  <c:v>-0.82965719437262997</c:v>
                </c:pt>
                <c:pt idx="21318">
                  <c:v>-0.78622144352481205</c:v>
                </c:pt>
                <c:pt idx="21319">
                  <c:v>-0.74278569267699401</c:v>
                </c:pt>
                <c:pt idx="21320">
                  <c:v>-0.67463299849715397</c:v>
                </c:pt>
                <c:pt idx="21321">
                  <c:v>-0.62395010485250302</c:v>
                </c:pt>
                <c:pt idx="21322">
                  <c:v>-0.58362279711043796</c:v>
                </c:pt>
                <c:pt idx="21323">
                  <c:v>-0.58456446733549505</c:v>
                </c:pt>
                <c:pt idx="21324">
                  <c:v>-0.57719308403612402</c:v>
                </c:pt>
                <c:pt idx="21325">
                  <c:v>-0.57820518561357004</c:v>
                </c:pt>
                <c:pt idx="21326">
                  <c:v>-0.56478185734782604</c:v>
                </c:pt>
                <c:pt idx="21327">
                  <c:v>-0.55135852908208205</c:v>
                </c:pt>
                <c:pt idx="21328">
                  <c:v>-0.54617418192701195</c:v>
                </c:pt>
                <c:pt idx="21329">
                  <c:v>-0.50419736529812198</c:v>
                </c:pt>
                <c:pt idx="21330">
                  <c:v>-0.48489495962309498</c:v>
                </c:pt>
                <c:pt idx="21331">
                  <c:v>-0.48207051616941599</c:v>
                </c:pt>
                <c:pt idx="21332">
                  <c:v>-0.468964559226905</c:v>
                </c:pt>
                <c:pt idx="21333">
                  <c:v>-0.42051904942086099</c:v>
                </c:pt>
                <c:pt idx="21334">
                  <c:v>-0.37003100723665899</c:v>
                </c:pt>
                <c:pt idx="21335">
                  <c:v>-0.30306500283110899</c:v>
                </c:pt>
                <c:pt idx="21336">
                  <c:v>-0.28349035271144402</c:v>
                </c:pt>
                <c:pt idx="21337">
                  <c:v>-0.20696557068718099</c:v>
                </c:pt>
                <c:pt idx="21338">
                  <c:v>-0.16128532912941401</c:v>
                </c:pt>
                <c:pt idx="21339">
                  <c:v>-0.13010936901287701</c:v>
                </c:pt>
              </c:numCache>
            </c:numRef>
          </c:yVal>
          <c:smooth val="0"/>
          <c:extLst>
            <c:ext xmlns:c16="http://schemas.microsoft.com/office/drawing/2014/chart" uri="{C3380CC4-5D6E-409C-BE32-E72D297353CC}">
              <c16:uniqueId val="{00000001-8DE6-47C5-B50C-B902A8C12CBE}"/>
            </c:ext>
          </c:extLst>
        </c:ser>
        <c:dLbls>
          <c:showLegendKey val="0"/>
          <c:showVal val="0"/>
          <c:showCatName val="0"/>
          <c:showSerName val="0"/>
          <c:showPercent val="0"/>
          <c:showBubbleSize val="0"/>
        </c:dLbls>
        <c:axId val="824909648"/>
        <c:axId val="824912128"/>
      </c:scatterChart>
      <c:valAx>
        <c:axId val="824909648"/>
        <c:scaling>
          <c:orientation val="minMax"/>
          <c:max val="3"/>
          <c:min val="-3"/>
        </c:scaling>
        <c:delete val="0"/>
        <c:axPos val="b"/>
        <c:majorGridlines/>
        <c:numFmt formatCode="General" sourceLinked="0"/>
        <c:majorTickMark val="none"/>
        <c:minorTickMark val="none"/>
        <c:tickLblPos val="nextTo"/>
        <c:crossAx val="824912128"/>
        <c:crosses val="autoZero"/>
        <c:crossBetween val="midCat"/>
      </c:valAx>
      <c:valAx>
        <c:axId val="824912128"/>
        <c:scaling>
          <c:orientation val="minMax"/>
          <c:max val="3"/>
          <c:min val="-3"/>
        </c:scaling>
        <c:delete val="0"/>
        <c:axPos val="l"/>
        <c:majorGridlines/>
        <c:numFmt formatCode="General" sourceLinked="1"/>
        <c:majorTickMark val="none"/>
        <c:minorTickMark val="none"/>
        <c:tickLblPos val="nextTo"/>
        <c:crossAx val="824909648"/>
        <c:crosses val="autoZero"/>
        <c:crossBetween val="midCat"/>
      </c:valAx>
    </c:plotArea>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4/20/2018 10:05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4/20/2018 10:05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69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2853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2829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799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4/20/2018 10:05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268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9340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15862-6663-4E96-82D9-691832C5BE9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3192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383FEF-E869-4A16-AB00-2CDE9555989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Header Placeholder 5"/>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40346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5955158-DAB7-464F-B4BB-7877F281FC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137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5187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029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5955158-DAB7-464F-B4BB-7877F281FC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24248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8655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9183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0227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81949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52747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7031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8161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7821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830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04827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77189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1191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6239007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0947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01936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66402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581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FC05B6-8678-43B3-B7EF-63718AE76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6826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562134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1317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241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623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0/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04783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emf"/><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4.jpg"/><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90"/>
            <a:ext cx="12443540" cy="7036916"/>
          </a:xfrm>
          <a:prstGeom prst="rect">
            <a:avLst/>
          </a:prstGeom>
        </p:spPr>
      </p:pic>
      <p:sp>
        <p:nvSpPr>
          <p:cNvPr id="30" name="Rectangle 29"/>
          <p:cNvSpPr/>
          <p:nvPr userDrawn="1"/>
        </p:nvSpPr>
        <p:spPr>
          <a:xfrm>
            <a:off x="1" y="-30082"/>
            <a:ext cx="12436475" cy="7024608"/>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1" name="Group 30"/>
          <p:cNvGrpSpPr/>
          <p:nvPr userDrawn="1"/>
        </p:nvGrpSpPr>
        <p:grpSpPr>
          <a:xfrm>
            <a:off x="9870766" y="444080"/>
            <a:ext cx="2127249" cy="455612"/>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3" name="Rectangle 1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90032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568299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10" y="296865"/>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90"/>
            <a:ext cx="11889564" cy="2746375"/>
          </a:xfrm>
        </p:spPr>
        <p:txBody>
          <a:bodyPr/>
          <a:lstStyle>
            <a:lvl1pPr>
              <a:defRPr sz="8798">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2273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8">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23987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5998"/>
            </a:lvl1pPr>
          </a:lstStyle>
          <a:p>
            <a:r>
              <a:rPr lang="en-US"/>
              <a:t>Thank you</a:t>
            </a:r>
          </a:p>
        </p:txBody>
      </p:sp>
    </p:spTree>
    <p:extLst>
      <p:ext uri="{BB962C8B-B14F-4D97-AF65-F5344CB8AC3E}">
        <p14:creationId xmlns:p14="http://schemas.microsoft.com/office/powerpoint/2010/main" val="203943464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0243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9" y="3040063"/>
            <a:ext cx="3646979" cy="781235"/>
          </a:xfrm>
          <a:prstGeom prst="rect">
            <a:avLst/>
          </a:prstGeom>
        </p:spPr>
      </p:pic>
      <p:sp>
        <p:nvSpPr>
          <p:cNvPr id="3" name="Text Box 3"/>
          <p:cNvSpPr txBox="1">
            <a:spLocks noChangeArrowheads="1"/>
          </p:cNvSpPr>
          <p:nvPr userDrawn="1"/>
        </p:nvSpPr>
        <p:spPr bwMode="blackWhite">
          <a:xfrm>
            <a:off x="256666" y="6274017"/>
            <a:ext cx="10592346" cy="415440"/>
          </a:xfrm>
          <a:prstGeom prst="rect">
            <a:avLst/>
          </a:prstGeom>
          <a:noFill/>
          <a:ln w="12700">
            <a:noFill/>
            <a:miter lim="800000"/>
            <a:headEnd type="none" w="sm" len="sm"/>
            <a:tailEnd type="none" w="sm" len="sm"/>
          </a:ln>
          <a:effectLst/>
        </p:spPr>
        <p:txBody>
          <a:bodyPr vert="horz" wrap="square" lIns="91378" tIns="45691" rIns="91378" bIns="45691" numCol="1" anchor="t" anchorCtr="0" compatLnSpc="1">
            <a:prstTxWarp prst="textNoShape">
              <a:avLst/>
            </a:prstTxWarp>
            <a:spAutoFit/>
          </a:bodyPr>
          <a:lstStyle/>
          <a:p>
            <a:pPr defTabSz="913541"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541"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1846565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563897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583667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292155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86124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3443829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9396543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42555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142936065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680401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11242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3314009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61925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33185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251033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507002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46119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2262792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68637304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8486316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1225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9171489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33334281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42841731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4568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64809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78050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a:t>Thank you</a:t>
            </a:r>
          </a:p>
        </p:txBody>
      </p:sp>
    </p:spTree>
    <p:extLst>
      <p:ext uri="{BB962C8B-B14F-4D97-AF65-F5344CB8AC3E}">
        <p14:creationId xmlns:p14="http://schemas.microsoft.com/office/powerpoint/2010/main" val="22975700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419520428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26589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063"/>
            <a:ext cx="3646979" cy="781235"/>
          </a:xfrm>
          <a:prstGeom prst="rect">
            <a:avLst/>
          </a:prstGeom>
        </p:spPr>
      </p:pic>
      <p:sp>
        <p:nvSpPr>
          <p:cNvPr id="3" name="Text Box 3"/>
          <p:cNvSpPr txBox="1">
            <a:spLocks noChangeArrowheads="1"/>
          </p:cNvSpPr>
          <p:nvPr userDrawn="1"/>
        </p:nvSpPr>
        <p:spPr bwMode="blackWhite">
          <a:xfrm>
            <a:off x="256666" y="6274018"/>
            <a:ext cx="10592346"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716"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9813125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703664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2789357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32846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793174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540235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0970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180768554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1841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911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auto">
          <a:xfrm>
            <a:off x="0" y="3646608"/>
            <a:ext cx="12436475" cy="3347917"/>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5" y="1832622"/>
            <a:ext cx="10596149" cy="1772472"/>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2622"/>
            <a:ext cx="1797050" cy="1772471"/>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6891" y="2500055"/>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5B6770"/>
              </a:solidFill>
              <a:effectLst/>
              <a:uLnTx/>
              <a:uFillTx/>
              <a:latin typeface="Segoe UI"/>
              <a:ea typeface="+mn-ea"/>
              <a:cs typeface="+mn-cs"/>
            </a:endParaRPr>
          </a:p>
        </p:txBody>
      </p:sp>
      <p:sp>
        <p:nvSpPr>
          <p:cNvPr id="11" name="Rectangle 10"/>
          <p:cNvSpPr/>
          <p:nvPr userDrawn="1"/>
        </p:nvSpPr>
        <p:spPr bwMode="auto">
          <a:xfrm>
            <a:off x="7741814" y="4066169"/>
            <a:ext cx="3727218" cy="2189470"/>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521" tIns="93260" rIns="186521" bIns="93260" numCol="1" rtlCol="0" anchor="ctr" anchorCtr="0" compatLnSpc="1">
            <a:prstTxWarp prst="textNoShape">
              <a:avLst/>
            </a:prstTxWarp>
          </a:bodyPr>
          <a:lstStyle/>
          <a:p>
            <a:pPr defTabSz="699493">
              <a:lnSpc>
                <a:spcPct val="90000"/>
              </a:lnSpc>
            </a:pPr>
            <a:endParaRPr lang="en-US" sz="1836">
              <a:solidFill>
                <a:srgbClr val="505050"/>
              </a:solidFill>
              <a:latin typeface="Segoe UI"/>
              <a:cs typeface="Segoe UI Semibold" panose="020B0702040204020203" pitchFamily="34" charset="0"/>
            </a:endParaRPr>
          </a:p>
        </p:txBody>
      </p:sp>
      <p:grpSp>
        <p:nvGrpSpPr>
          <p:cNvPr id="12" name="Group 11"/>
          <p:cNvGrpSpPr/>
          <p:nvPr userDrawn="1"/>
        </p:nvGrpSpPr>
        <p:grpSpPr>
          <a:xfrm>
            <a:off x="9314878" y="3707581"/>
            <a:ext cx="584285" cy="584285"/>
            <a:chOff x="9526116" y="3593375"/>
            <a:chExt cx="572880" cy="572880"/>
          </a:xfrm>
        </p:grpSpPr>
        <p:sp>
          <p:nvSpPr>
            <p:cNvPr id="13" name="Oval 12"/>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9493">
                <a:defRPr/>
              </a:pPr>
              <a:endParaRPr lang="en-IN" sz="1836">
                <a:solidFill>
                  <a:srgbClr val="FFFFFF">
                    <a:lumMod val="50000"/>
                  </a:srgbClr>
                </a:solidFill>
                <a:latin typeface="Segoe UI"/>
              </a:endParaRPr>
            </a:p>
          </p:txBody>
        </p:sp>
        <p:grpSp>
          <p:nvGrpSpPr>
            <p:cNvPr id="14" name="Group 13"/>
            <p:cNvGrpSpPr/>
            <p:nvPr/>
          </p:nvGrpSpPr>
          <p:grpSpPr>
            <a:xfrm>
              <a:off x="9665949" y="3694070"/>
              <a:ext cx="293216" cy="391951"/>
              <a:chOff x="3975884" y="1124470"/>
              <a:chExt cx="102337" cy="136797"/>
            </a:xfrm>
            <a:solidFill>
              <a:srgbClr val="FFC000"/>
            </a:solidFill>
          </p:grpSpPr>
          <p:sp>
            <p:nvSpPr>
              <p:cNvPr id="15"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sp>
            <p:nvSpPr>
              <p:cNvPr id="16"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grpSp>
      </p:grpSp>
    </p:spTree>
    <p:extLst>
      <p:ext uri="{BB962C8B-B14F-4D97-AF65-F5344CB8AC3E}">
        <p14:creationId xmlns:p14="http://schemas.microsoft.com/office/powerpoint/2010/main" val="34365226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095069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0505592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030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60391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447348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90399668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7201684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94098541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4710022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6461213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346163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87087943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60798193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18149756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66182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56700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84149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a:t>Thank you</a:t>
            </a:r>
          </a:p>
        </p:txBody>
      </p:sp>
    </p:spTree>
    <p:extLst>
      <p:ext uri="{BB962C8B-B14F-4D97-AF65-F5344CB8AC3E}">
        <p14:creationId xmlns:p14="http://schemas.microsoft.com/office/powerpoint/2010/main" val="24028428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8624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063"/>
            <a:ext cx="3646979" cy="781235"/>
          </a:xfrm>
          <a:prstGeom prst="rect">
            <a:avLst/>
          </a:prstGeom>
        </p:spPr>
      </p:pic>
      <p:sp>
        <p:nvSpPr>
          <p:cNvPr id="3" name="Text Box 3"/>
          <p:cNvSpPr txBox="1">
            <a:spLocks noChangeArrowheads="1"/>
          </p:cNvSpPr>
          <p:nvPr userDrawn="1"/>
        </p:nvSpPr>
        <p:spPr bwMode="blackWhite">
          <a:xfrm>
            <a:off x="256666" y="6274018"/>
            <a:ext cx="10592346"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716"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6550442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2954151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55538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94589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solidFill>
                  <a:schemeClr val="tx1"/>
                </a:soli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solidFill>
                  <a:schemeClr val="tx1"/>
                </a:solidFill>
              </a:defRPr>
            </a:lvl1pPr>
          </a:lstStyle>
          <a:p>
            <a:r>
              <a:rPr lang="en-US"/>
              <a:t>Presentation title</a:t>
            </a:r>
          </a:p>
        </p:txBody>
      </p:sp>
    </p:spTree>
    <p:extLst>
      <p:ext uri="{BB962C8B-B14F-4D97-AF65-F5344CB8AC3E}">
        <p14:creationId xmlns:p14="http://schemas.microsoft.com/office/powerpoint/2010/main" val="1662355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076878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544615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560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98094930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374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08771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44279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13519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66742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005530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14865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5983518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0964921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00734516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79754486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8309861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1424956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89015268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194396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86530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9379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16460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2550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1393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63889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_ProcessManufacturing title slide">
    <p:spTree>
      <p:nvGrpSpPr>
        <p:cNvPr id="1" name=""/>
        <p:cNvGrpSpPr/>
        <p:nvPr/>
      </p:nvGrpSpPr>
      <p:grpSpPr>
        <a:xfrm>
          <a:off x="0" y="0"/>
          <a:ext cx="0" cy="0"/>
          <a:chOff x="0" y="0"/>
          <a:chExt cx="0" cy="0"/>
        </a:xfrm>
      </p:grpSpPr>
      <p:sp>
        <p:nvSpPr>
          <p:cNvPr id="2" name="Rectangle 1"/>
          <p:cNvSpPr/>
          <p:nvPr/>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sp>
        <p:nvSpPr>
          <p:cNvPr id="6" name="Rectangle 5"/>
          <p:cNvSpPr/>
          <p:nvPr/>
        </p:nvSpPr>
        <p:spPr>
          <a:xfrm>
            <a:off x="-1" y="0"/>
            <a:ext cx="551459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sp>
        <p:nvSpPr>
          <p:cNvPr id="9" name="Title 1"/>
          <p:cNvSpPr>
            <a:spLocks noGrp="1"/>
          </p:cNvSpPr>
          <p:nvPr>
            <p:ph type="title" hasCustomPrompt="1"/>
          </p:nvPr>
        </p:nvSpPr>
        <p:spPr bwMode="ltGray">
          <a:xfrm>
            <a:off x="233185" y="280906"/>
            <a:ext cx="5281410" cy="3688374"/>
          </a:xfrm>
          <a:noFill/>
        </p:spPr>
        <p:txBody>
          <a:bodyPr vert="horz" lIns="137160" tIns="91440" rIns="137160" bIns="0" rtlCol="0" anchor="b" anchorCtr="0">
            <a:normAutofit/>
          </a:bodyPr>
          <a:lstStyle>
            <a:lvl1pPr algn="l">
              <a:defRPr lang="en-US" sz="4896" b="1" spc="-102" baseline="0" dirty="0">
                <a:solidFill>
                  <a:schemeClr val="bg1"/>
                </a:solidFill>
                <a:latin typeface="+mn-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33185" y="5776572"/>
            <a:ext cx="3860489" cy="907085"/>
          </a:xfrm>
        </p:spPr>
        <p:txBody>
          <a:bodyPr lIns="137160" tIns="91440" rIns="137160" bIns="137160" anchor="b">
            <a:noAutofit/>
          </a:bodyPr>
          <a:lstStyle>
            <a:lvl1pPr marL="0" indent="0" algn="l">
              <a:spcBef>
                <a:spcPts val="0"/>
              </a:spcBef>
              <a:buNone/>
              <a:defRPr sz="1428">
                <a:solidFill>
                  <a:schemeClr val="bg1"/>
                </a:solidFill>
              </a:defRPr>
            </a:lvl1pPr>
            <a:lvl2pPr marL="287218" indent="0">
              <a:buNone/>
              <a:defRPr sz="2040">
                <a:solidFill>
                  <a:schemeClr val="bg1"/>
                </a:solidFill>
              </a:defRPr>
            </a:lvl2pPr>
            <a:lvl3pPr marL="600056"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a:t>Speaker Name</a:t>
            </a:r>
          </a:p>
          <a:p>
            <a:pPr lvl="0"/>
            <a:r>
              <a:rPr lang="en-US"/>
              <a:t>Dat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52126" y="7632111"/>
            <a:ext cx="1775441" cy="652822"/>
          </a:xfrm>
          <a:prstGeom prst="rect">
            <a:avLst/>
          </a:prstGeom>
        </p:spPr>
      </p:pic>
      <p:sp>
        <p:nvSpPr>
          <p:cNvPr id="5" name="Text Placeholder 4"/>
          <p:cNvSpPr>
            <a:spLocks noGrp="1"/>
          </p:cNvSpPr>
          <p:nvPr>
            <p:ph type="body" sz="quarter" idx="11"/>
          </p:nvPr>
        </p:nvSpPr>
        <p:spPr>
          <a:xfrm>
            <a:off x="233184" y="3969282"/>
            <a:ext cx="3964126" cy="1691129"/>
          </a:xfrm>
        </p:spPr>
        <p:txBody>
          <a:bodyPr lIns="137160" tIns="0" rIns="137160" bIns="137160">
            <a:noAutofit/>
          </a:bodyPr>
          <a:lstStyle>
            <a:lvl1pPr>
              <a:defRPr sz="2448" spc="-82" baseline="0">
                <a:solidFill>
                  <a:schemeClr val="bg1"/>
                </a:solidFill>
              </a:defRPr>
            </a:lvl1pPr>
          </a:lstStyle>
          <a:p>
            <a:pPr lvl="0"/>
            <a:r>
              <a:rPr lang="en-US"/>
              <a:t>Edit Master text styles</a:t>
            </a:r>
          </a:p>
        </p:txBody>
      </p:sp>
      <p:sp>
        <p:nvSpPr>
          <p:cNvPr id="14" name="Rectangle 13"/>
          <p:cNvSpPr/>
          <p:nvPr userDrawn="1"/>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452126" y="280908"/>
            <a:ext cx="1772638" cy="651791"/>
          </a:xfrm>
          <a:prstGeom prst="rect">
            <a:avLst/>
          </a:prstGeom>
        </p:spPr>
      </p:pic>
    </p:spTree>
    <p:extLst>
      <p:ext uri="{BB962C8B-B14F-4D97-AF65-F5344CB8AC3E}">
        <p14:creationId xmlns:p14="http://schemas.microsoft.com/office/powerpoint/2010/main" val="3297712219"/>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7"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19"/>
            <a:ext cx="12436475" cy="1846659"/>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295035608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3115662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2743338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953334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45061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97668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666614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72343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spTree>
    <p:extLst>
      <p:ext uri="{BB962C8B-B14F-4D97-AF65-F5344CB8AC3E}">
        <p14:creationId xmlns:p14="http://schemas.microsoft.com/office/powerpoint/2010/main" val="348730812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71142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65021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7524648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37811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18693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8900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6" name="Rectangle 25"/>
          <p:cNvSpPr/>
          <p:nvPr userDrawn="1"/>
        </p:nvSpPr>
        <p:spPr>
          <a:xfrm>
            <a:off x="1" y="0"/>
            <a:ext cx="12436475" cy="7133768"/>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7"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5"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53616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26209225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46356861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8417803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77353718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57601872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006762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2231362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62945671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60936523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29263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60607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63170479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89195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196330816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054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7" y="3040063"/>
            <a:ext cx="3646979" cy="781235"/>
          </a:xfrm>
          <a:prstGeom prst="rect">
            <a:avLst/>
          </a:prstGeom>
        </p:spPr>
      </p:pic>
      <p:sp>
        <p:nvSpPr>
          <p:cNvPr id="3" name="Text Box 3"/>
          <p:cNvSpPr txBox="1">
            <a:spLocks noChangeArrowheads="1"/>
          </p:cNvSpPr>
          <p:nvPr userDrawn="1"/>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0721875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18540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951692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3631660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333038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941326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448046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232967324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3703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412557149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90635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626283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2905159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70719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6469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435226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40815468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620946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2969071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20046889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0042566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1039873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83097690"/>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68192577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26191011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43125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39861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630848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48208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98824573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a:t>Thank you</a:t>
            </a:r>
          </a:p>
        </p:txBody>
      </p:sp>
    </p:spTree>
    <p:extLst>
      <p:ext uri="{BB962C8B-B14F-4D97-AF65-F5344CB8AC3E}">
        <p14:creationId xmlns:p14="http://schemas.microsoft.com/office/powerpoint/2010/main" val="368531925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78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548357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900357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01251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58947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275622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87672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spTree>
    <p:extLst>
      <p:ext uri="{BB962C8B-B14F-4D97-AF65-F5344CB8AC3E}">
        <p14:creationId xmlns:p14="http://schemas.microsoft.com/office/powerpoint/2010/main" val="28449344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36750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31036659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65557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8711442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9650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61994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84322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337657765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7207193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86559822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46484670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09740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90405026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52888683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700778645"/>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025694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457059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7400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92608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90900029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7" y="3040063"/>
            <a:ext cx="3646979" cy="781235"/>
          </a:xfrm>
          <a:prstGeom prst="rect">
            <a:avLst/>
          </a:prstGeom>
        </p:spPr>
      </p:pic>
      <p:sp>
        <p:nvSpPr>
          <p:cNvPr id="3" name="Text Box 3"/>
          <p:cNvSpPr txBox="1">
            <a:spLocks noChangeArrowheads="1"/>
          </p:cNvSpPr>
          <p:nvPr userDrawn="1"/>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4191304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10636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3_ProcessManufacturing title slide">
    <p:spTree>
      <p:nvGrpSpPr>
        <p:cNvPr id="1" name=""/>
        <p:cNvGrpSpPr/>
        <p:nvPr/>
      </p:nvGrpSpPr>
      <p:grpSpPr>
        <a:xfrm>
          <a:off x="0" y="0"/>
          <a:ext cx="0" cy="0"/>
          <a:chOff x="0" y="0"/>
          <a:chExt cx="0" cy="0"/>
        </a:xfrm>
      </p:grpSpPr>
      <p:sp>
        <p:nvSpPr>
          <p:cNvPr id="2" name="Rectangle 1"/>
          <p:cNvSpPr/>
          <p:nvPr/>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sp>
        <p:nvSpPr>
          <p:cNvPr id="6" name="Rectangle 5"/>
          <p:cNvSpPr/>
          <p:nvPr/>
        </p:nvSpPr>
        <p:spPr>
          <a:xfrm>
            <a:off x="-1" y="0"/>
            <a:ext cx="551459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sp>
        <p:nvSpPr>
          <p:cNvPr id="9" name="Title 1"/>
          <p:cNvSpPr>
            <a:spLocks noGrp="1"/>
          </p:cNvSpPr>
          <p:nvPr>
            <p:ph type="title" hasCustomPrompt="1"/>
          </p:nvPr>
        </p:nvSpPr>
        <p:spPr bwMode="ltGray">
          <a:xfrm>
            <a:off x="233185" y="280906"/>
            <a:ext cx="5281410" cy="3688374"/>
          </a:xfrm>
          <a:noFill/>
        </p:spPr>
        <p:txBody>
          <a:bodyPr vert="horz" lIns="137160" tIns="91440" rIns="137160" bIns="0" rtlCol="0" anchor="b" anchorCtr="0">
            <a:normAutofit/>
          </a:bodyPr>
          <a:lstStyle>
            <a:lvl1pPr algn="l">
              <a:defRPr lang="en-US" sz="4896" b="1" spc="-102" baseline="0" dirty="0">
                <a:solidFill>
                  <a:schemeClr val="bg1"/>
                </a:solidFill>
                <a:latin typeface="+mn-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33185" y="5776572"/>
            <a:ext cx="3860489" cy="907085"/>
          </a:xfrm>
        </p:spPr>
        <p:txBody>
          <a:bodyPr lIns="137160" tIns="91440" rIns="137160" bIns="137160" anchor="b">
            <a:noAutofit/>
          </a:bodyPr>
          <a:lstStyle>
            <a:lvl1pPr marL="0" indent="0" algn="l">
              <a:spcBef>
                <a:spcPts val="0"/>
              </a:spcBef>
              <a:buNone/>
              <a:defRPr sz="1428">
                <a:solidFill>
                  <a:schemeClr val="bg1"/>
                </a:solidFill>
              </a:defRPr>
            </a:lvl1pPr>
            <a:lvl2pPr marL="287218" indent="0">
              <a:buNone/>
              <a:defRPr sz="2040">
                <a:solidFill>
                  <a:schemeClr val="bg1"/>
                </a:solidFill>
              </a:defRPr>
            </a:lvl2pPr>
            <a:lvl3pPr marL="600056"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33184" y="3969282"/>
            <a:ext cx="3964126" cy="1691129"/>
          </a:xfrm>
        </p:spPr>
        <p:txBody>
          <a:bodyPr lIns="137160" tIns="0" rIns="137160" bIns="137160">
            <a:noAutofit/>
          </a:bodyPr>
          <a:lstStyle>
            <a:lvl1pPr>
              <a:defRPr sz="2448" spc="-82" baseline="0">
                <a:solidFill>
                  <a:schemeClr val="bg1"/>
                </a:solidFill>
              </a:defRPr>
            </a:lvl1pPr>
          </a:lstStyle>
          <a:p>
            <a:pPr lvl="0"/>
            <a:r>
              <a:rPr lang="en-US"/>
              <a:t>Edit Master text styles</a:t>
            </a:r>
          </a:p>
        </p:txBody>
      </p:sp>
      <p:sp>
        <p:nvSpPr>
          <p:cNvPr id="14" name="Rectangle 13"/>
          <p:cNvSpPr/>
          <p:nvPr userDrawn="1"/>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err="1"/>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452126" y="280908"/>
            <a:ext cx="1772638" cy="651791"/>
          </a:xfrm>
          <a:prstGeom prst="rect">
            <a:avLst/>
          </a:prstGeom>
        </p:spPr>
      </p:pic>
    </p:spTree>
    <p:extLst>
      <p:ext uri="{BB962C8B-B14F-4D97-AF65-F5344CB8AC3E}">
        <p14:creationId xmlns:p14="http://schemas.microsoft.com/office/powerpoint/2010/main" val="409478214"/>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45186824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7"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19"/>
            <a:ext cx="12436475" cy="1846659"/>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32698908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DiscreteManufacturing 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2" y="0"/>
            <a:ext cx="12436475" cy="6994525"/>
          </a:xfrm>
          <a:prstGeom prst="rect">
            <a:avLst/>
          </a:prstGeom>
        </p:spPr>
      </p:pic>
      <p:sp>
        <p:nvSpPr>
          <p:cNvPr id="2" name="Rectangle 1"/>
          <p:cNvSpPr/>
          <p:nvPr/>
        </p:nvSpPr>
        <p:spPr>
          <a:xfrm>
            <a:off x="6921881" y="0"/>
            <a:ext cx="5514593"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6" name="Rectangle 5"/>
          <p:cNvSpPr/>
          <p:nvPr/>
        </p:nvSpPr>
        <p:spPr>
          <a:xfrm>
            <a:off x="-1" y="0"/>
            <a:ext cx="5530960"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9" name="Title 1"/>
          <p:cNvSpPr>
            <a:spLocks noGrp="1"/>
          </p:cNvSpPr>
          <p:nvPr>
            <p:ph type="title" hasCustomPrompt="1"/>
          </p:nvPr>
        </p:nvSpPr>
        <p:spPr bwMode="ltGray">
          <a:xfrm>
            <a:off x="233183" y="280906"/>
            <a:ext cx="5297775" cy="3688374"/>
          </a:xfrm>
          <a:noFill/>
        </p:spPr>
        <p:txBody>
          <a:bodyPr vert="horz" lIns="137160" tIns="91440" rIns="137160" bIns="0" rtlCol="0" anchor="b" anchorCtr="0">
            <a:normAutofit/>
          </a:bodyPr>
          <a:lstStyle>
            <a:lvl1pPr algn="l">
              <a:defRPr lang="en-US" sz="4896" b="1" spc="-102" baseline="0" dirty="0">
                <a:solidFill>
                  <a:schemeClr val="bg1"/>
                </a:solidFill>
                <a:latin typeface="+mn-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33184" y="5776572"/>
            <a:ext cx="3860489" cy="907085"/>
          </a:xfrm>
        </p:spPr>
        <p:txBody>
          <a:bodyPr lIns="137160" tIns="91440" rIns="137160" bIns="137160" anchor="b">
            <a:noAutofit/>
          </a:bodyPr>
          <a:lstStyle>
            <a:lvl1pPr marL="0" indent="0" algn="l">
              <a:spcBef>
                <a:spcPts val="0"/>
              </a:spcBef>
              <a:buNone/>
              <a:defRPr sz="1428">
                <a:solidFill>
                  <a:schemeClr val="bg1"/>
                </a:soli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33184" y="3969281"/>
            <a:ext cx="3964126" cy="1691129"/>
          </a:xfrm>
        </p:spPr>
        <p:txBody>
          <a:bodyPr lIns="137160" tIns="0" rIns="137160" bIns="137160">
            <a:noAutofit/>
          </a:bodyPr>
          <a:lstStyle>
            <a:lvl1pPr>
              <a:defRPr sz="2448" spc="-82" baseline="0">
                <a:solidFill>
                  <a:schemeClr val="bg1"/>
                </a:solidFill>
              </a:defRPr>
            </a:lvl1pPr>
          </a:lstStyle>
          <a:p>
            <a:pPr lvl="0"/>
            <a:r>
              <a:rPr lang="en-US"/>
              <a:t>Edit Master text styles</a:t>
            </a:r>
          </a:p>
        </p:txBody>
      </p:sp>
      <p:sp>
        <p:nvSpPr>
          <p:cNvPr id="13" name="Rectangle 12"/>
          <p:cNvSpPr/>
          <p:nvPr userDrawn="1"/>
        </p:nvSpPr>
        <p:spPr>
          <a:xfrm>
            <a:off x="6921881" y="0"/>
            <a:ext cx="5514593"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pic>
        <p:nvPicPr>
          <p:cNvPr id="3" name="Picture 2"/>
          <p:cNvPicPr>
            <a:picLocks noChangeAspect="1"/>
          </p:cNvPicPr>
          <p:nvPr userDrawn="1"/>
        </p:nvPicPr>
        <p:blipFill rotWithShape="1">
          <a:blip r:embed="rId3"/>
          <a:srcRect l="8826" t="23103" r="6691" b="23103"/>
          <a:stretch/>
        </p:blipFill>
        <p:spPr>
          <a:xfrm>
            <a:off x="10597723" y="6230115"/>
            <a:ext cx="1471974" cy="344716"/>
          </a:xfrm>
          <a:prstGeom prst="rect">
            <a:avLst/>
          </a:prstGeom>
        </p:spPr>
      </p:pic>
    </p:spTree>
    <p:extLst>
      <p:ext uri="{BB962C8B-B14F-4D97-AF65-F5344CB8AC3E}">
        <p14:creationId xmlns:p14="http://schemas.microsoft.com/office/powerpoint/2010/main" val="144535248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5983435" cy="1360047"/>
          </a:xfrm>
        </p:spPr>
        <p:txBody>
          <a:bodyPr rIns="137160" anchor="t" anchorCtr="0"/>
          <a:lstStyle/>
          <a:p>
            <a:r>
              <a:rPr lang="en-US"/>
              <a:t>Click to edit Master title style</a:t>
            </a:r>
          </a:p>
        </p:txBody>
      </p:sp>
      <p:sp>
        <p:nvSpPr>
          <p:cNvPr id="3" name="Footer Placeholder 2"/>
          <p:cNvSpPr>
            <a:spLocks noGrp="1"/>
          </p:cNvSpPr>
          <p:nvPr>
            <p:ph type="ftr" sz="quarter" idx="10"/>
          </p:nvPr>
        </p:nvSpPr>
        <p:spPr>
          <a:xfrm>
            <a:off x="233184" y="6683658"/>
            <a:ext cx="5983436" cy="310868"/>
          </a:xfrm>
        </p:spPr>
        <p:txBody>
          <a:bodyPr/>
          <a:lstStyle/>
          <a:p>
            <a:pPr defTabSz="1109731"/>
            <a:endParaRPr lang="en-US">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sp>
        <p:nvSpPr>
          <p:cNvPr id="6" name="Picture Placeholder 5"/>
          <p:cNvSpPr>
            <a:spLocks noGrp="1"/>
          </p:cNvSpPr>
          <p:nvPr>
            <p:ph type="pic" sz="quarter" idx="12"/>
          </p:nvPr>
        </p:nvSpPr>
        <p:spPr>
          <a:xfrm>
            <a:off x="6216619" y="0"/>
            <a:ext cx="6219856" cy="6994525"/>
          </a:xfrm>
        </p:spPr>
        <p:txBody>
          <a:bodyPr/>
          <a:lstStyle/>
          <a:p>
            <a:r>
              <a:rPr lang="en-US"/>
              <a:t>Click icon to add picture</a:t>
            </a:r>
          </a:p>
        </p:txBody>
      </p:sp>
      <p:sp>
        <p:nvSpPr>
          <p:cNvPr id="8" name="Text Placeholder 7"/>
          <p:cNvSpPr>
            <a:spLocks noGrp="1"/>
          </p:cNvSpPr>
          <p:nvPr>
            <p:ph type="body" sz="quarter" idx="13"/>
          </p:nvPr>
        </p:nvSpPr>
        <p:spPr>
          <a:xfrm>
            <a:off x="233183" y="1632056"/>
            <a:ext cx="5517067" cy="4973884"/>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94882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sp>
        <p:nvSpPr>
          <p:cNvPr id="3" name="Footer Placeholder 2"/>
          <p:cNvSpPr>
            <a:spLocks noGrp="1"/>
          </p:cNvSpPr>
          <p:nvPr>
            <p:ph type="ftr" sz="quarter" idx="10"/>
          </p:nvPr>
        </p:nvSpPr>
        <p:spPr>
          <a:xfrm>
            <a:off x="233184" y="6683658"/>
            <a:ext cx="5983436" cy="310869"/>
          </a:xfrm>
        </p:spPr>
        <p:txBody>
          <a:bodyPr/>
          <a:lstStyle/>
          <a:p>
            <a:pPr defTabSz="1109731"/>
            <a:endParaRPr lang="en-US">
              <a:solidFill>
                <a:srgbClr val="505050"/>
              </a:solidFill>
            </a:endParaRPr>
          </a:p>
        </p:txBody>
      </p:sp>
      <p:sp>
        <p:nvSpPr>
          <p:cNvPr id="6" name="Picture Placeholder 5"/>
          <p:cNvSpPr>
            <a:spLocks noGrp="1"/>
          </p:cNvSpPr>
          <p:nvPr>
            <p:ph type="pic" sz="quarter" idx="12"/>
          </p:nvPr>
        </p:nvSpPr>
        <p:spPr>
          <a:xfrm>
            <a:off x="1" y="0"/>
            <a:ext cx="6219856" cy="6994525"/>
          </a:xfrm>
        </p:spPr>
        <p:txBody>
          <a:bodyPr/>
          <a:lstStyle/>
          <a:p>
            <a:r>
              <a:rPr lang="en-US"/>
              <a:t>Click icon to add picture</a:t>
            </a:r>
          </a:p>
        </p:txBody>
      </p:sp>
      <p:sp>
        <p:nvSpPr>
          <p:cNvPr id="2" name="Title 1"/>
          <p:cNvSpPr>
            <a:spLocks noGrp="1"/>
          </p:cNvSpPr>
          <p:nvPr>
            <p:ph type="title"/>
          </p:nvPr>
        </p:nvSpPr>
        <p:spPr>
          <a:xfrm>
            <a:off x="6688107" y="272009"/>
            <a:ext cx="5476321" cy="1360047"/>
          </a:xfrm>
        </p:spPr>
        <p:txBody>
          <a:bodyPr anchor="t" anchorCtr="0"/>
          <a:lstStyle/>
          <a:p>
            <a:r>
              <a:rPr lang="en-US"/>
              <a:t>Click to edit Master title style</a:t>
            </a:r>
          </a:p>
        </p:txBody>
      </p:sp>
      <p:sp>
        <p:nvSpPr>
          <p:cNvPr id="8" name="Text Placeholder 7"/>
          <p:cNvSpPr>
            <a:spLocks noGrp="1"/>
          </p:cNvSpPr>
          <p:nvPr>
            <p:ph type="body" sz="quarter" idx="13"/>
          </p:nvPr>
        </p:nvSpPr>
        <p:spPr>
          <a:xfrm>
            <a:off x="6682986" y="1632056"/>
            <a:ext cx="5481442" cy="50516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9440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57998"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4" name="Group 3"/>
          <p:cNvGrpSpPr/>
          <p:nvPr userDrawn="1"/>
        </p:nvGrpSpPr>
        <p:grpSpPr>
          <a:xfrm>
            <a:off x="0" y="3681329"/>
            <a:ext cx="4995045" cy="2886511"/>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286892225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799702"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7" name="Group 16"/>
          <p:cNvGrpSpPr/>
          <p:nvPr userDrawn="1"/>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96579889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57998"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4" name="Group 13"/>
          <p:cNvGrpSpPr/>
          <p:nvPr userDrawn="1"/>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348715258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38566"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4" name="Group 13"/>
          <p:cNvGrpSpPr/>
          <p:nvPr userDrawn="1"/>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5866098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p>
        </p:txBody>
      </p:sp>
      <p:sp>
        <p:nvSpPr>
          <p:cNvPr id="16" name="Text Placeholder 15"/>
          <p:cNvSpPr>
            <a:spLocks noGrp="1"/>
          </p:cNvSpPr>
          <p:nvPr>
            <p:ph type="body" sz="quarter" idx="14"/>
          </p:nvPr>
        </p:nvSpPr>
        <p:spPr>
          <a:xfrm>
            <a:off x="233184" y="1632056"/>
            <a:ext cx="12049414" cy="4668168"/>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393040671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129513682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85089684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8"/>
            <a:ext cx="11426011" cy="310869"/>
          </a:xfrm>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3582571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7273" indent="0">
              <a:buNone/>
              <a:defRPr>
                <a:solidFill>
                  <a:schemeClr val="tx1"/>
                </a:solidFill>
                <a:latin typeface="Segoe UI" panose="020B0502040204020203" pitchFamily="34" charset="0"/>
                <a:cs typeface="Segoe UI" panose="020B0502040204020203" pitchFamily="34" charset="0"/>
              </a:defRPr>
            </a:lvl2pPr>
            <a:lvl3pPr marL="600171" indent="0">
              <a:buNone/>
              <a:defRPr>
                <a:solidFill>
                  <a:schemeClr val="tx1"/>
                </a:solidFill>
                <a:latin typeface="Segoe UI" panose="020B0502040204020203" pitchFamily="34" charset="0"/>
                <a:cs typeface="Segoe UI" panose="020B0502040204020203" pitchFamily="34" charset="0"/>
              </a:defRPr>
            </a:lvl3pPr>
            <a:lvl4pPr marL="887445" indent="0">
              <a:buNone/>
              <a:defRPr>
                <a:solidFill>
                  <a:schemeClr val="tx1"/>
                </a:solidFill>
                <a:latin typeface="Segoe UI" panose="020B0502040204020203" pitchFamily="34" charset="0"/>
                <a:cs typeface="Segoe UI" panose="020B0502040204020203" pitchFamily="34" charset="0"/>
              </a:defRPr>
            </a:lvl4pPr>
            <a:lvl5pPr marL="1127512"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6"/>
          </p:nvPr>
        </p:nvSpPr>
        <p:spPr>
          <a:xfrm>
            <a:off x="233185" y="6683657"/>
            <a:ext cx="11426011" cy="310869"/>
          </a:xfrm>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1789741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33182"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3241" y="1628947"/>
            <a:ext cx="3920182"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412900"/>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33184"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4587"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6"/>
          </p:nvPr>
        </p:nvSpPr>
        <p:spPr>
          <a:xfrm>
            <a:off x="233184"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7" name="Content Placeholder 8"/>
          <p:cNvSpPr>
            <a:spLocks noGrp="1"/>
          </p:cNvSpPr>
          <p:nvPr>
            <p:ph sz="quarter" idx="17"/>
          </p:nvPr>
        </p:nvSpPr>
        <p:spPr>
          <a:xfrm>
            <a:off x="4234587"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8" name="Content Placeholder 8"/>
          <p:cNvSpPr>
            <a:spLocks noGrp="1"/>
          </p:cNvSpPr>
          <p:nvPr>
            <p:ph sz="quarter" idx="18"/>
          </p:nvPr>
        </p:nvSpPr>
        <p:spPr>
          <a:xfrm>
            <a:off x="8235991"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Tree>
    <p:extLst>
      <p:ext uri="{BB962C8B-B14F-4D97-AF65-F5344CB8AC3E}">
        <p14:creationId xmlns:p14="http://schemas.microsoft.com/office/powerpoint/2010/main" val="25311216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2251" y="1628947"/>
            <a:ext cx="4156850" cy="4153194"/>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628947"/>
            <a:ext cx="4145491" cy="4153194"/>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90984" y="1628947"/>
            <a:ext cx="4143333" cy="4153194"/>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289026"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153809"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2000200" y="3637153"/>
            <a:ext cx="2145292"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61530797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3" name="Content Placeholder 2"/>
          <p:cNvSpPr>
            <a:spLocks noGrp="1"/>
          </p:cNvSpPr>
          <p:nvPr>
            <p:ph idx="1"/>
          </p:nvPr>
        </p:nvSpPr>
        <p:spPr>
          <a:xfrm>
            <a:off x="233184" y="1632056"/>
            <a:ext cx="8886898" cy="1657961"/>
          </a:xfrm>
        </p:spPr>
        <p:txBody>
          <a:bodyPr lIns="137160" rIns="137160" bIns="137160">
            <a:normAutofit/>
          </a:bodyPr>
          <a:lstStyle>
            <a:lvl1pPr>
              <a:defRPr sz="2040"/>
            </a:lvl1pPr>
            <a:lvl2pPr>
              <a:defRPr sz="1632"/>
            </a:lvl2pPr>
            <a:lvl3pPr>
              <a:defRPr sz="1428"/>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85" y="6683658"/>
            <a:ext cx="11426011" cy="310868"/>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83"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sz="quarter" idx="14"/>
          </p:nvPr>
        </p:nvSpPr>
        <p:spPr>
          <a:xfrm>
            <a:off x="4240059"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5"/>
          </p:nvPr>
        </p:nvSpPr>
        <p:spPr>
          <a:xfrm>
            <a:off x="8246937"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040979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33183" y="272009"/>
            <a:ext cx="12203292" cy="660594"/>
          </a:xfrm>
        </p:spPr>
        <p:txBody>
          <a:bodyPr vert="horz" lIns="137160" tIns="91440" rIns="137160" bIns="137160" rtlCol="0" anchor="t" anchorCtr="0">
            <a:normAutofit/>
          </a:bodyPr>
          <a:lstStyle>
            <a:lvl1pPr>
              <a:defRPr lang="en-US" dirty="0"/>
            </a:lvl1pPr>
          </a:lstStyle>
          <a:p>
            <a:pPr lvl="0"/>
            <a:r>
              <a:rPr lang="en-US"/>
              <a:t>Click to edit Master title style</a:t>
            </a:r>
          </a:p>
        </p:txBody>
      </p:sp>
      <p:sp>
        <p:nvSpPr>
          <p:cNvPr id="3" name="Content Placeholder 2"/>
          <p:cNvSpPr>
            <a:spLocks noGrp="1"/>
          </p:cNvSpPr>
          <p:nvPr>
            <p:ph sz="half" idx="1"/>
          </p:nvPr>
        </p:nvSpPr>
        <p:spPr>
          <a:xfrm>
            <a:off x="233183" y="1654413"/>
            <a:ext cx="5922871"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1016" y="1654415"/>
            <a:ext cx="5922871"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233184" y="6683658"/>
            <a:ext cx="11426012"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107678802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a:t>Section title</a:t>
            </a:r>
          </a:p>
        </p:txBody>
      </p:sp>
      <p:sp>
        <p:nvSpPr>
          <p:cNvPr id="5" name="Picture Placeholder 4"/>
          <p:cNvSpPr>
            <a:spLocks noGrp="1"/>
          </p:cNvSpPr>
          <p:nvPr>
            <p:ph type="pic" sz="quarter" idx="10" hasCustomPrompt="1"/>
          </p:nvPr>
        </p:nvSpPr>
        <p:spPr>
          <a:xfrm>
            <a:off x="0" y="-4920"/>
            <a:ext cx="12436475" cy="7002244"/>
          </a:xfrm>
        </p:spPr>
        <p:txBody>
          <a:bodyPr/>
          <a:lstStyle>
            <a:lvl1pPr>
              <a:defRPr baseline="0">
                <a:solidFill>
                  <a:schemeClr val="tx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69242884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33184" y="1632056"/>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564377536"/>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436475"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4" name="Rectangle 3"/>
          <p:cNvSpPr/>
          <p:nvPr userDrawn="1"/>
        </p:nvSpPr>
        <p:spPr>
          <a:xfrm>
            <a:off x="0" y="0"/>
            <a:ext cx="12436475"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6220345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23369279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2502" y="2956956"/>
            <a:ext cx="2938889" cy="1080617"/>
          </a:xfrm>
          <a:prstGeom prst="rect">
            <a:avLst/>
          </a:prstGeom>
        </p:spPr>
      </p:pic>
    </p:spTree>
    <p:extLst>
      <p:ext uri="{BB962C8B-B14F-4D97-AF65-F5344CB8AC3E}">
        <p14:creationId xmlns:p14="http://schemas.microsoft.com/office/powerpoint/2010/main" val="30950968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2502" y="2956956"/>
            <a:ext cx="2938889" cy="1080617"/>
          </a:xfrm>
          <a:prstGeom prst="rect">
            <a:avLst/>
          </a:prstGeom>
        </p:spPr>
      </p:pic>
    </p:spTree>
    <p:extLst>
      <p:ext uri="{BB962C8B-B14F-4D97-AF65-F5344CB8AC3E}">
        <p14:creationId xmlns:p14="http://schemas.microsoft.com/office/powerpoint/2010/main" val="123566324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Microsoft logo 1">
    <p:spTree>
      <p:nvGrpSpPr>
        <p:cNvPr id="1" name=""/>
        <p:cNvGrpSpPr/>
        <p:nvPr/>
      </p:nvGrpSpPr>
      <p:grpSpPr>
        <a:xfrm>
          <a:off x="0" y="0"/>
          <a:ext cx="0" cy="0"/>
          <a:chOff x="0" y="0"/>
          <a:chExt cx="0" cy="0"/>
        </a:xfrm>
      </p:grpSpPr>
      <p:sp>
        <p:nvSpPr>
          <p:cNvPr id="5" name="Rectangle 4"/>
          <p:cNvSpPr/>
          <p:nvPr/>
        </p:nvSpPr>
        <p:spPr>
          <a:xfrm>
            <a:off x="2" y="0"/>
            <a:ext cx="12436475"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8219" tIns="29108" rIns="58219" bIns="29108" rtlCol="0" anchor="ctr"/>
          <a:lstStyle/>
          <a:p>
            <a:pPr algn="ctr" defTabSz="698933"/>
            <a:endParaRPr lang="en-US" sz="1376">
              <a:solidFill>
                <a:srgbClr val="FFFFFF"/>
              </a:solidFill>
            </a:endParaRPr>
          </a:p>
        </p:txBody>
      </p:sp>
      <p:sp>
        <p:nvSpPr>
          <p:cNvPr id="4" name="Rectangle 3"/>
          <p:cNvSpPr/>
          <p:nvPr/>
        </p:nvSpPr>
        <p:spPr>
          <a:xfrm>
            <a:off x="2" y="0"/>
            <a:ext cx="12436475"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8219" tIns="29108" rIns="58219" bIns="29108" rtlCol="0" anchor="ctr"/>
          <a:lstStyle/>
          <a:p>
            <a:pPr algn="ctr" defTabSz="698933"/>
            <a:endParaRPr lang="en-US" sz="1376">
              <a:solidFill>
                <a:srgbClr val="FFFFFF"/>
              </a:soli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3359" y="130650"/>
            <a:ext cx="2938890" cy="1080617"/>
          </a:xfrm>
          <a:prstGeom prst="rect">
            <a:avLst/>
          </a:prstGeom>
        </p:spPr>
      </p:pic>
    </p:spTree>
    <p:extLst>
      <p:ext uri="{BB962C8B-B14F-4D97-AF65-F5344CB8AC3E}">
        <p14:creationId xmlns:p14="http://schemas.microsoft.com/office/powerpoint/2010/main" val="426611279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60772" name="Rectangle 4"/>
          <p:cNvSpPr>
            <a:spLocks noChangeArrowheads="1"/>
          </p:cNvSpPr>
          <p:nvPr/>
        </p:nvSpPr>
        <p:spPr bwMode="auto">
          <a:xfrm>
            <a:off x="621824" y="6369551"/>
            <a:ext cx="2901844" cy="485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en-GB" sz="1428"/>
          </a:p>
        </p:txBody>
      </p:sp>
      <p:pic>
        <p:nvPicPr>
          <p:cNvPr id="10"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9240760" y="220662"/>
            <a:ext cx="304800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5"/>
          <p:cNvSpPr>
            <a:spLocks noChangeShapeType="1"/>
          </p:cNvSpPr>
          <p:nvPr userDrawn="1"/>
        </p:nvSpPr>
        <p:spPr bwMode="auto">
          <a:xfrm>
            <a:off x="0" y="1288807"/>
            <a:ext cx="12436475" cy="0"/>
          </a:xfrm>
          <a:prstGeom prst="line">
            <a:avLst/>
          </a:prstGeom>
          <a:noFill/>
          <a:ln w="6350">
            <a:solidFill>
              <a:schemeClr val="tx2"/>
            </a:solidFill>
            <a:round/>
            <a:headEnd/>
            <a:tailEnd/>
          </a:ln>
          <a:extLst>
            <a:ext uri="{909E8E84-426E-40DD-AFC4-6F175D3DCCD1}">
              <a14:hiddenFill xmlns:a14="http://schemas.microsoft.com/office/drawing/2010/main">
                <a:noFill/>
              </a14:hiddenFill>
            </a:ext>
          </a:extLst>
        </p:spPr>
        <p:txBody>
          <a:bodyPr lIns="109408" tIns="54703" rIns="109408" bIns="54703"/>
          <a:lstStyle/>
          <a:p>
            <a:endParaRPr lang="en-GB" sz="1836"/>
          </a:p>
        </p:txBody>
      </p:sp>
      <p:sp>
        <p:nvSpPr>
          <p:cNvPr id="12" name="Line 13"/>
          <p:cNvSpPr>
            <a:spLocks noChangeShapeType="1"/>
          </p:cNvSpPr>
          <p:nvPr userDrawn="1"/>
        </p:nvSpPr>
        <p:spPr bwMode="auto">
          <a:xfrm>
            <a:off x="0" y="6383351"/>
            <a:ext cx="12436475" cy="0"/>
          </a:xfrm>
          <a:prstGeom prst="line">
            <a:avLst/>
          </a:prstGeom>
          <a:noFill/>
          <a:ln w="6350">
            <a:solidFill>
              <a:schemeClr val="tx2"/>
            </a:solidFill>
            <a:round/>
            <a:headEnd/>
            <a:tailEnd/>
          </a:ln>
          <a:extLst>
            <a:ext uri="{909E8E84-426E-40DD-AFC4-6F175D3DCCD1}">
              <a14:hiddenFill xmlns:a14="http://schemas.microsoft.com/office/drawing/2010/main">
                <a:noFill/>
              </a14:hiddenFill>
            </a:ext>
          </a:extLst>
        </p:spPr>
        <p:txBody>
          <a:bodyPr lIns="109408" tIns="54703" rIns="109408" bIns="54703"/>
          <a:lstStyle/>
          <a:p>
            <a:endParaRPr lang="en-GB" sz="1836"/>
          </a:p>
        </p:txBody>
      </p:sp>
      <p:sp>
        <p:nvSpPr>
          <p:cNvPr id="8" name="Rectangle 12"/>
          <p:cNvSpPr>
            <a:spLocks noGrp="1" noChangeArrowheads="1"/>
          </p:cNvSpPr>
          <p:nvPr>
            <p:ph type="ctrTitle"/>
          </p:nvPr>
        </p:nvSpPr>
        <p:spPr>
          <a:xfrm>
            <a:off x="193757" y="1388911"/>
            <a:ext cx="10571004" cy="1499289"/>
          </a:xfrm>
        </p:spPr>
        <p:txBody>
          <a:bodyPr/>
          <a:lstStyle>
            <a:lvl1pPr>
              <a:defRPr/>
            </a:lvl1pPr>
          </a:lstStyle>
          <a:p>
            <a:pPr lvl="0"/>
            <a:r>
              <a:rPr lang="en-GB" noProof="0"/>
              <a:t>Click to edit Master title style</a:t>
            </a:r>
          </a:p>
        </p:txBody>
      </p:sp>
      <p:sp>
        <p:nvSpPr>
          <p:cNvPr id="13" name="Rectangle 12"/>
          <p:cNvSpPr/>
          <p:nvPr userDrawn="1"/>
        </p:nvSpPr>
        <p:spPr>
          <a:xfrm>
            <a:off x="61200" y="6386369"/>
            <a:ext cx="4572000" cy="332738"/>
          </a:xfrm>
          <a:prstGeom prst="rect">
            <a:avLst/>
          </a:prstGeom>
        </p:spPr>
        <p:txBody>
          <a:bodyPr>
            <a:spAutoFit/>
          </a:bodyPr>
          <a:lstStyle/>
          <a:p>
            <a:pPr algn="l">
              <a:lnSpc>
                <a:spcPct val="95000"/>
              </a:lnSpc>
              <a:spcBef>
                <a:spcPts val="0"/>
              </a:spcBef>
              <a:defRPr/>
            </a:pPr>
            <a:r>
              <a:rPr lang="en-GB" sz="800" kern="0" cap="all" baseline="0">
                <a:solidFill>
                  <a:srgbClr val="000000"/>
                </a:solidFill>
                <a:latin typeface="Arial"/>
                <a:cs typeface="Arial"/>
              </a:rPr>
              <a:t>Copyright © 2015 BAE Systems. All Rights Reserved.</a:t>
            </a:r>
          </a:p>
          <a:p>
            <a:pPr algn="l">
              <a:lnSpc>
                <a:spcPct val="95000"/>
              </a:lnSpc>
              <a:spcBef>
                <a:spcPts val="0"/>
              </a:spcBef>
              <a:defRPr/>
            </a:pPr>
            <a:r>
              <a:rPr lang="en-GB" sz="800" kern="0" cap="all" baseline="0">
                <a:solidFill>
                  <a:srgbClr val="000000"/>
                </a:solidFill>
                <a:latin typeface="Arial"/>
                <a:cs typeface="Arial"/>
              </a:rPr>
              <a:t>BAE SYSTEMS is a registered trademark of BAE Systems plc</a:t>
            </a:r>
            <a:endParaRPr lang="en-GB" sz="800"/>
          </a:p>
        </p:txBody>
      </p:sp>
      <p:sp>
        <p:nvSpPr>
          <p:cNvPr id="14" name="TextBox 13"/>
          <p:cNvSpPr txBox="1"/>
          <p:nvPr userDrawn="1"/>
        </p:nvSpPr>
        <p:spPr>
          <a:xfrm>
            <a:off x="5500816" y="6418685"/>
            <a:ext cx="1434843" cy="258839"/>
          </a:xfrm>
          <a:prstGeom prst="rect">
            <a:avLst/>
          </a:prstGeom>
          <a:noFill/>
        </p:spPr>
        <p:txBody>
          <a:bodyPr wrap="square" rtlCol="0">
            <a:spAutoFit/>
          </a:bodyPr>
          <a:lstStyle/>
          <a:p>
            <a:r>
              <a:rPr lang="en-GB" sz="1049"/>
              <a:t>Unclassified</a:t>
            </a:r>
          </a:p>
        </p:txBody>
      </p:sp>
      <p:sp>
        <p:nvSpPr>
          <p:cNvPr id="15" name="TextBox 14"/>
          <p:cNvSpPr txBox="1"/>
          <p:nvPr userDrawn="1"/>
        </p:nvSpPr>
        <p:spPr>
          <a:xfrm>
            <a:off x="9799637" y="6395601"/>
            <a:ext cx="2469071" cy="313772"/>
          </a:xfrm>
          <a:prstGeom prst="rect">
            <a:avLst/>
          </a:prstGeom>
          <a:noFill/>
        </p:spPr>
        <p:txBody>
          <a:bodyPr wrap="none" rtlCol="0">
            <a:spAutoFit/>
          </a:bodyPr>
          <a:lstStyle/>
          <a:p>
            <a:pPr algn="l"/>
            <a:r>
              <a:rPr lang="en-GB" sz="1399" b="1"/>
              <a:t>Military Air &amp; Information</a:t>
            </a:r>
          </a:p>
        </p:txBody>
      </p:sp>
    </p:spTree>
    <p:extLst>
      <p:ext uri="{BB962C8B-B14F-4D97-AF65-F5344CB8AC3E}">
        <p14:creationId xmlns:p14="http://schemas.microsoft.com/office/powerpoint/2010/main" val="199565921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99560049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0261547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84962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39" y="1593198"/>
            <a:ext cx="6202692" cy="1981825"/>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7" y="1593198"/>
            <a:ext cx="5486399" cy="1981825"/>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238838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Blank">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859875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2518629" cy="2664431"/>
          </a:xfrm>
        </p:spPr>
        <p:txBody>
          <a:bodyPr anchor="t"/>
          <a:lstStyle/>
          <a:p>
            <a:r>
              <a:rPr lang="en-US"/>
              <a:t>Click to edit Master title style</a:t>
            </a:r>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1813" y="595830"/>
            <a:ext cx="9296023" cy="5802865"/>
          </a:xfrm>
          <a:prstGeom prst="rect">
            <a:avLst/>
          </a:prstGeom>
        </p:spPr>
      </p:pic>
      <p:sp>
        <p:nvSpPr>
          <p:cNvPr id="13" name="Media Placeholder 8"/>
          <p:cNvSpPr>
            <a:spLocks noGrp="1"/>
          </p:cNvSpPr>
          <p:nvPr>
            <p:ph type="media" sz="quarter" idx="11" hasCustomPrompt="1"/>
          </p:nvPr>
        </p:nvSpPr>
        <p:spPr>
          <a:xfrm>
            <a:off x="3334207" y="1158505"/>
            <a:ext cx="8116095" cy="738664"/>
          </a:xfrm>
        </p:spPr>
        <p:txBody>
          <a:bodyPr/>
          <a:lstStyle>
            <a:lvl1pPr>
              <a:defRPr baseline="0"/>
            </a:lvl1pPr>
          </a:lstStyle>
          <a:p>
            <a:r>
              <a:rPr lang="en-US"/>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1813" y="595830"/>
            <a:ext cx="9296023" cy="5802865"/>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51813" y="595830"/>
            <a:ext cx="9296023" cy="5802865"/>
          </a:xfrm>
          <a:prstGeom prst="rect">
            <a:avLst/>
          </a:prstGeom>
        </p:spPr>
      </p:pic>
    </p:spTree>
    <p:extLst>
      <p:ext uri="{BB962C8B-B14F-4D97-AF65-F5344CB8AC3E}">
        <p14:creationId xmlns:p14="http://schemas.microsoft.com/office/powerpoint/2010/main" val="35789400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500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4260784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326511" y="1024465"/>
            <a:ext cx="9682926" cy="5672952"/>
            <a:chOff x="1235635" y="385351"/>
            <a:chExt cx="10773792" cy="6312058"/>
          </a:xfrm>
        </p:grpSpPr>
        <p:pic>
          <p:nvPicPr>
            <p:cNvPr id="33" name="Picture 32"/>
            <p:cNvPicPr>
              <a:picLocks noChangeAspect="1"/>
            </p:cNvPicPr>
            <p:nvPr userDrawn="1"/>
          </p:nvPicPr>
          <p:blipFill>
            <a:blip r:embed="rId2"/>
            <a:stretch>
              <a:fillRect/>
            </a:stretch>
          </p:blipFill>
          <p:spPr>
            <a:xfrm>
              <a:off x="1235635" y="385351"/>
              <a:ext cx="10773792" cy="6312058"/>
            </a:xfrm>
            <a:prstGeom prst="rect">
              <a:avLst/>
            </a:prstGeom>
          </p:spPr>
        </p:pic>
        <p:sp>
          <p:nvSpPr>
            <p:cNvPr id="5" name="Oval 4"/>
            <p:cNvSpPr/>
            <p:nvPr userDrawn="1"/>
          </p:nvSpPr>
          <p:spPr bwMode="auto">
            <a:xfrm>
              <a:off x="9402517" y="426524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793" y="285332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0" y="230741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1" y="320637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63" y="33693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2" y="21062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4" y="208071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3" y="469170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6" y="257749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69" y="260874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3" y="226393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58" y="218427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4" y="223513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5" y="28940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2" y="259795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37" y="238956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47" y="277856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62" y="526620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34" y="555508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66" y="31825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3" y="250008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2" y="371442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6" y="271460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77" y="253138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4995" y="187543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596" y="191354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59" y="224979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p:cNvSpPr/>
            <p:nvPr userDrawn="1"/>
          </p:nvSpPr>
          <p:spPr bwMode="auto">
            <a:xfrm>
              <a:off x="2104113" y="160237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Oval 34"/>
            <p:cNvSpPr/>
            <p:nvPr userDrawn="1"/>
          </p:nvSpPr>
          <p:spPr bwMode="auto">
            <a:xfrm>
              <a:off x="2606938" y="15148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Oval 35"/>
            <p:cNvSpPr/>
            <p:nvPr userDrawn="1"/>
          </p:nvSpPr>
          <p:spPr bwMode="auto">
            <a:xfrm>
              <a:off x="4174356" y="4215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p:cNvSpPr/>
            <p:nvPr userDrawn="1"/>
          </p:nvSpPr>
          <p:spPr bwMode="auto">
            <a:xfrm>
              <a:off x="4294695" y="511178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p:cNvSpPr/>
            <p:nvPr userDrawn="1"/>
          </p:nvSpPr>
          <p:spPr bwMode="auto">
            <a:xfrm>
              <a:off x="11451954" y="60155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Oval 38"/>
            <p:cNvSpPr/>
            <p:nvPr userDrawn="1"/>
          </p:nvSpPr>
          <p:spPr bwMode="auto">
            <a:xfrm>
              <a:off x="8306959" y="148701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Oval 39"/>
            <p:cNvSpPr/>
            <p:nvPr userDrawn="1"/>
          </p:nvSpPr>
          <p:spPr bwMode="auto">
            <a:xfrm>
              <a:off x="7448362" y="21196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p:cNvSpPr/>
            <p:nvPr userDrawn="1"/>
          </p:nvSpPr>
          <p:spPr bwMode="auto">
            <a:xfrm>
              <a:off x="7842683" y="32325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55436627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60" y="432150"/>
            <a:ext cx="1669246" cy="415375"/>
          </a:xfrm>
          <a:prstGeom prst="rect">
            <a:avLst/>
          </a:prstGeom>
        </p:spPr>
      </p:pic>
    </p:spTree>
    <p:extLst>
      <p:ext uri="{BB962C8B-B14F-4D97-AF65-F5344CB8AC3E}">
        <p14:creationId xmlns:p14="http://schemas.microsoft.com/office/powerpoint/2010/main" val="359962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
        <p:nvSpPr>
          <p:cNvPr id="8" name="Rectangle 7"/>
          <p:cNvSpPr/>
          <p:nvPr userDrawn="1"/>
        </p:nvSpPr>
        <p:spPr bwMode="gray">
          <a:xfrm>
            <a:off x="274637" y="1211263"/>
            <a:ext cx="822960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6182440"/>
            <a:ext cx="1552931" cy="332660"/>
          </a:xfrm>
          <a:prstGeom prst="rect">
            <a:avLst/>
          </a:prstGeom>
        </p:spPr>
      </p:pic>
      <p:sp>
        <p:nvSpPr>
          <p:cNvPr id="9" name="Title 1"/>
          <p:cNvSpPr>
            <a:spLocks noGrp="1"/>
          </p:cNvSpPr>
          <p:nvPr>
            <p:ph type="title" hasCustomPrompt="1"/>
          </p:nvPr>
        </p:nvSpPr>
        <p:spPr bwMode="auto">
          <a:xfrm>
            <a:off x="274702" y="1211263"/>
            <a:ext cx="82295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040063"/>
            <a:ext cx="82311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26162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57992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52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3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095357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2807623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0" y="1"/>
            <a:ext cx="12434709" cy="6994524"/>
          </a:xfrm>
          <a:prstGeom prst="rect">
            <a:avLst/>
          </a:prstGeom>
        </p:spPr>
      </p:pic>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245415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88" t="8525" r="16282" b="23804"/>
          <a:stretch/>
        </p:blipFill>
        <p:spPr>
          <a:xfrm>
            <a:off x="0" y="1"/>
            <a:ext cx="12457975" cy="6994525"/>
          </a:xfrm>
          <a:prstGeom prst="rect">
            <a:avLst/>
          </a:prstGeom>
        </p:spPr>
      </p:pic>
      <p:sp>
        <p:nvSpPr>
          <p:cNvPr id="10" name="Rectangle 9"/>
          <p:cNvSpPr/>
          <p:nvPr userDrawn="1"/>
        </p:nvSpPr>
        <p:spPr bwMode="auto">
          <a:xfrm>
            <a:off x="0" y="2"/>
            <a:ext cx="12457975" cy="6994524"/>
          </a:xfrm>
          <a:prstGeom prst="rect">
            <a:avLst/>
          </a:prstGeom>
          <a:solidFill>
            <a:schemeClr val="tx1">
              <a:lumMod val="50000"/>
              <a:alpha val="5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chemeClr val="bg1"/>
              </a:solidFill>
              <a:ea typeface="Segoe UI" pitchFamily="34" charset="0"/>
              <a:cs typeface="Segoe UI" pitchFamily="34" charset="0"/>
            </a:endParaRPr>
          </a:p>
        </p:txBody>
      </p:sp>
      <p:sp>
        <p:nvSpPr>
          <p:cNvPr id="12" name="Rectangle 11"/>
          <p:cNvSpPr/>
          <p:nvPr userDrawn="1"/>
        </p:nvSpPr>
        <p:spPr bwMode="auto">
          <a:xfrm>
            <a:off x="273050" y="2125663"/>
            <a:ext cx="8354755"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62817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11562544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776" y="6030709"/>
            <a:ext cx="1779847" cy="654612"/>
          </a:xfrm>
          <a:prstGeom prst="rect">
            <a:avLst/>
          </a:prstGeom>
        </p:spPr>
      </p:pic>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6698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709711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440364" y="1"/>
            <a:ext cx="6994345" cy="6994524"/>
          </a:xfrm>
          <a:prstGeom prst="rect">
            <a:avLst/>
          </a:prstGeom>
        </p:spPr>
      </p:pic>
    </p:spTree>
    <p:extLst>
      <p:ext uri="{BB962C8B-B14F-4D97-AF65-F5344CB8AC3E}">
        <p14:creationId xmlns:p14="http://schemas.microsoft.com/office/powerpoint/2010/main" val="577593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439138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solidFill>
                  <a:schemeClr val="bg1"/>
                </a:solidFill>
              </a:defRPr>
            </a:lvl1pPr>
            <a:lvl2pPr marL="228557" indent="0">
              <a:buNone/>
              <a:defRPr>
                <a:solidFill>
                  <a:schemeClr val="bg1"/>
                </a:solidFill>
              </a:defRPr>
            </a:lvl2pPr>
            <a:lvl3pPr marL="457112" indent="0">
              <a:buNone/>
              <a:defRPr>
                <a:solidFill>
                  <a:schemeClr val="bg1"/>
                </a:solidFill>
              </a:defRPr>
            </a:lvl3pPr>
            <a:lvl4pPr marL="685669" indent="0">
              <a:buNone/>
              <a:defRPr>
                <a:solidFill>
                  <a:schemeClr val="bg1"/>
                </a:solidFill>
              </a:defRPr>
            </a:lvl4pPr>
            <a:lvl5pPr marL="914224"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914952"/>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10477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332958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279882880"/>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190648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21130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546487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13235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5506903"/>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8066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1410963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77550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858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405269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484854"/>
            <a:ext cx="1452989" cy="310896"/>
          </a:xfrm>
          <a:prstGeom prst="rect">
            <a:avLst/>
          </a:prstGeom>
        </p:spPr>
      </p:pic>
    </p:spTree>
    <p:extLst>
      <p:ext uri="{BB962C8B-B14F-4D97-AF65-F5344CB8AC3E}">
        <p14:creationId xmlns:p14="http://schemas.microsoft.com/office/powerpoint/2010/main" val="3722661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8228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3" y="2"/>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52651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91680172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93688" y="1035040"/>
            <a:ext cx="11887200" cy="2754600"/>
          </a:xfrm>
          <a:prstGeom prst="rect">
            <a:avLst/>
          </a:prstGeom>
          <a:noFill/>
        </p:spPr>
        <p:txBody>
          <a:bodyPr wrap="square" lIns="182880" tIns="146304" rIns="182880" bIns="146304" rtlCol="0">
            <a:spAutoFit/>
          </a:bodyPr>
          <a:lstStyle/>
          <a:p>
            <a:pPr>
              <a:lnSpc>
                <a:spcPct val="90000"/>
              </a:lnSpc>
              <a:spcAft>
                <a:spcPts val="600"/>
              </a:spcAft>
            </a:pPr>
            <a:r>
              <a:rPr lang="en-US" sz="8600">
                <a:gradFill>
                  <a:gsLst>
                    <a:gs pos="2917">
                      <a:srgbClr val="FFFFFF"/>
                    </a:gs>
                    <a:gs pos="30000">
                      <a:srgbClr val="FFFFFF"/>
                    </a:gs>
                  </a:gsLst>
                  <a:lin ang="5400000" scaled="0"/>
                </a:gradFill>
                <a:latin typeface="Segoe UI Light"/>
              </a:rPr>
              <a:t>Cortana Analytics</a:t>
            </a:r>
          </a:p>
          <a:p>
            <a:pPr>
              <a:lnSpc>
                <a:spcPct val="90000"/>
              </a:lnSpc>
              <a:spcAft>
                <a:spcPts val="600"/>
              </a:spcAft>
            </a:pPr>
            <a:r>
              <a:rPr lang="en-US" sz="8600">
                <a:gradFill>
                  <a:gsLst>
                    <a:gs pos="2917">
                      <a:srgbClr val="FFFFFF"/>
                    </a:gs>
                    <a:gs pos="30000">
                      <a:srgbClr val="FFFFFF"/>
                    </a:gs>
                  </a:gsLst>
                  <a:lin ang="5400000" scaled="0"/>
                </a:gradFill>
                <a:latin typeface="Segoe UI Light"/>
              </a:rPr>
              <a:t>Workshop</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7957" y="489050"/>
            <a:ext cx="1552931" cy="332660"/>
          </a:xfrm>
          <a:prstGeom prst="rect">
            <a:avLst/>
          </a:prstGeom>
        </p:spPr>
      </p:pic>
      <p:sp>
        <p:nvSpPr>
          <p:cNvPr id="11" name="TextBox 10"/>
          <p:cNvSpPr txBox="1"/>
          <p:nvPr userDrawn="1"/>
        </p:nvSpPr>
        <p:spPr bwMode="white">
          <a:xfrm>
            <a:off x="293688" y="3588701"/>
            <a:ext cx="10195024" cy="932563"/>
          </a:xfrm>
          <a:prstGeom prst="rect">
            <a:avLst/>
          </a:prstGeom>
          <a:noFill/>
        </p:spPr>
        <p:txBody>
          <a:bodyPr wrap="square" lIns="182880" tIns="146304" rIns="182880" bIns="146304" rtlCol="0">
            <a:spAutoFit/>
          </a:bodyPr>
          <a:lstStyle/>
          <a:p>
            <a:pPr>
              <a:lnSpc>
                <a:spcPct val="90000"/>
              </a:lnSpc>
              <a:spcAft>
                <a:spcPts val="600"/>
              </a:spcAft>
            </a:pPr>
            <a:r>
              <a:rPr lang="en-US" sz="4600">
                <a:gradFill>
                  <a:gsLst>
                    <a:gs pos="2917">
                      <a:srgbClr val="FFFFFF"/>
                    </a:gs>
                    <a:gs pos="30000">
                      <a:srgbClr val="FFFFFF"/>
                    </a:gs>
                  </a:gsLst>
                  <a:lin ang="5400000" scaled="0"/>
                </a:gradFill>
                <a:latin typeface="Segoe UI Light"/>
              </a:rPr>
              <a:t>Sept 10 – 11, 2015  •  MSCC</a:t>
            </a:r>
          </a:p>
        </p:txBody>
      </p:sp>
    </p:spTree>
    <p:extLst>
      <p:ext uri="{BB962C8B-B14F-4D97-AF65-F5344CB8AC3E}">
        <p14:creationId xmlns:p14="http://schemas.microsoft.com/office/powerpoint/2010/main" val="349438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
        <p:nvSpPr>
          <p:cNvPr id="8" name="Rectangle 7"/>
          <p:cNvSpPr/>
          <p:nvPr userDrawn="1"/>
        </p:nvSpPr>
        <p:spPr bwMode="gray">
          <a:xfrm>
            <a:off x="274637" y="1211263"/>
            <a:ext cx="822960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6182440"/>
            <a:ext cx="1552931" cy="332660"/>
          </a:xfrm>
          <a:prstGeom prst="rect">
            <a:avLst/>
          </a:prstGeom>
        </p:spPr>
      </p:pic>
      <p:sp>
        <p:nvSpPr>
          <p:cNvPr id="9" name="Title 1"/>
          <p:cNvSpPr>
            <a:spLocks noGrp="1"/>
          </p:cNvSpPr>
          <p:nvPr>
            <p:ph type="title" hasCustomPrompt="1"/>
          </p:nvPr>
        </p:nvSpPr>
        <p:spPr bwMode="auto">
          <a:xfrm>
            <a:off x="274702" y="1211263"/>
            <a:ext cx="82295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040063"/>
            <a:ext cx="82311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415629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
        <p:nvSpPr>
          <p:cNvPr id="8" name="Rectangle 7"/>
          <p:cNvSpPr/>
          <p:nvPr userDrawn="1"/>
        </p:nvSpPr>
        <p:spPr bwMode="gray">
          <a:xfrm>
            <a:off x="274637" y="1211263"/>
            <a:ext cx="8229601" cy="3657600"/>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6182440"/>
            <a:ext cx="1552931" cy="332660"/>
          </a:xfrm>
          <a:prstGeom prst="rect">
            <a:avLst/>
          </a:prstGeom>
        </p:spPr>
      </p:pic>
      <p:sp>
        <p:nvSpPr>
          <p:cNvPr id="9" name="Title 1"/>
          <p:cNvSpPr>
            <a:spLocks noGrp="1"/>
          </p:cNvSpPr>
          <p:nvPr>
            <p:ph type="title" hasCustomPrompt="1"/>
          </p:nvPr>
        </p:nvSpPr>
        <p:spPr bwMode="auto">
          <a:xfrm>
            <a:off x="274702" y="1211263"/>
            <a:ext cx="82295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040063"/>
            <a:ext cx="82311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581920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021355"/>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76023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561268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56475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819335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Tree>
    <p:extLst>
      <p:ext uri="{BB962C8B-B14F-4D97-AF65-F5344CB8AC3E}">
        <p14:creationId xmlns:p14="http://schemas.microsoft.com/office/powerpoint/2010/main" val="30027586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3658890"/>
          </a:xfrm>
          <a:noFill/>
        </p:spPr>
        <p:txBody>
          <a:bodyPr tIns="91440" bIns="91440" anchor="t" anchorCtr="0">
            <a:no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Tree>
    <p:extLst>
      <p:ext uri="{BB962C8B-B14F-4D97-AF65-F5344CB8AC3E}">
        <p14:creationId xmlns:p14="http://schemas.microsoft.com/office/powerpoint/2010/main" val="755819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99709656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134049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96615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447233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8916702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3802399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91695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4475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78862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5111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67522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9" name="TextBox 8"/>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0836256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193509592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441453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78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441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PMconcep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a:xfrm>
            <a:off x="11439331" y="6615404"/>
            <a:ext cx="875846" cy="267200"/>
          </a:xfrm>
        </p:spPr>
        <p:txBody>
          <a:bodyPr/>
          <a:lstStyle>
            <a:lvl1pPr>
              <a:defRPr b="0">
                <a:solidFill>
                  <a:srgbClr val="000000"/>
                </a:solidFill>
              </a:defRPr>
            </a:lvl1pPr>
          </a:lstStyle>
          <a:p>
            <a:fld id="{6974C60E-8F8C-41D8-9BFF-6DF338C2FC78}" type="slidenum">
              <a:rPr lang="en-US" smtClean="0"/>
              <a:pPr/>
              <a:t>‹#›</a:t>
            </a:fld>
            <a:endParaRPr lang="en-US"/>
          </a:p>
        </p:txBody>
      </p:sp>
      <p:pic>
        <p:nvPicPr>
          <p:cNvPr id="5" name="Picture 4"/>
          <p:cNvPicPr>
            <a:picLocks noChangeAspect="1"/>
          </p:cNvPicPr>
          <p:nvPr userDrawn="1"/>
        </p:nvPicPr>
        <p:blipFill>
          <a:blip r:embed="rId2"/>
          <a:stretch>
            <a:fillRect/>
          </a:stretch>
        </p:blipFill>
        <p:spPr>
          <a:xfrm>
            <a:off x="11719931" y="6464097"/>
            <a:ext cx="716543" cy="530428"/>
          </a:xfrm>
          <a:prstGeom prst="rect">
            <a:avLst/>
          </a:prstGeom>
        </p:spPr>
      </p:pic>
    </p:spTree>
    <p:extLst>
      <p:ext uri="{BB962C8B-B14F-4D97-AF65-F5344CB8AC3E}">
        <p14:creationId xmlns:p14="http://schemas.microsoft.com/office/powerpoint/2010/main" val="780214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MLmodel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a:xfrm>
            <a:off x="11439331" y="6615404"/>
            <a:ext cx="875846" cy="267200"/>
          </a:xfrm>
        </p:spPr>
        <p:txBody>
          <a:bodyPr/>
          <a:lstStyle>
            <a:lvl1pPr>
              <a:defRPr b="0">
                <a:solidFill>
                  <a:srgbClr val="000000"/>
                </a:solidFill>
              </a:defRPr>
            </a:lvl1pPr>
          </a:lstStyle>
          <a:p>
            <a:fld id="{6974C60E-8F8C-41D8-9BFF-6DF338C2FC78}" type="slidenum">
              <a:rPr lang="en-US" smtClean="0"/>
              <a:pPr/>
              <a:t>‹#›</a:t>
            </a:fld>
            <a:endParaRPr lang="en-US"/>
          </a:p>
        </p:txBody>
      </p:sp>
      <p:pic>
        <p:nvPicPr>
          <p:cNvPr id="6" name="Picture 5"/>
          <p:cNvPicPr>
            <a:picLocks noChangeAspect="1"/>
          </p:cNvPicPr>
          <p:nvPr userDrawn="1"/>
        </p:nvPicPr>
        <p:blipFill>
          <a:blip r:embed="rId2"/>
          <a:stretch>
            <a:fillRect/>
          </a:stretch>
        </p:blipFill>
        <p:spPr>
          <a:xfrm>
            <a:off x="11724808" y="6467707"/>
            <a:ext cx="711666" cy="526818"/>
          </a:xfrm>
          <a:prstGeom prst="rect">
            <a:avLst/>
          </a:prstGeom>
        </p:spPr>
      </p:pic>
    </p:spTree>
    <p:extLst>
      <p:ext uri="{BB962C8B-B14F-4D97-AF65-F5344CB8AC3E}">
        <p14:creationId xmlns:p14="http://schemas.microsoft.com/office/powerpoint/2010/main" val="416795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6"/>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5972" y="3842193"/>
            <a:ext cx="3316393" cy="301347"/>
          </a:xfrm>
        </p:spPr>
        <p:txBody>
          <a:bodyPr/>
          <a:lstStyle>
            <a:lvl1pPr marL="37305" indent="0">
              <a:lnSpc>
                <a:spcPct val="90000"/>
              </a:lnSpc>
              <a:spcBef>
                <a:spcPts val="522"/>
              </a:spcBef>
              <a:buFontTx/>
              <a:buNone/>
              <a:defRPr sz="2176" baseline="0">
                <a:solidFill>
                  <a:schemeClr val="bg1"/>
                </a:solidFill>
                <a:latin typeface="+mj-lt"/>
              </a:defRPr>
            </a:lvl1pPr>
            <a:lvl2pPr marL="373048" indent="0">
              <a:buFontTx/>
              <a:buNone/>
              <a:defRPr/>
            </a:lvl2pPr>
            <a:lvl3pPr marL="746096" indent="0">
              <a:buFontTx/>
              <a:buNone/>
              <a:defRPr/>
            </a:lvl3pPr>
            <a:lvl4pPr marL="1119143" indent="0">
              <a:buFontTx/>
              <a:buNone/>
              <a:defRPr/>
            </a:lvl4pPr>
            <a:lvl5pPr marL="1492191"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835"/>
          </a:xfrm>
        </p:spPr>
        <p:txBody>
          <a:bodyPr/>
          <a:lstStyle>
            <a:lvl1pPr marL="37305" indent="0">
              <a:buFontTx/>
              <a:buNone/>
              <a:defRPr sz="2176" baseline="0">
                <a:solidFill>
                  <a:schemeClr val="bg1"/>
                </a:solidFill>
                <a:latin typeface="+mj-lt"/>
              </a:defRPr>
            </a:lvl1pPr>
            <a:lvl2pPr marL="373048" indent="0">
              <a:buFontTx/>
              <a:buNone/>
              <a:defRPr/>
            </a:lvl2pPr>
            <a:lvl3pPr marL="746096" indent="0">
              <a:buFontTx/>
              <a:buNone/>
              <a:defRPr/>
            </a:lvl3pPr>
            <a:lvl4pPr marL="1119143" indent="0">
              <a:buFontTx/>
              <a:buNone/>
              <a:defRPr/>
            </a:lvl4pPr>
            <a:lvl5pPr marL="1492191"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72953250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6"/>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5972" y="3842193"/>
            <a:ext cx="3316393" cy="301347"/>
          </a:xfrm>
        </p:spPr>
        <p:txBody>
          <a:bodyPr/>
          <a:lstStyle>
            <a:lvl1pPr marL="37305" indent="0">
              <a:lnSpc>
                <a:spcPct val="90000"/>
              </a:lnSpc>
              <a:spcBef>
                <a:spcPts val="522"/>
              </a:spcBef>
              <a:buFontTx/>
              <a:buNone/>
              <a:defRPr sz="2176" baseline="0">
                <a:solidFill>
                  <a:schemeClr val="bg1"/>
                </a:solidFill>
                <a:latin typeface="+mj-lt"/>
              </a:defRPr>
            </a:lvl1pPr>
            <a:lvl2pPr marL="373048" indent="0">
              <a:buFontTx/>
              <a:buNone/>
              <a:defRPr/>
            </a:lvl2pPr>
            <a:lvl3pPr marL="746096" indent="0">
              <a:buFontTx/>
              <a:buNone/>
              <a:defRPr/>
            </a:lvl3pPr>
            <a:lvl4pPr marL="1119143" indent="0">
              <a:buFontTx/>
              <a:buNone/>
              <a:defRPr/>
            </a:lvl4pPr>
            <a:lvl5pPr marL="1492191"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835"/>
          </a:xfrm>
        </p:spPr>
        <p:txBody>
          <a:bodyPr/>
          <a:lstStyle>
            <a:lvl1pPr marL="37305" indent="0">
              <a:buFontTx/>
              <a:buNone/>
              <a:defRPr sz="2176" baseline="0">
                <a:solidFill>
                  <a:schemeClr val="bg1"/>
                </a:solidFill>
                <a:latin typeface="+mj-lt"/>
              </a:defRPr>
            </a:lvl1pPr>
            <a:lvl2pPr marL="373048" indent="0">
              <a:buFontTx/>
              <a:buNone/>
              <a:defRPr/>
            </a:lvl2pPr>
            <a:lvl3pPr marL="746096" indent="0">
              <a:buFontTx/>
              <a:buNone/>
              <a:defRPr/>
            </a:lvl3pPr>
            <a:lvl4pPr marL="1119143" indent="0">
              <a:buFontTx/>
              <a:buNone/>
              <a:defRPr/>
            </a:lvl4pPr>
            <a:lvl5pPr marL="1492191"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0"/>
            <a:ext cx="1243648" cy="265101"/>
          </a:xfrm>
          <a:prstGeom prst="rect">
            <a:avLst/>
          </a:prstGeom>
          <a:noFill/>
        </p:spPr>
      </p:pic>
    </p:spTree>
    <p:extLst>
      <p:ext uri="{BB962C8B-B14F-4D97-AF65-F5344CB8AC3E}">
        <p14:creationId xmlns:p14="http://schemas.microsoft.com/office/powerpoint/2010/main" val="233080099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1"/>
            <a:ext cx="4974590" cy="4972845"/>
          </a:xfrm>
          <a:solidFill>
            <a:srgbClr val="1A3762"/>
          </a:solidFill>
        </p:spPr>
        <p:txBody>
          <a:bodyPr lIns="182880" tIns="91440" rIns="91440" bIns="91440">
            <a:noAutofit/>
          </a:bodyPr>
          <a:lstStyle>
            <a:lvl1pPr marL="310873" indent="-310873">
              <a:lnSpc>
                <a:spcPct val="100000"/>
              </a:lnSpc>
              <a:buFont typeface="Arial" pitchFamily="34" charset="0"/>
              <a:buChar char="•"/>
              <a:defRPr sz="2720">
                <a:solidFill>
                  <a:schemeClr val="bg1"/>
                </a:solidFill>
              </a:defRPr>
            </a:lvl1pPr>
            <a:lvl2pPr marL="932619" indent="-310873">
              <a:lnSpc>
                <a:spcPct val="100000"/>
              </a:lnSpc>
              <a:buFont typeface="Arial" pitchFamily="34" charset="0"/>
              <a:buChar char="•"/>
              <a:defRPr sz="2720">
                <a:solidFill>
                  <a:schemeClr val="bg1"/>
                </a:solidFill>
              </a:defRPr>
            </a:lvl2pPr>
            <a:lvl3pPr marL="1398929" indent="-310873">
              <a:lnSpc>
                <a:spcPct val="100000"/>
              </a:lnSpc>
              <a:buFont typeface="Arial" pitchFamily="34" charset="0"/>
              <a:buChar char="•"/>
              <a:defRPr sz="2720">
                <a:solidFill>
                  <a:schemeClr val="bg1"/>
                </a:solidFill>
              </a:defRPr>
            </a:lvl3pPr>
            <a:lvl4pPr marL="1865239" indent="-310873">
              <a:lnSpc>
                <a:spcPct val="100000"/>
              </a:lnSpc>
              <a:buFont typeface="Arial" pitchFamily="34" charset="0"/>
              <a:buChar char="•"/>
              <a:defRPr sz="2720">
                <a:solidFill>
                  <a:schemeClr val="bg1"/>
                </a:solidFill>
              </a:defRPr>
            </a:lvl4pPr>
            <a:lvl5pPr marL="2331549" indent="-310873">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239752977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1"/>
            <a:ext cx="4974590" cy="4972845"/>
          </a:xfrm>
          <a:solidFill>
            <a:srgbClr val="15AEEF">
              <a:alpha val="89804"/>
            </a:srgbClr>
          </a:solidFill>
        </p:spPr>
        <p:txBody>
          <a:bodyPr lIns="182880" tIns="91440" rIns="91440" bIns="91440">
            <a:noAutofit/>
          </a:bodyPr>
          <a:lstStyle>
            <a:lvl1pPr marL="310873" indent="-310873">
              <a:lnSpc>
                <a:spcPct val="100000"/>
              </a:lnSpc>
              <a:buFont typeface="Arial" pitchFamily="34" charset="0"/>
              <a:buChar char="•"/>
              <a:defRPr sz="2720">
                <a:solidFill>
                  <a:schemeClr val="bg1"/>
                </a:solidFill>
              </a:defRPr>
            </a:lvl1pPr>
            <a:lvl2pPr marL="932619" indent="-310873">
              <a:lnSpc>
                <a:spcPct val="120000"/>
              </a:lnSpc>
              <a:buFont typeface="Arial" pitchFamily="34" charset="0"/>
              <a:buChar char="•"/>
              <a:defRPr sz="2720">
                <a:solidFill>
                  <a:schemeClr val="bg1"/>
                </a:solidFill>
              </a:defRPr>
            </a:lvl2pPr>
            <a:lvl3pPr marL="1398929" indent="-310873">
              <a:lnSpc>
                <a:spcPct val="120000"/>
              </a:lnSpc>
              <a:buFont typeface="Arial" pitchFamily="34" charset="0"/>
              <a:buChar char="•"/>
              <a:defRPr sz="2720">
                <a:solidFill>
                  <a:schemeClr val="bg1"/>
                </a:solidFill>
              </a:defRPr>
            </a:lvl3pPr>
            <a:lvl4pPr marL="1865239" indent="-310873">
              <a:lnSpc>
                <a:spcPct val="120000"/>
              </a:lnSpc>
              <a:buFont typeface="Arial" pitchFamily="34" charset="0"/>
              <a:buChar char="•"/>
              <a:defRPr sz="2720">
                <a:solidFill>
                  <a:schemeClr val="bg1"/>
                </a:solidFill>
              </a:defRPr>
            </a:lvl4pPr>
            <a:lvl5pPr marL="2331549" indent="-310873">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89887697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85157011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73" indent="-310873">
              <a:lnSpc>
                <a:spcPct val="100000"/>
              </a:lnSpc>
              <a:buFont typeface="Arial" pitchFamily="34" charset="0"/>
              <a:buChar char="•"/>
              <a:defRPr>
                <a:solidFill>
                  <a:srgbClr val="FF0066"/>
                </a:solidFill>
              </a:defRPr>
            </a:lvl1pPr>
            <a:lvl2pPr marL="621746" indent="-310873">
              <a:lnSpc>
                <a:spcPct val="100000"/>
              </a:lnSpc>
              <a:buFont typeface="Arial" pitchFamily="34" charset="0"/>
              <a:buChar char="•"/>
              <a:defRPr>
                <a:solidFill>
                  <a:srgbClr val="FF0066"/>
                </a:solidFill>
              </a:defRPr>
            </a:lvl2pPr>
            <a:lvl3pPr marL="932619" indent="-310873">
              <a:lnSpc>
                <a:spcPct val="100000"/>
              </a:lnSpc>
              <a:buFont typeface="Arial" pitchFamily="34" charset="0"/>
              <a:buChar char="•"/>
              <a:defRPr>
                <a:solidFill>
                  <a:srgbClr val="FF0066"/>
                </a:solidFill>
              </a:defRPr>
            </a:lvl3pPr>
            <a:lvl4pPr marL="1243493" indent="-310873">
              <a:lnSpc>
                <a:spcPct val="100000"/>
              </a:lnSpc>
              <a:buFont typeface="Arial" pitchFamily="34" charset="0"/>
              <a:buChar char="•"/>
              <a:defRPr>
                <a:solidFill>
                  <a:srgbClr val="FF0066"/>
                </a:solidFill>
              </a:defRPr>
            </a:lvl4pPr>
            <a:lvl5pPr marL="1554366" indent="-310873">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endParaRPr lang="en-US"/>
          </a:p>
        </p:txBody>
      </p:sp>
    </p:spTree>
    <p:extLst>
      <p:ext uri="{BB962C8B-B14F-4D97-AF65-F5344CB8AC3E}">
        <p14:creationId xmlns:p14="http://schemas.microsoft.com/office/powerpoint/2010/main" val="335807599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229911227"/>
      </p:ext>
    </p:extLst>
  </p:cSld>
  <p:clrMapOvr>
    <a:masterClrMapping/>
  </p:clrMapOvr>
  <p:transition>
    <p:fade/>
  </p:transition>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374232374"/>
      </p:ext>
    </p:extLst>
  </p:cSld>
  <p:clrMapOvr>
    <a:masterClrMapping/>
  </p:clrMapOvr>
  <p:transition>
    <p:fade/>
  </p:transition>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303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7393709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303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68433002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73" indent="-310873">
              <a:lnSpc>
                <a:spcPct val="100000"/>
              </a:lnSpc>
              <a:buFont typeface="Arial" pitchFamily="34" charset="0"/>
              <a:buChar char="•"/>
              <a:defRPr>
                <a:solidFill>
                  <a:schemeClr val="bg1"/>
                </a:solidFill>
              </a:defRPr>
            </a:lvl1pPr>
            <a:lvl2pPr marL="621746" indent="-306555">
              <a:lnSpc>
                <a:spcPct val="100000"/>
              </a:lnSpc>
              <a:buFont typeface="Arial" pitchFamily="34" charset="0"/>
              <a:buChar char="•"/>
              <a:defRPr>
                <a:solidFill>
                  <a:schemeClr val="bg1"/>
                </a:solidFill>
              </a:defRPr>
            </a:lvl2pPr>
            <a:lvl3pPr marL="932619" indent="-310873">
              <a:lnSpc>
                <a:spcPct val="100000"/>
              </a:lnSpc>
              <a:buFont typeface="Arial" pitchFamily="34" charset="0"/>
              <a:buChar char="•"/>
              <a:defRPr>
                <a:solidFill>
                  <a:schemeClr val="bg1"/>
                </a:solidFill>
              </a:defRPr>
            </a:lvl3pPr>
            <a:lvl4pPr marL="1243493" indent="-310873">
              <a:lnSpc>
                <a:spcPct val="100000"/>
              </a:lnSpc>
              <a:buFont typeface="Arial" pitchFamily="34" charset="0"/>
              <a:buChar char="•"/>
              <a:defRPr>
                <a:solidFill>
                  <a:schemeClr val="bg1"/>
                </a:solidFill>
              </a:defRPr>
            </a:lvl4pPr>
            <a:lvl5pPr marL="1554366" indent="-310873">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54673414"/>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89"/>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73" indent="-310873">
              <a:lnSpc>
                <a:spcPct val="100000"/>
              </a:lnSpc>
              <a:buFont typeface="Arial" pitchFamily="34" charset="0"/>
              <a:buChar char="•"/>
              <a:defRPr>
                <a:solidFill>
                  <a:schemeClr val="bg1"/>
                </a:solidFill>
              </a:defRPr>
            </a:lvl1pPr>
            <a:lvl2pPr marL="621746" indent="-306555">
              <a:lnSpc>
                <a:spcPct val="100000"/>
              </a:lnSpc>
              <a:buFont typeface="Arial" pitchFamily="34" charset="0"/>
              <a:buChar char="•"/>
              <a:defRPr>
                <a:solidFill>
                  <a:schemeClr val="bg1"/>
                </a:solidFill>
              </a:defRPr>
            </a:lvl2pPr>
            <a:lvl3pPr marL="932619" indent="-310873">
              <a:lnSpc>
                <a:spcPct val="100000"/>
              </a:lnSpc>
              <a:buFont typeface="Arial" pitchFamily="34" charset="0"/>
              <a:buChar char="•"/>
              <a:defRPr>
                <a:solidFill>
                  <a:schemeClr val="bg1"/>
                </a:solidFill>
              </a:defRPr>
            </a:lvl3pPr>
            <a:lvl4pPr marL="1243493" indent="-310873">
              <a:lnSpc>
                <a:spcPct val="100000"/>
              </a:lnSpc>
              <a:buFont typeface="Arial" pitchFamily="34" charset="0"/>
              <a:buChar char="•"/>
              <a:defRPr>
                <a:solidFill>
                  <a:schemeClr val="bg1"/>
                </a:solidFill>
              </a:defRPr>
            </a:lvl4pPr>
            <a:lvl5pPr marL="1554366" indent="-310873">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77616063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461885" y="1243471"/>
            <a:ext cx="4974590" cy="4972845"/>
          </a:xfrm>
          <a:solidFill>
            <a:srgbClr val="0A5BBA">
              <a:alpha val="89804"/>
            </a:srgbClr>
          </a:solidFill>
        </p:spPr>
        <p:txBody>
          <a:bodyPr lIns="182880" tIns="91440" rIns="91440" bIns="91440">
            <a:normAutofit/>
          </a:bodyPr>
          <a:lstStyle>
            <a:lvl1pPr marL="310873" indent="-310873">
              <a:lnSpc>
                <a:spcPct val="100000"/>
              </a:lnSpc>
              <a:buFont typeface="Arial" pitchFamily="34" charset="0"/>
              <a:buChar char="•"/>
              <a:defRPr sz="2448" baseline="0">
                <a:solidFill>
                  <a:schemeClr val="bg1"/>
                </a:solidFill>
                <a:latin typeface="+mn-lt"/>
              </a:defRPr>
            </a:lvl1pPr>
            <a:lvl2pPr marL="621746" indent="-310873">
              <a:lnSpc>
                <a:spcPct val="100000"/>
              </a:lnSpc>
              <a:buFont typeface="Arial" pitchFamily="34" charset="0"/>
              <a:buChar char="•"/>
              <a:defRPr sz="2448" baseline="0">
                <a:solidFill>
                  <a:schemeClr val="bg1"/>
                </a:solidFill>
                <a:latin typeface="+mn-lt"/>
              </a:defRPr>
            </a:lvl2pPr>
            <a:lvl3pPr marL="932619" indent="-310873">
              <a:lnSpc>
                <a:spcPct val="100000"/>
              </a:lnSpc>
              <a:buFont typeface="Arial" pitchFamily="34" charset="0"/>
              <a:buChar char="•"/>
              <a:defRPr sz="2448" baseline="0">
                <a:solidFill>
                  <a:schemeClr val="bg1"/>
                </a:solidFill>
                <a:latin typeface="+mn-lt"/>
              </a:defRPr>
            </a:lvl3pPr>
            <a:lvl4pPr marL="1243493" indent="-310873">
              <a:lnSpc>
                <a:spcPct val="100000"/>
              </a:lnSpc>
              <a:buFont typeface="Arial" pitchFamily="34" charset="0"/>
              <a:buChar char="•"/>
              <a:defRPr sz="2448" baseline="0">
                <a:solidFill>
                  <a:schemeClr val="bg1"/>
                </a:solidFill>
                <a:latin typeface="+mn-lt"/>
              </a:defRPr>
            </a:lvl4pPr>
            <a:lvl5pPr marL="1554366" indent="-310873">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223719" y="6482889"/>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1"/>
            <a:ext cx="4974590" cy="4972845"/>
          </a:xfrm>
          <a:solidFill>
            <a:srgbClr val="1A3762"/>
          </a:solidFill>
        </p:spPr>
        <p:txBody>
          <a:bodyPr lIns="182880" tIns="91440" rIns="91440" bIns="91440">
            <a:noAutofit/>
          </a:bodyPr>
          <a:lstStyle>
            <a:lvl1pPr marL="310873" indent="-310873">
              <a:lnSpc>
                <a:spcPct val="100000"/>
              </a:lnSpc>
              <a:buFont typeface="Arial" pitchFamily="34" charset="0"/>
              <a:buChar char="•"/>
              <a:defRPr sz="2720">
                <a:solidFill>
                  <a:schemeClr val="bg1"/>
                </a:solidFill>
              </a:defRPr>
            </a:lvl1pPr>
            <a:lvl2pPr marL="932619" indent="-310873">
              <a:lnSpc>
                <a:spcPct val="100000"/>
              </a:lnSpc>
              <a:buFont typeface="Arial" pitchFamily="34" charset="0"/>
              <a:buChar char="•"/>
              <a:defRPr sz="2720">
                <a:solidFill>
                  <a:schemeClr val="bg1"/>
                </a:solidFill>
              </a:defRPr>
            </a:lvl2pPr>
            <a:lvl3pPr marL="1398929" indent="-310873">
              <a:lnSpc>
                <a:spcPct val="100000"/>
              </a:lnSpc>
              <a:buFont typeface="Arial" pitchFamily="34" charset="0"/>
              <a:buChar char="•"/>
              <a:defRPr sz="2720">
                <a:solidFill>
                  <a:schemeClr val="bg1"/>
                </a:solidFill>
              </a:defRPr>
            </a:lvl3pPr>
            <a:lvl4pPr marL="1865239" indent="-310873">
              <a:lnSpc>
                <a:spcPct val="100000"/>
              </a:lnSpc>
              <a:buFont typeface="Arial" pitchFamily="34" charset="0"/>
              <a:buChar char="•"/>
              <a:defRPr sz="2720">
                <a:solidFill>
                  <a:schemeClr val="bg1"/>
                </a:solidFill>
              </a:defRPr>
            </a:lvl4pPr>
            <a:lvl5pPr marL="2331549" indent="-310873">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742008"/>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1"/>
            <a:ext cx="4974590" cy="4972845"/>
          </a:xfrm>
          <a:solidFill>
            <a:srgbClr val="15AEEF">
              <a:alpha val="89804"/>
            </a:srgbClr>
          </a:solidFill>
        </p:spPr>
        <p:txBody>
          <a:bodyPr lIns="182880" tIns="91440" rIns="91440" bIns="91440">
            <a:normAutofit/>
          </a:bodyPr>
          <a:lstStyle>
            <a:lvl1pPr marL="310873" indent="-310873">
              <a:lnSpc>
                <a:spcPct val="100000"/>
              </a:lnSpc>
              <a:buFont typeface="Arial" pitchFamily="34" charset="0"/>
              <a:buChar char="•"/>
              <a:defRPr sz="2448" baseline="0">
                <a:solidFill>
                  <a:schemeClr val="bg1"/>
                </a:solidFill>
                <a:latin typeface="+mn-lt"/>
              </a:defRPr>
            </a:lvl1pPr>
            <a:lvl2pPr marL="621746" indent="-310873">
              <a:lnSpc>
                <a:spcPct val="100000"/>
              </a:lnSpc>
              <a:buFont typeface="Arial" pitchFamily="34" charset="0"/>
              <a:buChar char="•"/>
              <a:defRPr sz="2448" baseline="0">
                <a:solidFill>
                  <a:schemeClr val="bg1"/>
                </a:solidFill>
                <a:latin typeface="+mn-lt"/>
              </a:defRPr>
            </a:lvl2pPr>
            <a:lvl3pPr marL="932619" indent="-310873">
              <a:lnSpc>
                <a:spcPct val="100000"/>
              </a:lnSpc>
              <a:buFont typeface="Arial" pitchFamily="34" charset="0"/>
              <a:buChar char="•"/>
              <a:defRPr sz="2448" baseline="0">
                <a:solidFill>
                  <a:schemeClr val="bg1"/>
                </a:solidFill>
                <a:latin typeface="+mn-lt"/>
              </a:defRPr>
            </a:lvl3pPr>
            <a:lvl4pPr marL="1243493" indent="-310873">
              <a:lnSpc>
                <a:spcPct val="100000"/>
              </a:lnSpc>
              <a:buFont typeface="Arial" pitchFamily="34" charset="0"/>
              <a:buChar char="•"/>
              <a:defRPr sz="2448" baseline="0">
                <a:solidFill>
                  <a:schemeClr val="bg1"/>
                </a:solidFill>
                <a:latin typeface="+mn-lt"/>
              </a:defRPr>
            </a:lvl4pPr>
            <a:lvl5pPr marL="1554366" indent="-310873">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461885" y="1243471"/>
            <a:ext cx="4974590" cy="4972845"/>
          </a:xfrm>
          <a:solidFill>
            <a:srgbClr val="0A5BBA">
              <a:alpha val="89804"/>
            </a:srgbClr>
          </a:solidFill>
        </p:spPr>
        <p:txBody>
          <a:bodyPr lIns="182880" tIns="91440" rIns="91440" bIns="91440">
            <a:normAutofit/>
          </a:bodyPr>
          <a:lstStyle>
            <a:lvl1pPr marL="310873" indent="-310873">
              <a:lnSpc>
                <a:spcPct val="100000"/>
              </a:lnSpc>
              <a:buFont typeface="Arial" pitchFamily="34" charset="0"/>
              <a:buChar char="•"/>
              <a:defRPr sz="2448" baseline="0">
                <a:solidFill>
                  <a:schemeClr val="bg1"/>
                </a:solidFill>
                <a:latin typeface="+mn-lt"/>
              </a:defRPr>
            </a:lvl1pPr>
            <a:lvl2pPr marL="621746" indent="-310873">
              <a:lnSpc>
                <a:spcPct val="100000"/>
              </a:lnSpc>
              <a:buFont typeface="Arial" pitchFamily="34" charset="0"/>
              <a:buChar char="•"/>
              <a:defRPr sz="2448" baseline="0">
                <a:solidFill>
                  <a:schemeClr val="bg1"/>
                </a:solidFill>
                <a:latin typeface="+mn-lt"/>
              </a:defRPr>
            </a:lvl2pPr>
            <a:lvl3pPr marL="932619" indent="-310873">
              <a:lnSpc>
                <a:spcPct val="100000"/>
              </a:lnSpc>
              <a:buFont typeface="Arial" pitchFamily="34" charset="0"/>
              <a:buChar char="•"/>
              <a:defRPr sz="2448" baseline="0">
                <a:solidFill>
                  <a:schemeClr val="bg1"/>
                </a:solidFill>
                <a:latin typeface="+mn-lt"/>
              </a:defRPr>
            </a:lvl3pPr>
            <a:lvl4pPr marL="1243493" indent="-310873">
              <a:lnSpc>
                <a:spcPct val="100000"/>
              </a:lnSpc>
              <a:buFont typeface="Arial" pitchFamily="34" charset="0"/>
              <a:buChar char="•"/>
              <a:defRPr sz="2448" baseline="0">
                <a:solidFill>
                  <a:schemeClr val="bg1"/>
                </a:solidFill>
                <a:latin typeface="+mn-lt"/>
              </a:defRPr>
            </a:lvl4pPr>
            <a:lvl5pPr marL="1554366" indent="-310873">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223719" y="6482889"/>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40943169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400" b="0">
                <a:latin typeface="+mj-lt"/>
              </a:defRPr>
            </a:lvl1pPr>
            <a:lvl2pPr marL="621722" indent="0">
              <a:buNone/>
              <a:defRPr sz="2720" b="1"/>
            </a:lvl2pPr>
            <a:lvl3pPr marL="1243442" indent="0">
              <a:buNone/>
              <a:defRPr sz="2448" b="1"/>
            </a:lvl3pPr>
            <a:lvl4pPr marL="1865164" indent="0">
              <a:buNone/>
              <a:defRPr sz="2176" b="1"/>
            </a:lvl4pPr>
            <a:lvl5pPr marL="2486886" indent="0">
              <a:buNone/>
              <a:defRPr sz="2176" b="1"/>
            </a:lvl5pPr>
            <a:lvl6pPr marL="3108608" indent="0">
              <a:buNone/>
              <a:defRPr sz="2176" b="1"/>
            </a:lvl6pPr>
            <a:lvl7pPr marL="3730328" indent="0">
              <a:buNone/>
              <a:defRPr sz="2176" b="1"/>
            </a:lvl7pPr>
            <a:lvl8pPr marL="4352050" indent="0">
              <a:buNone/>
              <a:defRPr sz="2176" b="1"/>
            </a:lvl8pPr>
            <a:lvl9pPr marL="4973772" indent="0">
              <a:buNone/>
              <a:defRPr sz="2176"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67" indent="-402967">
              <a:defRPr sz="2720"/>
            </a:lvl1pPr>
            <a:lvl2pPr marL="775354" indent="-372385">
              <a:defRPr sz="2448"/>
            </a:lvl2pPr>
            <a:lvl3pPr marL="1117156" indent="-332808">
              <a:defRPr sz="2176"/>
            </a:lvl3pPr>
            <a:lvl4pPr marL="1428376" indent="-322015">
              <a:defRPr sz="2176"/>
            </a:lvl4pPr>
            <a:lvl5pPr marL="1739598" indent="-300428">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400" b="0" baseline="0">
                <a:solidFill>
                  <a:schemeClr val="bg1"/>
                </a:solidFill>
                <a:latin typeface="+mj-lt"/>
              </a:defRPr>
            </a:lvl1pPr>
            <a:lvl2pPr marL="621722" indent="0">
              <a:buNone/>
              <a:defRPr sz="2720" b="1"/>
            </a:lvl2pPr>
            <a:lvl3pPr marL="1243442" indent="0">
              <a:buNone/>
              <a:defRPr sz="2448" b="1"/>
            </a:lvl3pPr>
            <a:lvl4pPr marL="1865164" indent="0">
              <a:buNone/>
              <a:defRPr sz="2176" b="1"/>
            </a:lvl4pPr>
            <a:lvl5pPr marL="2486886" indent="0">
              <a:buNone/>
              <a:defRPr sz="2176" b="1"/>
            </a:lvl5pPr>
            <a:lvl6pPr marL="3108608" indent="0">
              <a:buNone/>
              <a:defRPr sz="2176" b="1"/>
            </a:lvl6pPr>
            <a:lvl7pPr marL="3730328" indent="0">
              <a:buNone/>
              <a:defRPr sz="2176" b="1"/>
            </a:lvl7pPr>
            <a:lvl8pPr marL="4352050" indent="0">
              <a:buNone/>
              <a:defRPr sz="2176" b="1"/>
            </a:lvl8pPr>
            <a:lvl9pPr marL="4973772" indent="0">
              <a:buNone/>
              <a:defRPr sz="2176" b="1"/>
            </a:lvl9pPr>
          </a:lstStyle>
          <a:p>
            <a:pPr lvl="0"/>
            <a:r>
              <a:rPr lang="en-US"/>
              <a:t>Click to edit Master text styles</a:t>
            </a:r>
          </a:p>
        </p:txBody>
      </p:sp>
      <p:sp>
        <p:nvSpPr>
          <p:cNvPr id="14" name="Content Placeholder 5"/>
          <p:cNvSpPr>
            <a:spLocks noGrp="1"/>
          </p:cNvSpPr>
          <p:nvPr>
            <p:ph sz="quarter" idx="13"/>
          </p:nvPr>
        </p:nvSpPr>
        <p:spPr>
          <a:xfrm>
            <a:off x="7348827" y="2461035"/>
            <a:ext cx="4875098" cy="3730413"/>
          </a:xfrm>
          <a:solidFill>
            <a:srgbClr val="0A5BBA"/>
          </a:solidFill>
        </p:spPr>
        <p:txBody>
          <a:bodyPr wrap="square" lIns="182880" tIns="91440" rIns="91440" bIns="91440" anchor="t">
            <a:normAutofit/>
          </a:bodyPr>
          <a:lstStyle>
            <a:lvl1pPr marL="402967" indent="-402967">
              <a:defRPr sz="2720">
                <a:solidFill>
                  <a:schemeClr val="bg1"/>
                </a:solidFill>
              </a:defRPr>
            </a:lvl1pPr>
            <a:lvl2pPr marL="775354" indent="-372385">
              <a:defRPr sz="2448">
                <a:solidFill>
                  <a:schemeClr val="bg1"/>
                </a:solidFill>
              </a:defRPr>
            </a:lvl2pPr>
            <a:lvl3pPr marL="1117156" indent="-332808">
              <a:defRPr sz="2176">
                <a:solidFill>
                  <a:schemeClr val="bg1"/>
                </a:solidFill>
              </a:defRPr>
            </a:lvl3pPr>
            <a:lvl4pPr marL="1428376" indent="-322015">
              <a:defRPr sz="2176">
                <a:solidFill>
                  <a:schemeClr val="bg1"/>
                </a:solidFill>
              </a:defRPr>
            </a:lvl4pPr>
            <a:lvl5pPr marL="1739598" indent="-300428">
              <a:defRPr sz="2176">
                <a:solidFill>
                  <a:schemeClr val="bg1"/>
                </a:solidFill>
              </a:defRPr>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89"/>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4398129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09008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Tree>
    <p:extLst>
      <p:ext uri="{BB962C8B-B14F-4D97-AF65-F5344CB8AC3E}">
        <p14:creationId xmlns:p14="http://schemas.microsoft.com/office/powerpoint/2010/main" val="421296238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endParaRPr lang="en-US"/>
          </a:p>
        </p:txBody>
      </p:sp>
    </p:spTree>
    <p:extLst>
      <p:ext uri="{BB962C8B-B14F-4D97-AF65-F5344CB8AC3E}">
        <p14:creationId xmlns:p14="http://schemas.microsoft.com/office/powerpoint/2010/main" val="249631837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1" y="5991150"/>
            <a:ext cx="11990363" cy="810478"/>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619" indent="-306555" algn="l">
              <a:lnSpc>
                <a:spcPct val="110000"/>
              </a:lnSpc>
              <a:defRPr sz="1904">
                <a:solidFill>
                  <a:srgbClr val="3F3F3F"/>
                </a:solidFill>
                <a:latin typeface="+mn-lt"/>
                <a:cs typeface="Segoe UI Semibold"/>
              </a:defRPr>
            </a:lvl2pPr>
            <a:lvl3pPr marL="1398929" indent="-310873" algn="l">
              <a:lnSpc>
                <a:spcPct val="110000"/>
              </a:lnSpc>
              <a:defRPr sz="1904">
                <a:solidFill>
                  <a:srgbClr val="3F3F3F"/>
                </a:solidFill>
                <a:latin typeface="+mn-lt"/>
                <a:cs typeface="Segoe UI Semibold"/>
              </a:defRPr>
            </a:lvl3pPr>
            <a:lvl4pPr marL="1865239" indent="-310873" algn="l">
              <a:lnSpc>
                <a:spcPct val="110000"/>
              </a:lnSpc>
              <a:defRPr sz="1904">
                <a:solidFill>
                  <a:srgbClr val="3F3F3F"/>
                </a:solidFill>
                <a:latin typeface="+mn-lt"/>
                <a:cs typeface="Segoe UI Semibold"/>
              </a:defRPr>
            </a:lvl4pPr>
            <a:lvl5pPr marL="2331549" indent="-310873" algn="l">
              <a:lnSpc>
                <a:spcPct val="110000"/>
              </a:lnSpc>
              <a:defRPr sz="1904">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0"/>
            <a:ext cx="1243648" cy="265101"/>
          </a:xfrm>
          <a:prstGeom prst="rect">
            <a:avLst/>
          </a:prstGeom>
          <a:noFill/>
        </p:spPr>
      </p:pic>
    </p:spTree>
    <p:extLst>
      <p:ext uri="{BB962C8B-B14F-4D97-AF65-F5344CB8AC3E}">
        <p14:creationId xmlns:p14="http://schemas.microsoft.com/office/powerpoint/2010/main" val="45663933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1" y="5991150"/>
            <a:ext cx="11990363" cy="810478"/>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619" indent="-306555" algn="l">
              <a:lnSpc>
                <a:spcPct val="110000"/>
              </a:lnSpc>
              <a:defRPr sz="1904">
                <a:solidFill>
                  <a:srgbClr val="3F3F3F"/>
                </a:solidFill>
                <a:latin typeface="+mn-lt"/>
                <a:cs typeface="Segoe UI Semibold"/>
              </a:defRPr>
            </a:lvl2pPr>
            <a:lvl3pPr marL="1398929" indent="-310873" algn="l">
              <a:lnSpc>
                <a:spcPct val="110000"/>
              </a:lnSpc>
              <a:defRPr sz="1904">
                <a:solidFill>
                  <a:srgbClr val="3F3F3F"/>
                </a:solidFill>
                <a:latin typeface="+mn-lt"/>
                <a:cs typeface="Segoe UI Semibold"/>
              </a:defRPr>
            </a:lvl3pPr>
            <a:lvl4pPr marL="1865239" indent="-310873" algn="l">
              <a:lnSpc>
                <a:spcPct val="110000"/>
              </a:lnSpc>
              <a:defRPr sz="1904">
                <a:solidFill>
                  <a:srgbClr val="3F3F3F"/>
                </a:solidFill>
                <a:latin typeface="+mn-lt"/>
                <a:cs typeface="Segoe UI Semibold"/>
              </a:defRPr>
            </a:lvl4pPr>
            <a:lvl5pPr marL="2331549" indent="-310873" algn="l">
              <a:lnSpc>
                <a:spcPct val="110000"/>
              </a:lnSpc>
              <a:defRPr sz="1904">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120527638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0" y="135976"/>
            <a:ext cx="2043317" cy="280718"/>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1" y="5991150"/>
            <a:ext cx="11990363" cy="810478"/>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3264" b="0" kern="1200" cap="none" spc="-136" baseline="0" dirty="0">
                <a:ln w="3175">
                  <a:noFill/>
                </a:ln>
                <a:solidFill>
                  <a:schemeClr val="tx1"/>
                </a:solidFill>
                <a:effectLst/>
                <a:latin typeface="+mj-lt"/>
                <a:ea typeface="+mn-ea"/>
                <a:cs typeface="Arial" charset="0"/>
              </a:defRPr>
            </a:lvl1pPr>
            <a:lvl2pPr marL="932619" indent="-306555" algn="l">
              <a:lnSpc>
                <a:spcPct val="110000"/>
              </a:lnSpc>
              <a:defRPr sz="1904">
                <a:solidFill>
                  <a:srgbClr val="3F3F3F"/>
                </a:solidFill>
                <a:latin typeface="+mn-lt"/>
                <a:cs typeface="Segoe UI Semibold"/>
              </a:defRPr>
            </a:lvl2pPr>
            <a:lvl3pPr marL="1398929" indent="-310873" algn="l">
              <a:lnSpc>
                <a:spcPct val="110000"/>
              </a:lnSpc>
              <a:defRPr sz="1904">
                <a:solidFill>
                  <a:srgbClr val="3F3F3F"/>
                </a:solidFill>
                <a:latin typeface="+mn-lt"/>
                <a:cs typeface="Segoe UI Semibold"/>
              </a:defRPr>
            </a:lvl3pPr>
            <a:lvl4pPr marL="1865239" indent="-310873" algn="l">
              <a:lnSpc>
                <a:spcPct val="110000"/>
              </a:lnSpc>
              <a:defRPr sz="1904">
                <a:solidFill>
                  <a:srgbClr val="3F3F3F"/>
                </a:solidFill>
                <a:latin typeface="+mn-lt"/>
                <a:cs typeface="Segoe UI Semibold"/>
              </a:defRPr>
            </a:lvl4pPr>
            <a:lvl5pPr marL="2331549" indent="-310873" algn="l">
              <a:lnSpc>
                <a:spcPct val="110000"/>
              </a:lnSpc>
              <a:defRPr sz="1904">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30004950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12102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Slide Photo_Option 1 - Preferre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1" y="969"/>
            <a:ext cx="12434712" cy="6992587"/>
          </a:xfrm>
          <a:prstGeom prst="rect">
            <a:avLst/>
          </a:prstGeom>
        </p:spPr>
      </p:pic>
      <p:sp>
        <p:nvSpPr>
          <p:cNvPr id="2" name="Rectangle 1"/>
          <p:cNvSpPr/>
          <p:nvPr/>
        </p:nvSpPr>
        <p:spPr bwMode="auto">
          <a:xfrm>
            <a:off x="274638" y="2125663"/>
            <a:ext cx="6400800" cy="3657600"/>
          </a:xfrm>
          <a:prstGeom prst="rect">
            <a:avLst/>
          </a:prstGeom>
          <a:solidFill>
            <a:srgbClr val="002050">
              <a:alpha val="9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932307"/>
          </a:xfrm>
          <a:noFill/>
        </p:spPr>
        <p:txBody>
          <a:bodyPr lIns="146304" tIns="91440" rIns="146304" bIns="91440" anchor="t" anchorCtr="0"/>
          <a:lstStyle>
            <a:lvl1pPr>
              <a:defRPr sz="5398"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8">
                <a:gradFill>
                  <a:gsLst>
                    <a:gs pos="57576">
                      <a:srgbClr val="FFFFFF"/>
                    </a:gs>
                    <a:gs pos="35000">
                      <a:srgbClr val="FFFFFF"/>
                    </a:gs>
                  </a:gsLst>
                  <a:lin ang="5400000" scaled="0"/>
                </a:gradFill>
              </a:defRPr>
            </a:lvl1pPr>
          </a:lstStyle>
          <a:p>
            <a:pPr lvl="0"/>
            <a:r>
              <a:rPr lang="en-US"/>
              <a:t>Speaker Nam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7201" y="6246730"/>
            <a:ext cx="1252817" cy="268371"/>
          </a:xfrm>
          <a:prstGeom prst="rect">
            <a:avLst/>
          </a:prstGeom>
        </p:spPr>
      </p:pic>
    </p:spTree>
    <p:extLst>
      <p:ext uri="{BB962C8B-B14F-4D97-AF65-F5344CB8AC3E}">
        <p14:creationId xmlns:p14="http://schemas.microsoft.com/office/powerpoint/2010/main" val="294453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0" y="969"/>
            <a:ext cx="12434711" cy="6992587"/>
          </a:xfrm>
          <a:prstGeom prst="rect">
            <a:avLst/>
          </a:prstGeom>
        </p:spPr>
      </p:pic>
      <p:sp>
        <p:nvSpPr>
          <p:cNvPr id="12" name="Rectangle 11"/>
          <p:cNvSpPr/>
          <p:nvPr/>
        </p:nvSpPr>
        <p:spPr bwMode="auto">
          <a:xfrm>
            <a:off x="274638" y="2125663"/>
            <a:ext cx="6400800" cy="3657600"/>
          </a:xfrm>
          <a:prstGeom prst="rect">
            <a:avLst/>
          </a:prstGeom>
          <a:solidFill>
            <a:srgbClr val="002050">
              <a:alpha val="9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9116" y="6253118"/>
            <a:ext cx="1252817" cy="268371"/>
          </a:xfrm>
          <a:prstGeom prst="rect">
            <a:avLst/>
          </a:prstGeom>
        </p:spPr>
      </p:pic>
      <p:sp>
        <p:nvSpPr>
          <p:cNvPr id="9" name="Title 1"/>
          <p:cNvSpPr>
            <a:spLocks noGrp="1"/>
          </p:cNvSpPr>
          <p:nvPr>
            <p:ph type="title" hasCustomPrompt="1"/>
          </p:nvPr>
        </p:nvSpPr>
        <p:spPr bwMode="auto">
          <a:xfrm>
            <a:off x="274702" y="2125677"/>
            <a:ext cx="6400800" cy="932307"/>
          </a:xfrm>
          <a:noFill/>
        </p:spPr>
        <p:txBody>
          <a:bodyPr lIns="146304" tIns="91440" rIns="146304" bIns="91440" anchor="t" anchorCtr="0"/>
          <a:lstStyle>
            <a:lvl1pPr>
              <a:defRPr sz="5398" spc="-100" baseline="0">
                <a:gradFill>
                  <a:gsLst>
                    <a:gs pos="52525">
                      <a:srgbClr val="FFFFFF"/>
                    </a:gs>
                    <a:gs pos="30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49" y="3954458"/>
            <a:ext cx="6400800" cy="1825625"/>
          </a:xfrm>
        </p:spPr>
        <p:txBody>
          <a:bodyPr tIns="109728" bIns="109728">
            <a:noAutofit/>
          </a:bodyPr>
          <a:lstStyle>
            <a:lvl1pPr marL="0" indent="0">
              <a:spcBef>
                <a:spcPts val="0"/>
              </a:spcBef>
              <a:buNone/>
              <a:defRPr sz="3198">
                <a:gradFill>
                  <a:gsLst>
                    <a:gs pos="52525">
                      <a:srgbClr val="FFFFFF"/>
                    </a:gs>
                    <a:gs pos="30000">
                      <a:srgbClr val="FFFFFF"/>
                    </a:gs>
                  </a:gsLst>
                  <a:lin ang="5400000" scaled="0"/>
                </a:gradFill>
              </a:defRPr>
            </a:lvl1pPr>
          </a:lstStyle>
          <a:p>
            <a:pPr lvl="0"/>
            <a:r>
              <a:rPr lang="en-US"/>
              <a:t>Speaker Name</a:t>
            </a:r>
          </a:p>
        </p:txBody>
      </p:sp>
      <p:sp>
        <p:nvSpPr>
          <p:cNvPr id="11" name="TextBox 10"/>
          <p:cNvSpPr txBox="1"/>
          <p:nvPr/>
        </p:nvSpPr>
        <p:spPr>
          <a:xfrm>
            <a:off x="274704" y="296863"/>
            <a:ext cx="6401050" cy="544765"/>
          </a:xfrm>
          <a:prstGeom prst="rect">
            <a:avLst/>
          </a:prstGeom>
          <a:noFill/>
        </p:spPr>
        <p:txBody>
          <a:bodyPr wrap="square" lIns="182806" tIns="146246" rIns="182806" bIns="146246" rtlCol="0">
            <a:spAutoFit/>
          </a:bodyPr>
          <a:lstStyle/>
          <a:p>
            <a:pPr marL="0" marR="0" lvl="0" indent="0" algn="l" defTabSz="1109758" rtl="0" eaLnBrk="1" fontAlgn="auto" latinLnBrk="0" hangingPunct="1">
              <a:lnSpc>
                <a:spcPct val="90000"/>
              </a:lnSpc>
              <a:spcBef>
                <a:spcPts val="0"/>
              </a:spcBef>
              <a:spcAft>
                <a:spcPts val="600"/>
              </a:spcAft>
              <a:buClrTx/>
              <a:buSzTx/>
              <a:buFontTx/>
              <a:buNone/>
              <a:tabLst/>
              <a:defRPr/>
            </a:pPr>
            <a:r>
              <a:rPr kumimoji="0" lang="en-US" sz="1799" b="0" i="0" u="none" strike="noStrike" kern="1200" cap="none" spc="0" normalizeH="0" baseline="0" noProof="0">
                <a:ln>
                  <a:noFill/>
                </a:ln>
                <a:gradFill>
                  <a:gsLst>
                    <a:gs pos="4040">
                      <a:srgbClr val="525252"/>
                    </a:gs>
                    <a:gs pos="17000">
                      <a:srgbClr val="525252"/>
                    </a:gs>
                  </a:gsLst>
                  <a:lin ang="5400000" scaled="0"/>
                </a:gradFill>
                <a:effectLst/>
                <a:uLnTx/>
                <a:uFillTx/>
                <a:latin typeface="Segoe UI"/>
                <a:ea typeface="+mn-ea"/>
                <a:cs typeface="+mn-cs"/>
              </a:rPr>
              <a:t>Org Name (update on Slide Master)</a:t>
            </a:r>
          </a:p>
        </p:txBody>
      </p:sp>
    </p:spTree>
    <p:extLst>
      <p:ext uri="{BB962C8B-B14F-4D97-AF65-F5344CB8AC3E}">
        <p14:creationId xmlns:p14="http://schemas.microsoft.com/office/powerpoint/2010/main" val="186974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Slide Photo_Option 3 - Org ID tile">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969"/>
            <a:ext cx="12436475" cy="6993578"/>
          </a:xfrm>
          <a:prstGeom prst="rect">
            <a:avLst/>
          </a:prstGeom>
        </p:spPr>
      </p:pic>
      <p:sp>
        <p:nvSpPr>
          <p:cNvPr id="10" name="Rectangle 9"/>
          <p:cNvSpPr/>
          <p:nvPr/>
        </p:nvSpPr>
        <p:spPr bwMode="auto">
          <a:xfrm>
            <a:off x="274638" y="2125663"/>
            <a:ext cx="6400800" cy="3657600"/>
          </a:xfrm>
          <a:prstGeom prst="rect">
            <a:avLst/>
          </a:prstGeom>
          <a:solidFill>
            <a:srgbClr val="002050">
              <a:alpha val="9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932307"/>
          </a:xfrm>
          <a:noFill/>
        </p:spPr>
        <p:txBody>
          <a:bodyPr lIns="146304" tIns="91440" rIns="146304" bIns="91440" anchor="t" anchorCtr="0"/>
          <a:lstStyle>
            <a:lvl1pPr>
              <a:defRPr sz="5398" spc="-100" baseline="0">
                <a:gradFill>
                  <a:gsLst>
                    <a:gs pos="66667">
                      <a:srgbClr val="FFFFFF"/>
                    </a:gs>
                    <a:gs pos="49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8">
                <a:gradFill>
                  <a:gsLst>
                    <a:gs pos="66667">
                      <a:srgbClr val="FFFFFF"/>
                    </a:gs>
                    <a:gs pos="49000">
                      <a:srgbClr val="FFFFFF"/>
                    </a:gs>
                  </a:gsLst>
                  <a:lin ang="5400000" scaled="0"/>
                </a:gradFill>
              </a:defRPr>
            </a:lvl1pPr>
          </a:lstStyle>
          <a:p>
            <a:pPr lvl="0"/>
            <a:r>
              <a:rPr lang="en-US"/>
              <a:t>Speaker Name</a:t>
            </a:r>
          </a:p>
        </p:txBody>
      </p:sp>
      <p:sp>
        <p:nvSpPr>
          <p:cNvPr id="13" name="Rectangle 12"/>
          <p:cNvSpPr>
            <a:spLocks noChangeAspect="1"/>
          </p:cNvSpPr>
          <p:nvPr/>
        </p:nvSpPr>
        <p:spPr bwMode="auto">
          <a:xfrm>
            <a:off x="11064875" y="484872"/>
            <a:ext cx="914400" cy="914400"/>
          </a:xfrm>
          <a:prstGeom prst="rect">
            <a:avLst/>
          </a:prstGeom>
          <a:solidFill>
            <a:srgbClr val="0078D7"/>
          </a:solidFill>
        </p:spPr>
        <p:txBody>
          <a:bodyPr vert="horz" wrap="square" lIns="91403" tIns="63982" rIns="91403" bIns="91403" rtlCol="0">
            <a:noAutofit/>
          </a:bodyPr>
          <a:lstStyle/>
          <a:p>
            <a:pPr marL="0" marR="0" lvl="0" indent="0" algn="l" defTabSz="1109758"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a:ln>
                  <a:noFill/>
                </a:ln>
                <a:gradFill>
                  <a:gsLst>
                    <a:gs pos="18687">
                      <a:srgbClr val="FFFFFF"/>
                    </a:gs>
                    <a:gs pos="37000">
                      <a:srgbClr val="FFFFFF"/>
                    </a:gs>
                  </a:gsLst>
                  <a:lin ang="5400000" scaled="0"/>
                </a:gradFill>
                <a:effectLst/>
                <a:uLnTx/>
                <a:uFillTx/>
                <a:latin typeface="Segoe UI"/>
                <a:ea typeface="+mn-ea"/>
                <a:cs typeface="+mn-cs"/>
              </a:rPr>
              <a:t>Org tile her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7201" y="6246730"/>
            <a:ext cx="1252817" cy="268371"/>
          </a:xfrm>
          <a:prstGeom prst="rect">
            <a:avLst/>
          </a:prstGeom>
        </p:spPr>
      </p:pic>
    </p:spTree>
    <p:extLst>
      <p:ext uri="{BB962C8B-B14F-4D97-AF65-F5344CB8AC3E}">
        <p14:creationId xmlns:p14="http://schemas.microsoft.com/office/powerpoint/2010/main" val="145167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Slide 1_Option 1 - Preferred">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3" cy="1830388"/>
          </a:xfrm>
          <a:noFill/>
        </p:spPr>
        <p:txBody>
          <a:bodyPr lIns="146304" tIns="109728" rIns="146304" bIns="109728">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8229535" cy="932307"/>
          </a:xfrm>
          <a:noFill/>
        </p:spPr>
        <p:txBody>
          <a:bodyPr lIns="146304" tIns="91440" rIns="146304" bIns="91440" anchor="t" anchorCtr="0"/>
          <a:lstStyle>
            <a:lvl1pPr>
              <a:defRPr sz="5398"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7200" y="6244762"/>
            <a:ext cx="1256648" cy="270014"/>
          </a:xfrm>
          <a:prstGeom prst="rect">
            <a:avLst/>
          </a:prstGeom>
        </p:spPr>
      </p:pic>
    </p:spTree>
    <p:extLst>
      <p:ext uri="{BB962C8B-B14F-4D97-AF65-F5344CB8AC3E}">
        <p14:creationId xmlns:p14="http://schemas.microsoft.com/office/powerpoint/2010/main" val="1045680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81758907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Slide 1_Option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3" cy="1830388"/>
          </a:xfrm>
          <a:noFill/>
        </p:spPr>
        <p:txBody>
          <a:bodyPr lIns="146304" tIns="109728" rIns="146304" bIns="109728">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8229535" cy="932307"/>
          </a:xfrm>
          <a:noFill/>
        </p:spPr>
        <p:txBody>
          <a:bodyPr lIns="146304" tIns="91440" rIns="146304" bIns="91440" anchor="t" anchorCtr="0"/>
          <a:lstStyle>
            <a:lvl1pPr>
              <a:defRPr sz="5398" spc="-100" baseline="0">
                <a:gradFill>
                  <a:gsLst>
                    <a:gs pos="3333">
                      <a:schemeClr val="tx2"/>
                    </a:gs>
                    <a:gs pos="39000">
                      <a:schemeClr val="tx2"/>
                    </a:gs>
                  </a:gsLst>
                  <a:lin ang="5400000" scaled="0"/>
                </a:gradFill>
              </a:defRPr>
            </a:lvl1pPr>
          </a:lstStyle>
          <a:p>
            <a:r>
              <a:rPr lang="en-US"/>
              <a:t>Presentation title</a:t>
            </a:r>
          </a:p>
        </p:txBody>
      </p:sp>
      <p:sp>
        <p:nvSpPr>
          <p:cNvPr id="2" name="TextBox 1"/>
          <p:cNvSpPr txBox="1"/>
          <p:nvPr/>
        </p:nvSpPr>
        <p:spPr>
          <a:xfrm>
            <a:off x="274704" y="296863"/>
            <a:ext cx="6401050" cy="544765"/>
          </a:xfrm>
          <a:prstGeom prst="rect">
            <a:avLst/>
          </a:prstGeom>
          <a:noFill/>
        </p:spPr>
        <p:txBody>
          <a:bodyPr wrap="square" lIns="182806" tIns="146246" rIns="182806" bIns="146246" rtlCol="0">
            <a:spAutoFit/>
          </a:bodyPr>
          <a:lstStyle/>
          <a:p>
            <a:pPr marL="0" marR="0" lvl="0" indent="0" algn="l" defTabSz="1109758" rtl="0" eaLnBrk="1" fontAlgn="auto" latinLnBrk="0" hangingPunct="1">
              <a:lnSpc>
                <a:spcPct val="90000"/>
              </a:lnSpc>
              <a:spcBef>
                <a:spcPts val="0"/>
              </a:spcBef>
              <a:spcAft>
                <a:spcPts val="600"/>
              </a:spcAft>
              <a:buClrTx/>
              <a:buSzTx/>
              <a:buFontTx/>
              <a:buNone/>
              <a:tabLst/>
              <a:defRPr/>
            </a:pPr>
            <a:r>
              <a:rPr kumimoji="0" lang="en-US" sz="1799"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Org Name (update on Slide Master)</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7200" y="6244762"/>
            <a:ext cx="1256648" cy="270014"/>
          </a:xfrm>
          <a:prstGeom prst="rect">
            <a:avLst/>
          </a:prstGeom>
        </p:spPr>
      </p:pic>
    </p:spTree>
    <p:extLst>
      <p:ext uri="{BB962C8B-B14F-4D97-AF65-F5344CB8AC3E}">
        <p14:creationId xmlns:p14="http://schemas.microsoft.com/office/powerpoint/2010/main" val="38742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Slide 1_Option 3 - Org ID til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3" cy="1830388"/>
          </a:xfrm>
          <a:noFill/>
        </p:spPr>
        <p:txBody>
          <a:bodyPr lIns="146304" tIns="109728" rIns="146304" bIns="109728">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8229535" cy="932307"/>
          </a:xfrm>
          <a:noFill/>
        </p:spPr>
        <p:txBody>
          <a:bodyPr lIns="146304" tIns="91440" rIns="146304" bIns="91440" anchor="t" anchorCtr="0"/>
          <a:lstStyle>
            <a:lvl1pPr>
              <a:defRPr sz="5398" spc="-100" baseline="0">
                <a:gradFill>
                  <a:gsLst>
                    <a:gs pos="3333">
                      <a:schemeClr val="tx2"/>
                    </a:gs>
                    <a:gs pos="39000">
                      <a:schemeClr val="tx2"/>
                    </a:gs>
                  </a:gsLst>
                  <a:lin ang="5400000" scaled="0"/>
                </a:gradFill>
              </a:defRPr>
            </a:lvl1pPr>
          </a:lstStyle>
          <a:p>
            <a:r>
              <a:rPr lang="en-US"/>
              <a:t>Presentation title</a:t>
            </a:r>
          </a:p>
        </p:txBody>
      </p:sp>
      <p:sp>
        <p:nvSpPr>
          <p:cNvPr id="6" name="Rectangle 5"/>
          <p:cNvSpPr>
            <a:spLocks noChangeAspect="1"/>
          </p:cNvSpPr>
          <p:nvPr/>
        </p:nvSpPr>
        <p:spPr bwMode="auto">
          <a:xfrm>
            <a:off x="11064875" y="479775"/>
            <a:ext cx="914400" cy="914400"/>
          </a:xfrm>
          <a:prstGeom prst="rect">
            <a:avLst/>
          </a:prstGeom>
          <a:solidFill>
            <a:srgbClr val="0078D7"/>
          </a:solidFill>
        </p:spPr>
        <p:txBody>
          <a:bodyPr vert="horz" wrap="square" lIns="91403" tIns="63982" rIns="91403" bIns="91403" rtlCol="0">
            <a:noAutofit/>
          </a:bodyPr>
          <a:lstStyle/>
          <a:p>
            <a:pPr marL="0" marR="0" lvl="0" indent="0" algn="l" defTabSz="1109758"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a:ln>
                  <a:noFill/>
                </a:ln>
                <a:gradFill>
                  <a:gsLst>
                    <a:gs pos="18687">
                      <a:srgbClr val="FFFFFF"/>
                    </a:gs>
                    <a:gs pos="37000">
                      <a:srgbClr val="FFFFFF"/>
                    </a:gs>
                  </a:gsLst>
                  <a:lin ang="5400000" scaled="0"/>
                </a:gradFill>
                <a:effectLst/>
                <a:uLnTx/>
                <a:uFillTx/>
                <a:latin typeface="Segoe UI"/>
                <a:ea typeface="+mn-ea"/>
                <a:cs typeface="+mn-cs"/>
              </a:rPr>
              <a:t>Org tile her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7200" y="6244762"/>
            <a:ext cx="1256648" cy="270014"/>
          </a:xfrm>
          <a:prstGeom prst="rect">
            <a:avLst/>
          </a:prstGeom>
        </p:spPr>
      </p:pic>
    </p:spTree>
    <p:extLst>
      <p:ext uri="{BB962C8B-B14F-4D97-AF65-F5344CB8AC3E}">
        <p14:creationId xmlns:p14="http://schemas.microsoft.com/office/powerpoint/2010/main" val="3342882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1"/>
            <a:ext cx="11887200" cy="1734770"/>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714357"/>
      </p:ext>
    </p:extLst>
  </p:cSld>
  <p:clrMapOvr>
    <a:masterClrMapping/>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1"/>
            <a:ext cx="11887200" cy="1734770"/>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7982160"/>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175330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81418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175330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8350590"/>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34153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34153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813646"/>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34153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34153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93741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298450"/>
          </a:xfrm>
        </p:spPr>
        <p:txBody>
          <a:bodyPr wrap="square">
            <a:spAutoFit/>
          </a:bodyPr>
          <a:lstStyle>
            <a:lvl1pPr marL="287224" indent="-287224">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298450"/>
          </a:xfrm>
        </p:spPr>
        <p:txBody>
          <a:bodyPr wrap="square">
            <a:spAutoFit/>
          </a:bodyPr>
          <a:lstStyle>
            <a:lvl1pPr marL="287224" indent="-287224">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873216"/>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298450"/>
          </a:xfrm>
        </p:spPr>
        <p:txBody>
          <a:bodyPr wrap="square">
            <a:spAutoFit/>
          </a:bodyPr>
          <a:lstStyle>
            <a:lvl1pPr marL="287224" indent="-287224">
              <a:spcBef>
                <a:spcPts val="1224"/>
              </a:spcBef>
              <a:buClr>
                <a:schemeClr val="tx1"/>
              </a:buClr>
              <a:buFont typeface="Arial" pitchFamily="34" charset="0"/>
              <a:buChar char="•"/>
              <a:defRPr sz="31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298450"/>
          </a:xfrm>
        </p:spPr>
        <p:txBody>
          <a:bodyPr wrap="square">
            <a:spAutoFit/>
          </a:bodyPr>
          <a:lstStyle>
            <a:lvl1pPr marL="287224" indent="-287224">
              <a:spcBef>
                <a:spcPts val="1224"/>
              </a:spcBef>
              <a:buClr>
                <a:schemeClr val="tx1"/>
              </a:buClr>
              <a:buFont typeface="Arial" pitchFamily="34" charset="0"/>
              <a:buChar char="•"/>
              <a:defRPr sz="31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52722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8110994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686984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1181477"/>
          </a:xfrm>
          <a:noFill/>
        </p:spPr>
        <p:txBody>
          <a:bodyPr tIns="91440" bIns="91440" anchor="t" anchorCtr="0"/>
          <a:lstStyle>
            <a:lvl1pPr>
              <a:defRPr sz="7197"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2464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1181477"/>
          </a:xfrm>
          <a:noFill/>
        </p:spPr>
        <p:txBody>
          <a:bodyPr tIns="91440" bIns="91440" anchor="t" anchorCtr="0"/>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49798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8937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336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75741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7073507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106031"/>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88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536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1460548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8713FE0B-90A8-4522-911E-44EDD0F8888D}" type="datetimeFigureOut">
              <a:rPr lang="en-US" smtClean="0"/>
              <a:t>4/20/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46665035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2630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71175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94629"/>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marL="0" marR="0" lvl="0" indent="0" algn="l" defTabSz="93192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15294247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16029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109119" y="6606831"/>
            <a:ext cx="8550076" cy="387694"/>
          </a:xfrm>
          <a:prstGeom prst="rect">
            <a:avLst/>
          </a:prstGeom>
        </p:spPr>
        <p:txBody>
          <a:bodyPr/>
          <a:lstStyle/>
          <a:p>
            <a:pPr defTabSz="1109758"/>
            <a:endParaRPr lang="en-US" sz="2244">
              <a:solidFill>
                <a:srgbClr val="505050"/>
              </a:solidFill>
            </a:endParaRPr>
          </a:p>
        </p:txBody>
      </p:sp>
      <p:sp>
        <p:nvSpPr>
          <p:cNvPr id="5" name="Slide Number Placeholder 4"/>
          <p:cNvSpPr>
            <a:spLocks noGrp="1"/>
          </p:cNvSpPr>
          <p:nvPr>
            <p:ph type="sldNum" sz="quarter" idx="12"/>
          </p:nvPr>
        </p:nvSpPr>
        <p:spPr>
          <a:xfrm>
            <a:off x="11659196" y="6607559"/>
            <a:ext cx="777278" cy="386966"/>
          </a:xfrm>
          <a:prstGeom prst="rect">
            <a:avLst/>
          </a:prstGeom>
        </p:spPr>
        <p:txBody>
          <a:bodyPr/>
          <a:lstStyle/>
          <a:p>
            <a:pPr defTabSz="1109758"/>
            <a:fld id="{6A4C1A4A-E5E6-4CC1-B72C-A20A4EB3E2D2}" type="slidenum">
              <a:rPr lang="en-US" sz="2244" smtClean="0">
                <a:solidFill>
                  <a:srgbClr val="505050"/>
                </a:solidFill>
              </a:rPr>
              <a:pPr defTabSz="1109758"/>
              <a:t>‹#›</a:t>
            </a:fld>
            <a:endParaRPr lang="en-US" sz="2244">
              <a:solidFill>
                <a:srgbClr val="505050"/>
              </a:solidFill>
            </a:endParaRPr>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a:t>Click to add subtitle</a:t>
            </a:r>
          </a:p>
        </p:txBody>
      </p:sp>
    </p:spTree>
    <p:extLst>
      <p:ext uri="{BB962C8B-B14F-4D97-AF65-F5344CB8AC3E}">
        <p14:creationId xmlns:p14="http://schemas.microsoft.com/office/powerpoint/2010/main" val="320660821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109119" y="6606833"/>
            <a:ext cx="8550076" cy="387694"/>
          </a:xfrm>
          <a:prstGeom prst="rect">
            <a:avLst/>
          </a:prstGeom>
        </p:spPr>
        <p:txBody>
          <a:bodyPr/>
          <a:lstStyle/>
          <a:p>
            <a:pPr defTabSz="1109758"/>
            <a:endParaRPr lang="en-US" sz="2244">
              <a:solidFill>
                <a:srgbClr val="505050"/>
              </a:solidFill>
            </a:endParaRPr>
          </a:p>
        </p:txBody>
      </p:sp>
      <p:sp>
        <p:nvSpPr>
          <p:cNvPr id="5" name="Slide Number Placeholder 4"/>
          <p:cNvSpPr>
            <a:spLocks noGrp="1"/>
          </p:cNvSpPr>
          <p:nvPr>
            <p:ph type="sldNum" sz="quarter" idx="12"/>
          </p:nvPr>
        </p:nvSpPr>
        <p:spPr>
          <a:xfrm>
            <a:off x="11659196" y="6607561"/>
            <a:ext cx="777278" cy="386966"/>
          </a:xfrm>
          <a:prstGeom prst="rect">
            <a:avLst/>
          </a:prstGeom>
        </p:spPr>
        <p:txBody>
          <a:bodyPr/>
          <a:lstStyle/>
          <a:p>
            <a:pPr defTabSz="1109758"/>
            <a:fld id="{6A4C1A4A-E5E6-4CC1-B72C-A20A4EB3E2D2}" type="slidenum">
              <a:rPr lang="en-US" sz="2244" smtClean="0">
                <a:solidFill>
                  <a:srgbClr val="505050"/>
                </a:solidFill>
              </a:rPr>
              <a:pPr defTabSz="1109758"/>
              <a:t>‹#›</a:t>
            </a:fld>
            <a:endParaRPr lang="en-US" sz="2244">
              <a:solidFill>
                <a:srgbClr val="505050"/>
              </a:solidFill>
            </a:endParaRPr>
          </a:p>
        </p:txBody>
      </p:sp>
      <p:sp>
        <p:nvSpPr>
          <p:cNvPr id="6" name="Text Placeholder 5"/>
          <p:cNvSpPr>
            <a:spLocks noGrp="1"/>
          </p:cNvSpPr>
          <p:nvPr>
            <p:ph type="body" sz="quarter" idx="13" hasCustomPrompt="1"/>
          </p:nvPr>
        </p:nvSpPr>
        <p:spPr>
          <a:xfrm>
            <a:off x="2" y="585025"/>
            <a:ext cx="12436475" cy="380490"/>
          </a:xfrm>
          <a:prstGeom prst="rect">
            <a:avLst/>
          </a:prstGeom>
        </p:spPr>
        <p:txBody>
          <a:bodyPr lIns="320040" tIns="53325" rIns="53325" bIns="53325">
            <a:noAutofit/>
          </a:bodyPr>
          <a:lstStyle>
            <a:lvl1pPr marL="0" indent="0">
              <a:buNone/>
              <a:defRPr sz="2855">
                <a:solidFill>
                  <a:schemeClr val="tx1"/>
                </a:solidFill>
                <a:latin typeface="Segoe UI Light" pitchFamily="34" charset="0"/>
              </a:defRPr>
            </a:lvl1pPr>
            <a:lvl2pPr marL="287193" indent="0">
              <a:buNone/>
              <a:defRPr/>
            </a:lvl2pPr>
            <a:lvl3pPr marL="600006" indent="0">
              <a:buNone/>
              <a:defRPr/>
            </a:lvl3pPr>
            <a:lvl4pPr marL="887200" indent="0">
              <a:buNone/>
              <a:defRPr/>
            </a:lvl4pPr>
            <a:lvl5pPr marL="1127202" indent="0">
              <a:buNone/>
              <a:defRPr/>
            </a:lvl5pPr>
          </a:lstStyle>
          <a:p>
            <a:pPr lvl="0"/>
            <a:r>
              <a:rPr lang="en-US"/>
              <a:t>Click to add subtitle</a:t>
            </a:r>
          </a:p>
        </p:txBody>
      </p:sp>
    </p:spTree>
    <p:extLst>
      <p:ext uri="{BB962C8B-B14F-4D97-AF65-F5344CB8AC3E}">
        <p14:creationId xmlns:p14="http://schemas.microsoft.com/office/powerpoint/2010/main" val="396243289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109120" y="6606832"/>
            <a:ext cx="8550077" cy="387694"/>
          </a:xfrm>
          <a:prstGeom prst="rect">
            <a:avLst/>
          </a:prstGeom>
        </p:spPr>
        <p:txBody>
          <a:bodyPr/>
          <a:lstStyle/>
          <a:p>
            <a:pPr defTabSz="1109758"/>
            <a:endParaRPr lang="en-US" sz="2244">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1109758"/>
            <a:fld id="{6A4C1A4A-E5E6-4CC1-B72C-A20A4EB3E2D2}" type="slidenum">
              <a:rPr lang="en-US" sz="2244" smtClean="0">
                <a:solidFill>
                  <a:srgbClr val="505050"/>
                </a:solidFill>
              </a:rPr>
              <a:pPr defTabSz="1109758"/>
              <a:t>‹#›</a:t>
            </a:fld>
            <a:endParaRPr lang="en-US" sz="2244">
              <a:solidFill>
                <a:srgbClr val="505050"/>
              </a:solidFill>
            </a:endParaRPr>
          </a:p>
        </p:txBody>
      </p:sp>
      <p:sp>
        <p:nvSpPr>
          <p:cNvPr id="6" name="Text Placeholder 5"/>
          <p:cNvSpPr>
            <a:spLocks noGrp="1"/>
          </p:cNvSpPr>
          <p:nvPr>
            <p:ph type="body" sz="quarter" idx="13" hasCustomPrompt="1"/>
          </p:nvPr>
        </p:nvSpPr>
        <p:spPr>
          <a:xfrm>
            <a:off x="1" y="585026"/>
            <a:ext cx="12436475" cy="380489"/>
          </a:xfrm>
          <a:prstGeom prst="rect">
            <a:avLst/>
          </a:prstGeom>
        </p:spPr>
        <p:txBody>
          <a:bodyPr lIns="320040" tIns="53325" rIns="53325" bIns="53325">
            <a:noAutofit/>
          </a:bodyPr>
          <a:lstStyle>
            <a:lvl1pPr marL="0" indent="0">
              <a:buNone/>
              <a:defRPr sz="2855">
                <a:solidFill>
                  <a:schemeClr val="tx1"/>
                </a:solidFill>
                <a:latin typeface="Segoe UI Light" pitchFamily="34" charset="0"/>
              </a:defRPr>
            </a:lvl1pPr>
            <a:lvl2pPr marL="287173" indent="0">
              <a:buNone/>
              <a:defRPr/>
            </a:lvl2pPr>
            <a:lvl3pPr marL="599963" indent="0">
              <a:buNone/>
              <a:defRPr/>
            </a:lvl3pPr>
            <a:lvl4pPr marL="887137" indent="0">
              <a:buNone/>
              <a:defRPr/>
            </a:lvl4pPr>
            <a:lvl5pPr marL="1127121" indent="0">
              <a:buNone/>
              <a:defRPr/>
            </a:lvl5pPr>
          </a:lstStyle>
          <a:p>
            <a:pPr lvl="0"/>
            <a:r>
              <a:rPr lang="en-US"/>
              <a:t>Click to add subtitle</a:t>
            </a:r>
          </a:p>
        </p:txBody>
      </p:sp>
    </p:spTree>
    <p:extLst>
      <p:ext uri="{BB962C8B-B14F-4D97-AF65-F5344CB8AC3E}">
        <p14:creationId xmlns:p14="http://schemas.microsoft.com/office/powerpoint/2010/main" val="329482342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109119" y="6606831"/>
            <a:ext cx="8550076" cy="387694"/>
          </a:xfrm>
          <a:prstGeom prst="rect">
            <a:avLst/>
          </a:prstGeom>
        </p:spPr>
        <p:txBody>
          <a:bodyPr/>
          <a:lstStyle/>
          <a:p>
            <a:pPr defTabSz="1109758"/>
            <a:endParaRPr lang="en-US" sz="2244">
              <a:solidFill>
                <a:srgbClr val="505050"/>
              </a:solidFill>
            </a:endParaRPr>
          </a:p>
        </p:txBody>
      </p:sp>
      <p:sp>
        <p:nvSpPr>
          <p:cNvPr id="5" name="Slide Number Placeholder 4"/>
          <p:cNvSpPr>
            <a:spLocks noGrp="1"/>
          </p:cNvSpPr>
          <p:nvPr>
            <p:ph type="sldNum" sz="quarter" idx="12"/>
          </p:nvPr>
        </p:nvSpPr>
        <p:spPr>
          <a:xfrm>
            <a:off x="11659196" y="6607559"/>
            <a:ext cx="777278" cy="386966"/>
          </a:xfrm>
          <a:prstGeom prst="rect">
            <a:avLst/>
          </a:prstGeom>
        </p:spPr>
        <p:txBody>
          <a:bodyPr/>
          <a:lstStyle/>
          <a:p>
            <a:pPr defTabSz="1109758"/>
            <a:fld id="{6A4C1A4A-E5E6-4CC1-B72C-A20A4EB3E2D2}" type="slidenum">
              <a:rPr lang="en-US" sz="2244" smtClean="0">
                <a:solidFill>
                  <a:srgbClr val="505050"/>
                </a:solidFill>
              </a:rPr>
              <a:pPr defTabSz="1109758"/>
              <a:t>‹#›</a:t>
            </a:fld>
            <a:endParaRPr lang="en-US" sz="2244">
              <a:solidFill>
                <a:srgbClr val="505050"/>
              </a:solidFill>
            </a:endParaRPr>
          </a:p>
        </p:txBody>
      </p:sp>
      <p:sp>
        <p:nvSpPr>
          <p:cNvPr id="6" name="Text Placeholder 5"/>
          <p:cNvSpPr>
            <a:spLocks noGrp="1"/>
          </p:cNvSpPr>
          <p:nvPr>
            <p:ph type="body" sz="quarter" idx="13" hasCustomPrompt="1"/>
          </p:nvPr>
        </p:nvSpPr>
        <p:spPr>
          <a:xfrm>
            <a:off x="280219" y="123537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a:t>Click to add subtitle</a:t>
            </a:r>
          </a:p>
        </p:txBody>
      </p:sp>
    </p:spTree>
    <p:extLst>
      <p:ext uri="{BB962C8B-B14F-4D97-AF65-F5344CB8AC3E}">
        <p14:creationId xmlns:p14="http://schemas.microsoft.com/office/powerpoint/2010/main" val="428827501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itle 4"/>
          <p:cNvSpPr>
            <a:spLocks noGrp="1"/>
          </p:cNvSpPr>
          <p:nvPr>
            <p:ph type="title"/>
          </p:nvPr>
        </p:nvSpPr>
        <p:spPr>
          <a:xfrm>
            <a:off x="274640" y="295274"/>
            <a:ext cx="11889564" cy="904607"/>
          </a:xfrm>
        </p:spPr>
        <p:txBody>
          <a:bodyPr anchor="t"/>
          <a:lstStyle>
            <a:lvl1pPr>
              <a:defRPr sz="5198">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328182861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1"/>
            <a:ext cx="4974590" cy="4972845"/>
          </a:xfrm>
          <a:solidFill>
            <a:srgbClr val="1A3762"/>
          </a:solidFill>
        </p:spPr>
        <p:txBody>
          <a:bodyPr lIns="182880" tIns="91440" rIns="91440" bIns="91440">
            <a:noAutofit/>
          </a:bodyPr>
          <a:lstStyle>
            <a:lvl1pPr marL="310873" indent="-310873">
              <a:lnSpc>
                <a:spcPct val="100000"/>
              </a:lnSpc>
              <a:buFont typeface="Arial" pitchFamily="34" charset="0"/>
              <a:buChar char="•"/>
              <a:defRPr sz="2720">
                <a:solidFill>
                  <a:schemeClr val="bg1"/>
                </a:solidFill>
              </a:defRPr>
            </a:lvl1pPr>
            <a:lvl2pPr marL="932619" indent="-310873">
              <a:lnSpc>
                <a:spcPct val="100000"/>
              </a:lnSpc>
              <a:buFont typeface="Arial" pitchFamily="34" charset="0"/>
              <a:buChar char="•"/>
              <a:defRPr sz="2720">
                <a:solidFill>
                  <a:schemeClr val="bg1"/>
                </a:solidFill>
              </a:defRPr>
            </a:lvl2pPr>
            <a:lvl3pPr marL="1398929" indent="-310873">
              <a:lnSpc>
                <a:spcPct val="100000"/>
              </a:lnSpc>
              <a:buFont typeface="Arial" pitchFamily="34" charset="0"/>
              <a:buChar char="•"/>
              <a:defRPr sz="2720">
                <a:solidFill>
                  <a:schemeClr val="bg1"/>
                </a:solidFill>
              </a:defRPr>
            </a:lvl3pPr>
            <a:lvl4pPr marL="1865239" indent="-310873">
              <a:lnSpc>
                <a:spcPct val="100000"/>
              </a:lnSpc>
              <a:buFont typeface="Arial" pitchFamily="34" charset="0"/>
              <a:buChar char="•"/>
              <a:defRPr sz="2720">
                <a:solidFill>
                  <a:schemeClr val="bg1"/>
                </a:solidFill>
              </a:defRPr>
            </a:lvl4pPr>
            <a:lvl5pPr marL="2331549" indent="-310873">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0032755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1"/>
            <a:ext cx="4974590" cy="4972845"/>
          </a:xfrm>
          <a:solidFill>
            <a:srgbClr val="1A3762"/>
          </a:solidFill>
        </p:spPr>
        <p:txBody>
          <a:bodyPr lIns="182880" tIns="91440" rIns="91440" bIns="91440">
            <a:noAutofit/>
          </a:bodyPr>
          <a:lstStyle>
            <a:lvl1pPr marL="310873" indent="-310873">
              <a:lnSpc>
                <a:spcPct val="100000"/>
              </a:lnSpc>
              <a:buFont typeface="Arial" pitchFamily="34" charset="0"/>
              <a:buChar char="•"/>
              <a:defRPr sz="2720">
                <a:solidFill>
                  <a:schemeClr val="bg1"/>
                </a:solidFill>
              </a:defRPr>
            </a:lvl1pPr>
            <a:lvl2pPr marL="932619" indent="-310873">
              <a:lnSpc>
                <a:spcPct val="100000"/>
              </a:lnSpc>
              <a:buFont typeface="Arial" pitchFamily="34" charset="0"/>
              <a:buChar char="•"/>
              <a:defRPr sz="2720">
                <a:solidFill>
                  <a:schemeClr val="bg1"/>
                </a:solidFill>
              </a:defRPr>
            </a:lvl2pPr>
            <a:lvl3pPr marL="1398929" indent="-310873">
              <a:lnSpc>
                <a:spcPct val="100000"/>
              </a:lnSpc>
              <a:buFont typeface="Arial" pitchFamily="34" charset="0"/>
              <a:buChar char="•"/>
              <a:defRPr sz="2720">
                <a:solidFill>
                  <a:schemeClr val="bg1"/>
                </a:solidFill>
              </a:defRPr>
            </a:lvl3pPr>
            <a:lvl4pPr marL="1865239" indent="-310873">
              <a:lnSpc>
                <a:spcPct val="100000"/>
              </a:lnSpc>
              <a:buFont typeface="Arial" pitchFamily="34" charset="0"/>
              <a:buChar char="•"/>
              <a:defRPr sz="2720">
                <a:solidFill>
                  <a:schemeClr val="bg1"/>
                </a:solidFill>
              </a:defRPr>
            </a:lvl4pPr>
            <a:lvl5pPr marL="2331549" indent="-310873">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3573681375"/>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8417" y="3767923"/>
            <a:ext cx="10843051" cy="769036"/>
          </a:xfrm>
        </p:spPr>
        <p:txBody>
          <a:bodyPr anchor="b">
            <a:normAutofit/>
          </a:bodyPr>
          <a:lstStyle>
            <a:lvl1pPr marL="0" indent="0" algn="l">
              <a:buNone/>
              <a:defRPr sz="3264" b="0">
                <a:solidFill>
                  <a:srgbClr val="F79036"/>
                </a:solidFill>
                <a:effectLst/>
                <a:latin typeface="+mj-lt"/>
              </a:defRPr>
            </a:lvl1pPr>
            <a:lvl2pPr marL="466197" indent="0" algn="ctr">
              <a:buNone/>
              <a:defRPr sz="2040"/>
            </a:lvl2pPr>
            <a:lvl3pPr marL="932395" indent="0" algn="ctr">
              <a:buNone/>
              <a:defRPr sz="1836"/>
            </a:lvl3pPr>
            <a:lvl4pPr marL="1398592" indent="0" algn="ctr">
              <a:buNone/>
              <a:defRPr sz="1632"/>
            </a:lvl4pPr>
            <a:lvl5pPr marL="1864789" indent="0" algn="ctr">
              <a:buNone/>
              <a:defRPr sz="1632"/>
            </a:lvl5pPr>
            <a:lvl6pPr marL="2330986" indent="0" algn="ctr">
              <a:buNone/>
              <a:defRPr sz="1632"/>
            </a:lvl6pPr>
            <a:lvl7pPr marL="2797184" indent="0" algn="ctr">
              <a:buNone/>
              <a:defRPr sz="1632"/>
            </a:lvl7pPr>
            <a:lvl8pPr marL="3263379" indent="0" algn="ctr">
              <a:buNone/>
              <a:defRPr sz="1632"/>
            </a:lvl8pPr>
            <a:lvl9pPr marL="3729576" indent="0" algn="ctr">
              <a:buNone/>
              <a:defRPr sz="1632"/>
            </a:lvl9pPr>
          </a:lstStyle>
          <a:p>
            <a:r>
              <a:rPr lang="en-US" dirty="0"/>
              <a:t>Click to edit Master subtitle style</a:t>
            </a: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602616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392278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3_Blank">
    <p:bg>
      <p:bgPr>
        <a:gradFill flip="none" rotWithShape="1">
          <a:gsLst>
            <a:gs pos="100000">
              <a:srgbClr val="004A88"/>
            </a:gs>
            <a:gs pos="41000">
              <a:srgbClr val="60BAE9"/>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bwMode="auto">
          <a:xfrm>
            <a:off x="5178906" y="0"/>
            <a:ext cx="7257572" cy="6994525"/>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66"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a:spLocks noGrp="1"/>
          </p:cNvSpPr>
          <p:nvPr>
            <p:ph type="title" hasCustomPrompt="1"/>
          </p:nvPr>
        </p:nvSpPr>
        <p:spPr>
          <a:xfrm>
            <a:off x="5427635" y="236720"/>
            <a:ext cx="5786874" cy="1318480"/>
          </a:xfrm>
        </p:spPr>
        <p:txBody>
          <a:bodyPr>
            <a:normAutofit/>
          </a:bodyPr>
          <a:lstStyle>
            <a:lvl1pPr>
              <a:defRPr sz="4080">
                <a:solidFill>
                  <a:schemeClr val="accent2"/>
                </a:solidFill>
              </a:defRPr>
            </a:lvl1pPr>
          </a:lstStyle>
          <a:p>
            <a:r>
              <a:rPr lang="en-US" dirty="0"/>
              <a:t>Subtitle</a:t>
            </a:r>
          </a:p>
        </p:txBody>
      </p:sp>
      <p:sp>
        <p:nvSpPr>
          <p:cNvPr id="6" name="Content Placeholder 2"/>
          <p:cNvSpPr>
            <a:spLocks noGrp="1"/>
          </p:cNvSpPr>
          <p:nvPr>
            <p:ph idx="1" hasCustomPrompt="1"/>
          </p:nvPr>
        </p:nvSpPr>
        <p:spPr>
          <a:xfrm>
            <a:off x="527223" y="261138"/>
            <a:ext cx="4216859" cy="4547827"/>
          </a:xfrm>
        </p:spPr>
        <p:txBody>
          <a:bodyPr/>
          <a:lstStyle>
            <a:lvl1pPr marL="0" indent="0">
              <a:buNone/>
              <a:defRPr baseline="0">
                <a:solidFill>
                  <a:schemeClr val="tx1"/>
                </a:solidFill>
                <a:latin typeface="Segoe UI" panose="020B0502040204020203" pitchFamily="34" charset="0"/>
                <a:cs typeface="Segoe UI" panose="020B0502040204020203" pitchFamily="34" charset="0"/>
              </a:defRPr>
            </a:lvl1pPr>
            <a:lvl2pPr>
              <a:defRPr>
                <a:solidFill>
                  <a:schemeClr val="tx1"/>
                </a:solidFill>
                <a:latin typeface="Segoe UI" panose="020B0502040204020203" pitchFamily="34" charset="0"/>
                <a:cs typeface="Segoe UI" panose="020B0502040204020203" pitchFamily="34" charset="0"/>
              </a:defRPr>
            </a:lvl2pPr>
            <a:lvl3pPr>
              <a:defRPr>
                <a:solidFill>
                  <a:schemeClr val="tx1"/>
                </a:solidFill>
                <a:latin typeface="Segoe UI" panose="020B0502040204020203" pitchFamily="34" charset="0"/>
                <a:cs typeface="Segoe UI" panose="020B0502040204020203" pitchFamily="34" charset="0"/>
              </a:defRPr>
            </a:lvl3pPr>
            <a:lvl4pPr>
              <a:defRPr>
                <a:solidFill>
                  <a:schemeClr val="tx1"/>
                </a:solidFill>
                <a:latin typeface="Segoe UI" panose="020B0502040204020203" pitchFamily="34" charset="0"/>
                <a:cs typeface="Segoe UI" panose="020B0502040204020203" pitchFamily="34" charset="0"/>
              </a:defRPr>
            </a:lvl4pPr>
            <a:lvl5pPr>
              <a:defRPr>
                <a:solidFill>
                  <a:schemeClr val="tx1"/>
                </a:solidFill>
                <a:latin typeface="Segoe UI" panose="020B0502040204020203" pitchFamily="34" charset="0"/>
                <a:cs typeface="Segoe UI" panose="020B0502040204020203" pitchFamily="34" charset="0"/>
              </a:defRPr>
            </a:lvl5pPr>
          </a:lstStyle>
          <a:p>
            <a:pPr lvl="0"/>
            <a:r>
              <a:rPr kumimoji="0" lang="en-US" sz="5506" b="0" i="0" u="none" strike="noStrike" kern="1200" cap="none" spc="0" normalizeH="0" baseline="0" noProof="0" dirty="0">
                <a:ln>
                  <a:noFill/>
                </a:ln>
                <a:gradFill flip="none" rotWithShape="1">
                  <a:gsLst>
                    <a:gs pos="28000">
                      <a:prstClr val="white">
                        <a:lumMod val="93000"/>
                      </a:prstClr>
                    </a:gs>
                    <a:gs pos="0">
                      <a:prstClr val="black">
                        <a:lumMod val="25000"/>
                        <a:lumOff val="75000"/>
                      </a:prstClr>
                    </a:gs>
                    <a:gs pos="100000">
                      <a:srgbClr val="60BAE9">
                        <a:lumMod val="0"/>
                        <a:lumOff val="100000"/>
                      </a:srgbClr>
                    </a:gs>
                  </a:gsLst>
                  <a:lin ang="4800000" scaled="0"/>
                  <a:tileRect/>
                </a:gradFill>
                <a:effectLst/>
                <a:uLnTx/>
                <a:uFillTx/>
                <a:latin typeface="Segoe UI Light" panose="020B0502040204020203" pitchFamily="34" charset="0"/>
                <a:ea typeface="+mj-ea"/>
                <a:cs typeface="Segoe UI Light" panose="020B0502040204020203" pitchFamily="34" charset="0"/>
              </a:rPr>
              <a:t>Title</a:t>
            </a:r>
            <a:endParaRPr lang="en-US" dirty="0"/>
          </a:p>
        </p:txBody>
      </p:sp>
      <p:sp>
        <p:nvSpPr>
          <p:cNvPr id="7" name="Content Placeholder 2"/>
          <p:cNvSpPr>
            <a:spLocks noGrp="1"/>
          </p:cNvSpPr>
          <p:nvPr>
            <p:ph idx="10"/>
          </p:nvPr>
        </p:nvSpPr>
        <p:spPr>
          <a:xfrm>
            <a:off x="5427632" y="2000949"/>
            <a:ext cx="6708651" cy="4547827"/>
          </a:xfrm>
        </p:spPr>
        <p:txBody>
          <a:bodyPr/>
          <a:lstStyle>
            <a:lvl1pPr>
              <a:defRPr>
                <a:solidFill>
                  <a:schemeClr val="bg1">
                    <a:lumMod val="50000"/>
                    <a:lumOff val="50000"/>
                  </a:schemeClr>
                </a:solidFill>
                <a:latin typeface="Segoe UI" panose="020B0502040204020203" pitchFamily="34" charset="0"/>
                <a:cs typeface="Segoe UI" panose="020B0502040204020203" pitchFamily="34" charset="0"/>
              </a:defRPr>
            </a:lvl1pPr>
            <a:lvl2pPr>
              <a:defRPr>
                <a:solidFill>
                  <a:schemeClr val="bg1">
                    <a:lumMod val="50000"/>
                    <a:lumOff val="50000"/>
                  </a:schemeClr>
                </a:solidFill>
                <a:latin typeface="Segoe UI" panose="020B0502040204020203" pitchFamily="34" charset="0"/>
                <a:cs typeface="Segoe UI" panose="020B0502040204020203" pitchFamily="34" charset="0"/>
              </a:defRPr>
            </a:lvl2pPr>
            <a:lvl3pPr>
              <a:defRPr>
                <a:solidFill>
                  <a:schemeClr val="bg1">
                    <a:lumMod val="50000"/>
                    <a:lumOff val="50000"/>
                  </a:schemeClr>
                </a:solidFill>
                <a:latin typeface="Segoe UI" panose="020B0502040204020203" pitchFamily="34" charset="0"/>
                <a:cs typeface="Segoe UI" panose="020B0502040204020203" pitchFamily="34" charset="0"/>
              </a:defRPr>
            </a:lvl3pPr>
            <a:lvl4pPr>
              <a:defRPr>
                <a:solidFill>
                  <a:schemeClr val="bg1">
                    <a:lumMod val="50000"/>
                    <a:lumOff val="50000"/>
                  </a:schemeClr>
                </a:solidFill>
                <a:latin typeface="Segoe UI" panose="020B0502040204020203" pitchFamily="34" charset="0"/>
                <a:cs typeface="Segoe UI" panose="020B0502040204020203" pitchFamily="34" charset="0"/>
              </a:defRPr>
            </a:lvl4pPr>
            <a:lvl5pPr>
              <a:defRPr>
                <a:solidFill>
                  <a:schemeClr val="bg1">
                    <a:lumMod val="50000"/>
                    <a:lumOff val="50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546708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bwMode="auto">
          <a:xfrm>
            <a:off x="0" y="0"/>
            <a:ext cx="12436475" cy="639499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66"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1" y="1475036"/>
            <a:ext cx="12436475" cy="5044305"/>
          </a:xfrm>
          <a:prstGeom prst="rect">
            <a:avLst/>
          </a:prstGeom>
          <a:solidFill>
            <a:srgbClr val="E4E4E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66"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1"/>
          <p:cNvSpPr>
            <a:spLocks noGrp="1"/>
          </p:cNvSpPr>
          <p:nvPr>
            <p:ph type="title"/>
          </p:nvPr>
        </p:nvSpPr>
        <p:spPr>
          <a:xfrm>
            <a:off x="488047" y="236720"/>
            <a:ext cx="10726460" cy="1318480"/>
          </a:xfrm>
        </p:spPr>
        <p:txBody>
          <a:bodyPr/>
          <a:lstStyle>
            <a:lvl1pPr>
              <a:defRPr>
                <a:solidFill>
                  <a:schemeClr val="accent2"/>
                </a:solidFill>
              </a:defRPr>
            </a:lvl1pPr>
          </a:lstStyle>
          <a:p>
            <a:r>
              <a:rPr lang="en-US" dirty="0"/>
              <a:t>Click to edit Master title style</a:t>
            </a:r>
          </a:p>
        </p:txBody>
      </p:sp>
      <p:sp>
        <p:nvSpPr>
          <p:cNvPr id="6" name="Content Placeholder 2"/>
          <p:cNvSpPr>
            <a:spLocks noGrp="1"/>
          </p:cNvSpPr>
          <p:nvPr>
            <p:ph idx="1"/>
          </p:nvPr>
        </p:nvSpPr>
        <p:spPr>
          <a:xfrm>
            <a:off x="775498" y="1791923"/>
            <a:ext cx="10439009" cy="4547827"/>
          </a:xfrm>
        </p:spPr>
        <p:txBody>
          <a:bodyPr/>
          <a:lstStyle>
            <a:lvl1pPr>
              <a:defRPr>
                <a:solidFill>
                  <a:schemeClr val="bg1">
                    <a:lumMod val="50000"/>
                    <a:lumOff val="50000"/>
                  </a:schemeClr>
                </a:solidFill>
                <a:latin typeface="Segoe UI" panose="020B0502040204020203" pitchFamily="34" charset="0"/>
                <a:cs typeface="Segoe UI" panose="020B0502040204020203" pitchFamily="34" charset="0"/>
              </a:defRPr>
            </a:lvl1pPr>
            <a:lvl2pPr>
              <a:defRPr>
                <a:solidFill>
                  <a:schemeClr val="bg1">
                    <a:lumMod val="50000"/>
                    <a:lumOff val="50000"/>
                  </a:schemeClr>
                </a:solidFill>
                <a:latin typeface="Segoe UI" panose="020B0502040204020203" pitchFamily="34" charset="0"/>
                <a:cs typeface="Segoe UI" panose="020B0502040204020203" pitchFamily="34" charset="0"/>
              </a:defRPr>
            </a:lvl2pPr>
            <a:lvl3pPr>
              <a:defRPr>
                <a:solidFill>
                  <a:schemeClr val="bg1">
                    <a:lumMod val="50000"/>
                    <a:lumOff val="50000"/>
                  </a:schemeClr>
                </a:solidFill>
                <a:latin typeface="Segoe UI" panose="020B0502040204020203" pitchFamily="34" charset="0"/>
                <a:cs typeface="Segoe UI" panose="020B0502040204020203" pitchFamily="34" charset="0"/>
              </a:defRPr>
            </a:lvl3pPr>
            <a:lvl4pPr>
              <a:defRPr>
                <a:solidFill>
                  <a:schemeClr val="bg1">
                    <a:lumMod val="50000"/>
                    <a:lumOff val="50000"/>
                  </a:schemeClr>
                </a:solidFill>
                <a:latin typeface="Segoe UI" panose="020B0502040204020203" pitchFamily="34" charset="0"/>
                <a:cs typeface="Segoe UI" panose="020B0502040204020203" pitchFamily="34" charset="0"/>
              </a:defRPr>
            </a:lvl4pPr>
            <a:lvl5pPr>
              <a:defRPr>
                <a:solidFill>
                  <a:schemeClr val="bg1">
                    <a:lumMod val="50000"/>
                    <a:lumOff val="50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540877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p:cNvSpPr/>
          <p:nvPr userDrawn="1"/>
        </p:nvSpPr>
        <p:spPr bwMode="auto">
          <a:xfrm>
            <a:off x="4" y="5"/>
            <a:ext cx="12436474" cy="6519341"/>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66"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a:spLocks noGrp="1"/>
          </p:cNvSpPr>
          <p:nvPr>
            <p:ph type="title"/>
          </p:nvPr>
        </p:nvSpPr>
        <p:spPr>
          <a:xfrm>
            <a:off x="488047" y="236720"/>
            <a:ext cx="10726460" cy="1318480"/>
          </a:xfrm>
        </p:spPr>
        <p:txBody>
          <a:bodyPr/>
          <a:lstStyle>
            <a:lvl1pPr>
              <a:defRPr>
                <a:solidFill>
                  <a:schemeClr val="accent2"/>
                </a:solidFill>
              </a:defRPr>
            </a:lvl1pPr>
          </a:lstStyle>
          <a:p>
            <a:r>
              <a:rPr lang="en-US" dirty="0"/>
              <a:t>Click to edit Master title style</a:t>
            </a:r>
          </a:p>
        </p:txBody>
      </p:sp>
      <p:sp>
        <p:nvSpPr>
          <p:cNvPr id="6" name="Content Placeholder 2"/>
          <p:cNvSpPr>
            <a:spLocks noGrp="1"/>
          </p:cNvSpPr>
          <p:nvPr>
            <p:ph idx="1"/>
          </p:nvPr>
        </p:nvSpPr>
        <p:spPr>
          <a:xfrm>
            <a:off x="775498" y="1791923"/>
            <a:ext cx="10439009" cy="4547827"/>
          </a:xfrm>
        </p:spPr>
        <p:txBody>
          <a:bodyPr/>
          <a:lstStyle>
            <a:lvl1pPr>
              <a:defRPr>
                <a:solidFill>
                  <a:schemeClr val="bg1">
                    <a:lumMod val="50000"/>
                    <a:lumOff val="50000"/>
                  </a:schemeClr>
                </a:solidFill>
                <a:latin typeface="Segoe UI" panose="020B0502040204020203" pitchFamily="34" charset="0"/>
                <a:cs typeface="Segoe UI" panose="020B0502040204020203" pitchFamily="34" charset="0"/>
              </a:defRPr>
            </a:lvl1pPr>
            <a:lvl2pPr>
              <a:defRPr>
                <a:solidFill>
                  <a:schemeClr val="bg1">
                    <a:lumMod val="50000"/>
                    <a:lumOff val="50000"/>
                  </a:schemeClr>
                </a:solidFill>
                <a:latin typeface="Segoe UI" panose="020B0502040204020203" pitchFamily="34" charset="0"/>
                <a:cs typeface="Segoe UI" panose="020B0502040204020203" pitchFamily="34" charset="0"/>
              </a:defRPr>
            </a:lvl2pPr>
            <a:lvl3pPr>
              <a:defRPr>
                <a:solidFill>
                  <a:schemeClr val="bg1">
                    <a:lumMod val="50000"/>
                    <a:lumOff val="50000"/>
                  </a:schemeClr>
                </a:solidFill>
                <a:latin typeface="Segoe UI" panose="020B0502040204020203" pitchFamily="34" charset="0"/>
                <a:cs typeface="Segoe UI" panose="020B0502040204020203" pitchFamily="34" charset="0"/>
              </a:defRPr>
            </a:lvl3pPr>
            <a:lvl4pPr>
              <a:defRPr>
                <a:solidFill>
                  <a:schemeClr val="bg1">
                    <a:lumMod val="50000"/>
                    <a:lumOff val="50000"/>
                  </a:schemeClr>
                </a:solidFill>
                <a:latin typeface="Segoe UI" panose="020B0502040204020203" pitchFamily="34" charset="0"/>
                <a:cs typeface="Segoe UI" panose="020B0502040204020203" pitchFamily="34" charset="0"/>
              </a:defRPr>
            </a:lvl4pPr>
            <a:lvl5pPr>
              <a:defRPr>
                <a:solidFill>
                  <a:schemeClr val="bg1">
                    <a:lumMod val="50000"/>
                    <a:lumOff val="50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083588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Rectangle 6"/>
          <p:cNvSpPr/>
          <p:nvPr userDrawn="1"/>
        </p:nvSpPr>
        <p:spPr bwMode="auto">
          <a:xfrm>
            <a:off x="4" y="5"/>
            <a:ext cx="12436474" cy="6519341"/>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66"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Content Placeholder 2"/>
          <p:cNvSpPr>
            <a:spLocks noGrp="1"/>
          </p:cNvSpPr>
          <p:nvPr>
            <p:ph sz="half" idx="1"/>
          </p:nvPr>
        </p:nvSpPr>
        <p:spPr>
          <a:xfrm>
            <a:off x="1142458" y="1861968"/>
            <a:ext cx="5125982" cy="4437962"/>
          </a:xfrm>
        </p:spPr>
        <p:txBody>
          <a:bodyPr/>
          <a:lstStyle>
            <a:lvl1pPr>
              <a:defRPr>
                <a:solidFill>
                  <a:schemeClr val="bg1">
                    <a:lumMod val="50000"/>
                    <a:lumOff val="50000"/>
                  </a:schemeClr>
                </a:solidFill>
                <a:latin typeface="Segoe UI" panose="020B0502040204020203" pitchFamily="34" charset="0"/>
                <a:cs typeface="Segoe UI" panose="020B0502040204020203" pitchFamily="34" charset="0"/>
              </a:defRPr>
            </a:lvl1pPr>
            <a:lvl2pPr>
              <a:defRPr>
                <a:solidFill>
                  <a:schemeClr val="bg1">
                    <a:lumMod val="50000"/>
                    <a:lumOff val="50000"/>
                  </a:schemeClr>
                </a:solidFill>
                <a:latin typeface="Segoe UI" panose="020B0502040204020203" pitchFamily="34" charset="0"/>
                <a:cs typeface="Segoe UI" panose="020B0502040204020203" pitchFamily="34" charset="0"/>
              </a:defRPr>
            </a:lvl2pPr>
            <a:lvl3pPr>
              <a:defRPr>
                <a:solidFill>
                  <a:schemeClr val="bg1">
                    <a:lumMod val="50000"/>
                    <a:lumOff val="50000"/>
                  </a:schemeClr>
                </a:solidFill>
                <a:latin typeface="Segoe UI" panose="020B0502040204020203" pitchFamily="34" charset="0"/>
                <a:cs typeface="Segoe UI" panose="020B0502040204020203" pitchFamily="34" charset="0"/>
              </a:defRPr>
            </a:lvl3pPr>
            <a:lvl4pPr>
              <a:defRPr>
                <a:solidFill>
                  <a:schemeClr val="bg1">
                    <a:lumMod val="50000"/>
                    <a:lumOff val="50000"/>
                  </a:schemeClr>
                </a:solidFill>
                <a:latin typeface="Segoe UI" panose="020B0502040204020203" pitchFamily="34" charset="0"/>
                <a:cs typeface="Segoe UI" panose="020B0502040204020203" pitchFamily="34" charset="0"/>
              </a:defRPr>
            </a:lvl4pPr>
            <a:lvl5pPr>
              <a:defRPr>
                <a:solidFill>
                  <a:schemeClr val="bg1">
                    <a:lumMod val="50000"/>
                    <a:lumOff val="50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46566" y="1861968"/>
            <a:ext cx="5134901" cy="4437962"/>
          </a:xfrm>
        </p:spPr>
        <p:txBody>
          <a:bodyPr/>
          <a:lstStyle>
            <a:lvl1pPr>
              <a:defRPr>
                <a:solidFill>
                  <a:schemeClr val="bg1">
                    <a:lumMod val="50000"/>
                    <a:lumOff val="50000"/>
                  </a:schemeClr>
                </a:solidFill>
                <a:latin typeface="Segoe UI" panose="020B0502040204020203" pitchFamily="34" charset="0"/>
                <a:cs typeface="Segoe UI" panose="020B0502040204020203" pitchFamily="34" charset="0"/>
              </a:defRPr>
            </a:lvl1pPr>
            <a:lvl2pPr>
              <a:defRPr>
                <a:solidFill>
                  <a:schemeClr val="bg1">
                    <a:lumMod val="50000"/>
                    <a:lumOff val="50000"/>
                  </a:schemeClr>
                </a:solidFill>
                <a:latin typeface="Segoe UI" panose="020B0502040204020203" pitchFamily="34" charset="0"/>
                <a:cs typeface="Segoe UI" panose="020B0502040204020203" pitchFamily="34" charset="0"/>
              </a:defRPr>
            </a:lvl2pPr>
            <a:lvl3pPr>
              <a:defRPr>
                <a:solidFill>
                  <a:schemeClr val="bg1">
                    <a:lumMod val="50000"/>
                    <a:lumOff val="50000"/>
                  </a:schemeClr>
                </a:solidFill>
                <a:latin typeface="Segoe UI" panose="020B0502040204020203" pitchFamily="34" charset="0"/>
                <a:cs typeface="Segoe UI" panose="020B0502040204020203" pitchFamily="34" charset="0"/>
              </a:defRPr>
            </a:lvl3pPr>
            <a:lvl4pPr>
              <a:defRPr>
                <a:solidFill>
                  <a:schemeClr val="bg1">
                    <a:lumMod val="50000"/>
                    <a:lumOff val="50000"/>
                  </a:schemeClr>
                </a:solidFill>
                <a:latin typeface="Segoe UI" panose="020B0502040204020203" pitchFamily="34" charset="0"/>
                <a:cs typeface="Segoe UI" panose="020B0502040204020203" pitchFamily="34" charset="0"/>
              </a:defRPr>
            </a:lvl4pPr>
            <a:lvl5pPr>
              <a:defRPr>
                <a:solidFill>
                  <a:schemeClr val="bg1">
                    <a:lumMod val="50000"/>
                    <a:lumOff val="50000"/>
                  </a:schemeClr>
                </a:soli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8460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56627" y="372394"/>
            <a:ext cx="10726460" cy="3604704"/>
          </a:xfrm>
        </p:spPr>
        <p:txBody>
          <a:bodyPr anchor="ctr"/>
          <a:lstStyle>
            <a:lvl1pPr>
              <a:defRPr sz="3264"/>
            </a:lvl1pPr>
          </a:lstStyle>
          <a:p>
            <a:r>
              <a:rPr lang="en-US" dirty="0"/>
              <a:t>Section Divider / Title Slide</a:t>
            </a:r>
          </a:p>
        </p:txBody>
      </p:sp>
      <p:sp>
        <p:nvSpPr>
          <p:cNvPr id="4" name="Text Placeholder 3"/>
          <p:cNvSpPr>
            <a:spLocks noGrp="1"/>
          </p:cNvSpPr>
          <p:nvPr>
            <p:ph type="body" sz="half" idx="2"/>
          </p:nvPr>
        </p:nvSpPr>
        <p:spPr>
          <a:xfrm>
            <a:off x="856629" y="4578773"/>
            <a:ext cx="10724840" cy="1531723"/>
          </a:xfrm>
        </p:spPr>
        <p:txBody>
          <a:bodyPr anchor="ctr"/>
          <a:lstStyle>
            <a:lvl1pPr marL="0" indent="0">
              <a:buNone/>
              <a:defRPr sz="1632"/>
            </a:lvl1pPr>
            <a:lvl2pPr marL="466197" indent="0">
              <a:buNone/>
              <a:defRPr sz="1428"/>
            </a:lvl2pPr>
            <a:lvl3pPr marL="932395" indent="0">
              <a:buNone/>
              <a:defRPr sz="1224"/>
            </a:lvl3pPr>
            <a:lvl4pPr marL="1398592" indent="0">
              <a:buNone/>
              <a:defRPr sz="1020"/>
            </a:lvl4pPr>
            <a:lvl5pPr marL="1864789" indent="0">
              <a:buNone/>
              <a:defRPr sz="1020"/>
            </a:lvl5pPr>
            <a:lvl6pPr marL="2330986" indent="0">
              <a:buNone/>
              <a:defRPr sz="1020"/>
            </a:lvl6pPr>
            <a:lvl7pPr marL="2797184" indent="0">
              <a:buNone/>
              <a:defRPr sz="1020"/>
            </a:lvl7pPr>
            <a:lvl8pPr marL="3263379" indent="0">
              <a:buNone/>
              <a:defRPr sz="1020"/>
            </a:lvl8pPr>
            <a:lvl9pPr marL="3729576" indent="0">
              <a:buNone/>
              <a:defRPr sz="1020"/>
            </a:lvl9pPr>
          </a:lstStyle>
          <a:p>
            <a:pPr lvl="0"/>
            <a:r>
              <a:rPr lang="en-US"/>
              <a:t>Click to edit Master text styles</a:t>
            </a:r>
          </a:p>
        </p:txBody>
      </p:sp>
    </p:spTree>
    <p:extLst>
      <p:ext uri="{BB962C8B-B14F-4D97-AF65-F5344CB8AC3E}">
        <p14:creationId xmlns:p14="http://schemas.microsoft.com/office/powerpoint/2010/main" val="357026227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75211" y="372395"/>
            <a:ext cx="9489292" cy="3052485"/>
          </a:xfrm>
        </p:spPr>
        <p:txBody>
          <a:bodyPr anchor="ctr"/>
          <a:lstStyle>
            <a:lvl1pPr>
              <a:defRPr sz="4488"/>
            </a:lvl1pPr>
          </a:lstStyle>
          <a:p>
            <a:r>
              <a:rPr lang="en-US"/>
              <a:t>Click to edit Master title style</a:t>
            </a:r>
            <a:endParaRPr lang="en-US" dirty="0"/>
          </a:p>
        </p:txBody>
      </p:sp>
      <p:sp>
        <p:nvSpPr>
          <p:cNvPr id="12" name="Text Placeholder 3"/>
          <p:cNvSpPr>
            <a:spLocks noGrp="1"/>
          </p:cNvSpPr>
          <p:nvPr>
            <p:ph type="body" sz="half" idx="13"/>
          </p:nvPr>
        </p:nvSpPr>
        <p:spPr>
          <a:xfrm>
            <a:off x="1755148" y="3432556"/>
            <a:ext cx="8927801" cy="559897"/>
          </a:xfrm>
        </p:spPr>
        <p:txBody>
          <a:bodyPr anchor="t">
            <a:normAutofit/>
          </a:bodyPr>
          <a:lstStyle>
            <a:lvl1pPr marL="0" indent="0">
              <a:buNone/>
              <a:defRPr sz="1428"/>
            </a:lvl1pPr>
            <a:lvl2pPr marL="466197" indent="0">
              <a:buNone/>
              <a:defRPr sz="1428"/>
            </a:lvl2pPr>
            <a:lvl3pPr marL="932395" indent="0">
              <a:buNone/>
              <a:defRPr sz="1224"/>
            </a:lvl3pPr>
            <a:lvl4pPr marL="1398592" indent="0">
              <a:buNone/>
              <a:defRPr sz="1020"/>
            </a:lvl4pPr>
            <a:lvl5pPr marL="1864789" indent="0">
              <a:buNone/>
              <a:defRPr sz="1020"/>
            </a:lvl5pPr>
            <a:lvl6pPr marL="2330986" indent="0">
              <a:buNone/>
              <a:defRPr sz="1020"/>
            </a:lvl6pPr>
            <a:lvl7pPr marL="2797184" indent="0">
              <a:buNone/>
              <a:defRPr sz="1020"/>
            </a:lvl7pPr>
            <a:lvl8pPr marL="3263379" indent="0">
              <a:buNone/>
              <a:defRPr sz="1020"/>
            </a:lvl8pPr>
            <a:lvl9pPr marL="3729576" indent="0">
              <a:buNone/>
              <a:defRPr sz="1020"/>
            </a:lvl9pPr>
          </a:lstStyle>
          <a:p>
            <a:pPr lvl="0"/>
            <a:r>
              <a:rPr lang="en-US"/>
              <a:t>Click to edit Master text styles</a:t>
            </a:r>
          </a:p>
        </p:txBody>
      </p:sp>
      <p:sp>
        <p:nvSpPr>
          <p:cNvPr id="4" name="Text Placeholder 3"/>
          <p:cNvSpPr>
            <a:spLocks noGrp="1"/>
          </p:cNvSpPr>
          <p:nvPr>
            <p:ph type="body" sz="half" idx="2"/>
          </p:nvPr>
        </p:nvSpPr>
        <p:spPr>
          <a:xfrm>
            <a:off x="855008" y="4591347"/>
            <a:ext cx="10723220" cy="1519148"/>
          </a:xfrm>
        </p:spPr>
        <p:txBody>
          <a:bodyPr anchor="ctr">
            <a:normAutofit/>
          </a:bodyPr>
          <a:lstStyle>
            <a:lvl1pPr marL="0" indent="0">
              <a:buNone/>
              <a:defRPr sz="1632"/>
            </a:lvl1pPr>
            <a:lvl2pPr marL="466197" indent="0">
              <a:buNone/>
              <a:defRPr sz="1428"/>
            </a:lvl2pPr>
            <a:lvl3pPr marL="932395" indent="0">
              <a:buNone/>
              <a:defRPr sz="1224"/>
            </a:lvl3pPr>
            <a:lvl4pPr marL="1398592" indent="0">
              <a:buNone/>
              <a:defRPr sz="1020"/>
            </a:lvl4pPr>
            <a:lvl5pPr marL="1864789" indent="0">
              <a:buNone/>
              <a:defRPr sz="1020"/>
            </a:lvl5pPr>
            <a:lvl6pPr marL="2330986" indent="0">
              <a:buNone/>
              <a:defRPr sz="1020"/>
            </a:lvl6pPr>
            <a:lvl7pPr marL="2797184" indent="0">
              <a:buNone/>
              <a:defRPr sz="1020"/>
            </a:lvl7pPr>
            <a:lvl8pPr marL="3263379" indent="0">
              <a:buNone/>
              <a:defRPr sz="1020"/>
            </a:lvl8pPr>
            <a:lvl9pPr marL="3729576" indent="0">
              <a:buNone/>
              <a:defRPr sz="1020"/>
            </a:lvl9pPr>
          </a:lstStyle>
          <a:p>
            <a:pPr lvl="0"/>
            <a:r>
              <a:rPr lang="en-US"/>
              <a:t>Click to edit Master text styles</a:t>
            </a:r>
          </a:p>
        </p:txBody>
      </p:sp>
      <p:sp>
        <p:nvSpPr>
          <p:cNvPr id="9" name="TextBox 8"/>
          <p:cNvSpPr txBox="1"/>
          <p:nvPr/>
        </p:nvSpPr>
        <p:spPr>
          <a:xfrm>
            <a:off x="1133323" y="802489"/>
            <a:ext cx="621824" cy="596417"/>
          </a:xfrm>
          <a:prstGeom prst="rect">
            <a:avLst/>
          </a:prstGeom>
        </p:spPr>
        <p:txBody>
          <a:bodyPr vert="horz" lIns="93247" tIns="46623" rIns="93247" bIns="46623"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466197"/>
            <a:r>
              <a:rPr lang="en-US" sz="8157" dirty="0">
                <a:solidFill>
                  <a:prstClr val="white"/>
                </a:solidFill>
                <a:effectLst/>
              </a:rPr>
              <a:t>“</a:t>
            </a:r>
          </a:p>
        </p:txBody>
      </p:sp>
      <p:sp>
        <p:nvSpPr>
          <p:cNvPr id="10" name="TextBox 9"/>
          <p:cNvSpPr txBox="1"/>
          <p:nvPr/>
        </p:nvSpPr>
        <p:spPr>
          <a:xfrm>
            <a:off x="10647112" y="2797810"/>
            <a:ext cx="621824" cy="596417"/>
          </a:xfrm>
          <a:prstGeom prst="rect">
            <a:avLst/>
          </a:prstGeom>
        </p:spPr>
        <p:txBody>
          <a:bodyPr vert="horz" lIns="93247" tIns="46623" rIns="93247" bIns="46623"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defTabSz="466197"/>
            <a:r>
              <a:rPr lang="en-US" sz="8157" dirty="0">
                <a:solidFill>
                  <a:prstClr val="white"/>
                </a:solidFill>
                <a:effectLst/>
              </a:rPr>
              <a:t>”</a:t>
            </a:r>
          </a:p>
        </p:txBody>
      </p:sp>
    </p:spTree>
    <p:extLst>
      <p:ext uri="{BB962C8B-B14F-4D97-AF65-F5344CB8AC3E}">
        <p14:creationId xmlns:p14="http://schemas.microsoft.com/office/powerpoint/2010/main" val="259722835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A4FCB-19E9-45EF-ABBF-D6B0CECFA3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A399F1-F72A-425E-821C-C9C9888E0063}"/>
              </a:ext>
            </a:extLst>
          </p:cNvPr>
          <p:cNvSpPr>
            <a:spLocks noGrp="1"/>
          </p:cNvSpPr>
          <p:nvPr>
            <p:ph type="dt" sz="half" idx="10"/>
          </p:nvPr>
        </p:nvSpPr>
        <p:spPr/>
        <p:txBody>
          <a:bodyPr/>
          <a:lstStyle/>
          <a:p>
            <a:fld id="{21C3C75C-2809-4E8B-BE08-2796520EF40D}" type="datetimeFigureOut">
              <a:rPr lang="en-US" smtClean="0"/>
              <a:t>4/20/2018</a:t>
            </a:fld>
            <a:endParaRPr lang="en-US"/>
          </a:p>
        </p:txBody>
      </p:sp>
      <p:sp>
        <p:nvSpPr>
          <p:cNvPr id="4" name="Footer Placeholder 3">
            <a:extLst>
              <a:ext uri="{FF2B5EF4-FFF2-40B4-BE49-F238E27FC236}">
                <a16:creationId xmlns:a16="http://schemas.microsoft.com/office/drawing/2014/main" id="{E960BF83-5D35-43BC-A10B-DF32ACA676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BBD6F4-C326-4B89-B073-A889311946F8}"/>
              </a:ext>
            </a:extLst>
          </p:cNvPr>
          <p:cNvSpPr>
            <a:spLocks noGrp="1"/>
          </p:cNvSpPr>
          <p:nvPr>
            <p:ph type="sldNum" sz="quarter" idx="12"/>
          </p:nvPr>
        </p:nvSpPr>
        <p:spPr/>
        <p:txBody>
          <a:bodyPr/>
          <a:lstStyle/>
          <a:p>
            <a:fld id="{F23DF6EC-3BD6-467F-9F02-11E48494423B}" type="slidenum">
              <a:rPr lang="en-US" smtClean="0"/>
              <a:t>‹#›</a:t>
            </a:fld>
            <a:endParaRPr lang="en-US"/>
          </a:p>
        </p:txBody>
      </p:sp>
    </p:spTree>
    <p:extLst>
      <p:ext uri="{BB962C8B-B14F-4D97-AF65-F5344CB8AC3E}">
        <p14:creationId xmlns:p14="http://schemas.microsoft.com/office/powerpoint/2010/main" val="373219039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Project Type and Agenda">
    <p:bg>
      <p:bgPr>
        <a:gradFill flip="none" rotWithShape="1">
          <a:gsLst>
            <a:gs pos="0">
              <a:srgbClr val="59CDE8"/>
            </a:gs>
            <a:gs pos="67000">
              <a:srgbClr val="005195"/>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11" name="Rectangle 10"/>
          <p:cNvSpPr/>
          <p:nvPr/>
        </p:nvSpPr>
        <p:spPr>
          <a:xfrm>
            <a:off x="4819134" y="1"/>
            <a:ext cx="7617341" cy="629507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918"/>
          </a:p>
        </p:txBody>
      </p:sp>
      <p:sp>
        <p:nvSpPr>
          <p:cNvPr id="21" name="Title 1"/>
          <p:cNvSpPr>
            <a:spLocks noGrp="1"/>
          </p:cNvSpPr>
          <p:nvPr>
            <p:ph type="title" hasCustomPrompt="1"/>
          </p:nvPr>
        </p:nvSpPr>
        <p:spPr>
          <a:xfrm>
            <a:off x="5596414" y="536463"/>
            <a:ext cx="5786874" cy="1318480"/>
          </a:xfrm>
        </p:spPr>
        <p:txBody>
          <a:bodyPr>
            <a:normAutofit/>
          </a:bodyPr>
          <a:lstStyle>
            <a:lvl1pPr algn="l">
              <a:defRPr>
                <a:solidFill>
                  <a:srgbClr val="FF8200"/>
                </a:solidFill>
              </a:defRPr>
            </a:lvl1pPr>
          </a:lstStyle>
          <a:p>
            <a:r>
              <a:rPr lang="en-US" sz="4080" b="1">
                <a:latin typeface="Segoe UI Semibold" panose="020B0702040204020203" pitchFamily="34" charset="0"/>
                <a:cs typeface="Segoe UI Semibold" panose="020B0702040204020203" pitchFamily="34" charset="0"/>
              </a:rPr>
              <a:t>Agenda</a:t>
            </a:r>
          </a:p>
        </p:txBody>
      </p:sp>
      <p:sp>
        <p:nvSpPr>
          <p:cNvPr id="22" name="Text Placeholder 3"/>
          <p:cNvSpPr>
            <a:spLocks noGrp="1"/>
          </p:cNvSpPr>
          <p:nvPr>
            <p:ph idx="10" hasCustomPrompt="1"/>
          </p:nvPr>
        </p:nvSpPr>
        <p:spPr>
          <a:xfrm>
            <a:off x="5596414" y="1615594"/>
            <a:ext cx="5786874" cy="4547827"/>
          </a:xfrm>
        </p:spPr>
        <p:txBody>
          <a:bodyPr>
            <a:normAutofit lnSpcReduction="10000"/>
          </a:bodyPr>
          <a:lstStyle>
            <a:lvl1pPr>
              <a:defRPr>
                <a:solidFill>
                  <a:srgbClr val="767C80"/>
                </a:solidFill>
              </a:defRPr>
            </a:lvl1pPr>
          </a:lstStyle>
          <a:p>
            <a:r>
              <a:rPr lang="en-US" sz="2448"/>
              <a:t>Item 1</a:t>
            </a:r>
          </a:p>
          <a:p>
            <a:r>
              <a:rPr lang="en-US" sz="2448"/>
              <a:t>Item 2</a:t>
            </a:r>
          </a:p>
          <a:p>
            <a:r>
              <a:rPr lang="en-US" sz="2448"/>
              <a:t>Item 3</a:t>
            </a:r>
          </a:p>
          <a:p>
            <a:r>
              <a:rPr lang="en-US" sz="2448"/>
              <a:t>Item 4</a:t>
            </a:r>
          </a:p>
          <a:p>
            <a:r>
              <a:rPr lang="en-US" sz="2448"/>
              <a:t>Item 5</a:t>
            </a:r>
          </a:p>
        </p:txBody>
      </p:sp>
    </p:spTree>
    <p:extLst>
      <p:ext uri="{BB962C8B-B14F-4D97-AF65-F5344CB8AC3E}">
        <p14:creationId xmlns:p14="http://schemas.microsoft.com/office/powerpoint/2010/main" val="10377668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
        <p:nvSpPr>
          <p:cNvPr id="8" name="Rectangle 7"/>
          <p:cNvSpPr/>
          <p:nvPr userDrawn="1"/>
        </p:nvSpPr>
        <p:spPr bwMode="gray">
          <a:xfrm>
            <a:off x="274637" y="1211263"/>
            <a:ext cx="822960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6182440"/>
            <a:ext cx="1552931" cy="332660"/>
          </a:xfrm>
          <a:prstGeom prst="rect">
            <a:avLst/>
          </a:prstGeom>
        </p:spPr>
      </p:pic>
      <p:sp>
        <p:nvSpPr>
          <p:cNvPr id="9" name="Title 1"/>
          <p:cNvSpPr>
            <a:spLocks noGrp="1"/>
          </p:cNvSpPr>
          <p:nvPr>
            <p:ph type="title" hasCustomPrompt="1"/>
          </p:nvPr>
        </p:nvSpPr>
        <p:spPr bwMode="auto">
          <a:xfrm>
            <a:off x="274702" y="1211263"/>
            <a:ext cx="82295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040063"/>
            <a:ext cx="82311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88651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Title and Content">
    <p:bg>
      <p:bgPr>
        <a:gradFill flip="none" rotWithShape="1">
          <a:gsLst>
            <a:gs pos="0">
              <a:srgbClr val="59CDE8"/>
            </a:gs>
            <a:gs pos="67000">
              <a:srgbClr val="005195"/>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20" name="Rectangle 19"/>
          <p:cNvSpPr/>
          <p:nvPr userDrawn="1"/>
        </p:nvSpPr>
        <p:spPr>
          <a:xfrm>
            <a:off x="4819134" y="1"/>
            <a:ext cx="7617341" cy="629507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918"/>
          </a:p>
        </p:txBody>
      </p:sp>
      <p:sp>
        <p:nvSpPr>
          <p:cNvPr id="21" name="Title 1"/>
          <p:cNvSpPr>
            <a:spLocks noGrp="1"/>
          </p:cNvSpPr>
          <p:nvPr>
            <p:ph type="title" hasCustomPrompt="1"/>
          </p:nvPr>
        </p:nvSpPr>
        <p:spPr>
          <a:xfrm>
            <a:off x="5596414" y="536463"/>
            <a:ext cx="5786874" cy="784726"/>
          </a:xfrm>
        </p:spPr>
        <p:txBody>
          <a:bodyPr>
            <a:normAutofit/>
          </a:bodyPr>
          <a:lstStyle>
            <a:lvl1pPr algn="l">
              <a:defRPr>
                <a:solidFill>
                  <a:srgbClr val="FF8200"/>
                </a:solidFill>
              </a:defRPr>
            </a:lvl1pPr>
          </a:lstStyle>
          <a:p>
            <a:r>
              <a:rPr lang="en-US" sz="4080" b="1">
                <a:latin typeface="Segoe UI Semibold" panose="020B0702040204020203" pitchFamily="34" charset="0"/>
                <a:cs typeface="Segoe UI Semibold" panose="020B0702040204020203" pitchFamily="34" charset="0"/>
              </a:rPr>
              <a:t>Title</a:t>
            </a:r>
          </a:p>
        </p:txBody>
      </p:sp>
      <p:sp>
        <p:nvSpPr>
          <p:cNvPr id="22" name="Text Placeholder 3"/>
          <p:cNvSpPr>
            <a:spLocks noGrp="1"/>
          </p:cNvSpPr>
          <p:nvPr>
            <p:ph idx="10" hasCustomPrompt="1"/>
          </p:nvPr>
        </p:nvSpPr>
        <p:spPr>
          <a:xfrm>
            <a:off x="5596414" y="1615594"/>
            <a:ext cx="5786874" cy="4547827"/>
          </a:xfrm>
        </p:spPr>
        <p:txBody>
          <a:bodyPr>
            <a:normAutofit lnSpcReduction="10000"/>
          </a:bodyPr>
          <a:lstStyle>
            <a:lvl1pPr>
              <a:defRPr>
                <a:solidFill>
                  <a:srgbClr val="767C80"/>
                </a:solidFill>
              </a:defRPr>
            </a:lvl1pPr>
          </a:lstStyle>
          <a:p>
            <a:r>
              <a:rPr lang="en-US" sz="2448"/>
              <a:t>Item 1</a:t>
            </a:r>
          </a:p>
          <a:p>
            <a:r>
              <a:rPr lang="en-US" sz="2448"/>
              <a:t>Item 2</a:t>
            </a:r>
          </a:p>
          <a:p>
            <a:r>
              <a:rPr lang="en-US" sz="2448"/>
              <a:t>Item 3</a:t>
            </a:r>
          </a:p>
          <a:p>
            <a:r>
              <a:rPr lang="en-US" sz="2448"/>
              <a:t>Item 4</a:t>
            </a:r>
          </a:p>
          <a:p>
            <a:r>
              <a:rPr lang="en-US" sz="2448"/>
              <a:t>Item 5</a:t>
            </a:r>
          </a:p>
        </p:txBody>
      </p:sp>
      <p:sp>
        <p:nvSpPr>
          <p:cNvPr id="28" name="Title 1"/>
          <p:cNvSpPr txBox="1">
            <a:spLocks/>
          </p:cNvSpPr>
          <p:nvPr userDrawn="1"/>
        </p:nvSpPr>
        <p:spPr>
          <a:xfrm>
            <a:off x="621824" y="427442"/>
            <a:ext cx="3730943" cy="135195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2800" b="0" kern="1200">
                <a:solidFill>
                  <a:schemeClr val="tx1"/>
                </a:solidFill>
                <a:latin typeface="Segoe UI Semibold" panose="020B0702040204020203" pitchFamily="34" charset="0"/>
                <a:ea typeface="+mj-ea"/>
                <a:cs typeface="Segoe UI Semibold" panose="020B0702040204020203" pitchFamily="34" charset="0"/>
              </a:defRPr>
            </a:lvl1pPr>
          </a:lstStyle>
          <a:p>
            <a:r>
              <a:rPr lang="en-US" sz="2856">
                <a:solidFill>
                  <a:schemeClr val="tx1"/>
                </a:solidFill>
              </a:rPr>
              <a:t>CLICK TO EDIT MASTER TITLE STYLE</a:t>
            </a:r>
          </a:p>
        </p:txBody>
      </p:sp>
      <p:sp>
        <p:nvSpPr>
          <p:cNvPr id="29" name="Content Placeholder 2"/>
          <p:cNvSpPr>
            <a:spLocks noGrp="1"/>
          </p:cNvSpPr>
          <p:nvPr>
            <p:ph idx="11"/>
          </p:nvPr>
        </p:nvSpPr>
        <p:spPr>
          <a:xfrm>
            <a:off x="634098" y="1908156"/>
            <a:ext cx="3706397" cy="426160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0807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itle and Content">
    <p:bg>
      <p:bgPr>
        <a:gradFill flip="none" rotWithShape="1">
          <a:gsLst>
            <a:gs pos="0">
              <a:srgbClr val="59CDE8"/>
            </a:gs>
            <a:gs pos="67000">
              <a:srgbClr val="005195"/>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8" name="Rectangle 17"/>
          <p:cNvSpPr/>
          <p:nvPr userDrawn="1"/>
        </p:nvSpPr>
        <p:spPr>
          <a:xfrm flipH="1">
            <a:off x="0" y="1"/>
            <a:ext cx="4819134" cy="629507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918"/>
          </a:p>
        </p:txBody>
      </p:sp>
      <p:sp>
        <p:nvSpPr>
          <p:cNvPr id="19" name="Title 1"/>
          <p:cNvSpPr>
            <a:spLocks noGrp="1"/>
          </p:cNvSpPr>
          <p:nvPr>
            <p:ph type="title" hasCustomPrompt="1"/>
          </p:nvPr>
        </p:nvSpPr>
        <p:spPr>
          <a:xfrm>
            <a:off x="5596414" y="536463"/>
            <a:ext cx="5786874" cy="784726"/>
          </a:xfrm>
        </p:spPr>
        <p:txBody>
          <a:bodyPr>
            <a:normAutofit/>
          </a:bodyPr>
          <a:lstStyle>
            <a:lvl1pPr algn="l">
              <a:defRPr>
                <a:solidFill>
                  <a:schemeClr val="tx1"/>
                </a:solidFill>
              </a:defRPr>
            </a:lvl1pPr>
          </a:lstStyle>
          <a:p>
            <a:r>
              <a:rPr lang="en-US" sz="4080" b="1">
                <a:latin typeface="Segoe UI Semibold" panose="020B0702040204020203" pitchFamily="34" charset="0"/>
                <a:cs typeface="Segoe UI Semibold" panose="020B0702040204020203" pitchFamily="34" charset="0"/>
              </a:rPr>
              <a:t>Title</a:t>
            </a:r>
          </a:p>
        </p:txBody>
      </p:sp>
      <p:sp>
        <p:nvSpPr>
          <p:cNvPr id="20" name="Text Placeholder 3"/>
          <p:cNvSpPr>
            <a:spLocks noGrp="1"/>
          </p:cNvSpPr>
          <p:nvPr>
            <p:ph idx="10" hasCustomPrompt="1"/>
          </p:nvPr>
        </p:nvSpPr>
        <p:spPr>
          <a:xfrm>
            <a:off x="5596414" y="1615594"/>
            <a:ext cx="5786874" cy="4547827"/>
          </a:xfrm>
        </p:spPr>
        <p:txBody>
          <a:bodyPr>
            <a:normAutofit lnSpcReduction="10000"/>
          </a:bodyPr>
          <a:lstStyle>
            <a:lvl1pPr>
              <a:defRPr>
                <a:solidFill>
                  <a:schemeClr val="tx1"/>
                </a:solidFill>
              </a:defRPr>
            </a:lvl1pPr>
          </a:lstStyle>
          <a:p>
            <a:r>
              <a:rPr lang="en-US" sz="2448"/>
              <a:t>Item 1</a:t>
            </a:r>
          </a:p>
          <a:p>
            <a:r>
              <a:rPr lang="en-US" sz="2448"/>
              <a:t>Item 2</a:t>
            </a:r>
          </a:p>
          <a:p>
            <a:r>
              <a:rPr lang="en-US" sz="2448"/>
              <a:t>Item 3</a:t>
            </a:r>
          </a:p>
          <a:p>
            <a:r>
              <a:rPr lang="en-US" sz="2448"/>
              <a:t>Item 4</a:t>
            </a:r>
          </a:p>
          <a:p>
            <a:r>
              <a:rPr lang="en-US" sz="2448"/>
              <a:t>Item 5</a:t>
            </a:r>
          </a:p>
        </p:txBody>
      </p:sp>
      <p:sp>
        <p:nvSpPr>
          <p:cNvPr id="22" name="Content Placeholder 2"/>
          <p:cNvSpPr>
            <a:spLocks noGrp="1"/>
          </p:cNvSpPr>
          <p:nvPr>
            <p:ph idx="11"/>
          </p:nvPr>
        </p:nvSpPr>
        <p:spPr>
          <a:xfrm>
            <a:off x="634098" y="1908156"/>
            <a:ext cx="3706397" cy="4261606"/>
          </a:xfrm>
        </p:spPr>
        <p:txBody>
          <a:bodyPr/>
          <a:lstStyle>
            <a:lvl1pPr>
              <a:defRPr>
                <a:solidFill>
                  <a:srgbClr val="5F6A72"/>
                </a:solidFill>
              </a:defRPr>
            </a:lvl1pPr>
            <a:lvl2pPr>
              <a:defRPr>
                <a:solidFill>
                  <a:srgbClr val="5F6A72"/>
                </a:solidFill>
              </a:defRPr>
            </a:lvl2pPr>
            <a:lvl3pPr>
              <a:defRPr>
                <a:solidFill>
                  <a:srgbClr val="5F6A72"/>
                </a:solidFill>
              </a:defRPr>
            </a:lvl3pPr>
            <a:lvl4pPr>
              <a:defRPr>
                <a:solidFill>
                  <a:srgbClr val="5F6A72"/>
                </a:solidFill>
              </a:defRPr>
            </a:lvl4pPr>
            <a:lvl5pPr>
              <a:defRPr>
                <a:solidFill>
                  <a:srgbClr val="5F6A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827767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078767"/>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53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582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80417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516" y="0"/>
            <a:ext cx="12448990" cy="6994525"/>
          </a:xfrm>
          <a:prstGeom prst="rect">
            <a:avLst/>
          </a:prstGeom>
        </p:spPr>
      </p:pic>
      <p:sp>
        <p:nvSpPr>
          <p:cNvPr id="4" name="Rectangle 3"/>
          <p:cNvSpPr/>
          <p:nvPr userDrawn="1"/>
        </p:nvSpPr>
        <p:spPr bwMode="auto">
          <a:xfrm>
            <a:off x="-12517" y="0"/>
            <a:ext cx="12448990" cy="6994525"/>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411969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1" y="-1"/>
            <a:ext cx="12436478" cy="699452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1" y="1"/>
            <a:ext cx="2351272" cy="6994526"/>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914051" y="1144706"/>
            <a:ext cx="8967864" cy="2435131"/>
          </a:xfrm>
        </p:spPr>
        <p:txBody>
          <a:bodyPr anchor="b">
            <a:normAutofit/>
          </a:bodyPr>
          <a:lstStyle>
            <a:lvl1pPr algn="l">
              <a:defRPr sz="4896"/>
            </a:lvl1pPr>
          </a:lstStyle>
          <a:p>
            <a:r>
              <a:rPr lang="en-US"/>
              <a:t>Click to edit Master title style</a:t>
            </a:r>
            <a:endParaRPr lang="en-US" dirty="0"/>
          </a:p>
        </p:txBody>
      </p:sp>
      <p:sp>
        <p:nvSpPr>
          <p:cNvPr id="3" name="Subtitle 2"/>
          <p:cNvSpPr>
            <a:spLocks noGrp="1"/>
          </p:cNvSpPr>
          <p:nvPr>
            <p:ph type="subTitle" idx="1"/>
          </p:nvPr>
        </p:nvSpPr>
        <p:spPr>
          <a:xfrm>
            <a:off x="1914051" y="3673745"/>
            <a:ext cx="8967864" cy="1688724"/>
          </a:xfrm>
        </p:spPr>
        <p:txBody>
          <a:bodyPr>
            <a:normAutofit/>
          </a:bodyPr>
          <a:lstStyle>
            <a:lvl1pPr marL="0" indent="0" algn="l">
              <a:buNone/>
              <a:defRPr sz="2040" cap="all" baseline="0">
                <a:solidFill>
                  <a:schemeClr val="tx2"/>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a:xfrm>
            <a:off x="7219430" y="5517904"/>
            <a:ext cx="2798207" cy="372394"/>
          </a:xfrm>
        </p:spPr>
        <p:txBody>
          <a:bodyPr/>
          <a:lstStyle/>
          <a:p>
            <a:fld id="{69A85A3D-C878-4ED2-A32C-3E82B3717EBC}" type="datetimeFigureOut">
              <a:rPr lang="en-US" smtClean="0"/>
              <a:t>4/20/2018</a:t>
            </a:fld>
            <a:endParaRPr lang="en-US"/>
          </a:p>
        </p:txBody>
      </p:sp>
      <p:sp>
        <p:nvSpPr>
          <p:cNvPr id="5" name="Footer Placeholder 4"/>
          <p:cNvSpPr>
            <a:spLocks noGrp="1"/>
          </p:cNvSpPr>
          <p:nvPr>
            <p:ph type="ftr" sz="quarter" idx="11"/>
          </p:nvPr>
        </p:nvSpPr>
        <p:spPr>
          <a:xfrm>
            <a:off x="1914050" y="5517904"/>
            <a:ext cx="5227651" cy="372394"/>
          </a:xfrm>
        </p:spPr>
        <p:txBody>
          <a:bodyPr/>
          <a:lstStyle/>
          <a:p>
            <a:endParaRPr lang="en-US"/>
          </a:p>
        </p:txBody>
      </p:sp>
      <p:sp>
        <p:nvSpPr>
          <p:cNvPr id="6" name="Slide Number Placeholder 5"/>
          <p:cNvSpPr>
            <a:spLocks noGrp="1"/>
          </p:cNvSpPr>
          <p:nvPr>
            <p:ph type="sldNum" sz="quarter" idx="12"/>
          </p:nvPr>
        </p:nvSpPr>
        <p:spPr>
          <a:xfrm>
            <a:off x="10095365" y="5517902"/>
            <a:ext cx="786551" cy="372394"/>
          </a:xfrm>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14989707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A85A3D-C878-4ED2-A32C-3E82B3717EBC}" type="datetimeFigureOut">
              <a:rPr lang="en-US" smtClean="0"/>
              <a:t>4/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136994990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64299" y="1447479"/>
            <a:ext cx="10104636" cy="2909528"/>
          </a:xfrm>
        </p:spPr>
        <p:txBody>
          <a:bodyPr anchor="b">
            <a:normAutofit/>
          </a:bodyPr>
          <a:lstStyle>
            <a:lvl1pPr>
              <a:defRPr sz="3672"/>
            </a:lvl1pPr>
          </a:lstStyle>
          <a:p>
            <a:r>
              <a:rPr lang="en-US"/>
              <a:t>Click to edit Master title style</a:t>
            </a:r>
            <a:endParaRPr lang="en-US" dirty="0"/>
          </a:p>
        </p:txBody>
      </p:sp>
      <p:sp>
        <p:nvSpPr>
          <p:cNvPr id="3" name="Text Placeholder 2"/>
          <p:cNvSpPr>
            <a:spLocks noGrp="1"/>
          </p:cNvSpPr>
          <p:nvPr>
            <p:ph type="body" idx="1"/>
          </p:nvPr>
        </p:nvSpPr>
        <p:spPr>
          <a:xfrm>
            <a:off x="1164299" y="4512440"/>
            <a:ext cx="10104636" cy="1402144"/>
          </a:xfrm>
        </p:spPr>
        <p:txBody>
          <a:bodyPr>
            <a:normAutofit/>
          </a:bodyPr>
          <a:lstStyle>
            <a:lvl1pPr marL="0" indent="0">
              <a:buNone/>
              <a:defRPr sz="1836" cap="all" baseline="0">
                <a:solidFill>
                  <a:schemeClr val="tx1">
                    <a:tint val="75000"/>
                  </a:schemeClr>
                </a:solidFill>
              </a:defRPr>
            </a:lvl1pPr>
            <a:lvl2pPr marL="466298" indent="0">
              <a:buNone/>
              <a:defRPr sz="1836">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9A85A3D-C878-4ED2-A32C-3E82B3717EBC}" type="datetimeFigureOut">
              <a:rPr lang="en-US" smtClean="0"/>
              <a:t>4/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1357751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07277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64298" y="2294268"/>
            <a:ext cx="4976211" cy="36122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5966" y="2294268"/>
            <a:ext cx="4972969" cy="36122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42275655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65919" y="33191"/>
            <a:ext cx="10104636" cy="1507383"/>
          </a:xfrm>
        </p:spPr>
        <p:txBody>
          <a:bodyPr>
            <a:normAutofit/>
          </a:bodyPr>
          <a:lstStyle>
            <a:lvl1pPr>
              <a:defRPr sz="3600">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1397491" y="2294267"/>
            <a:ext cx="4743021" cy="840314"/>
          </a:xfrm>
        </p:spPr>
        <p:txBody>
          <a:bodyPr anchor="b"/>
          <a:lstStyle>
            <a:lvl1pPr marL="0" indent="0">
              <a:lnSpc>
                <a:spcPct val="90000"/>
              </a:lnSpc>
              <a:buNone/>
              <a:defRPr sz="2448"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1164298" y="3134581"/>
            <a:ext cx="4976213" cy="27719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9158" y="2294266"/>
            <a:ext cx="4739776" cy="840314"/>
          </a:xfrm>
        </p:spPr>
        <p:txBody>
          <a:bodyPr anchor="b"/>
          <a:lstStyle>
            <a:lvl1pPr marL="0" indent="0">
              <a:lnSpc>
                <a:spcPct val="90000"/>
              </a:lnSpc>
              <a:buNone/>
              <a:defRPr sz="2448"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6" y="3134581"/>
            <a:ext cx="4972968" cy="27719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9A85A3D-C878-4ED2-A32C-3E82B3717EBC}" type="datetimeFigureOut">
              <a:rPr lang="en-US" smtClean="0"/>
              <a:t>4/2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83342986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69A85A3D-C878-4ED2-A32C-3E82B3717EBC}" type="datetimeFigureOut">
              <a:rPr lang="en-US" smtClean="0"/>
              <a:t>4/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184093108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A85A3D-C878-4ED2-A32C-3E82B3717EBC}" type="datetimeFigureOut">
              <a:rPr lang="en-US" smtClean="0"/>
              <a:t>4/2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57412244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69699" y="621736"/>
            <a:ext cx="3933359" cy="1672530"/>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59593" y="604465"/>
            <a:ext cx="6009340" cy="5302023"/>
          </a:xfr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69699" y="2294268"/>
            <a:ext cx="3933359" cy="3612220"/>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152316160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64301" y="621735"/>
            <a:ext cx="6053507" cy="1672532"/>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7528720" y="621737"/>
            <a:ext cx="3740215" cy="5284751"/>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1164298" y="2294268"/>
            <a:ext cx="6053510" cy="3612220"/>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97289165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64298" y="4390359"/>
            <a:ext cx="10111118" cy="835666"/>
          </a:xfrm>
        </p:spPr>
        <p:txBody>
          <a:bodyPr anchor="b">
            <a:normAutofit/>
          </a:bodyPr>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4299" y="618498"/>
            <a:ext cx="10111117" cy="336546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64"/>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64251" y="5226026"/>
            <a:ext cx="10109592" cy="696058"/>
          </a:xfrm>
        </p:spPr>
        <p:txBody>
          <a:bodyPr>
            <a:normAutofit/>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107439753"/>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64345" y="621735"/>
            <a:ext cx="10104590" cy="3497263"/>
          </a:xfrm>
        </p:spPr>
        <p:txBody>
          <a:bodyPr anchor="ctr">
            <a:normAutofit/>
          </a:bodyPr>
          <a:lstStyle>
            <a:lvl1pPr>
              <a:defRPr sz="3672"/>
            </a:lvl1pPr>
          </a:lstStyle>
          <a:p>
            <a:r>
              <a:rPr lang="en-US"/>
              <a:t>Click to edit Master title style</a:t>
            </a:r>
            <a:endParaRPr lang="en-US" dirty="0"/>
          </a:p>
        </p:txBody>
      </p:sp>
      <p:sp>
        <p:nvSpPr>
          <p:cNvPr id="4" name="Text Placeholder 3"/>
          <p:cNvSpPr>
            <a:spLocks noGrp="1"/>
          </p:cNvSpPr>
          <p:nvPr>
            <p:ph type="body" sz="half" idx="2"/>
          </p:nvPr>
        </p:nvSpPr>
        <p:spPr>
          <a:xfrm>
            <a:off x="1164298" y="4507582"/>
            <a:ext cx="10103064" cy="1398904"/>
          </a:xfrm>
        </p:spPr>
        <p:txBody>
          <a:bodyPr anchor="ctr">
            <a:normAutofit/>
          </a:bodyPr>
          <a:lstStyle>
            <a:lvl1pPr marL="0" indent="0">
              <a:buNone/>
              <a:defRPr sz="1836"/>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8832801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75211" y="621735"/>
            <a:ext cx="9489292" cy="2803143"/>
          </a:xfrm>
        </p:spPr>
        <p:txBody>
          <a:bodyPr anchor="ctr">
            <a:normAutofit/>
          </a:bodyPr>
          <a:lstStyle>
            <a:lvl1pPr>
              <a:defRPr sz="3672"/>
            </a:lvl1pPr>
          </a:lstStyle>
          <a:p>
            <a:r>
              <a:rPr lang="en-US"/>
              <a:t>Click to edit Master title style</a:t>
            </a:r>
            <a:endParaRPr lang="en-US" dirty="0"/>
          </a:p>
        </p:txBody>
      </p:sp>
      <p:sp>
        <p:nvSpPr>
          <p:cNvPr id="12" name="Text Placeholder 3"/>
          <p:cNvSpPr>
            <a:spLocks noGrp="1"/>
          </p:cNvSpPr>
          <p:nvPr>
            <p:ph type="body" sz="half" idx="13"/>
          </p:nvPr>
        </p:nvSpPr>
        <p:spPr>
          <a:xfrm>
            <a:off x="1755147" y="3432556"/>
            <a:ext cx="8927801" cy="559897"/>
          </a:xfrm>
        </p:spPr>
        <p:txBody>
          <a:bodyPr anchor="t">
            <a:normAutofit/>
          </a:bodyPr>
          <a:lstStyle>
            <a:lvl1pPr marL="0" indent="0">
              <a:buNone/>
              <a:defRPr sz="1428"/>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4" name="Text Placeholder 3"/>
          <p:cNvSpPr>
            <a:spLocks noGrp="1"/>
          </p:cNvSpPr>
          <p:nvPr>
            <p:ph type="body" sz="half" idx="2"/>
          </p:nvPr>
        </p:nvSpPr>
        <p:spPr>
          <a:xfrm>
            <a:off x="1164299" y="4395718"/>
            <a:ext cx="10104638" cy="1519148"/>
          </a:xfrm>
        </p:spPr>
        <p:txBody>
          <a:bodyPr anchor="ctr">
            <a:normAutofit/>
          </a:bodyPr>
          <a:lstStyle>
            <a:lvl1pPr marL="0" indent="0">
              <a:buNone/>
              <a:defRPr sz="1836"/>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
        <p:nvSpPr>
          <p:cNvPr id="60" name="TextBox 59"/>
          <p:cNvSpPr txBox="1"/>
          <p:nvPr/>
        </p:nvSpPr>
        <p:spPr>
          <a:xfrm>
            <a:off x="921629" y="746974"/>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61" name="TextBox 60"/>
          <p:cNvSpPr txBox="1"/>
          <p:nvPr/>
        </p:nvSpPr>
        <p:spPr>
          <a:xfrm>
            <a:off x="10748666" y="2820016"/>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Tree>
    <p:extLst>
      <p:ext uri="{BB962C8B-B14F-4D97-AF65-F5344CB8AC3E}">
        <p14:creationId xmlns:p14="http://schemas.microsoft.com/office/powerpoint/2010/main" val="183931939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64298" y="2176525"/>
            <a:ext cx="10104637" cy="2561839"/>
          </a:xfrm>
        </p:spPr>
        <p:txBody>
          <a:bodyPr anchor="b">
            <a:normAutofit/>
          </a:bodyPr>
          <a:lstStyle>
            <a:lvl1pPr>
              <a:defRPr sz="3672"/>
            </a:lvl1pPr>
          </a:lstStyle>
          <a:p>
            <a:r>
              <a:rPr lang="en-US"/>
              <a:t>Click to edit Master title style</a:t>
            </a:r>
            <a:endParaRPr lang="en-US" dirty="0"/>
          </a:p>
        </p:txBody>
      </p:sp>
      <p:sp>
        <p:nvSpPr>
          <p:cNvPr id="4" name="Text Placeholder 3"/>
          <p:cNvSpPr>
            <a:spLocks noGrp="1"/>
          </p:cNvSpPr>
          <p:nvPr>
            <p:ph type="body" sz="half" idx="2"/>
          </p:nvPr>
        </p:nvSpPr>
        <p:spPr>
          <a:xfrm>
            <a:off x="1164251" y="4750377"/>
            <a:ext cx="10103111" cy="1163351"/>
          </a:xfrm>
        </p:spPr>
        <p:txBody>
          <a:bodyPr anchor="t">
            <a:normAutofit/>
          </a:bodyPr>
          <a:lstStyle>
            <a:lvl1pPr marL="0" indent="0">
              <a:buNone/>
              <a:defRPr sz="1836"/>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69A85A3D-C878-4ED2-A32C-3E82B3717EBC}" type="datetimeFigureOut">
              <a:rPr lang="en-US" smtClean="0"/>
              <a:t>4/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37072555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207648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64301" y="621735"/>
            <a:ext cx="10104634" cy="1942924"/>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64298" y="2727704"/>
            <a:ext cx="3261003" cy="699453"/>
          </a:xfrm>
        </p:spPr>
        <p:txBody>
          <a:bodyPr anchor="b">
            <a:noAutofit/>
          </a:bodyPr>
          <a:lstStyle>
            <a:lvl1pPr marL="0" indent="0">
              <a:lnSpc>
                <a:spcPct val="90000"/>
              </a:lnSpc>
              <a:buNone/>
              <a:defRPr sz="2448"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8" name="Text Placeholder 3"/>
          <p:cNvSpPr>
            <a:spLocks noGrp="1"/>
          </p:cNvSpPr>
          <p:nvPr>
            <p:ph type="body" sz="half" idx="15"/>
          </p:nvPr>
        </p:nvSpPr>
        <p:spPr>
          <a:xfrm>
            <a:off x="1150536" y="3427157"/>
            <a:ext cx="3273077" cy="2479330"/>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9" name="Text Placeholder 4"/>
          <p:cNvSpPr>
            <a:spLocks noGrp="1"/>
          </p:cNvSpPr>
          <p:nvPr>
            <p:ph type="body" sz="quarter" idx="3"/>
          </p:nvPr>
        </p:nvSpPr>
        <p:spPr>
          <a:xfrm>
            <a:off x="4605297" y="2730940"/>
            <a:ext cx="3248239" cy="699453"/>
          </a:xfrm>
        </p:spPr>
        <p:txBody>
          <a:bodyPr anchor="b">
            <a:noAutofit/>
          </a:bodyPr>
          <a:lstStyle>
            <a:lvl1pPr marL="0" indent="0">
              <a:lnSpc>
                <a:spcPct val="90000"/>
              </a:lnSpc>
              <a:buNone/>
              <a:defRPr sz="2448"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10" name="Text Placeholder 3"/>
          <p:cNvSpPr>
            <a:spLocks noGrp="1"/>
          </p:cNvSpPr>
          <p:nvPr>
            <p:ph type="body" sz="half" idx="16"/>
          </p:nvPr>
        </p:nvSpPr>
        <p:spPr>
          <a:xfrm>
            <a:off x="4594532" y="3430392"/>
            <a:ext cx="3259913" cy="2479330"/>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11" name="Text Placeholder 4"/>
          <p:cNvSpPr>
            <a:spLocks noGrp="1"/>
          </p:cNvSpPr>
          <p:nvPr>
            <p:ph type="body" sz="quarter" idx="13"/>
          </p:nvPr>
        </p:nvSpPr>
        <p:spPr>
          <a:xfrm>
            <a:off x="8009900" y="2727704"/>
            <a:ext cx="3259034" cy="699453"/>
          </a:xfrm>
        </p:spPr>
        <p:txBody>
          <a:bodyPr anchor="b">
            <a:noAutofit/>
          </a:bodyPr>
          <a:lstStyle>
            <a:lvl1pPr marL="0" indent="0">
              <a:lnSpc>
                <a:spcPct val="90000"/>
              </a:lnSpc>
              <a:buNone/>
              <a:defRPr sz="2448"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12" name="Text Placeholder 3"/>
          <p:cNvSpPr>
            <a:spLocks noGrp="1"/>
          </p:cNvSpPr>
          <p:nvPr>
            <p:ph type="body" sz="half" idx="17"/>
          </p:nvPr>
        </p:nvSpPr>
        <p:spPr>
          <a:xfrm>
            <a:off x="8009900" y="3427157"/>
            <a:ext cx="3259034" cy="2479330"/>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3" name="Date Placeholder 2"/>
          <p:cNvSpPr>
            <a:spLocks noGrp="1"/>
          </p:cNvSpPr>
          <p:nvPr>
            <p:ph type="dt" sz="half" idx="10"/>
          </p:nvPr>
        </p:nvSpPr>
        <p:spPr/>
        <p:txBody>
          <a:bodyPr/>
          <a:lstStyle/>
          <a:p>
            <a:fld id="{69A85A3D-C878-4ED2-A32C-3E82B3717EBC}" type="datetimeFigureOut">
              <a:rPr lang="en-US" smtClean="0"/>
              <a:t>4/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89246622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64299" y="621735"/>
            <a:ext cx="10104635" cy="1942924"/>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64301" y="4492280"/>
            <a:ext cx="3259311" cy="587734"/>
          </a:xfrm>
        </p:spPr>
        <p:txBody>
          <a:bodyPr anchor="b">
            <a:noAutofit/>
          </a:bodyPr>
          <a:lstStyle>
            <a:lvl1pPr marL="0" indent="0">
              <a:lnSpc>
                <a:spcPct val="90000"/>
              </a:lnSpc>
              <a:buNone/>
              <a:defRPr sz="2040"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20" name="Picture Placeholder 2"/>
          <p:cNvSpPr>
            <a:spLocks noGrp="1" noChangeAspect="1"/>
          </p:cNvSpPr>
          <p:nvPr>
            <p:ph type="pic" idx="15"/>
          </p:nvPr>
        </p:nvSpPr>
        <p:spPr>
          <a:xfrm>
            <a:off x="1164301" y="2720091"/>
            <a:ext cx="3259311" cy="1554339"/>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4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64301" y="5080015"/>
            <a:ext cx="3259311" cy="834124"/>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22" name="Text Placeholder 4"/>
          <p:cNvSpPr>
            <a:spLocks noGrp="1"/>
          </p:cNvSpPr>
          <p:nvPr>
            <p:ph type="body" sz="quarter" idx="3"/>
          </p:nvPr>
        </p:nvSpPr>
        <p:spPr>
          <a:xfrm>
            <a:off x="4579068" y="4492280"/>
            <a:ext cx="3264575" cy="587734"/>
          </a:xfrm>
        </p:spPr>
        <p:txBody>
          <a:bodyPr anchor="b">
            <a:noAutofit/>
          </a:bodyPr>
          <a:lstStyle>
            <a:lvl1pPr marL="0" indent="0">
              <a:lnSpc>
                <a:spcPct val="90000"/>
              </a:lnSpc>
              <a:buNone/>
              <a:defRPr sz="2040"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23" name="Picture Placeholder 2"/>
          <p:cNvSpPr>
            <a:spLocks noGrp="1" noChangeAspect="1"/>
          </p:cNvSpPr>
          <p:nvPr>
            <p:ph type="pic" idx="21"/>
          </p:nvPr>
        </p:nvSpPr>
        <p:spPr>
          <a:xfrm>
            <a:off x="4579068" y="2720091"/>
            <a:ext cx="3263085" cy="1554339"/>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4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577578" y="5080013"/>
            <a:ext cx="3264575" cy="826474"/>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25" name="Text Placeholder 4"/>
          <p:cNvSpPr>
            <a:spLocks noGrp="1"/>
          </p:cNvSpPr>
          <p:nvPr>
            <p:ph type="body" sz="quarter" idx="13"/>
          </p:nvPr>
        </p:nvSpPr>
        <p:spPr>
          <a:xfrm>
            <a:off x="8010028" y="4492279"/>
            <a:ext cx="3254722" cy="587734"/>
          </a:xfrm>
        </p:spPr>
        <p:txBody>
          <a:bodyPr anchor="b">
            <a:noAutofit/>
          </a:bodyPr>
          <a:lstStyle>
            <a:lvl1pPr marL="0" indent="0">
              <a:lnSpc>
                <a:spcPct val="90000"/>
              </a:lnSpc>
              <a:buNone/>
              <a:defRPr sz="2040" b="0" cap="all" baseline="0">
                <a:solidFill>
                  <a:schemeClr val="tx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26" name="Picture Placeholder 2"/>
          <p:cNvSpPr>
            <a:spLocks noGrp="1" noChangeAspect="1"/>
          </p:cNvSpPr>
          <p:nvPr>
            <p:ph type="pic" idx="22"/>
          </p:nvPr>
        </p:nvSpPr>
        <p:spPr>
          <a:xfrm>
            <a:off x="8009900" y="2720091"/>
            <a:ext cx="3259035" cy="1554339"/>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4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8009900" y="5080010"/>
            <a:ext cx="3259034" cy="826477"/>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3" name="Date Placeholder 2"/>
          <p:cNvSpPr>
            <a:spLocks noGrp="1"/>
          </p:cNvSpPr>
          <p:nvPr>
            <p:ph type="dt" sz="half" idx="10"/>
          </p:nvPr>
        </p:nvSpPr>
        <p:spPr/>
        <p:txBody>
          <a:bodyPr/>
          <a:lstStyle/>
          <a:p>
            <a:fld id="{69A85A3D-C878-4ED2-A32C-3E82B3717EBC}" type="datetimeFigureOut">
              <a:rPr lang="en-US" smtClean="0"/>
              <a:t>4/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192430668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A85A3D-C878-4ED2-A32C-3E82B3717EBC}" type="datetimeFigureOut">
              <a:rPr lang="en-US" smtClean="0"/>
              <a:t>4/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274883161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23719" y="621735"/>
            <a:ext cx="2045216"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64298" y="621735"/>
            <a:ext cx="7903965" cy="528475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A85A3D-C878-4ED2-A32C-3E82B3717EBC}" type="datetimeFigureOut">
              <a:rPr lang="en-US" smtClean="0"/>
              <a:t>4/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17B931-16EF-4A94-BE18-2758FDABC72E}" type="slidenum">
              <a:rPr lang="en-US" smtClean="0"/>
              <a:t>‹#›</a:t>
            </a:fld>
            <a:endParaRPr lang="en-US"/>
          </a:p>
        </p:txBody>
      </p:sp>
    </p:spTree>
    <p:extLst>
      <p:ext uri="{BB962C8B-B14F-4D97-AF65-F5344CB8AC3E}">
        <p14:creationId xmlns:p14="http://schemas.microsoft.com/office/powerpoint/2010/main" val="3076082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552227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632133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383125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33059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10620472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036291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81941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16007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8946465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9821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7537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7816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448883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8525812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77786823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7683548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9116803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5131034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8510058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9047411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0993179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2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1406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60415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a:t>Thank you</a:t>
            </a:r>
          </a:p>
        </p:txBody>
      </p:sp>
    </p:spTree>
    <p:extLst>
      <p:ext uri="{BB962C8B-B14F-4D97-AF65-F5344CB8AC3E}">
        <p14:creationId xmlns:p14="http://schemas.microsoft.com/office/powerpoint/2010/main" val="316996275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28601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063"/>
            <a:ext cx="3646979" cy="781235"/>
          </a:xfrm>
          <a:prstGeom prst="rect">
            <a:avLst/>
          </a:prstGeom>
        </p:spPr>
      </p:pic>
      <p:sp>
        <p:nvSpPr>
          <p:cNvPr id="3" name="Text Box 3"/>
          <p:cNvSpPr txBox="1">
            <a:spLocks noChangeArrowheads="1"/>
          </p:cNvSpPr>
          <p:nvPr userDrawn="1"/>
        </p:nvSpPr>
        <p:spPr bwMode="blackWhite">
          <a:xfrm>
            <a:off x="256666" y="6274018"/>
            <a:ext cx="10592346"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716"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6903740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5353225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902877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911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auto">
          <a:xfrm>
            <a:off x="0" y="3646608"/>
            <a:ext cx="12436475" cy="3347917"/>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5" y="1832622"/>
            <a:ext cx="10596149" cy="1772472"/>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2622"/>
            <a:ext cx="1797050" cy="1772471"/>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6891" y="2500055"/>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5B6770"/>
              </a:solidFill>
              <a:effectLst/>
              <a:uLnTx/>
              <a:uFillTx/>
              <a:latin typeface="Segoe UI"/>
              <a:ea typeface="+mn-ea"/>
              <a:cs typeface="+mn-cs"/>
            </a:endParaRPr>
          </a:p>
        </p:txBody>
      </p:sp>
      <p:sp>
        <p:nvSpPr>
          <p:cNvPr id="11" name="Rectangle 10"/>
          <p:cNvSpPr/>
          <p:nvPr userDrawn="1"/>
        </p:nvSpPr>
        <p:spPr bwMode="auto">
          <a:xfrm>
            <a:off x="7741814" y="4066169"/>
            <a:ext cx="3727218" cy="2189470"/>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521" tIns="93260" rIns="186521" bIns="93260" numCol="1" rtlCol="0" anchor="ctr" anchorCtr="0" compatLnSpc="1">
            <a:prstTxWarp prst="textNoShape">
              <a:avLst/>
            </a:prstTxWarp>
          </a:bodyPr>
          <a:lstStyle/>
          <a:p>
            <a:pPr defTabSz="699493">
              <a:lnSpc>
                <a:spcPct val="90000"/>
              </a:lnSpc>
            </a:pPr>
            <a:endParaRPr lang="en-US" sz="1836">
              <a:solidFill>
                <a:srgbClr val="505050"/>
              </a:solidFill>
              <a:latin typeface="Segoe UI"/>
              <a:cs typeface="Segoe UI Semibold" panose="020B0702040204020203" pitchFamily="34" charset="0"/>
            </a:endParaRPr>
          </a:p>
        </p:txBody>
      </p:sp>
      <p:grpSp>
        <p:nvGrpSpPr>
          <p:cNvPr id="12" name="Group 11"/>
          <p:cNvGrpSpPr/>
          <p:nvPr userDrawn="1"/>
        </p:nvGrpSpPr>
        <p:grpSpPr>
          <a:xfrm>
            <a:off x="9314878" y="3707581"/>
            <a:ext cx="584285" cy="584285"/>
            <a:chOff x="9526116" y="3593375"/>
            <a:chExt cx="572880" cy="572880"/>
          </a:xfrm>
        </p:grpSpPr>
        <p:sp>
          <p:nvSpPr>
            <p:cNvPr id="13" name="Oval 12"/>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9493">
                <a:defRPr/>
              </a:pPr>
              <a:endParaRPr lang="en-IN" sz="1836">
                <a:solidFill>
                  <a:srgbClr val="FFFFFF">
                    <a:lumMod val="50000"/>
                  </a:srgbClr>
                </a:solidFill>
                <a:latin typeface="Segoe UI"/>
              </a:endParaRPr>
            </a:p>
          </p:txBody>
        </p:sp>
        <p:grpSp>
          <p:nvGrpSpPr>
            <p:cNvPr id="14" name="Group 13"/>
            <p:cNvGrpSpPr/>
            <p:nvPr/>
          </p:nvGrpSpPr>
          <p:grpSpPr>
            <a:xfrm>
              <a:off x="9665949" y="3694070"/>
              <a:ext cx="293216" cy="391951"/>
              <a:chOff x="3975884" y="1124470"/>
              <a:chExt cx="102337" cy="136797"/>
            </a:xfrm>
            <a:solidFill>
              <a:srgbClr val="FFC000"/>
            </a:solidFill>
          </p:grpSpPr>
          <p:sp>
            <p:nvSpPr>
              <p:cNvPr id="15"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sp>
            <p:nvSpPr>
              <p:cNvPr id="16"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grpSp>
      </p:grpSp>
    </p:spTree>
    <p:extLst>
      <p:ext uri="{BB962C8B-B14F-4D97-AF65-F5344CB8AC3E}">
        <p14:creationId xmlns:p14="http://schemas.microsoft.com/office/powerpoint/2010/main" val="3846973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7995234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7927353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8713FE0B-90A8-4522-911E-44EDD0F8888D}" type="datetimeFigureOut">
              <a:rPr lang="en-US" smtClean="0"/>
              <a:t>4/20/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6131195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8E5769-5F9C-40D0-BD61-3500B43ACD7C}" type="datetimeFigureOut">
              <a:rPr lang="en-US" smtClean="0"/>
              <a:t>4/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8345AA-24D1-4F60-990F-F25862D46E8E}" type="slidenum">
              <a:rPr lang="en-US" smtClean="0"/>
              <a:t>‹#›</a:t>
            </a:fld>
            <a:endParaRPr lang="en-US"/>
          </a:p>
        </p:txBody>
      </p:sp>
    </p:spTree>
    <p:extLst>
      <p:ext uri="{BB962C8B-B14F-4D97-AF65-F5344CB8AC3E}">
        <p14:creationId xmlns:p14="http://schemas.microsoft.com/office/powerpoint/2010/main" val="27137604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7"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19"/>
            <a:ext cx="12436475" cy="1846275"/>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283647498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6854" algn="l"/>
              </a:tabLst>
              <a:defRPr sz="2719"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43471"/>
            <a:ext cx="2487295" cy="448200"/>
          </a:xfrm>
          <a:prstGeom prst="rect">
            <a:avLst/>
          </a:prstGeom>
          <a:noFill/>
        </p:spPr>
        <p:txBody>
          <a:bodyPr vert="horz"/>
          <a:lstStyle>
            <a:lvl1pPr marL="0" indent="0">
              <a:spcBef>
                <a:spcPts val="816"/>
              </a:spcBef>
              <a:buFontTx/>
              <a:buNone/>
              <a:defRPr sz="1903" baseline="0">
                <a:solidFill>
                  <a:schemeClr val="tx1"/>
                </a:solidFill>
                <a:latin typeface="+mn-lt"/>
                <a:cs typeface="Segoe UI Semibold"/>
              </a:defRPr>
            </a:lvl1pPr>
          </a:lstStyle>
          <a:p>
            <a:pPr lvl="0"/>
            <a:r>
              <a:rPr lang="en-US"/>
              <a:t>Enter header here.</a:t>
            </a:r>
          </a:p>
        </p:txBody>
      </p:sp>
      <p:sp>
        <p:nvSpPr>
          <p:cNvPr id="5" name="Slide Number Placeholder 5"/>
          <p:cNvSpPr>
            <a:spLocks noGrp="1"/>
          </p:cNvSpPr>
          <p:nvPr>
            <p:ph type="sldNum" sz="quarter" idx="4"/>
          </p:nvPr>
        </p:nvSpPr>
        <p:spPr>
          <a:xfrm>
            <a:off x="9223719" y="6482891"/>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fld id="{74A398B2-5A34-1A4A-811E-F4027282568C}"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054031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418462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9"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3" y="3954457"/>
            <a:ext cx="5197379" cy="1018969"/>
          </a:xfrm>
          <a:noFill/>
        </p:spPr>
        <p:txBody>
          <a:bodyPr lIns="182880" tIns="146304" rIns="182880" bIns="146304">
            <a:noAutofit/>
          </a:bodyPr>
          <a:lstStyle>
            <a:lvl1pPr marL="0" indent="0">
              <a:spcBef>
                <a:spcPts val="0"/>
              </a:spcBef>
              <a:buNone/>
              <a:defRPr sz="359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8"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9" y="328910"/>
            <a:ext cx="9915740" cy="6380679"/>
          </a:xfrm>
          <a:prstGeom prst="rect">
            <a:avLst/>
          </a:prstGeom>
          <a:noFill/>
          <a:ln>
            <a:noFill/>
          </a:ln>
        </p:spPr>
      </p:pic>
    </p:spTree>
    <p:extLst>
      <p:ext uri="{BB962C8B-B14F-4D97-AF65-F5344CB8AC3E}">
        <p14:creationId xmlns:p14="http://schemas.microsoft.com/office/powerpoint/2010/main" val="2429739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6470376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3" y="3954457"/>
            <a:ext cx="5197379" cy="1018969"/>
          </a:xfrm>
          <a:noFill/>
        </p:spPr>
        <p:txBody>
          <a:bodyPr lIns="182880" tIns="146304" rIns="182880" bIns="146304">
            <a:noAutofit/>
          </a:bodyPr>
          <a:lstStyle>
            <a:lvl1pPr marL="0" indent="0">
              <a:spcBef>
                <a:spcPts val="0"/>
              </a:spcBef>
              <a:buNone/>
              <a:defRPr sz="359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8"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598118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5" y="296863"/>
            <a:ext cx="5486335" cy="1828800"/>
          </a:xfrm>
          <a:noFill/>
        </p:spPr>
        <p:txBody>
          <a:bodyPr lIns="146304" tIns="91440" rIns="146304" bIns="91440" anchor="t" anchorCtr="0"/>
          <a:lstStyle>
            <a:lvl1pPr>
              <a:defRPr sz="5998"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4042996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5" y="2125663"/>
            <a:ext cx="5486335" cy="3657600"/>
          </a:xfrm>
          <a:noFill/>
        </p:spPr>
        <p:txBody>
          <a:bodyPr lIns="146304" tIns="91440" rIns="146304" bIns="91440" anchor="t" anchorCtr="0"/>
          <a:lstStyle>
            <a:lvl1pPr>
              <a:defRPr sz="5998"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4097138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4" name="Text Placeholder 5"/>
          <p:cNvSpPr>
            <a:spLocks noGrp="1"/>
          </p:cNvSpPr>
          <p:nvPr>
            <p:ph type="body" sz="quarter" idx="16" hasCustomPrompt="1"/>
          </p:nvPr>
        </p:nvSpPr>
        <p:spPr>
          <a:xfrm>
            <a:off x="9418640"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5" name="Text Placeholder 5"/>
          <p:cNvSpPr>
            <a:spLocks noGrp="1"/>
          </p:cNvSpPr>
          <p:nvPr>
            <p:ph type="body" sz="quarter" idx="17" hasCustomPrompt="1"/>
          </p:nvPr>
        </p:nvSpPr>
        <p:spPr>
          <a:xfrm>
            <a:off x="9418640"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7" name="Title 16"/>
          <p:cNvSpPr>
            <a:spLocks noGrp="1"/>
          </p:cNvSpPr>
          <p:nvPr>
            <p:ph type="title"/>
          </p:nvPr>
        </p:nvSpPr>
        <p:spPr>
          <a:xfrm>
            <a:off x="4394200" y="3628286"/>
            <a:ext cx="2278960" cy="2272453"/>
          </a:xfrm>
          <a:solidFill>
            <a:srgbClr val="68217A"/>
          </a:solidFill>
        </p:spPr>
        <p:txBody>
          <a:bodyPr lIns="182880" tIns="146304" rIns="182880" bIns="146304"/>
          <a:lstStyle>
            <a:lvl1pPr>
              <a:defRPr sz="3198">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3113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8">
                <a:gradFill>
                  <a:gsLst>
                    <a:gs pos="1250">
                      <a:schemeClr val="tx1"/>
                    </a:gs>
                    <a:gs pos="100000">
                      <a:schemeClr val="tx1"/>
                    </a:gs>
                  </a:gsLst>
                  <a:lin ang="5400000" scaled="0"/>
                </a:gradFill>
                <a:latin typeface="+mn-lt"/>
              </a:defRPr>
            </a:lvl1pPr>
            <a:lvl2pPr>
              <a:defRPr sz="1598"/>
            </a:lvl2pPr>
            <a:lvl3pPr>
              <a:defRPr sz="1598"/>
            </a:lvl3pPr>
            <a:lvl4pPr>
              <a:defRPr sz="1598"/>
            </a:lvl4pPr>
            <a:lvl5pPr marL="1028305" indent="0">
              <a:buNone/>
              <a:defRPr sz="1598"/>
            </a:lvl5pPr>
          </a:lstStyle>
          <a:p>
            <a:pPr lvl="0"/>
            <a:r>
              <a:rPr lang="en-US"/>
              <a:t>Click to edit Master text styles</a:t>
            </a:r>
          </a:p>
        </p:txBody>
      </p:sp>
    </p:spTree>
    <p:extLst>
      <p:ext uri="{BB962C8B-B14F-4D97-AF65-F5344CB8AC3E}">
        <p14:creationId xmlns:p14="http://schemas.microsoft.com/office/powerpoint/2010/main" val="382169553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6265"/>
          </a:xfrm>
        </p:spPr>
        <p:txBody>
          <a:bodyPr/>
          <a:lstStyle>
            <a:lvl1pPr marL="0" indent="0">
              <a:buNone/>
              <a:defRPr sz="1598">
                <a:gradFill>
                  <a:gsLst>
                    <a:gs pos="92035">
                      <a:schemeClr val="tx1"/>
                    </a:gs>
                    <a:gs pos="84000">
                      <a:schemeClr val="tx1"/>
                    </a:gs>
                  </a:gsLst>
                  <a:lin ang="5400000" scaled="0"/>
                </a:gradFill>
                <a:latin typeface="+mn-lt"/>
              </a:defRPr>
            </a:lvl1pPr>
            <a:lvl2pPr>
              <a:defRPr sz="1598">
                <a:gradFill>
                  <a:gsLst>
                    <a:gs pos="94030">
                      <a:srgbClr val="FFFFFF"/>
                    </a:gs>
                    <a:gs pos="68000">
                      <a:srgbClr val="FFFFFF"/>
                    </a:gs>
                  </a:gsLst>
                  <a:lin ang="5400000" scaled="0"/>
                </a:gradFill>
              </a:defRPr>
            </a:lvl2pPr>
            <a:lvl3pPr>
              <a:defRPr sz="1598">
                <a:gradFill>
                  <a:gsLst>
                    <a:gs pos="94030">
                      <a:srgbClr val="FFFFFF"/>
                    </a:gs>
                    <a:gs pos="68000">
                      <a:srgbClr val="FFFFFF"/>
                    </a:gs>
                  </a:gsLst>
                  <a:lin ang="5400000" scaled="0"/>
                </a:gradFill>
              </a:defRPr>
            </a:lvl3pPr>
            <a:lvl4pPr>
              <a:defRPr sz="1598">
                <a:gradFill>
                  <a:gsLst>
                    <a:gs pos="94030">
                      <a:srgbClr val="FFFFFF"/>
                    </a:gs>
                    <a:gs pos="68000">
                      <a:srgbClr val="FFFFFF"/>
                    </a:gs>
                  </a:gsLst>
                  <a:lin ang="5400000" scaled="0"/>
                </a:gradFill>
              </a:defRPr>
            </a:lvl4pPr>
            <a:lvl5pPr>
              <a:defRPr sz="159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37577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8">
                <a:gradFill>
                  <a:gsLst>
                    <a:gs pos="94690">
                      <a:schemeClr val="tx1"/>
                    </a:gs>
                    <a:gs pos="86000">
                      <a:schemeClr val="tx1"/>
                    </a:gs>
                  </a:gsLst>
                  <a:lin ang="5400000" scaled="0"/>
                </a:gradFill>
                <a:latin typeface="+mn-lt"/>
              </a:defRPr>
            </a:lvl1pPr>
            <a:lvl2pPr>
              <a:defRPr sz="1598">
                <a:gradFill>
                  <a:gsLst>
                    <a:gs pos="94030">
                      <a:srgbClr val="FFFFFF"/>
                    </a:gs>
                    <a:gs pos="68000">
                      <a:srgbClr val="FFFFFF"/>
                    </a:gs>
                  </a:gsLst>
                  <a:lin ang="5400000" scaled="0"/>
                </a:gradFill>
              </a:defRPr>
            </a:lvl2pPr>
            <a:lvl3pPr>
              <a:defRPr sz="1598">
                <a:gradFill>
                  <a:gsLst>
                    <a:gs pos="94030">
                      <a:srgbClr val="FFFFFF"/>
                    </a:gs>
                    <a:gs pos="68000">
                      <a:srgbClr val="FFFFFF"/>
                    </a:gs>
                  </a:gsLst>
                  <a:lin ang="5400000" scaled="0"/>
                </a:gradFill>
              </a:defRPr>
            </a:lvl3pPr>
            <a:lvl4pPr>
              <a:defRPr sz="1598">
                <a:gradFill>
                  <a:gsLst>
                    <a:gs pos="94030">
                      <a:srgbClr val="FFFFFF"/>
                    </a:gs>
                    <a:gs pos="68000">
                      <a:srgbClr val="FFFFFF"/>
                    </a:gs>
                  </a:gsLst>
                  <a:lin ang="5400000" scaled="0"/>
                </a:gradFill>
              </a:defRPr>
            </a:lvl4pPr>
            <a:lvl5pPr>
              <a:defRPr sz="159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67733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4936202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759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05317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24963617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4"/>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6261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2" y="1"/>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5"/>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419564133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8">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3206432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8"/>
            </a:lvl1pPr>
            <a:lvl2pPr>
              <a:defRPr sz="3598"/>
            </a:lvl2pPr>
            <a:lvl3pPr>
              <a:defRPr sz="3598"/>
            </a:lvl3pPr>
            <a:lvl4pPr>
              <a:defRPr sz="3598"/>
            </a:lvl4pPr>
            <a:lvl5pPr>
              <a:defRPr sz="3598"/>
            </a:lvl5pPr>
          </a:lstStyle>
          <a:p>
            <a:pPr lvl="0"/>
            <a:r>
              <a:rPr lang="en-US"/>
              <a:t>Click to edit Master text styles</a:t>
            </a:r>
          </a:p>
        </p:txBody>
      </p:sp>
    </p:spTree>
    <p:extLst>
      <p:ext uri="{BB962C8B-B14F-4D97-AF65-F5344CB8AC3E}">
        <p14:creationId xmlns:p14="http://schemas.microsoft.com/office/powerpoint/2010/main" val="26618594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8"/>
            </a:lvl1pPr>
          </a:lstStyle>
          <a:p>
            <a:r>
              <a:rPr lang="en-US"/>
              <a:t>Click to edit Master title style</a:t>
            </a:r>
          </a:p>
        </p:txBody>
      </p:sp>
      <p:sp>
        <p:nvSpPr>
          <p:cNvPr id="4" name="Content Placeholder 3"/>
          <p:cNvSpPr>
            <a:spLocks noGrp="1"/>
          </p:cNvSpPr>
          <p:nvPr>
            <p:ph sz="quarter" idx="10"/>
          </p:nvPr>
        </p:nvSpPr>
        <p:spPr>
          <a:xfrm>
            <a:off x="274638" y="1697064"/>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7019200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8">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262519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8"/>
            </a:lvl1pPr>
          </a:lstStyle>
          <a:p>
            <a:r>
              <a:rPr lang="en-US"/>
              <a:t>Click to edit Master title style</a:t>
            </a:r>
          </a:p>
        </p:txBody>
      </p:sp>
      <p:sp>
        <p:nvSpPr>
          <p:cNvPr id="4" name="Content Placeholder 3"/>
          <p:cNvSpPr>
            <a:spLocks noGrp="1"/>
          </p:cNvSpPr>
          <p:nvPr>
            <p:ph sz="quarter" idx="10"/>
          </p:nvPr>
        </p:nvSpPr>
        <p:spPr>
          <a:xfrm>
            <a:off x="274640"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242433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8"/>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0325746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10202765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4920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image" Target="../media/image21.png"/><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theme" Target="../theme/theme10.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heme" Target="../theme/theme11.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image" Target="../media/image31.emf"/><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theme" Target="../theme/theme12.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image" Target="../media/image39.png"/><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 Type="http://schemas.openxmlformats.org/officeDocument/2006/relationships/slideLayout" Target="../slideLayouts/slideLayout358.xml"/><Relationship Id="rId21" Type="http://schemas.openxmlformats.org/officeDocument/2006/relationships/theme" Target="../theme/theme14.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26" Type="http://schemas.openxmlformats.org/officeDocument/2006/relationships/slideLayout" Target="../slideLayouts/slideLayout401.xml"/><Relationship Id="rId3" Type="http://schemas.openxmlformats.org/officeDocument/2006/relationships/slideLayout" Target="../slideLayouts/slideLayout378.xml"/><Relationship Id="rId21" Type="http://schemas.openxmlformats.org/officeDocument/2006/relationships/slideLayout" Target="../slideLayouts/slideLayout396.xml"/><Relationship Id="rId34" Type="http://schemas.openxmlformats.org/officeDocument/2006/relationships/slideLayout" Target="../slideLayouts/slideLayout409.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5" Type="http://schemas.openxmlformats.org/officeDocument/2006/relationships/slideLayout" Target="../slideLayouts/slideLayout400.xml"/><Relationship Id="rId33" Type="http://schemas.openxmlformats.org/officeDocument/2006/relationships/slideLayout" Target="../slideLayouts/slideLayout408.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slideLayout" Target="../slideLayouts/slideLayout395.xml"/><Relationship Id="rId29" Type="http://schemas.openxmlformats.org/officeDocument/2006/relationships/slideLayout" Target="../slideLayouts/slideLayout404.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24" Type="http://schemas.openxmlformats.org/officeDocument/2006/relationships/slideLayout" Target="../slideLayouts/slideLayout399.xml"/><Relationship Id="rId32" Type="http://schemas.openxmlformats.org/officeDocument/2006/relationships/slideLayout" Target="../slideLayouts/slideLayout407.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23" Type="http://schemas.openxmlformats.org/officeDocument/2006/relationships/slideLayout" Target="../slideLayouts/slideLayout398.xml"/><Relationship Id="rId28" Type="http://schemas.openxmlformats.org/officeDocument/2006/relationships/slideLayout" Target="../slideLayouts/slideLayout403.xml"/><Relationship Id="rId36" Type="http://schemas.openxmlformats.org/officeDocument/2006/relationships/image" Target="../media/image39.png"/><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31" Type="http://schemas.openxmlformats.org/officeDocument/2006/relationships/slideLayout" Target="../slideLayouts/slideLayout406.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 Id="rId22" Type="http://schemas.openxmlformats.org/officeDocument/2006/relationships/slideLayout" Target="../slideLayouts/slideLayout397.xml"/><Relationship Id="rId27" Type="http://schemas.openxmlformats.org/officeDocument/2006/relationships/slideLayout" Target="../slideLayouts/slideLayout402.xml"/><Relationship Id="rId30" Type="http://schemas.openxmlformats.org/officeDocument/2006/relationships/slideLayout" Target="../slideLayouts/slideLayout405.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theme" Target="../theme/theme16.xml"/><Relationship Id="rId3" Type="http://schemas.openxmlformats.org/officeDocument/2006/relationships/slideLayout" Target="../slideLayouts/slideLayout412.xml"/><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10" Type="http://schemas.openxmlformats.org/officeDocument/2006/relationships/slideLayout" Target="../slideLayouts/slideLayout419.xml"/><Relationship Id="rId19" Type="http://schemas.openxmlformats.org/officeDocument/2006/relationships/image" Target="../media/image54.png"/><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theme" Target="../theme/theme17.xml"/><Relationship Id="rId3" Type="http://schemas.openxmlformats.org/officeDocument/2006/relationships/slideLayout" Target="../slideLayouts/slideLayout429.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image" Target="../media/image57.png"/><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theme" Target="../theme/theme2.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heme" Target="../theme/theme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4.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heme" Target="../theme/theme5.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theme" Target="../theme/theme6.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theme" Target="../theme/theme7.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theme" Target="../theme/theme8.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20/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857567347"/>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72" r:id="rId14"/>
    <p:sldLayoutId id="2147484447" r:id="rId15"/>
    <p:sldLayoutId id="2147484448" r:id="rId16"/>
    <p:sldLayoutId id="2147484449" r:id="rId17"/>
    <p:sldLayoutId id="2147484450" r:id="rId18"/>
    <p:sldLayoutId id="2147484451" r:id="rId19"/>
    <p:sldLayoutId id="2147484452" r:id="rId20"/>
    <p:sldLayoutId id="2147484453" r:id="rId21"/>
    <p:sldLayoutId id="2147484454" r:id="rId22"/>
    <p:sldLayoutId id="2147484455" r:id="rId23"/>
    <p:sldLayoutId id="2147484456" r:id="rId24"/>
    <p:sldLayoutId id="2147484457" r:id="rId25"/>
    <p:sldLayoutId id="2147484458" r:id="rId26"/>
    <p:sldLayoutId id="2147484459" r:id="rId27"/>
    <p:sldLayoutId id="2147484460" r:id="rId28"/>
    <p:sldLayoutId id="2147484461" r:id="rId29"/>
    <p:sldLayoutId id="2147484462" r:id="rId30"/>
    <p:sldLayoutId id="2147484463" r:id="rId31"/>
    <p:sldLayoutId id="2147484464" r:id="rId32"/>
    <p:sldLayoutId id="2147484465" r:id="rId33"/>
    <p:sldLayoutId id="2147484466" r:id="rId34"/>
    <p:sldLayoutId id="2147484467" r:id="rId35"/>
    <p:sldLayoutId id="2147484468" r:id="rId36"/>
    <p:sldLayoutId id="2147484469" r:id="rId37"/>
    <p:sldLayoutId id="2147484470" r:id="rId38"/>
    <p:sldLayoutId id="2147484471" r:id="rId39"/>
    <p:sldLayoutId id="2147484473" r:id="rId40"/>
    <p:sldLayoutId id="2147484928" r:id="rId41"/>
    <p:sldLayoutId id="2147484941" r:id="rId4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2"/>
            <a:ext cx="11931243" cy="695776"/>
          </a:xfrm>
          <a:prstGeom prst="rect">
            <a:avLst/>
          </a:prstGeom>
        </p:spPr>
        <p:txBody>
          <a:bodyPr vert="horz" lIns="137160" tIns="91440" rIns="137160" bIns="137160" rtlCol="0" anchor="t">
            <a:noAutofit/>
          </a:bodyPr>
          <a:lstStyle/>
          <a:p>
            <a:endParaRPr lang="en-US"/>
          </a:p>
        </p:txBody>
      </p:sp>
      <p:sp>
        <p:nvSpPr>
          <p:cNvPr id="7" name="Footer Placeholder 6"/>
          <p:cNvSpPr>
            <a:spLocks noGrp="1"/>
          </p:cNvSpPr>
          <p:nvPr>
            <p:ph type="ftr" sz="quarter" idx="3"/>
          </p:nvPr>
        </p:nvSpPr>
        <p:spPr>
          <a:xfrm>
            <a:off x="233184" y="6683658"/>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a:solidFill>
                <a:srgbClr val="505050"/>
              </a:solidFill>
            </a:endParaRPr>
          </a:p>
        </p:txBody>
      </p:sp>
      <p:sp>
        <p:nvSpPr>
          <p:cNvPr id="15" name="Text Placeholder 14"/>
          <p:cNvSpPr>
            <a:spLocks noGrp="1"/>
          </p:cNvSpPr>
          <p:nvPr>
            <p:ph type="body" idx="1"/>
          </p:nvPr>
        </p:nvSpPr>
        <p:spPr>
          <a:xfrm>
            <a:off x="233184" y="1632058"/>
            <a:ext cx="11931243" cy="4650299"/>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659198" y="6683658"/>
            <a:ext cx="7772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582772" y="3111176"/>
            <a:ext cx="7134416" cy="912063"/>
          </a:xfrm>
          <a:prstGeom prst="rect">
            <a:avLst/>
          </a:prstGeom>
        </p:spPr>
      </p:pic>
    </p:spTree>
    <p:extLst>
      <p:ext uri="{BB962C8B-B14F-4D97-AF65-F5344CB8AC3E}">
        <p14:creationId xmlns:p14="http://schemas.microsoft.com/office/powerpoint/2010/main" val="2694633766"/>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 id="2147484798" r:id="rId12"/>
    <p:sldLayoutId id="2147484799" r:id="rId13"/>
    <p:sldLayoutId id="2147484800" r:id="rId14"/>
    <p:sldLayoutId id="2147484801" r:id="rId15"/>
    <p:sldLayoutId id="2147484802" r:id="rId16"/>
    <p:sldLayoutId id="2147484803" r:id="rId17"/>
    <p:sldLayoutId id="2147484804" r:id="rId18"/>
    <p:sldLayoutId id="2147484805" r:id="rId19"/>
    <p:sldLayoutId id="2147484806" r:id="rId20"/>
    <p:sldLayoutId id="2147484807" r:id="rId21"/>
    <p:sldLayoutId id="2147484808" r:id="rId22"/>
    <p:sldLayoutId id="2147484809" r:id="rId23"/>
    <p:sldLayoutId id="2147484811" r:id="rId24"/>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0" tIns="91440" rIns="0" bIns="91440" rtlCol="0" anchor="t">
            <a:noAutofit/>
          </a:bodyPr>
          <a:lstStyle/>
          <a:p>
            <a:r>
              <a:rPr lang="en-US"/>
              <a:t>Click to edit Master title style</a:t>
            </a:r>
          </a:p>
        </p:txBody>
      </p:sp>
      <p:sp>
        <p:nvSpPr>
          <p:cNvPr id="4" name="Text Placeholder 3"/>
          <p:cNvSpPr>
            <a:spLocks noGrp="1"/>
          </p:cNvSpPr>
          <p:nvPr>
            <p:ph type="body" idx="1"/>
          </p:nvPr>
        </p:nvSpPr>
        <p:spPr>
          <a:xfrm>
            <a:off x="274640" y="1334990"/>
            <a:ext cx="11887198" cy="2228302"/>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627929124"/>
      </p:ext>
    </p:extLst>
  </p:cSld>
  <p:clrMap bg1="lt1" tx1="dk1" bg2="lt2" tx2="dk2" accent1="accent1" accent2="accent2" accent3="accent3" accent4="accent4" accent5="accent5" accent6="accent6" hlink="hlink" folHlink="folHlink"/>
  <p:sldLayoutIdLst>
    <p:sldLayoutId id="2147484814" r:id="rId1"/>
    <p:sldLayoutId id="2147484815" r:id="rId2"/>
    <p:sldLayoutId id="2147484816" r:id="rId3"/>
    <p:sldLayoutId id="2147484817" r:id="rId4"/>
    <p:sldLayoutId id="2147484818" r:id="rId5"/>
    <p:sldLayoutId id="2147484819" r:id="rId6"/>
    <p:sldLayoutId id="2147484820" r:id="rId7"/>
    <p:sldLayoutId id="2147484971" r:id="rId8"/>
    <p:sldLayoutId id="2147484972" r:id="rId9"/>
    <p:sldLayoutId id="2147484973" r:id="rId10"/>
    <p:sldLayoutId id="2147484974" r:id="rId11"/>
    <p:sldLayoutId id="2147484975" r:id="rId12"/>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185963625"/>
      </p:ext>
    </p:extLst>
  </p:cSld>
  <p:clrMap bg1="lt1" tx1="dk1" bg2="lt2" tx2="dk2" accent1="accent1" accent2="accent2" accent3="accent3" accent4="accent4" accent5="accent5" accent6="accent6" hlink="hlink" folHlink="folHlink"/>
  <p:sldLayoutIdLst>
    <p:sldLayoutId id="2147484822" r:id="rId1"/>
    <p:sldLayoutId id="2147484823" r:id="rId2"/>
    <p:sldLayoutId id="2147484824" r:id="rId3"/>
    <p:sldLayoutId id="2147484825" r:id="rId4"/>
    <p:sldLayoutId id="2147484826" r:id="rId5"/>
    <p:sldLayoutId id="2147484827" r:id="rId6"/>
    <p:sldLayoutId id="2147484828" r:id="rId7"/>
    <p:sldLayoutId id="2147484829" r:id="rId8"/>
    <p:sldLayoutId id="2147484830" r:id="rId9"/>
    <p:sldLayoutId id="2147484831" r:id="rId10"/>
    <p:sldLayoutId id="2147484832" r:id="rId11"/>
    <p:sldLayoutId id="2147484833" r:id="rId12"/>
    <p:sldLayoutId id="2147484834" r:id="rId13"/>
    <p:sldLayoutId id="2147484835" r:id="rId14"/>
    <p:sldLayoutId id="2147484836" r:id="rId15"/>
    <p:sldLayoutId id="2147484837" r:id="rId16"/>
    <p:sldLayoutId id="2147484838" r:id="rId17"/>
    <p:sldLayoutId id="2147484839" r:id="rId18"/>
    <p:sldLayoutId id="2147484840" r:id="rId19"/>
    <p:sldLayoutId id="2147484841" r:id="rId20"/>
    <p:sldLayoutId id="2147484842" r:id="rId21"/>
    <p:sldLayoutId id="2147484843" r:id="rId22"/>
    <p:sldLayoutId id="2147484844" r:id="rId23"/>
  </p:sldLayoutIdLst>
  <p:transition>
    <p:fade/>
  </p:transition>
  <p:hf hdr="0" ftr="0" dt="0"/>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7392">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59437944"/>
      </p:ext>
    </p:extLst>
  </p:cSld>
  <p:clrMap bg1="dk1" tx1="lt1" bg2="dk2" tx2="lt2" accent1="accent1" accent2="accent2" accent3="accent3" accent4="accent4" accent5="accent5" accent6="accent6" hlink="hlink" folHlink="folHlink"/>
  <p:sldLayoutIdLst>
    <p:sldLayoutId id="2147484846" r:id="rId1"/>
    <p:sldLayoutId id="2147484847" r:id="rId2"/>
    <p:sldLayoutId id="2147484848" r:id="rId3"/>
    <p:sldLayoutId id="2147484849" r:id="rId4"/>
    <p:sldLayoutId id="2147484850" r:id="rId5"/>
    <p:sldLayoutId id="2147484851" r:id="rId6"/>
    <p:sldLayoutId id="2147484852" r:id="rId7"/>
    <p:sldLayoutId id="2147484853" r:id="rId8"/>
    <p:sldLayoutId id="2147484854" r:id="rId9"/>
    <p:sldLayoutId id="2147484855" r:id="rId10"/>
    <p:sldLayoutId id="2147484856" r:id="rId11"/>
    <p:sldLayoutId id="2147484857" r:id="rId12"/>
    <p:sldLayoutId id="2147484858" r:id="rId13"/>
    <p:sldLayoutId id="2147484859" r:id="rId14"/>
    <p:sldLayoutId id="2147484860" r:id="rId15"/>
    <p:sldLayoutId id="2147484861" r:id="rId16"/>
    <p:sldLayoutId id="2147484862" r:id="rId17"/>
    <p:sldLayoutId id="2147484863" r:id="rId18"/>
    <p:sldLayoutId id="2147484864" r:id="rId19"/>
    <p:sldLayoutId id="2147484865" r:id="rId20"/>
    <p:sldLayoutId id="2147484866" r:id="rId21"/>
    <p:sldLayoutId id="2147484867" r:id="rId22"/>
    <p:sldLayoutId id="2147484868" r:id="rId23"/>
    <p:sldLayoutId id="2147484869" r:id="rId24"/>
    <p:sldLayoutId id="2147484870" r:id="rId25"/>
    <p:sldLayoutId id="2147484871"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8162" y="1475305"/>
            <a:ext cx="7447034" cy="24484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223719" y="6482889"/>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65650934"/>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4887" r:id="rId15"/>
    <p:sldLayoutId id="2147484888" r:id="rId16"/>
    <p:sldLayoutId id="2147484889" r:id="rId17"/>
    <p:sldLayoutId id="2147484890" r:id="rId18"/>
    <p:sldLayoutId id="2147484891" r:id="rId19"/>
    <p:sldLayoutId id="2147484892" r:id="rId20"/>
  </p:sldLayoutIdLst>
  <p:transition>
    <p:fade/>
  </p:transition>
  <p:hf hdr="0" ftr="0" dt="0"/>
  <p:txStyles>
    <p:titleStyle>
      <a:lvl1pPr algn="l" defTabSz="1243442" rtl="0" eaLnBrk="1" latinLnBrk="0" hangingPunct="1">
        <a:lnSpc>
          <a:spcPct val="90000"/>
        </a:lnSpc>
        <a:spcBef>
          <a:spcPct val="0"/>
        </a:spcBef>
        <a:buNone/>
        <a:defRPr lang="en-US" sz="5440"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73" indent="-310873" algn="l" defTabSz="1243442"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1pPr>
      <a:lvl2pPr marL="621746" indent="-306555" algn="l" defTabSz="1243442"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2pPr>
      <a:lvl3pPr marL="932619" indent="-310873" algn="l" defTabSz="1243442" rtl="0" eaLnBrk="1" latinLnBrk="0" hangingPunct="1">
        <a:lnSpc>
          <a:spcPct val="100000"/>
        </a:lnSpc>
        <a:spcBef>
          <a:spcPts val="816"/>
        </a:spcBef>
        <a:buSzPct val="80000"/>
        <a:buFont typeface="Arial" pitchFamily="34" charset="0"/>
        <a:buChar char="•"/>
        <a:defRPr sz="2176" kern="1200">
          <a:gradFill>
            <a:gsLst>
              <a:gs pos="0">
                <a:schemeClr val="tx1"/>
              </a:gs>
              <a:gs pos="86000">
                <a:schemeClr val="tx1"/>
              </a:gs>
            </a:gsLst>
            <a:lin ang="5400000" scaled="0"/>
          </a:gradFill>
          <a:latin typeface="+mn-lt"/>
          <a:ea typeface="+mn-ea"/>
          <a:cs typeface="+mn-cs"/>
        </a:defRPr>
      </a:lvl3pPr>
      <a:lvl4pPr marL="1243493" indent="-308715" algn="l" defTabSz="1243442" rtl="0" eaLnBrk="1" latinLnBrk="0" hangingPunct="1">
        <a:lnSpc>
          <a:spcPct val="100000"/>
        </a:lnSpc>
        <a:spcBef>
          <a:spcPts val="816"/>
        </a:spcBef>
        <a:buSzPct val="80000"/>
        <a:buFont typeface="Arial" pitchFamily="34" charset="0"/>
        <a:buChar char="•"/>
        <a:defRPr sz="1904" kern="1200">
          <a:gradFill>
            <a:gsLst>
              <a:gs pos="0">
                <a:schemeClr val="tx1"/>
              </a:gs>
              <a:gs pos="86000">
                <a:schemeClr val="tx1"/>
              </a:gs>
            </a:gsLst>
            <a:lin ang="5400000" scaled="0"/>
          </a:gradFill>
          <a:latin typeface="+mn-lt"/>
          <a:ea typeface="+mn-ea"/>
          <a:cs typeface="+mn-cs"/>
        </a:defRPr>
      </a:lvl4pPr>
      <a:lvl5pPr marL="1554366" indent="-310873" algn="l" defTabSz="1243442" rtl="0" eaLnBrk="1" latinLnBrk="0" hangingPunct="1">
        <a:lnSpc>
          <a:spcPct val="100000"/>
        </a:lnSpc>
        <a:spcBef>
          <a:spcPts val="816"/>
        </a:spcBef>
        <a:buSzPct val="80000"/>
        <a:buFont typeface="Arial" pitchFamily="34" charset="0"/>
        <a:buChar char="•"/>
        <a:defRPr sz="1632" kern="1200">
          <a:gradFill>
            <a:gsLst>
              <a:gs pos="0">
                <a:schemeClr val="tx1"/>
              </a:gs>
              <a:gs pos="86000">
                <a:schemeClr val="tx1"/>
              </a:gs>
            </a:gsLst>
            <a:lin ang="5400000" scaled="0"/>
          </a:gradFill>
          <a:latin typeface="+mn-lt"/>
          <a:ea typeface="+mn-ea"/>
          <a:cs typeface="+mn-cs"/>
        </a:defRPr>
      </a:lvl5pPr>
      <a:lvl6pPr marL="1863081" indent="-308715" algn="l" defTabSz="1243442" rtl="0" eaLnBrk="1" latinLnBrk="0" hangingPunct="1">
        <a:lnSpc>
          <a:spcPct val="100000"/>
        </a:lnSpc>
        <a:spcBef>
          <a:spcPts val="816"/>
        </a:spcBef>
        <a:buFont typeface="Arial" pitchFamily="34" charset="0"/>
        <a:buChar char="•"/>
        <a:defRPr sz="1496" kern="1200">
          <a:solidFill>
            <a:schemeClr val="tx1"/>
          </a:solidFill>
          <a:latin typeface="+mn-lt"/>
          <a:ea typeface="+mn-ea"/>
          <a:cs typeface="+mn-cs"/>
        </a:defRPr>
      </a:lvl6pPr>
      <a:lvl7pPr marL="4041189"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11"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633"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42" rtl="0" eaLnBrk="1" latinLnBrk="0" hangingPunct="1">
        <a:defRPr sz="2448" kern="1200">
          <a:solidFill>
            <a:schemeClr val="tx1"/>
          </a:solidFill>
          <a:latin typeface="+mn-lt"/>
          <a:ea typeface="+mn-ea"/>
          <a:cs typeface="+mn-cs"/>
        </a:defRPr>
      </a:lvl1pPr>
      <a:lvl2pPr marL="621722" algn="l" defTabSz="1243442" rtl="0" eaLnBrk="1" latinLnBrk="0" hangingPunct="1">
        <a:defRPr sz="2448" kern="1200">
          <a:solidFill>
            <a:schemeClr val="tx1"/>
          </a:solidFill>
          <a:latin typeface="+mn-lt"/>
          <a:ea typeface="+mn-ea"/>
          <a:cs typeface="+mn-cs"/>
        </a:defRPr>
      </a:lvl2pPr>
      <a:lvl3pPr marL="1243442" algn="l" defTabSz="1243442" rtl="0" eaLnBrk="1" latinLnBrk="0" hangingPunct="1">
        <a:defRPr sz="2448" kern="1200">
          <a:solidFill>
            <a:schemeClr val="tx1"/>
          </a:solidFill>
          <a:latin typeface="+mn-lt"/>
          <a:ea typeface="+mn-ea"/>
          <a:cs typeface="+mn-cs"/>
        </a:defRPr>
      </a:lvl3pPr>
      <a:lvl4pPr marL="1865164" algn="l" defTabSz="1243442" rtl="0" eaLnBrk="1" latinLnBrk="0" hangingPunct="1">
        <a:defRPr sz="2448" kern="1200">
          <a:solidFill>
            <a:schemeClr val="tx1"/>
          </a:solidFill>
          <a:latin typeface="+mn-lt"/>
          <a:ea typeface="+mn-ea"/>
          <a:cs typeface="+mn-cs"/>
        </a:defRPr>
      </a:lvl4pPr>
      <a:lvl5pPr marL="2486886" algn="l" defTabSz="1243442" rtl="0" eaLnBrk="1" latinLnBrk="0" hangingPunct="1">
        <a:defRPr sz="2448" kern="1200">
          <a:solidFill>
            <a:schemeClr val="tx1"/>
          </a:solidFill>
          <a:latin typeface="+mn-lt"/>
          <a:ea typeface="+mn-ea"/>
          <a:cs typeface="+mn-cs"/>
        </a:defRPr>
      </a:lvl5pPr>
      <a:lvl6pPr marL="3108608" algn="l" defTabSz="1243442" rtl="0" eaLnBrk="1" latinLnBrk="0" hangingPunct="1">
        <a:defRPr sz="2448" kern="1200">
          <a:solidFill>
            <a:schemeClr val="tx1"/>
          </a:solidFill>
          <a:latin typeface="+mn-lt"/>
          <a:ea typeface="+mn-ea"/>
          <a:cs typeface="+mn-cs"/>
        </a:defRPr>
      </a:lvl6pPr>
      <a:lvl7pPr marL="3730328" algn="l" defTabSz="1243442" rtl="0" eaLnBrk="1" latinLnBrk="0" hangingPunct="1">
        <a:defRPr sz="2448" kern="1200">
          <a:solidFill>
            <a:schemeClr val="tx1"/>
          </a:solidFill>
          <a:latin typeface="+mn-lt"/>
          <a:ea typeface="+mn-ea"/>
          <a:cs typeface="+mn-cs"/>
        </a:defRPr>
      </a:lvl7pPr>
      <a:lvl8pPr marL="4352050" algn="l" defTabSz="1243442" rtl="0" eaLnBrk="1" latinLnBrk="0" hangingPunct="1">
        <a:defRPr sz="2448" kern="1200">
          <a:solidFill>
            <a:schemeClr val="tx1"/>
          </a:solidFill>
          <a:latin typeface="+mn-lt"/>
          <a:ea typeface="+mn-ea"/>
          <a:cs typeface="+mn-cs"/>
        </a:defRPr>
      </a:lvl8pPr>
      <a:lvl9pPr marL="4973772" algn="l" defTabSz="1243442" rtl="0" eaLnBrk="1" latinLnBrk="0" hangingPunct="1">
        <a:defRPr sz="2448"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4"/>
            <a:ext cx="11889564" cy="696866"/>
          </a:xfrm>
          <a:prstGeom prst="rect">
            <a:avLst/>
          </a:prstGeom>
        </p:spPr>
        <p:txBody>
          <a:bodyPr vert="horz" wrap="square" lIns="146304" tIns="91440" rIns="146304" bIns="91440" rtlCol="0" anchor="t">
            <a:spAutoFit/>
          </a:bodyPr>
          <a:lstStyle/>
          <a:p>
            <a:r>
              <a:rPr lang="en-US"/>
              <a:t>Click to edit Master title style</a:t>
            </a:r>
          </a:p>
        </p:txBody>
      </p:sp>
      <p:sp>
        <p:nvSpPr>
          <p:cNvPr id="4" name="Text Placeholder 3"/>
          <p:cNvSpPr>
            <a:spLocks noGrp="1"/>
          </p:cNvSpPr>
          <p:nvPr>
            <p:ph type="body" idx="1"/>
          </p:nvPr>
        </p:nvSpPr>
        <p:spPr>
          <a:xfrm>
            <a:off x="274639" y="1235376"/>
            <a:ext cx="11887198" cy="17107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6"/>
          <a:stretch>
            <a:fillRect/>
          </a:stretch>
        </p:blipFill>
        <p:spPr>
          <a:xfrm rot="5400000">
            <a:off x="9393900" y="3050514"/>
            <a:ext cx="6995160" cy="894134"/>
          </a:xfrm>
          <a:prstGeom prst="rect">
            <a:avLst/>
          </a:prstGeom>
        </p:spPr>
      </p:pic>
    </p:spTree>
    <p:extLst>
      <p:ext uri="{BB962C8B-B14F-4D97-AF65-F5344CB8AC3E}">
        <p14:creationId xmlns:p14="http://schemas.microsoft.com/office/powerpoint/2010/main" val="2907764070"/>
      </p:ext>
    </p:extLst>
  </p:cSld>
  <p:clrMap bg1="lt1" tx1="dk1" bg2="lt2" tx2="dk2" accent1="accent1" accent2="accent2" accent3="accent3" accent4="accent4" accent5="accent5" accent6="accent6" hlink="hlink" folHlink="folHlink"/>
  <p:sldLayoutIdLst>
    <p:sldLayoutId id="2147484894" r:id="rId1"/>
    <p:sldLayoutId id="2147484895" r:id="rId2"/>
    <p:sldLayoutId id="2147484896" r:id="rId3"/>
    <p:sldLayoutId id="2147484897" r:id="rId4"/>
    <p:sldLayoutId id="2147484898" r:id="rId5"/>
    <p:sldLayoutId id="2147484899" r:id="rId6"/>
    <p:sldLayoutId id="2147484900" r:id="rId7"/>
    <p:sldLayoutId id="2147484901" r:id="rId8"/>
    <p:sldLayoutId id="2147484902" r:id="rId9"/>
    <p:sldLayoutId id="2147484903" r:id="rId10"/>
    <p:sldLayoutId id="2147484904" r:id="rId11"/>
    <p:sldLayoutId id="2147484905" r:id="rId12"/>
    <p:sldLayoutId id="2147484906" r:id="rId13"/>
    <p:sldLayoutId id="2147484907" r:id="rId14"/>
    <p:sldLayoutId id="2147484908" r:id="rId15"/>
    <p:sldLayoutId id="2147484909" r:id="rId16"/>
    <p:sldLayoutId id="2147484910" r:id="rId17"/>
    <p:sldLayoutId id="2147484911" r:id="rId18"/>
    <p:sldLayoutId id="2147484912" r:id="rId19"/>
    <p:sldLayoutId id="2147484913" r:id="rId20"/>
    <p:sldLayoutId id="2147484914" r:id="rId21"/>
    <p:sldLayoutId id="2147484915" r:id="rId22"/>
    <p:sldLayoutId id="2147484916" r:id="rId23"/>
    <p:sldLayoutId id="2147484917" r:id="rId24"/>
    <p:sldLayoutId id="2147484918" r:id="rId25"/>
    <p:sldLayoutId id="2147484919" r:id="rId26"/>
    <p:sldLayoutId id="2147484920" r:id="rId27"/>
    <p:sldLayoutId id="2147484921" r:id="rId28"/>
    <p:sldLayoutId id="2147484922" r:id="rId29"/>
    <p:sldLayoutId id="2147484923" r:id="rId30"/>
    <p:sldLayoutId id="2147484924" r:id="rId31"/>
    <p:sldLayoutId id="2147484925" r:id="rId32"/>
    <p:sldLayoutId id="2147484926" r:id="rId33"/>
    <p:sldLayoutId id="2147484927" r:id="rId34"/>
  </p:sldLayoutIdLst>
  <p:transition>
    <p:fade/>
  </p:transition>
  <p:hf hdr="0" ftr="0" dt="0"/>
  <p:txStyles>
    <p:titleStyle>
      <a:lvl1pPr algn="l" defTabSz="932372" rtl="0" eaLnBrk="1" latinLnBrk="0" hangingPunct="1">
        <a:lnSpc>
          <a:spcPct val="90000"/>
        </a:lnSpc>
        <a:spcBef>
          <a:spcPct val="0"/>
        </a:spcBef>
        <a:buNone/>
        <a:defRPr lang="en-US" sz="3672" b="0" kern="1200" cap="none" spc="-102" baseline="0" dirty="0" smtClean="0">
          <a:ln w="3175">
            <a:noFill/>
          </a:ln>
          <a:solidFill>
            <a:schemeClr val="tx2"/>
          </a:solidFill>
          <a:effectLst/>
          <a:latin typeface="+mj-lt"/>
          <a:ea typeface="+mn-ea"/>
          <a:cs typeface="Segoe UI" pitchFamily="34" charset="0"/>
        </a:defRPr>
      </a:lvl1pPr>
    </p:titleStyle>
    <p:bodyStyle>
      <a:lvl1pPr marL="0" marR="0" indent="0" algn="l" defTabSz="932372" rtl="0" eaLnBrk="1" fontAlgn="auto" latinLnBrk="0" hangingPunct="1">
        <a:lnSpc>
          <a:spcPct val="90000"/>
        </a:lnSpc>
        <a:spcBef>
          <a:spcPct val="20000"/>
        </a:spcBef>
        <a:spcAft>
          <a:spcPts val="0"/>
        </a:spcAft>
        <a:buClrTx/>
        <a:buSzPct val="90000"/>
        <a:buFont typeface="Arial" pitchFamily="34" charset="0"/>
        <a:buNone/>
        <a:tabLst/>
        <a:defRPr sz="3264" kern="1200" spc="0" baseline="0">
          <a:gradFill>
            <a:gsLst>
              <a:gs pos="1250">
                <a:schemeClr val="tx1"/>
              </a:gs>
              <a:gs pos="100000">
                <a:schemeClr val="tx1"/>
              </a:gs>
            </a:gsLst>
            <a:lin ang="5400000" scaled="0"/>
          </a:gradFill>
          <a:latin typeface="+mj-lt"/>
          <a:ea typeface="+mn-ea"/>
          <a:cs typeface="+mn-cs"/>
        </a:defRPr>
      </a:lvl1pPr>
      <a:lvl2pPr marL="0" marR="0" indent="0" algn="l" defTabSz="93237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chemeClr val="accent2"/>
          </a:solidFill>
          <a:latin typeface="+mn-lt"/>
          <a:ea typeface="+mn-ea"/>
          <a:cs typeface="+mn-cs"/>
        </a:defRPr>
      </a:lvl2pPr>
      <a:lvl3pPr marL="0" marR="0" indent="0" algn="l" defTabSz="932372" rtl="0" eaLnBrk="1" fontAlgn="auto" latinLnBrk="0" hangingPunct="1">
        <a:lnSpc>
          <a:spcPct val="90000"/>
        </a:lnSpc>
        <a:spcBef>
          <a:spcPct val="20000"/>
        </a:spcBef>
        <a:spcAft>
          <a:spcPts val="0"/>
        </a:spcAft>
        <a:buClrTx/>
        <a:buSzPct val="90000"/>
        <a:buFont typeface="Arial" pitchFamily="34" charset="0"/>
        <a:buNone/>
        <a:tabLst/>
        <a:defRPr sz="1632" kern="1200" spc="0" baseline="0">
          <a:gradFill>
            <a:gsLst>
              <a:gs pos="1250">
                <a:schemeClr val="tx1"/>
              </a:gs>
              <a:gs pos="100000">
                <a:schemeClr val="tx1"/>
              </a:gs>
            </a:gsLst>
            <a:lin ang="5400000" scaled="0"/>
          </a:gradFill>
          <a:latin typeface="+mn-lt"/>
          <a:ea typeface="+mn-ea"/>
          <a:cs typeface="+mn-cs"/>
        </a:defRPr>
      </a:lvl3pPr>
      <a:lvl4pPr marL="0" marR="0" indent="0" algn="l" defTabSz="932372" rtl="0" eaLnBrk="1" fontAlgn="auto" latinLnBrk="0" hangingPunct="1">
        <a:lnSpc>
          <a:spcPct val="90000"/>
        </a:lnSpc>
        <a:spcBef>
          <a:spcPct val="20000"/>
        </a:spcBef>
        <a:spcAft>
          <a:spcPts val="0"/>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4pPr>
      <a:lvl5pPr marL="0" marR="0" indent="0" algn="l" defTabSz="932372" rtl="0" eaLnBrk="1" fontAlgn="auto" latinLnBrk="0" hangingPunct="1">
        <a:lnSpc>
          <a:spcPct val="90000"/>
        </a:lnSpc>
        <a:spcBef>
          <a:spcPct val="20000"/>
        </a:spcBef>
        <a:spcAft>
          <a:spcPts val="0"/>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95000">
              <a:srgbClr val="004A88"/>
            </a:gs>
            <a:gs pos="0">
              <a:srgbClr val="60BAE9"/>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0458" y="246369"/>
            <a:ext cx="10726460" cy="131848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27909" y="1873470"/>
            <a:ext cx="10439009" cy="449395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295072"/>
            <a:ext cx="12436475" cy="699453"/>
          </a:xfrm>
          <a:prstGeom prst="rect">
            <a:avLst/>
          </a:prstGeom>
          <a:solidFill>
            <a:srgbClr val="59CD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2"/>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21824" y="6414191"/>
            <a:ext cx="1671151" cy="461217"/>
          </a:xfrm>
          <a:prstGeom prst="rect">
            <a:avLst/>
          </a:prstGeom>
        </p:spPr>
      </p:pic>
      <p:sp>
        <p:nvSpPr>
          <p:cNvPr id="7" name="TextBox 6"/>
          <p:cNvSpPr txBox="1"/>
          <p:nvPr userDrawn="1"/>
        </p:nvSpPr>
        <p:spPr>
          <a:xfrm>
            <a:off x="8705533" y="6503543"/>
            <a:ext cx="3177778" cy="286306"/>
          </a:xfrm>
          <a:prstGeom prst="rect">
            <a:avLst/>
          </a:prstGeom>
          <a:noFill/>
        </p:spPr>
        <p:txBody>
          <a:bodyPr wrap="square" rtlCol="0">
            <a:spAutoFit/>
          </a:bodyPr>
          <a:lstStyle/>
          <a:p>
            <a:pPr algn="r"/>
            <a:r>
              <a:rPr lang="en-US" sz="1224" dirty="0">
                <a:solidFill>
                  <a:schemeClr val="tx1"/>
                </a:solidFill>
                <a:latin typeface="Segoe Pro" panose="020B0502040504020203" pitchFamily="34" charset="0"/>
              </a:rPr>
              <a:t>Copyright ©</a:t>
            </a:r>
            <a:r>
              <a:rPr lang="en-US" sz="1224" baseline="0" dirty="0">
                <a:solidFill>
                  <a:schemeClr val="tx1"/>
                </a:solidFill>
                <a:latin typeface="Segoe Pro" panose="020B0502040504020203" pitchFamily="34" charset="0"/>
              </a:rPr>
              <a:t> </a:t>
            </a:r>
            <a:r>
              <a:rPr lang="en-US" sz="1224" dirty="0">
                <a:solidFill>
                  <a:schemeClr val="tx1"/>
                </a:solidFill>
                <a:latin typeface="Segoe Pro" panose="020B0502040504020203" pitchFamily="34" charset="0"/>
              </a:rPr>
              <a:t>New Signature 2016</a:t>
            </a:r>
          </a:p>
        </p:txBody>
      </p:sp>
      <p:sp>
        <p:nvSpPr>
          <p:cNvPr id="8" name="TextBox 7"/>
          <p:cNvSpPr txBox="1"/>
          <p:nvPr userDrawn="1"/>
        </p:nvSpPr>
        <p:spPr>
          <a:xfrm>
            <a:off x="3632016" y="6380998"/>
            <a:ext cx="5172443" cy="542399"/>
          </a:xfrm>
          <a:prstGeom prst="rect">
            <a:avLst/>
          </a:prstGeom>
          <a:noFill/>
        </p:spPr>
        <p:txBody>
          <a:bodyPr wrap="square" rtlCol="0">
            <a:spAutoFit/>
          </a:bodyPr>
          <a:lstStyle/>
          <a:p>
            <a:pPr algn="ctr"/>
            <a:r>
              <a:rPr lang="en-US" sz="1428" dirty="0"/>
              <a:t>Executive </a:t>
            </a:r>
            <a:r>
              <a:rPr lang="en-US" sz="1428" dirty="0" err="1"/>
              <a:t>IoT</a:t>
            </a:r>
            <a:r>
              <a:rPr lang="en-US" sz="1428" dirty="0"/>
              <a:t> Summit - December 8, 2016</a:t>
            </a:r>
          </a:p>
          <a:p>
            <a:pPr algn="ctr"/>
            <a:r>
              <a:rPr lang="en-US" sz="1428" baseline="0" dirty="0"/>
              <a:t>Internet of Things &amp; Advanced Analytics</a:t>
            </a:r>
            <a:endParaRPr lang="en-US" sz="1428" dirty="0"/>
          </a:p>
        </p:txBody>
      </p:sp>
    </p:spTree>
    <p:extLst>
      <p:ext uri="{BB962C8B-B14F-4D97-AF65-F5344CB8AC3E}">
        <p14:creationId xmlns:p14="http://schemas.microsoft.com/office/powerpoint/2010/main" val="3585863745"/>
      </p:ext>
    </p:extLst>
  </p:cSld>
  <p:clrMap bg1="dk1" tx1="lt1" bg2="dk2" tx2="lt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88" r:id="rId9"/>
    <p:sldLayoutId id="2147484944" r:id="rId10"/>
    <p:sldLayoutId id="2147484951" r:id="rId11"/>
    <p:sldLayoutId id="2147484952" r:id="rId12"/>
    <p:sldLayoutId id="2147484990" r:id="rId13"/>
    <p:sldLayoutId id="2147484991" r:id="rId14"/>
    <p:sldLayoutId id="2147484992" r:id="rId15"/>
    <p:sldLayoutId id="2147484993" r:id="rId16"/>
    <p:sldLayoutId id="2147484994" r:id="rId17"/>
  </p:sldLayoutIdLst>
  <p:txStyles>
    <p:titleStyle>
      <a:lvl1pPr algn="l" defTabSz="932395" rtl="0" eaLnBrk="1" latinLnBrk="0" hangingPunct="1">
        <a:lnSpc>
          <a:spcPct val="90000"/>
        </a:lnSpc>
        <a:spcBef>
          <a:spcPct val="0"/>
        </a:spcBef>
        <a:buNone/>
        <a:defRPr sz="5506"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Segoe UI Light" panose="020B0502040204020203" pitchFamily="34" charset="0"/>
          <a:ea typeface="+mj-ea"/>
          <a:cs typeface="Segoe UI Light" panose="020B0502040204020203" pitchFamily="34" charset="0"/>
        </a:defRPr>
      </a:lvl1pPr>
    </p:titleStyle>
    <p:bodyStyle>
      <a:lvl1pPr marL="233098" indent="-233098" algn="l" defTabSz="932395" rtl="0" eaLnBrk="1" latinLnBrk="0" hangingPunct="1">
        <a:lnSpc>
          <a:spcPct val="90000"/>
        </a:lnSpc>
        <a:spcBef>
          <a:spcPts val="1020"/>
        </a:spcBef>
        <a:buFont typeface="Arial" panose="020B0604020202020204" pitchFamily="34" charset="0"/>
        <a:buChar char="•"/>
        <a:defRPr sz="2856"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Segoe UI" panose="020B0502040204020203" pitchFamily="34" charset="0"/>
          <a:ea typeface="+mn-ea"/>
          <a:cs typeface="Segoe UI" panose="020B0502040204020203" pitchFamily="34" charset="0"/>
        </a:defRPr>
      </a:lvl1pPr>
      <a:lvl2pPr marL="699295" indent="-233098" algn="l" defTabSz="932395" rtl="0" eaLnBrk="1" latinLnBrk="0" hangingPunct="1">
        <a:lnSpc>
          <a:spcPct val="90000"/>
        </a:lnSpc>
        <a:spcBef>
          <a:spcPts val="510"/>
        </a:spcBef>
        <a:buFont typeface="Arial" panose="020B0604020202020204" pitchFamily="34" charset="0"/>
        <a:buChar char="•"/>
        <a:defRPr sz="2448"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65494" indent="-233098" algn="l" defTabSz="932395" rtl="0" eaLnBrk="1" latinLnBrk="0" hangingPunct="1">
        <a:lnSpc>
          <a:spcPct val="90000"/>
        </a:lnSpc>
        <a:spcBef>
          <a:spcPts val="510"/>
        </a:spcBef>
        <a:buFont typeface="Arial" panose="020B0604020202020204" pitchFamily="34" charset="0"/>
        <a:buChar char="•"/>
        <a:defRPr sz="204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31690" indent="-233098" algn="l" defTabSz="932395" rtl="0" eaLnBrk="1" latinLnBrk="0" hangingPunct="1">
        <a:lnSpc>
          <a:spcPct val="90000"/>
        </a:lnSpc>
        <a:spcBef>
          <a:spcPts val="510"/>
        </a:spcBef>
        <a:buFont typeface="Arial" panose="020B0604020202020204" pitchFamily="34" charset="0"/>
        <a:buChar char="•"/>
        <a:defRPr sz="1836"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97887" indent="-233098" algn="l" defTabSz="932395" rtl="0" eaLnBrk="1" latinLnBrk="0" hangingPunct="1">
        <a:lnSpc>
          <a:spcPct val="90000"/>
        </a:lnSpc>
        <a:spcBef>
          <a:spcPts val="510"/>
        </a:spcBef>
        <a:buFont typeface="Arial" panose="020B0604020202020204" pitchFamily="34" charset="0"/>
        <a:buChar char="•"/>
        <a:defRPr sz="1836"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64086" indent="-233098" algn="l" defTabSz="932395"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282" indent="-233098" algn="l" defTabSz="932395"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478" indent="-233098" algn="l" defTabSz="932395"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675" indent="-233098" algn="l" defTabSz="932395"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395" rtl="0" eaLnBrk="1" latinLnBrk="0" hangingPunct="1">
        <a:defRPr sz="1836" kern="1200">
          <a:solidFill>
            <a:schemeClr val="tx1"/>
          </a:solidFill>
          <a:latin typeface="+mn-lt"/>
          <a:ea typeface="+mn-ea"/>
          <a:cs typeface="+mn-cs"/>
        </a:defRPr>
      </a:lvl1pPr>
      <a:lvl2pPr marL="466197" algn="l" defTabSz="932395" rtl="0" eaLnBrk="1" latinLnBrk="0" hangingPunct="1">
        <a:defRPr sz="1836" kern="1200">
          <a:solidFill>
            <a:schemeClr val="tx1"/>
          </a:solidFill>
          <a:latin typeface="+mn-lt"/>
          <a:ea typeface="+mn-ea"/>
          <a:cs typeface="+mn-cs"/>
        </a:defRPr>
      </a:lvl2pPr>
      <a:lvl3pPr marL="932395" algn="l" defTabSz="932395" rtl="0" eaLnBrk="1" latinLnBrk="0" hangingPunct="1">
        <a:defRPr sz="1836" kern="1200">
          <a:solidFill>
            <a:schemeClr val="tx1"/>
          </a:solidFill>
          <a:latin typeface="+mn-lt"/>
          <a:ea typeface="+mn-ea"/>
          <a:cs typeface="+mn-cs"/>
        </a:defRPr>
      </a:lvl3pPr>
      <a:lvl4pPr marL="1398592" algn="l" defTabSz="932395" rtl="0" eaLnBrk="1" latinLnBrk="0" hangingPunct="1">
        <a:defRPr sz="1836" kern="1200">
          <a:solidFill>
            <a:schemeClr val="tx1"/>
          </a:solidFill>
          <a:latin typeface="+mn-lt"/>
          <a:ea typeface="+mn-ea"/>
          <a:cs typeface="+mn-cs"/>
        </a:defRPr>
      </a:lvl4pPr>
      <a:lvl5pPr marL="1864789" algn="l" defTabSz="932395" rtl="0" eaLnBrk="1" latinLnBrk="0" hangingPunct="1">
        <a:defRPr sz="1836" kern="1200">
          <a:solidFill>
            <a:schemeClr val="tx1"/>
          </a:solidFill>
          <a:latin typeface="+mn-lt"/>
          <a:ea typeface="+mn-ea"/>
          <a:cs typeface="+mn-cs"/>
        </a:defRPr>
      </a:lvl5pPr>
      <a:lvl6pPr marL="2330986" algn="l" defTabSz="932395" rtl="0" eaLnBrk="1" latinLnBrk="0" hangingPunct="1">
        <a:defRPr sz="1836" kern="1200">
          <a:solidFill>
            <a:schemeClr val="tx1"/>
          </a:solidFill>
          <a:latin typeface="+mn-lt"/>
          <a:ea typeface="+mn-ea"/>
          <a:cs typeface="+mn-cs"/>
        </a:defRPr>
      </a:lvl6pPr>
      <a:lvl7pPr marL="2797184" algn="l" defTabSz="932395" rtl="0" eaLnBrk="1" latinLnBrk="0" hangingPunct="1">
        <a:defRPr sz="1836" kern="1200">
          <a:solidFill>
            <a:schemeClr val="tx1"/>
          </a:solidFill>
          <a:latin typeface="+mn-lt"/>
          <a:ea typeface="+mn-ea"/>
          <a:cs typeface="+mn-cs"/>
        </a:defRPr>
      </a:lvl7pPr>
      <a:lvl8pPr marL="3263379" algn="l" defTabSz="932395" rtl="0" eaLnBrk="1" latinLnBrk="0" hangingPunct="1">
        <a:defRPr sz="1836" kern="1200">
          <a:solidFill>
            <a:schemeClr val="tx1"/>
          </a:solidFill>
          <a:latin typeface="+mn-lt"/>
          <a:ea typeface="+mn-ea"/>
          <a:cs typeface="+mn-cs"/>
        </a:defRPr>
      </a:lvl8pPr>
      <a:lvl9pPr marL="3729576" algn="l" defTabSz="932395" rtl="0" eaLnBrk="1" latinLnBrk="0" hangingPunct="1">
        <a:defRPr sz="183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extLst>
              <a:ext uri="{28A0092B-C50C-407E-A947-70E740481C1C}">
                <a14:useLocalDpi xmlns:a14="http://schemas.microsoft.com/office/drawing/2010/main" val="0"/>
              </a:ext>
            </a:extLst>
          </a:blip>
          <a:srcRect/>
          <a:stretch>
            <a:fillRect/>
          </a:stretch>
        </p:blipFill>
        <p:spPr bwMode="auto">
          <a:xfrm>
            <a:off x="1" y="-1"/>
            <a:ext cx="12436478" cy="699452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575" y="1"/>
            <a:ext cx="12295594" cy="6994526"/>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64301" y="630831"/>
            <a:ext cx="10104634" cy="1508004"/>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64300" y="2294269"/>
            <a:ext cx="10104635" cy="36122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6448" y="6000397"/>
            <a:ext cx="2798207" cy="372394"/>
          </a:xfrm>
          <a:prstGeom prst="rect">
            <a:avLst/>
          </a:prstGeom>
        </p:spPr>
        <p:txBody>
          <a:bodyPr vert="horz" lIns="91440" tIns="45720" rIns="91440" bIns="45720" rtlCol="0" anchor="ctr"/>
          <a:lstStyle>
            <a:lvl1pPr algn="r">
              <a:defRPr sz="1071">
                <a:solidFill>
                  <a:schemeClr val="tx1">
                    <a:tint val="75000"/>
                  </a:schemeClr>
                </a:solidFill>
              </a:defRPr>
            </a:lvl1pPr>
          </a:lstStyle>
          <a:p>
            <a:fld id="{69A85A3D-C878-4ED2-A32C-3E82B3717EBC}" type="datetimeFigureOut">
              <a:rPr lang="en-US" smtClean="0"/>
              <a:t>4/20/2018</a:t>
            </a:fld>
            <a:endParaRPr lang="en-US"/>
          </a:p>
        </p:txBody>
      </p:sp>
      <p:sp>
        <p:nvSpPr>
          <p:cNvPr id="5" name="Footer Placeholder 4"/>
          <p:cNvSpPr>
            <a:spLocks noGrp="1"/>
          </p:cNvSpPr>
          <p:nvPr>
            <p:ph type="ftr" sz="quarter" idx="3"/>
          </p:nvPr>
        </p:nvSpPr>
        <p:spPr>
          <a:xfrm>
            <a:off x="1164299" y="6000396"/>
            <a:ext cx="6364420" cy="372394"/>
          </a:xfrm>
          <a:prstGeom prst="rect">
            <a:avLst/>
          </a:prstGeom>
        </p:spPr>
        <p:txBody>
          <a:bodyPr vert="horz" lIns="91440" tIns="45720" rIns="91440" bIns="45720" rtlCol="0" anchor="ctr"/>
          <a:lstStyle>
            <a:lvl1pPr algn="l">
              <a:defRPr sz="1071" cap="all" baseline="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482383" y="6000395"/>
            <a:ext cx="786551" cy="372394"/>
          </a:xfrm>
          <a:prstGeom prst="rect">
            <a:avLst/>
          </a:prstGeom>
        </p:spPr>
        <p:txBody>
          <a:bodyPr vert="horz" lIns="91440" tIns="45720" rIns="91440" bIns="45720" rtlCol="0" anchor="ctr"/>
          <a:lstStyle>
            <a:lvl1pPr algn="r">
              <a:defRPr sz="1071">
                <a:solidFill>
                  <a:schemeClr val="tx1">
                    <a:tint val="75000"/>
                  </a:schemeClr>
                </a:solidFill>
              </a:defRPr>
            </a:lvl1pPr>
          </a:lstStyle>
          <a:p>
            <a:fld id="{3417B931-16EF-4A94-BE18-2758FDABC72E}" type="slidenum">
              <a:rPr lang="en-US" smtClean="0"/>
              <a:t>‹#›</a:t>
            </a:fld>
            <a:endParaRPr lang="en-US"/>
          </a:p>
        </p:txBody>
      </p:sp>
    </p:spTree>
    <p:extLst>
      <p:ext uri="{BB962C8B-B14F-4D97-AF65-F5344CB8AC3E}">
        <p14:creationId xmlns:p14="http://schemas.microsoft.com/office/powerpoint/2010/main" val="459886897"/>
      </p:ext>
    </p:extLst>
  </p:cSld>
  <p:clrMap bg1="dk1" tx1="lt1" bg2="dk2" tx2="lt2" accent1="accent1" accent2="accent2" accent3="accent3" accent4="accent4" accent5="accent5" accent6="accent6" hlink="hlink" folHlink="folHlink"/>
  <p:sldLayoutIdLst>
    <p:sldLayoutId id="2147484996" r:id="rId1"/>
    <p:sldLayoutId id="2147484997" r:id="rId2"/>
    <p:sldLayoutId id="2147484998" r:id="rId3"/>
    <p:sldLayoutId id="2147484999" r:id="rId4"/>
    <p:sldLayoutId id="2147485000" r:id="rId5"/>
    <p:sldLayoutId id="2147485001" r:id="rId6"/>
    <p:sldLayoutId id="2147485002" r:id="rId7"/>
    <p:sldLayoutId id="2147485003" r:id="rId8"/>
    <p:sldLayoutId id="2147485004" r:id="rId9"/>
    <p:sldLayoutId id="2147485005" r:id="rId10"/>
    <p:sldLayoutId id="2147485006" r:id="rId11"/>
    <p:sldLayoutId id="2147485007" r:id="rId12"/>
    <p:sldLayoutId id="2147485008" r:id="rId13"/>
    <p:sldLayoutId id="2147485009" r:id="rId14"/>
    <p:sldLayoutId id="2147485010" r:id="rId15"/>
    <p:sldLayoutId id="2147485011" r:id="rId16"/>
    <p:sldLayoutId id="2147485012" r:id="rId17"/>
  </p:sldLayoutIdLst>
  <p:txStyles>
    <p:titleStyle>
      <a:lvl1pPr algn="l" defTabSz="932597" rtl="0" eaLnBrk="1" latinLnBrk="0" hangingPunct="1">
        <a:lnSpc>
          <a:spcPct val="90000"/>
        </a:lnSpc>
        <a:spcBef>
          <a:spcPct val="0"/>
        </a:spcBef>
        <a:buNone/>
        <a:defRPr sz="3672" kern="1200" cap="all" baseline="0">
          <a:solidFill>
            <a:schemeClr val="tx1"/>
          </a:solidFill>
          <a:latin typeface="+mj-lt"/>
          <a:ea typeface="+mj-ea"/>
          <a:cs typeface="+mj-cs"/>
        </a:defRPr>
      </a:lvl1pPr>
    </p:titleStyle>
    <p:bodyStyle>
      <a:lvl1pPr marL="233149" indent="-233149" algn="l" defTabSz="932597" rtl="0" eaLnBrk="1" latinLnBrk="0" hangingPunct="1">
        <a:lnSpc>
          <a:spcPct val="120000"/>
        </a:lnSpc>
        <a:spcBef>
          <a:spcPts val="1020"/>
        </a:spcBef>
        <a:buSzPct val="125000"/>
        <a:buFont typeface="Arial" panose="020B0604020202020204" pitchFamily="34" charset="0"/>
        <a:buChar char="•"/>
        <a:defRPr sz="2448" kern="1200">
          <a:solidFill>
            <a:schemeClr val="tx1"/>
          </a:solidFill>
          <a:latin typeface="+mn-lt"/>
          <a:ea typeface="+mn-ea"/>
          <a:cs typeface="+mn-cs"/>
        </a:defRPr>
      </a:lvl1pPr>
      <a:lvl2pPr marL="699447" indent="-233149" algn="l" defTabSz="932597" rtl="0" eaLnBrk="1" latinLnBrk="0" hangingPunct="1">
        <a:lnSpc>
          <a:spcPct val="120000"/>
        </a:lnSpc>
        <a:spcBef>
          <a:spcPts val="510"/>
        </a:spcBef>
        <a:buSzPct val="125000"/>
        <a:buFont typeface="Arial" panose="020B0604020202020204" pitchFamily="34" charset="0"/>
        <a:buChar char="•"/>
        <a:defRPr sz="2040" kern="1200">
          <a:solidFill>
            <a:schemeClr val="tx1"/>
          </a:solidFill>
          <a:latin typeface="+mn-lt"/>
          <a:ea typeface="+mn-ea"/>
          <a:cs typeface="+mn-cs"/>
        </a:defRPr>
      </a:lvl2pPr>
      <a:lvl3pPr marL="1165746" indent="-233149" algn="l" defTabSz="932597" rtl="0" eaLnBrk="1" latinLnBrk="0" hangingPunct="1">
        <a:lnSpc>
          <a:spcPct val="120000"/>
        </a:lnSpc>
        <a:spcBef>
          <a:spcPts val="510"/>
        </a:spcBef>
        <a:buSzPct val="125000"/>
        <a:buFont typeface="Arial" panose="020B0604020202020204" pitchFamily="34" charset="0"/>
        <a:buChar char="•"/>
        <a:defRPr sz="1836" kern="1200">
          <a:solidFill>
            <a:schemeClr val="tx1"/>
          </a:solidFill>
          <a:latin typeface="+mn-lt"/>
          <a:ea typeface="+mn-ea"/>
          <a:cs typeface="+mn-cs"/>
        </a:defRPr>
      </a:lvl3pPr>
      <a:lvl4pPr marL="1632044" indent="-233149" algn="l" defTabSz="932597" rtl="0" eaLnBrk="1" latinLnBrk="0" hangingPunct="1">
        <a:lnSpc>
          <a:spcPct val="120000"/>
        </a:lnSpc>
        <a:spcBef>
          <a:spcPts val="510"/>
        </a:spcBef>
        <a:buSzPct val="125000"/>
        <a:buFont typeface="Arial" panose="020B0604020202020204" pitchFamily="34" charset="0"/>
        <a:buChar char="•"/>
        <a:defRPr sz="1632" kern="1200">
          <a:solidFill>
            <a:schemeClr val="tx1"/>
          </a:solidFill>
          <a:latin typeface="+mn-lt"/>
          <a:ea typeface="+mn-ea"/>
          <a:cs typeface="+mn-cs"/>
        </a:defRPr>
      </a:lvl4pPr>
      <a:lvl5pPr marL="2098342" indent="-233149" algn="l" defTabSz="932597" rtl="0" eaLnBrk="1" latinLnBrk="0" hangingPunct="1">
        <a:lnSpc>
          <a:spcPct val="120000"/>
        </a:lnSpc>
        <a:spcBef>
          <a:spcPts val="510"/>
        </a:spcBef>
        <a:buSzPct val="125000"/>
        <a:buFont typeface="Arial" panose="020B0604020202020204" pitchFamily="34" charset="0"/>
        <a:buChar char="•"/>
        <a:defRPr sz="1632" kern="1200">
          <a:solidFill>
            <a:schemeClr val="tx1"/>
          </a:solidFill>
          <a:latin typeface="+mn-lt"/>
          <a:ea typeface="+mn-ea"/>
          <a:cs typeface="+mn-cs"/>
        </a:defRPr>
      </a:lvl5pPr>
      <a:lvl6pPr marL="2564641"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6pPr>
      <a:lvl7pPr marL="3030939"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7pPr>
      <a:lvl8pPr marL="3497237"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8pPr>
      <a:lvl9pPr marL="3963535"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634385712"/>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 id="2147484487" r:id="rId12"/>
    <p:sldLayoutId id="2147484488" r:id="rId13"/>
    <p:sldLayoutId id="2147484489" r:id="rId14"/>
    <p:sldLayoutId id="2147484490" r:id="rId15"/>
    <p:sldLayoutId id="2147484491" r:id="rId16"/>
    <p:sldLayoutId id="2147484492" r:id="rId17"/>
    <p:sldLayoutId id="2147484493" r:id="rId18"/>
    <p:sldLayoutId id="2147484494" r:id="rId19"/>
    <p:sldLayoutId id="2147484495" r:id="rId20"/>
    <p:sldLayoutId id="2147484496" r:id="rId21"/>
    <p:sldLayoutId id="2147484497" r:id="rId22"/>
    <p:sldLayoutId id="2147484498" r:id="rId23"/>
    <p:sldLayoutId id="2147484499" r:id="rId24"/>
    <p:sldLayoutId id="2147484500" r:id="rId25"/>
    <p:sldLayoutId id="2147484501" r:id="rId26"/>
    <p:sldLayoutId id="2147484502" r:id="rId27"/>
    <p:sldLayoutId id="2147484705" r:id="rId28"/>
    <p:sldLayoutId id="2147484707" r:id="rId29"/>
    <p:sldLayoutId id="2147484708" r:id="rId30"/>
    <p:sldLayoutId id="2147484709" r:id="rId31"/>
    <p:sldLayoutId id="2147484710" r:id="rId32"/>
    <p:sldLayoutId id="2147484711" r:id="rId33"/>
    <p:sldLayoutId id="2147484712" r:id="rId34"/>
    <p:sldLayoutId id="2147484713" r:id="rId35"/>
  </p:sldLayoutIdLst>
  <p:transition>
    <p:fade/>
  </p:transition>
  <p:hf sldNum="0" hdr="0" dt="0"/>
  <p:txStyles>
    <p:titleStyle>
      <a:lvl1pPr algn="l" defTabSz="932563" rtl="0" eaLnBrk="1" latinLnBrk="0" hangingPunct="1">
        <a:lnSpc>
          <a:spcPct val="90000"/>
        </a:lnSpc>
        <a:spcBef>
          <a:spcPct val="0"/>
        </a:spcBef>
        <a:buNone/>
        <a:defRPr lang="en-US" sz="39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38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261181215"/>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 id="2147484517" r:id="rId14"/>
    <p:sldLayoutId id="2147484518" r:id="rId15"/>
    <p:sldLayoutId id="2147484519" r:id="rId16"/>
    <p:sldLayoutId id="2147484520" r:id="rId17"/>
    <p:sldLayoutId id="2147484521" r:id="rId18"/>
    <p:sldLayoutId id="2147484522" r:id="rId19"/>
    <p:sldLayoutId id="2147484523" r:id="rId20"/>
    <p:sldLayoutId id="2147484524" r:id="rId21"/>
    <p:sldLayoutId id="2147484525" r:id="rId22"/>
    <p:sldLayoutId id="2147484526" r:id="rId23"/>
    <p:sldLayoutId id="2147484527" r:id="rId24"/>
    <p:sldLayoutId id="2147484528" r:id="rId25"/>
    <p:sldLayoutId id="2147484529" r:id="rId26"/>
    <p:sldLayoutId id="2147484530" r:id="rId27"/>
  </p:sldLayoutIdLst>
  <p:transition>
    <p:fade/>
  </p:transition>
  <p:hf sldNum="0" hdr="0" dt="0"/>
  <p:txStyles>
    <p:titleStyle>
      <a:lvl1pPr algn="l" defTabSz="932384" rtl="0" eaLnBrk="1" latinLnBrk="0" hangingPunct="1">
        <a:lnSpc>
          <a:spcPct val="90000"/>
        </a:lnSpc>
        <a:spcBef>
          <a:spcPct val="0"/>
        </a:spcBef>
        <a:buNone/>
        <a:defRPr lang="en-US" sz="39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99268072"/>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 id="2147484542" r:id="rId11"/>
    <p:sldLayoutId id="2147484543" r:id="rId12"/>
    <p:sldLayoutId id="2147484544" r:id="rId13"/>
    <p:sldLayoutId id="2147484545" r:id="rId14"/>
    <p:sldLayoutId id="2147484546" r:id="rId15"/>
    <p:sldLayoutId id="2147484547" r:id="rId16"/>
    <p:sldLayoutId id="2147484548" r:id="rId17"/>
    <p:sldLayoutId id="2147484549" r:id="rId18"/>
    <p:sldLayoutId id="2147484550" r:id="rId19"/>
    <p:sldLayoutId id="2147484551" r:id="rId20"/>
    <p:sldLayoutId id="2147484552" r:id="rId21"/>
    <p:sldLayoutId id="2147484553" r:id="rId22"/>
    <p:sldLayoutId id="2147484554" r:id="rId23"/>
    <p:sldLayoutId id="2147484555" r:id="rId24"/>
    <p:sldLayoutId id="2147484556" r:id="rId25"/>
    <p:sldLayoutId id="2147484557" r:id="rId26"/>
    <p:sldLayoutId id="2147484558" r:id="rId27"/>
  </p:sldLayoutIdLst>
  <p:transition>
    <p:fade/>
  </p:transition>
  <p:hf sldNum="0" hdr="0" dt="0"/>
  <p:txStyles>
    <p:titleStyle>
      <a:lvl1pPr algn="l" defTabSz="932563" rtl="0" eaLnBrk="1" latinLnBrk="0" hangingPunct="1">
        <a:lnSpc>
          <a:spcPct val="90000"/>
        </a:lnSpc>
        <a:spcBef>
          <a:spcPct val="0"/>
        </a:spcBef>
        <a:buNone/>
        <a:defRPr lang="en-US" sz="39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42684859"/>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 id="2147484572" r:id="rId13"/>
    <p:sldLayoutId id="2147484573" r:id="rId14"/>
    <p:sldLayoutId id="2147484574" r:id="rId15"/>
    <p:sldLayoutId id="2147484575" r:id="rId16"/>
    <p:sldLayoutId id="2147484576" r:id="rId17"/>
    <p:sldLayoutId id="2147484577" r:id="rId18"/>
    <p:sldLayoutId id="2147484578" r:id="rId19"/>
    <p:sldLayoutId id="2147484579" r:id="rId20"/>
    <p:sldLayoutId id="2147484580" r:id="rId21"/>
    <p:sldLayoutId id="2147484581" r:id="rId22"/>
    <p:sldLayoutId id="2147484582" r:id="rId23"/>
    <p:sldLayoutId id="2147484583" r:id="rId24"/>
    <p:sldLayoutId id="2147484584" r:id="rId25"/>
    <p:sldLayoutId id="2147484585" r:id="rId26"/>
    <p:sldLayoutId id="2147484586" r:id="rId27"/>
  </p:sldLayoutIdLst>
  <p:transition>
    <p:fade/>
  </p:transition>
  <p:hf sldNum="0" hdr="0" dt="0"/>
  <p:txStyles>
    <p:titleStyle>
      <a:lvl1pPr algn="l" defTabSz="932563" rtl="0" eaLnBrk="1" latinLnBrk="0" hangingPunct="1">
        <a:lnSpc>
          <a:spcPct val="90000"/>
        </a:lnSpc>
        <a:spcBef>
          <a:spcPct val="0"/>
        </a:spcBef>
        <a:buNone/>
        <a:defRPr lang="en-US" sz="39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03229314"/>
      </p:ext>
    </p:extLst>
  </p:cSld>
  <p:clrMap bg1="lt1" tx1="dk1" bg2="lt2" tx2="dk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 id="2147484605" r:id="rId18"/>
    <p:sldLayoutId id="2147484606" r:id="rId19"/>
    <p:sldLayoutId id="2147484607" r:id="rId20"/>
    <p:sldLayoutId id="2147484608" r:id="rId21"/>
    <p:sldLayoutId id="2147484609" r:id="rId22"/>
    <p:sldLayoutId id="2147484610" r:id="rId23"/>
    <p:sldLayoutId id="2147484611" r:id="rId24"/>
    <p:sldLayoutId id="2147484612" r:id="rId25"/>
    <p:sldLayoutId id="2147484613" r:id="rId26"/>
    <p:sldLayoutId id="2147484614" r:id="rId27"/>
    <p:sldLayoutId id="2147484615" r:id="rId28"/>
  </p:sldLayoutIdLst>
  <p:transition>
    <p:fade/>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9" orient="horz" pos="4219">
          <p15:clr>
            <a:srgbClr val="5ACBF0"/>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98452321"/>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 id="2147484635" r:id="rId19"/>
    <p:sldLayoutId id="2147484636" r:id="rId20"/>
    <p:sldLayoutId id="2147484637" r:id="rId21"/>
    <p:sldLayoutId id="2147484638" r:id="rId22"/>
    <p:sldLayoutId id="2147484639" r:id="rId23"/>
    <p:sldLayoutId id="2147484640" r:id="rId24"/>
    <p:sldLayoutId id="2147484641" r:id="rId25"/>
    <p:sldLayoutId id="2147484642" r:id="rId26"/>
    <p:sldLayoutId id="2147484643" r:id="rId27"/>
    <p:sldLayoutId id="2147484644" r:id="rId28"/>
  </p:sldLayoutIdLst>
  <p:transition>
    <p:fade/>
  </p:transition>
  <p:hf sldNum="0" hd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034782990"/>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Lst>
  <p:transition>
    <p:fade/>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83257589"/>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 id="2147484689" r:id="rId16"/>
    <p:sldLayoutId id="2147484690" r:id="rId17"/>
    <p:sldLayoutId id="2147484691" r:id="rId18"/>
    <p:sldLayoutId id="2147484692" r:id="rId19"/>
    <p:sldLayoutId id="2147484693" r:id="rId20"/>
    <p:sldLayoutId id="2147484694" r:id="rId21"/>
    <p:sldLayoutId id="2147484695" r:id="rId22"/>
    <p:sldLayoutId id="2147484696" r:id="rId23"/>
    <p:sldLayoutId id="2147484697" r:id="rId24"/>
    <p:sldLayoutId id="2147484698" r:id="rId25"/>
    <p:sldLayoutId id="2147484699" r:id="rId26"/>
    <p:sldLayoutId id="2147484700" r:id="rId27"/>
    <p:sldLayoutId id="2147484702" r:id="rId28"/>
    <p:sldLayoutId id="2147484703" r:id="rId29"/>
  </p:sldLayoutIdLst>
  <p:transition>
    <p:fade/>
  </p:transition>
  <p:hf sldNum="0" hdr="0" dt="0"/>
  <p:txStyles>
    <p:titleStyle>
      <a:lvl1pPr algn="l" defTabSz="932742" rtl="0" eaLnBrk="1" latinLnBrk="0" hangingPunct="1">
        <a:lnSpc>
          <a:spcPct val="90000"/>
        </a:lnSpc>
        <a:spcBef>
          <a:spcPct val="0"/>
        </a:spcBef>
        <a:buNone/>
        <a:defRPr lang="en-US" sz="4000" b="0" kern="1200" cap="none" spc="-102" baseline="0" dirty="0" smtClean="0">
          <a:ln w="3175">
            <a:noFill/>
          </a:ln>
          <a:solidFill>
            <a:schemeClr val="tx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426.xml"/></Relationships>
</file>

<file path=ppt/slides/_rels/slide10.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0.xml"/><Relationship Id="rId1" Type="http://schemas.openxmlformats.org/officeDocument/2006/relationships/slideLayout" Target="../slideLayouts/slideLayout433.xml"/><Relationship Id="rId6" Type="http://schemas.openxmlformats.org/officeDocument/2006/relationships/image" Target="../media/image108.emf"/><Relationship Id="rId5" Type="http://schemas.openxmlformats.org/officeDocument/2006/relationships/image" Target="../media/image107.emf"/><Relationship Id="rId4" Type="http://schemas.openxmlformats.org/officeDocument/2006/relationships/image" Target="../media/image106.emf"/></Relationships>
</file>

<file path=ppt/slides/_rels/slide11.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20.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png"/><Relationship Id="rId2" Type="http://schemas.openxmlformats.org/officeDocument/2006/relationships/notesSlide" Target="../notesSlides/notesSlide11.xml"/><Relationship Id="rId1" Type="http://schemas.openxmlformats.org/officeDocument/2006/relationships/slideLayout" Target="../slideLayouts/slideLayout433.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gif"/><Relationship Id="rId14" Type="http://schemas.openxmlformats.org/officeDocument/2006/relationships/image" Target="../media/image121.png"/></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4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32.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433.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433.xml"/><Relationship Id="rId4" Type="http://schemas.openxmlformats.org/officeDocument/2006/relationships/image" Target="../media/image123.png"/></Relationships>
</file>

<file path=ppt/slides/_rels/slide18.xml.rels><?xml version="1.0" encoding="UTF-8" standalone="yes"?>
<Relationships xmlns="http://schemas.openxmlformats.org/package/2006/relationships"><Relationship Id="rId3" Type="http://schemas.openxmlformats.org/officeDocument/2006/relationships/image" Target="../media/image124.wmf"/><Relationship Id="rId2" Type="http://schemas.openxmlformats.org/officeDocument/2006/relationships/notesSlide" Target="../notesSlides/notesSlide18.xml"/><Relationship Id="rId1" Type="http://schemas.openxmlformats.org/officeDocument/2006/relationships/slideLayout" Target="../slideLayouts/slideLayout433.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433.xml"/></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433.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4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3.xml"/></Relationships>
</file>

<file path=ppt/slides/_rels/slide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433.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433.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433.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433.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433.xml"/><Relationship Id="rId6" Type="http://schemas.openxmlformats.org/officeDocument/2006/relationships/image" Target="../media/image128.jpeg"/><Relationship Id="rId5" Type="http://schemas.openxmlformats.org/officeDocument/2006/relationships/image" Target="../media/image127.png"/><Relationship Id="rId4" Type="http://schemas.openxmlformats.org/officeDocument/2006/relationships/image" Target="../media/image126.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433.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32.png"/><Relationship Id="rId2" Type="http://schemas.openxmlformats.org/officeDocument/2006/relationships/notesSlide" Target="../notesSlides/notesSlide28.xml"/><Relationship Id="rId1" Type="http://schemas.openxmlformats.org/officeDocument/2006/relationships/slideLayout" Target="../slideLayouts/slideLayout433.xml"/><Relationship Id="rId6" Type="http://schemas.openxmlformats.org/officeDocument/2006/relationships/image" Target="../media/image131.jpeg"/><Relationship Id="rId5" Type="http://schemas.openxmlformats.org/officeDocument/2006/relationships/image" Target="../media/image130.png"/><Relationship Id="rId4" Type="http://schemas.openxmlformats.org/officeDocument/2006/relationships/image" Target="../media/image129.png"/></Relationships>
</file>

<file path=ppt/slides/_rels/slide2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9.xml"/><Relationship Id="rId1" Type="http://schemas.openxmlformats.org/officeDocument/2006/relationships/slideLayout" Target="../slideLayouts/slideLayout433.xml"/></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image" Target="../media/image60.jpeg"/><Relationship Id="rId26" Type="http://schemas.openxmlformats.org/officeDocument/2006/relationships/image" Target="../media/image64.jpeg"/><Relationship Id="rId39" Type="http://schemas.openxmlformats.org/officeDocument/2006/relationships/hyperlink" Target="https://brandtools.microsoft.com/Microsoft/Cloud_and_Enterprise/Bundle/Pages/STB13_Jaden_06/STB13_Jaden_06.aspx" TargetMode="External"/><Relationship Id="rId21" Type="http://schemas.openxmlformats.org/officeDocument/2006/relationships/hyperlink" Target="https://brandtools.microsoft.com/Search/Results.aspx?k=OFF12_Sadek_05&amp;r=1&amp;similarTo=https://brandtools.microsoft.com/Office/Bundle/Pages/OFF12_Sadek_05/OFF12_Sadek_05.aspx" TargetMode="External"/><Relationship Id="rId34" Type="http://schemas.openxmlformats.org/officeDocument/2006/relationships/image" Target="../media/image68.jpeg"/><Relationship Id="rId42" Type="http://schemas.openxmlformats.org/officeDocument/2006/relationships/image" Target="../media/image72.jpeg"/><Relationship Id="rId47" Type="http://schemas.openxmlformats.org/officeDocument/2006/relationships/hyperlink" Target="https://brandtools.microsoft.com/Windows/Bundle/Pages/WIN14_David_Xbox_03/WIN14_David_Xbox_03.aspx" TargetMode="External"/><Relationship Id="rId50" Type="http://schemas.openxmlformats.org/officeDocument/2006/relationships/image" Target="../media/image76.png"/><Relationship Id="rId55" Type="http://schemas.openxmlformats.org/officeDocument/2006/relationships/image" Target="../media/image79.jpeg"/><Relationship Id="rId63" Type="http://schemas.openxmlformats.org/officeDocument/2006/relationships/image" Target="../media/image84.jpeg"/><Relationship Id="rId68" Type="http://schemas.openxmlformats.org/officeDocument/2006/relationships/image" Target="../media/image89.png"/><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notesSlide" Target="../notesSlides/notesSlide3.xml"/><Relationship Id="rId29" Type="http://schemas.openxmlformats.org/officeDocument/2006/relationships/hyperlink" Target="https://brandtools.microsoft.com/Search/Results.aspx?k=OFF14_Austin_01&amp;r=1" TargetMode="Externa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63.jpeg"/><Relationship Id="rId32" Type="http://schemas.openxmlformats.org/officeDocument/2006/relationships/image" Target="../media/image67.jpeg"/><Relationship Id="rId37" Type="http://schemas.openxmlformats.org/officeDocument/2006/relationships/hyperlink" Target="https://brandtools.microsoft.com/Search/Results.aspx?k=WIN11_Louis_03&amp;r=1" TargetMode="External"/><Relationship Id="rId40" Type="http://schemas.openxmlformats.org/officeDocument/2006/relationships/image" Target="../media/image71.jpeg"/><Relationship Id="rId45" Type="http://schemas.openxmlformats.org/officeDocument/2006/relationships/hyperlink" Target="https://brandtools.microsoft.com/Search/Results.aspx?k=WIN11_Katharina_02&amp;r=1" TargetMode="External"/><Relationship Id="rId53" Type="http://schemas.openxmlformats.org/officeDocument/2006/relationships/image" Target="../media/image78.jpeg"/><Relationship Id="rId58" Type="http://schemas.openxmlformats.org/officeDocument/2006/relationships/hyperlink" Target="https://brandtools.microsoft.com/Windows/Bundle/Pages/WIN12_Kiki_08/WIN12_Kiki_08.aspx" TargetMode="External"/><Relationship Id="rId66" Type="http://schemas.openxmlformats.org/officeDocument/2006/relationships/image" Target="../media/image87.png"/><Relationship Id="rId5" Type="http://schemas.openxmlformats.org/officeDocument/2006/relationships/tags" Target="../tags/tag7.xml"/><Relationship Id="rId15" Type="http://schemas.openxmlformats.org/officeDocument/2006/relationships/slideLayout" Target="../slideLayouts/slideLayout404.xml"/><Relationship Id="rId23" Type="http://schemas.openxmlformats.org/officeDocument/2006/relationships/hyperlink" Target="https://brandtools.microsoft.com/Search/Results.aspx?k=WIN12_Morayma_08&amp;r=1" TargetMode="External"/><Relationship Id="rId28" Type="http://schemas.openxmlformats.org/officeDocument/2006/relationships/image" Target="../media/image65.jpeg"/><Relationship Id="rId36" Type="http://schemas.openxmlformats.org/officeDocument/2006/relationships/image" Target="../media/image69.jpeg"/><Relationship Id="rId49" Type="http://schemas.openxmlformats.org/officeDocument/2006/relationships/hyperlink" Target="https://brandtools.microsoft.com/Microsoft/Cloud_and_Enterprise/Bundle/Pages/STB13_Ken_01/STB13_Ken_01.aspx" TargetMode="External"/><Relationship Id="rId57" Type="http://schemas.openxmlformats.org/officeDocument/2006/relationships/image" Target="../media/image80.jpeg"/><Relationship Id="rId61" Type="http://schemas.openxmlformats.org/officeDocument/2006/relationships/image" Target="../media/image82.jpeg"/><Relationship Id="rId10" Type="http://schemas.openxmlformats.org/officeDocument/2006/relationships/tags" Target="../tags/tag12.xml"/><Relationship Id="rId19" Type="http://schemas.openxmlformats.org/officeDocument/2006/relationships/hyperlink" Target="https://brandtools.microsoft.com/Search/Results.aspx?k=WIN13_Madelon_03&amp;r=1" TargetMode="External"/><Relationship Id="rId31" Type="http://schemas.openxmlformats.org/officeDocument/2006/relationships/hyperlink" Target="https://brandtools.microsoft.com/Search/Results.aspx?k=WIN12_Elene_Asus_04&amp;r=1" TargetMode="External"/><Relationship Id="rId44" Type="http://schemas.openxmlformats.org/officeDocument/2006/relationships/image" Target="../media/image73.jpeg"/><Relationship Id="rId52" Type="http://schemas.openxmlformats.org/officeDocument/2006/relationships/hyperlink" Target="https://brandtools.microsoft.com/Office/Bundle/Pages/OFF12_Nanemi_02/OFF12_Nanemi_02.aspx" TargetMode="External"/><Relationship Id="rId60" Type="http://schemas.openxmlformats.org/officeDocument/2006/relationships/hyperlink" Target="https://brandtools.microsoft.com/Microsoft/Cloud_and_Enterprise/Bundle/Pages/STB13_Bijan_07/STB13_Bijan_07.aspx" TargetMode="External"/><Relationship Id="rId65" Type="http://schemas.openxmlformats.org/officeDocument/2006/relationships/image" Target="../media/image86.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62.jpeg"/><Relationship Id="rId27" Type="http://schemas.openxmlformats.org/officeDocument/2006/relationships/hyperlink" Target="https://brandtools.microsoft.com/Windows/Bundle/Pages/WIN14_Paulo_HP_Nokia_01/WIN14_Paulo_HP_Nokia_01.aspx" TargetMode="External"/><Relationship Id="rId30" Type="http://schemas.openxmlformats.org/officeDocument/2006/relationships/image" Target="../media/image66.jpeg"/><Relationship Id="rId35" Type="http://schemas.openxmlformats.org/officeDocument/2006/relationships/hyperlink" Target="https://brandtools.microsoft.com/Search/Results.aspx?k=WIN13_Surface_02&amp;r=1" TargetMode="External"/><Relationship Id="rId43" Type="http://schemas.openxmlformats.org/officeDocument/2006/relationships/hyperlink" Target="https://brandtools.microsoft.com/Search/Results.aspx?k=WIN13_Acer_04&amp;r=1" TargetMode="External"/><Relationship Id="rId48" Type="http://schemas.openxmlformats.org/officeDocument/2006/relationships/image" Target="../media/image75.jpeg"/><Relationship Id="rId56" Type="http://schemas.openxmlformats.org/officeDocument/2006/relationships/hyperlink" Target="https://brandtools.microsoft.com/Windows/Bundle/Pages/WIN13_Jareau_PanasonicToughPad_03/WIN13_Jareau_PanasonicToughPad_03.aspx" TargetMode="External"/><Relationship Id="rId64" Type="http://schemas.openxmlformats.org/officeDocument/2006/relationships/image" Target="../media/image85.png"/><Relationship Id="rId69" Type="http://schemas.openxmlformats.org/officeDocument/2006/relationships/image" Target="../media/image90.png"/><Relationship Id="rId8" Type="http://schemas.openxmlformats.org/officeDocument/2006/relationships/tags" Target="../tags/tag10.xml"/><Relationship Id="rId51" Type="http://schemas.openxmlformats.org/officeDocument/2006/relationships/image" Target="../media/image77.jpeg"/><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hyperlink" Target="https://brandtools.microsoft.com/Microsoft/Cloud_and_Enterprise/Bundle/Pages/STB13_Scene_01/STB13_Scene_01.aspx" TargetMode="External"/><Relationship Id="rId25" Type="http://schemas.openxmlformats.org/officeDocument/2006/relationships/hyperlink" Target="https://brandtools.microsoft.com/Search/Results.aspx?k=WIN13_Yara_Lenovo_02&amp;r=1" TargetMode="External"/><Relationship Id="rId33" Type="http://schemas.openxmlformats.org/officeDocument/2006/relationships/hyperlink" Target="https://brandtools.microsoft.com/Search/Results.aspx?k=MSC13_Lydia_02&amp;r=1&amp;similarTo=https://brandtools.microsoft.com/Microsoft/Bundle/Pages/MSC13_Lydia_02/MSC13_Lydia_02.aspx" TargetMode="External"/><Relationship Id="rId38" Type="http://schemas.openxmlformats.org/officeDocument/2006/relationships/image" Target="../media/image70.jpeg"/><Relationship Id="rId46" Type="http://schemas.openxmlformats.org/officeDocument/2006/relationships/image" Target="../media/image74.jpeg"/><Relationship Id="rId59" Type="http://schemas.openxmlformats.org/officeDocument/2006/relationships/image" Target="../media/image81.jpeg"/><Relationship Id="rId67" Type="http://schemas.openxmlformats.org/officeDocument/2006/relationships/image" Target="../media/image88.png"/><Relationship Id="rId20" Type="http://schemas.openxmlformats.org/officeDocument/2006/relationships/image" Target="../media/image61.jpeg"/><Relationship Id="rId41" Type="http://schemas.openxmlformats.org/officeDocument/2006/relationships/hyperlink" Target="https://brandtools.microsoft.com/Search/Results.aspx?k=SKY13_DEVICES_1616&amp;r=1" TargetMode="External"/><Relationship Id="rId54" Type="http://schemas.openxmlformats.org/officeDocument/2006/relationships/hyperlink" Target="https://brandtools.microsoft.com/Windows/Bundle/Pages/WIN14_Jan_04/WIN14_Jan_04.aspx" TargetMode="External"/><Relationship Id="rId62" Type="http://schemas.openxmlformats.org/officeDocument/2006/relationships/image" Target="../media/image83.png"/><Relationship Id="rId70" Type="http://schemas.openxmlformats.org/officeDocument/2006/relationships/image" Target="../media/image91.png"/></Relationships>
</file>

<file path=ppt/slides/_rels/slide3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0.xml"/><Relationship Id="rId1" Type="http://schemas.openxmlformats.org/officeDocument/2006/relationships/slideLayout" Target="../slideLayouts/slideLayout433.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433.xml"/></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2.xml"/><Relationship Id="rId1" Type="http://schemas.openxmlformats.org/officeDocument/2006/relationships/slideLayout" Target="../slideLayouts/slideLayout433.xml"/></Relationships>
</file>

<file path=ppt/slides/_rels/slide33.xml.rels><?xml version="1.0" encoding="UTF-8" standalone="yes"?>
<Relationships xmlns="http://schemas.openxmlformats.org/package/2006/relationships"><Relationship Id="rId3" Type="http://schemas.openxmlformats.org/officeDocument/2006/relationships/image" Target="../media/image56.jpeg"/><Relationship Id="rId7" Type="http://schemas.openxmlformats.org/officeDocument/2006/relationships/image" Target="../media/image96.png"/><Relationship Id="rId2" Type="http://schemas.openxmlformats.org/officeDocument/2006/relationships/notesSlide" Target="../notesSlides/notesSlide33.xml"/><Relationship Id="rId1" Type="http://schemas.openxmlformats.org/officeDocument/2006/relationships/slideLayout" Target="../slideLayouts/slideLayout433.xml"/><Relationship Id="rId6" Type="http://schemas.openxmlformats.org/officeDocument/2006/relationships/image" Target="../media/image94.png"/><Relationship Id="rId5" Type="http://schemas.openxmlformats.org/officeDocument/2006/relationships/image" Target="../media/image95.png"/><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4.xml"/><Relationship Id="rId1" Type="http://schemas.openxmlformats.org/officeDocument/2006/relationships/slideLayout" Target="../slideLayouts/slideLayout433.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21" Type="http://schemas.openxmlformats.org/officeDocument/2006/relationships/slideLayout" Target="../slideLayouts/slideLayout433.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433.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00.jpeg"/><Relationship Id="rId2" Type="http://schemas.openxmlformats.org/officeDocument/2006/relationships/notesSlide" Target="../notesSlides/notesSlide7.xml"/><Relationship Id="rId1" Type="http://schemas.openxmlformats.org/officeDocument/2006/relationships/slideLayout" Target="../slideLayouts/slideLayout433.xml"/><Relationship Id="rId6" Type="http://schemas.openxmlformats.org/officeDocument/2006/relationships/image" Target="../media/image99.gif"/><Relationship Id="rId5" Type="http://schemas.openxmlformats.org/officeDocument/2006/relationships/image" Target="../media/image98.jpeg"/><Relationship Id="rId4" Type="http://schemas.openxmlformats.org/officeDocument/2006/relationships/image" Target="../media/image97.jpeg"/></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04.jpeg"/><Relationship Id="rId2" Type="http://schemas.openxmlformats.org/officeDocument/2006/relationships/notesSlide" Target="../notesSlides/notesSlide8.xml"/><Relationship Id="rId1" Type="http://schemas.openxmlformats.org/officeDocument/2006/relationships/slideLayout" Target="../slideLayouts/slideLayout433.xml"/><Relationship Id="rId6" Type="http://schemas.openxmlformats.org/officeDocument/2006/relationships/image" Target="../media/image103.jpeg"/><Relationship Id="rId5" Type="http://schemas.openxmlformats.org/officeDocument/2006/relationships/image" Target="../media/image102.jpeg"/><Relationship Id="rId4" Type="http://schemas.openxmlformats.org/officeDocument/2006/relationships/image" Target="../media/image101.jpeg"/></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4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ltGray">
          <a:xfrm>
            <a:off x="443565" y="1590880"/>
            <a:ext cx="7270778" cy="1965119"/>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algn="ctr" defTabSz="932563">
              <a:defRPr/>
            </a:pPr>
            <a:r>
              <a:rPr lang="en-US" sz="5400" dirty="0">
                <a:ln>
                  <a:noFill/>
                </a:ln>
                <a:gradFill>
                  <a:gsLst>
                    <a:gs pos="57576">
                      <a:srgbClr val="FFFFFF"/>
                    </a:gs>
                    <a:gs pos="35000">
                      <a:srgbClr val="FFFFFF"/>
                    </a:gs>
                  </a:gsLst>
                  <a:lin ang="5400000" scaled="0"/>
                </a:gradFill>
                <a:latin typeface="Segoe UI Light" panose="020B0502040204020203" pitchFamily="34" charset="0"/>
                <a:ea typeface="+mj-ea"/>
                <a:cs typeface="Segoe UI Light" panose="020B0502040204020203" pitchFamily="34" charset="0"/>
              </a:rPr>
              <a:t>Digital Transformation in the Manufacturing Plant</a:t>
            </a:r>
            <a:endParaRPr lang="en-US" sz="6731" spc="0" dirty="0">
              <a:latin typeface="Segoe UI Light"/>
            </a:endParaRPr>
          </a:p>
        </p:txBody>
      </p:sp>
      <p:pic>
        <p:nvPicPr>
          <p:cNvPr id="18" name="Picture 1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bwMode="gray">
          <a:xfrm>
            <a:off x="10250708" y="6015237"/>
            <a:ext cx="2184884" cy="979287"/>
          </a:xfrm>
          <a:prstGeom prst="rect">
            <a:avLst/>
          </a:prstGeom>
        </p:spPr>
      </p:pic>
      <p:sp>
        <p:nvSpPr>
          <p:cNvPr id="6" name="Title 2">
            <a:extLst>
              <a:ext uri="{FF2B5EF4-FFF2-40B4-BE49-F238E27FC236}">
                <a16:creationId xmlns:a16="http://schemas.microsoft.com/office/drawing/2014/main" id="{997299B3-A66C-4D3D-B958-9BAA0C208D0E}"/>
              </a:ext>
            </a:extLst>
          </p:cNvPr>
          <p:cNvSpPr txBox="1">
            <a:spLocks/>
          </p:cNvSpPr>
          <p:nvPr/>
        </p:nvSpPr>
        <p:spPr>
          <a:xfrm>
            <a:off x="680092" y="5487478"/>
            <a:ext cx="4309351" cy="839342"/>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lnSpc>
                <a:spcPts val="2897"/>
              </a:lnSpc>
              <a:defRPr/>
            </a:pPr>
            <a:r>
              <a:rPr lang="en-US" sz="2244" spc="-30" dirty="0">
                <a:solidFill>
                  <a:srgbClr val="FFFFFF"/>
                </a:solidFill>
                <a:latin typeface="Segoe UI Light"/>
              </a:rPr>
              <a:t>Nadia Hernandez-Quan	</a:t>
            </a:r>
          </a:p>
          <a:p>
            <a:pPr defTabSz="932384">
              <a:lnSpc>
                <a:spcPts val="2897"/>
              </a:lnSpc>
              <a:defRPr/>
            </a:pPr>
            <a:r>
              <a:rPr lang="en-US" sz="2244" spc="-30" dirty="0">
                <a:solidFill>
                  <a:srgbClr val="FFFFFF"/>
                </a:solidFill>
                <a:latin typeface="Segoe UI Light"/>
              </a:rPr>
              <a:t>Data &amp; AI Solutions Specialist</a:t>
            </a:r>
          </a:p>
        </p:txBody>
      </p:sp>
      <p:sp>
        <p:nvSpPr>
          <p:cNvPr id="5" name="Title 1">
            <a:extLst>
              <a:ext uri="{FF2B5EF4-FFF2-40B4-BE49-F238E27FC236}">
                <a16:creationId xmlns:a16="http://schemas.microsoft.com/office/drawing/2014/main" id="{0624EA6F-7B91-4760-B774-C6431163F58B}"/>
              </a:ext>
            </a:extLst>
          </p:cNvPr>
          <p:cNvSpPr txBox="1">
            <a:spLocks/>
          </p:cNvSpPr>
          <p:nvPr/>
        </p:nvSpPr>
        <p:spPr bwMode="ltGray">
          <a:xfrm>
            <a:off x="607102" y="3227306"/>
            <a:ext cx="7270778" cy="1965119"/>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defRPr/>
            </a:pPr>
            <a:r>
              <a:rPr lang="en-US" sz="3600" i="1" spc="0" dirty="0">
                <a:ln>
                  <a:noFill/>
                </a:ln>
                <a:gradFill>
                  <a:gsLst>
                    <a:gs pos="57576">
                      <a:srgbClr val="FFFFFF"/>
                    </a:gs>
                    <a:gs pos="35000">
                      <a:srgbClr val="FFFFFF"/>
                    </a:gs>
                  </a:gsLst>
                  <a:lin ang="5400000" scaled="0"/>
                </a:gradFill>
                <a:latin typeface="Segoe UI Light" panose="020B0502040204020203" pitchFamily="34" charset="0"/>
                <a:ea typeface="+mj-ea"/>
                <a:cs typeface="Segoe UI Light" panose="020B0502040204020203" pitchFamily="34" charset="0"/>
              </a:rPr>
              <a:t>Predictive Maintenance with IOT</a:t>
            </a:r>
            <a:endParaRPr lang="en-US" sz="3600" i="1" spc="0" dirty="0">
              <a:latin typeface="Segoe UI Light"/>
            </a:endParaRPr>
          </a:p>
        </p:txBody>
      </p:sp>
    </p:spTree>
    <p:extLst>
      <p:ext uri="{BB962C8B-B14F-4D97-AF65-F5344CB8AC3E}">
        <p14:creationId xmlns:p14="http://schemas.microsoft.com/office/powerpoint/2010/main" val="177627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39769" y="201157"/>
            <a:ext cx="10726738" cy="1319212"/>
          </a:xfrm>
        </p:spPr>
        <p:txBody>
          <a:bodyPr>
            <a:normAutofit/>
          </a:bodyPr>
          <a:lstStyle/>
          <a:p>
            <a:r>
              <a:rPr lang="en-US" sz="3600" dirty="0"/>
              <a:t>Predictive Maintenance Use Cases</a:t>
            </a:r>
          </a:p>
        </p:txBody>
      </p:sp>
      <p:grpSp>
        <p:nvGrpSpPr>
          <p:cNvPr id="34" name="Group 33">
            <a:extLst>
              <a:ext uri="{FF2B5EF4-FFF2-40B4-BE49-F238E27FC236}">
                <a16:creationId xmlns:a16="http://schemas.microsoft.com/office/drawing/2014/main" id="{86ED8303-BDBF-41A6-B0AF-8EA4E164D35D}"/>
              </a:ext>
            </a:extLst>
          </p:cNvPr>
          <p:cNvGrpSpPr/>
          <p:nvPr/>
        </p:nvGrpSpPr>
        <p:grpSpPr>
          <a:xfrm>
            <a:off x="1023752" y="1190687"/>
            <a:ext cx="2486236" cy="3793177"/>
            <a:chOff x="704538" y="1172528"/>
            <a:chExt cx="2486236" cy="3793177"/>
          </a:xfrm>
        </p:grpSpPr>
        <p:sp>
          <p:nvSpPr>
            <p:cNvPr id="4" name="Rectangle 3"/>
            <p:cNvSpPr/>
            <p:nvPr/>
          </p:nvSpPr>
          <p:spPr bwMode="auto">
            <a:xfrm>
              <a:off x="704538" y="1172528"/>
              <a:ext cx="2486236" cy="75512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822843" tIns="46630" rIns="182854" bIns="46630" numCol="1" rtlCol="0" anchor="ctr" anchorCtr="0" compatLnSpc="1">
              <a:prstTxWarp prst="textNoShape">
                <a:avLst/>
              </a:prstTxWarp>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Aerospace</a:t>
              </a:r>
            </a:p>
          </p:txBody>
        </p:sp>
        <p:grpSp>
          <p:nvGrpSpPr>
            <p:cNvPr id="21" name="Group 20">
              <a:extLst>
                <a:ext uri="{FF2B5EF4-FFF2-40B4-BE49-F238E27FC236}">
                  <a16:creationId xmlns:a16="http://schemas.microsoft.com/office/drawing/2014/main" id="{4EF9EA65-61DA-4864-B59B-C02106431482}"/>
                </a:ext>
              </a:extLst>
            </p:cNvPr>
            <p:cNvGrpSpPr/>
            <p:nvPr/>
          </p:nvGrpSpPr>
          <p:grpSpPr>
            <a:xfrm>
              <a:off x="704538" y="3594105"/>
              <a:ext cx="2486236" cy="1371600"/>
              <a:chOff x="672470" y="4050708"/>
              <a:chExt cx="2486236" cy="1371600"/>
            </a:xfrm>
          </p:grpSpPr>
          <p:sp>
            <p:nvSpPr>
              <p:cNvPr id="7" name="Rectangle 6"/>
              <p:cNvSpPr/>
              <p:nvPr/>
            </p:nvSpPr>
            <p:spPr bwMode="auto">
              <a:xfrm>
                <a:off x="672470" y="4050708"/>
                <a:ext cx="2486236"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en is this aircraft component likely to fail next?</a:t>
                </a:r>
              </a:p>
            </p:txBody>
          </p:sp>
          <p:pic>
            <p:nvPicPr>
              <p:cNvPr id="60" name="Picture 59"/>
              <p:cNvPicPr>
                <a:picLocks noChangeAspect="1"/>
              </p:cNvPicPr>
              <p:nvPr/>
            </p:nvPicPr>
            <p:blipFill>
              <a:blip r:embed="rId3"/>
              <a:stretch>
                <a:fillRect/>
              </a:stretch>
            </p:blipFill>
            <p:spPr>
              <a:xfrm>
                <a:off x="772339" y="4491146"/>
                <a:ext cx="425383" cy="410008"/>
              </a:xfrm>
              <a:prstGeom prst="rect">
                <a:avLst/>
              </a:prstGeom>
            </p:spPr>
          </p:pic>
        </p:grpSp>
        <p:grpSp>
          <p:nvGrpSpPr>
            <p:cNvPr id="22" name="Group 21">
              <a:extLst>
                <a:ext uri="{FF2B5EF4-FFF2-40B4-BE49-F238E27FC236}">
                  <a16:creationId xmlns:a16="http://schemas.microsoft.com/office/drawing/2014/main" id="{132B0348-8F7C-464F-A1A5-704B5FE37230}"/>
                </a:ext>
              </a:extLst>
            </p:cNvPr>
            <p:cNvGrpSpPr/>
            <p:nvPr/>
          </p:nvGrpSpPr>
          <p:grpSpPr>
            <a:xfrm>
              <a:off x="704538" y="2078796"/>
              <a:ext cx="2486236" cy="1371600"/>
              <a:chOff x="720295" y="2554668"/>
              <a:chExt cx="2486236" cy="1371600"/>
            </a:xfrm>
          </p:grpSpPr>
          <p:sp>
            <p:nvSpPr>
              <p:cNvPr id="15" name="Rectangle 14"/>
              <p:cNvSpPr/>
              <p:nvPr/>
            </p:nvSpPr>
            <p:spPr bwMode="auto">
              <a:xfrm>
                <a:off x="720295" y="2554668"/>
                <a:ext cx="2486236"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843" tIns="46630" rIns="0" bIns="46630" numCol="1" rtlCol="0" anchor="ctr" anchorCtr="0" compatLnSpc="1">
                <a:prstTxWarp prst="textNoShape">
                  <a:avLst/>
                </a:prstTxWarp>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at is the likelihood of delay due to mechanical issues?</a:t>
                </a:r>
              </a:p>
            </p:txBody>
          </p:sp>
          <p:grpSp>
            <p:nvGrpSpPr>
              <p:cNvPr id="47" name="Group 46"/>
              <p:cNvGrpSpPr/>
              <p:nvPr/>
            </p:nvGrpSpPr>
            <p:grpSpPr>
              <a:xfrm>
                <a:off x="820161" y="3022321"/>
                <a:ext cx="456886" cy="429886"/>
                <a:chOff x="7377113" y="18964"/>
                <a:chExt cx="345878" cy="325438"/>
              </a:xfrm>
              <a:solidFill>
                <a:schemeClr val="tx1"/>
              </a:solidFill>
            </p:grpSpPr>
            <p:sp>
              <p:nvSpPr>
                <p:cNvPr id="48" name="Freeform 26"/>
                <p:cNvSpPr>
                  <a:spLocks noEditPoints="1"/>
                </p:cNvSpPr>
                <p:nvPr/>
              </p:nvSpPr>
              <p:spPr bwMode="auto">
                <a:xfrm>
                  <a:off x="7384991" y="55433"/>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376"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9"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376"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50" name="Freeform 28"/>
                <p:cNvSpPr>
                  <a:spLocks/>
                </p:cNvSpPr>
                <p:nvPr/>
              </p:nvSpPr>
              <p:spPr bwMode="auto">
                <a:xfrm>
                  <a:off x="7403903" y="18964"/>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376"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grpSp>
      <p:grpSp>
        <p:nvGrpSpPr>
          <p:cNvPr id="31" name="Group 30">
            <a:extLst>
              <a:ext uri="{FF2B5EF4-FFF2-40B4-BE49-F238E27FC236}">
                <a16:creationId xmlns:a16="http://schemas.microsoft.com/office/drawing/2014/main" id="{3D9BF802-40A5-4177-9D72-81B744E9327B}"/>
              </a:ext>
            </a:extLst>
          </p:cNvPr>
          <p:cNvGrpSpPr/>
          <p:nvPr/>
        </p:nvGrpSpPr>
        <p:grpSpPr>
          <a:xfrm>
            <a:off x="8846981" y="1172528"/>
            <a:ext cx="2486237" cy="3822948"/>
            <a:chOff x="9283060" y="1171377"/>
            <a:chExt cx="2486237" cy="3822948"/>
          </a:xfrm>
        </p:grpSpPr>
        <p:sp>
          <p:nvSpPr>
            <p:cNvPr id="51" name="Rectangle 50"/>
            <p:cNvSpPr/>
            <p:nvPr/>
          </p:nvSpPr>
          <p:spPr bwMode="auto">
            <a:xfrm>
              <a:off x="9283060" y="1171377"/>
              <a:ext cx="2486237" cy="75512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822843" tIns="46630" rIns="182854" bIns="46630" numCol="1" rtlCol="0" anchor="ctr" anchorCtr="0" compatLnSpc="1">
              <a:prstTxWarp prst="textNoShape">
                <a:avLst/>
              </a:prstTxWarp>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Transportation &amp; Logistics</a:t>
              </a:r>
            </a:p>
          </p:txBody>
        </p:sp>
        <p:grpSp>
          <p:nvGrpSpPr>
            <p:cNvPr id="17" name="Group 16">
              <a:extLst>
                <a:ext uri="{FF2B5EF4-FFF2-40B4-BE49-F238E27FC236}">
                  <a16:creationId xmlns:a16="http://schemas.microsoft.com/office/drawing/2014/main" id="{4AD13491-B339-45E5-8230-4A9C71891744}"/>
                </a:ext>
              </a:extLst>
            </p:cNvPr>
            <p:cNvGrpSpPr/>
            <p:nvPr/>
          </p:nvGrpSpPr>
          <p:grpSpPr>
            <a:xfrm>
              <a:off x="9283060" y="3622725"/>
              <a:ext cx="2486237" cy="1371600"/>
              <a:chOff x="9332868" y="4157403"/>
              <a:chExt cx="2486237" cy="1371600"/>
            </a:xfrm>
          </p:grpSpPr>
          <p:sp>
            <p:nvSpPr>
              <p:cNvPr id="52" name="Rectangle 51"/>
              <p:cNvSpPr/>
              <p:nvPr/>
            </p:nvSpPr>
            <p:spPr bwMode="auto">
              <a:xfrm>
                <a:off x="9332868" y="4157403"/>
                <a:ext cx="2486237"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at maintenance task should I perform on my elevator?</a:t>
                </a:r>
              </a:p>
            </p:txBody>
          </p:sp>
          <p:pic>
            <p:nvPicPr>
              <p:cNvPr id="56" name="Picture 55"/>
              <p:cNvPicPr>
                <a:picLocks noChangeAspect="1"/>
              </p:cNvPicPr>
              <p:nvPr/>
            </p:nvPicPr>
            <p:blipFill>
              <a:blip r:embed="rId4">
                <a:duotone>
                  <a:schemeClr val="accent4">
                    <a:shade val="45000"/>
                    <a:satMod val="135000"/>
                  </a:schemeClr>
                  <a:prstClr val="white"/>
                </a:duotone>
              </a:blip>
              <a:stretch>
                <a:fillRect/>
              </a:stretch>
            </p:blipFill>
            <p:spPr>
              <a:xfrm>
                <a:off x="9425663" y="4515789"/>
                <a:ext cx="654828" cy="654828"/>
              </a:xfrm>
              <a:prstGeom prst="rect">
                <a:avLst/>
              </a:prstGeom>
            </p:spPr>
          </p:pic>
        </p:grpSp>
        <p:grpSp>
          <p:nvGrpSpPr>
            <p:cNvPr id="18" name="Group 17">
              <a:extLst>
                <a:ext uri="{FF2B5EF4-FFF2-40B4-BE49-F238E27FC236}">
                  <a16:creationId xmlns:a16="http://schemas.microsoft.com/office/drawing/2014/main" id="{A31F5C5B-95D3-43B5-947D-A303E310B992}"/>
                </a:ext>
              </a:extLst>
            </p:cNvPr>
            <p:cNvGrpSpPr/>
            <p:nvPr/>
          </p:nvGrpSpPr>
          <p:grpSpPr>
            <a:xfrm>
              <a:off x="9283060" y="2069140"/>
              <a:ext cx="2486237" cy="1371600"/>
              <a:chOff x="9234281" y="2559398"/>
              <a:chExt cx="2486237" cy="1371600"/>
            </a:xfrm>
          </p:grpSpPr>
          <p:sp>
            <p:nvSpPr>
              <p:cNvPr id="13" name="Rectangle 12"/>
              <p:cNvSpPr/>
              <p:nvPr/>
            </p:nvSpPr>
            <p:spPr bwMode="auto">
              <a:xfrm>
                <a:off x="9234281" y="2559398"/>
                <a:ext cx="2486237"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hould I replace the brake discs in my car or can I wait for another month?</a:t>
                </a:r>
              </a:p>
            </p:txBody>
          </p:sp>
          <p:pic>
            <p:nvPicPr>
              <p:cNvPr id="61" name="Picture 60"/>
              <p:cNvPicPr>
                <a:picLocks noChangeAspect="1"/>
              </p:cNvPicPr>
              <p:nvPr/>
            </p:nvPicPr>
            <p:blipFill>
              <a:blip r:embed="rId5">
                <a:duotone>
                  <a:schemeClr val="accent4">
                    <a:shade val="45000"/>
                    <a:satMod val="135000"/>
                  </a:schemeClr>
                  <a:prstClr val="white"/>
                </a:duotone>
              </a:blip>
              <a:stretch>
                <a:fillRect/>
              </a:stretch>
            </p:blipFill>
            <p:spPr>
              <a:xfrm rot="19899486">
                <a:off x="9301071" y="2908142"/>
                <a:ext cx="716191" cy="716191"/>
              </a:xfrm>
              <a:prstGeom prst="rect">
                <a:avLst/>
              </a:prstGeom>
            </p:spPr>
          </p:pic>
        </p:grpSp>
      </p:grpSp>
      <p:grpSp>
        <p:nvGrpSpPr>
          <p:cNvPr id="33" name="Group 32">
            <a:extLst>
              <a:ext uri="{FF2B5EF4-FFF2-40B4-BE49-F238E27FC236}">
                <a16:creationId xmlns:a16="http://schemas.microsoft.com/office/drawing/2014/main" id="{61354557-0EE1-4FF7-98EB-6A3515012A2F}"/>
              </a:ext>
            </a:extLst>
          </p:cNvPr>
          <p:cNvGrpSpPr/>
          <p:nvPr/>
        </p:nvGrpSpPr>
        <p:grpSpPr>
          <a:xfrm>
            <a:off x="3605134" y="1172528"/>
            <a:ext cx="2597156" cy="5335269"/>
            <a:chOff x="3278908" y="1172528"/>
            <a:chExt cx="2934171" cy="5335269"/>
          </a:xfrm>
        </p:grpSpPr>
        <p:sp>
          <p:nvSpPr>
            <p:cNvPr id="6" name="Rectangle 5"/>
            <p:cNvSpPr/>
            <p:nvPr/>
          </p:nvSpPr>
          <p:spPr bwMode="auto">
            <a:xfrm>
              <a:off x="3283161" y="1172528"/>
              <a:ext cx="2925665" cy="75512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822843" tIns="46630" rIns="182854" bIns="46630" numCol="1" rtlCol="0" anchor="ctr" anchorCtr="0" compatLnSpc="1">
              <a:prstTxWarp prst="textNoShape">
                <a:avLst/>
              </a:prstTxWarp>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itchFamily="34" charset="0"/>
                </a:rPr>
                <a:t>Utilities</a:t>
              </a:r>
            </a:p>
          </p:txBody>
        </p:sp>
        <p:grpSp>
          <p:nvGrpSpPr>
            <p:cNvPr id="11" name="Group 10">
              <a:extLst>
                <a:ext uri="{FF2B5EF4-FFF2-40B4-BE49-F238E27FC236}">
                  <a16:creationId xmlns:a16="http://schemas.microsoft.com/office/drawing/2014/main" id="{26985970-F0F4-43B8-B67B-B8F638976FD6}"/>
                </a:ext>
              </a:extLst>
            </p:cNvPr>
            <p:cNvGrpSpPr/>
            <p:nvPr/>
          </p:nvGrpSpPr>
          <p:grpSpPr>
            <a:xfrm>
              <a:off x="3283161" y="3623104"/>
              <a:ext cx="2925665" cy="1371600"/>
              <a:chOff x="3262042" y="4050709"/>
              <a:chExt cx="2925665" cy="1371600"/>
            </a:xfrm>
          </p:grpSpPr>
          <p:sp>
            <p:nvSpPr>
              <p:cNvPr id="8" name="Rectangle 7"/>
              <p:cNvSpPr/>
              <p:nvPr/>
            </p:nvSpPr>
            <p:spPr bwMode="auto">
              <a:xfrm>
                <a:off x="3262042" y="4050709"/>
                <a:ext cx="2925665"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ich circuit breakers in my system are likely to fail in the next month?</a:t>
                </a:r>
              </a:p>
            </p:txBody>
          </p:sp>
          <p:sp>
            <p:nvSpPr>
              <p:cNvPr id="44" name="Freeform 5"/>
              <p:cNvSpPr>
                <a:spLocks noEditPoints="1"/>
              </p:cNvSpPr>
              <p:nvPr/>
            </p:nvSpPr>
            <p:spPr bwMode="auto">
              <a:xfrm rot="1148920" flipH="1">
                <a:off x="3488573" y="4507724"/>
                <a:ext cx="343596" cy="389584"/>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tx1"/>
              </a:solidFill>
              <a:ln>
                <a:noFill/>
              </a:ln>
            </p:spPr>
            <p:txBody>
              <a:bodyPr vert="horz" wrap="square" lIns="91390" tIns="45695" rIns="91390" bIns="45695"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AEDB093-2EF1-4139-B785-EDBE0099484E}"/>
                </a:ext>
              </a:extLst>
            </p:cNvPr>
            <p:cNvGrpSpPr/>
            <p:nvPr/>
          </p:nvGrpSpPr>
          <p:grpSpPr>
            <a:xfrm>
              <a:off x="3287414" y="2081013"/>
              <a:ext cx="2917158" cy="1371600"/>
              <a:chOff x="3273770" y="2570748"/>
              <a:chExt cx="2917158" cy="1371600"/>
            </a:xfrm>
          </p:grpSpPr>
          <p:sp>
            <p:nvSpPr>
              <p:cNvPr id="14" name="Rectangle 13"/>
              <p:cNvSpPr/>
              <p:nvPr/>
            </p:nvSpPr>
            <p:spPr bwMode="auto">
              <a:xfrm>
                <a:off x="3273770" y="2570748"/>
                <a:ext cx="2917158"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en is my solar panel or wind turbine going to fail next?</a:t>
                </a:r>
              </a:p>
            </p:txBody>
          </p:sp>
          <p:pic>
            <p:nvPicPr>
              <p:cNvPr id="55" name="Picture 54"/>
              <p:cNvPicPr>
                <a:picLocks noChangeAspect="1"/>
              </p:cNvPicPr>
              <p:nvPr/>
            </p:nvPicPr>
            <p:blipFill>
              <a:blip r:embed="rId6">
                <a:duotone>
                  <a:prstClr val="black"/>
                  <a:schemeClr val="tx2">
                    <a:tint val="45000"/>
                    <a:satMod val="400000"/>
                  </a:schemeClr>
                </a:duotone>
              </a:blip>
              <a:stretch>
                <a:fillRect/>
              </a:stretch>
            </p:blipFill>
            <p:spPr>
              <a:xfrm>
                <a:off x="3308079" y="2862207"/>
                <a:ext cx="736471" cy="736471"/>
              </a:xfrm>
              <a:prstGeom prst="rect">
                <a:avLst/>
              </a:prstGeom>
            </p:spPr>
          </p:pic>
        </p:grpSp>
        <p:grpSp>
          <p:nvGrpSpPr>
            <p:cNvPr id="12" name="Group 11">
              <a:extLst>
                <a:ext uri="{FF2B5EF4-FFF2-40B4-BE49-F238E27FC236}">
                  <a16:creationId xmlns:a16="http://schemas.microsoft.com/office/drawing/2014/main" id="{6F0F927B-16A2-4593-AEF6-5410CA11AF45}"/>
                </a:ext>
              </a:extLst>
            </p:cNvPr>
            <p:cNvGrpSpPr/>
            <p:nvPr/>
          </p:nvGrpSpPr>
          <p:grpSpPr>
            <a:xfrm>
              <a:off x="3278908" y="5136197"/>
              <a:ext cx="2934171" cy="1371600"/>
              <a:chOff x="3249359" y="5560769"/>
              <a:chExt cx="2934171" cy="1371600"/>
            </a:xfrm>
          </p:grpSpPr>
          <p:sp>
            <p:nvSpPr>
              <p:cNvPr id="5" name="Rectangle 4"/>
              <p:cNvSpPr/>
              <p:nvPr/>
            </p:nvSpPr>
            <p:spPr bwMode="auto">
              <a:xfrm>
                <a:off x="3249359" y="5560769"/>
                <a:ext cx="2934171"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s the ATM going to dispense the next 5 notes without failing?</a:t>
                </a:r>
              </a:p>
            </p:txBody>
          </p:sp>
          <p:sp>
            <p:nvSpPr>
              <p:cNvPr id="30" name="Freeform 9"/>
              <p:cNvSpPr>
                <a:spLocks noEditPoints="1"/>
              </p:cNvSpPr>
              <p:nvPr/>
            </p:nvSpPr>
            <p:spPr bwMode="auto">
              <a:xfrm>
                <a:off x="3466072" y="6087018"/>
                <a:ext cx="420487" cy="270937"/>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grpSp>
        <p:nvGrpSpPr>
          <p:cNvPr id="32" name="Group 31">
            <a:extLst>
              <a:ext uri="{FF2B5EF4-FFF2-40B4-BE49-F238E27FC236}">
                <a16:creationId xmlns:a16="http://schemas.microsoft.com/office/drawing/2014/main" id="{25E8D6AD-6844-4DF3-A2E8-0D197A21ABD0}"/>
              </a:ext>
            </a:extLst>
          </p:cNvPr>
          <p:cNvGrpSpPr/>
          <p:nvPr/>
        </p:nvGrpSpPr>
        <p:grpSpPr>
          <a:xfrm>
            <a:off x="6279635" y="1172528"/>
            <a:ext cx="2486236" cy="5335269"/>
            <a:chOff x="6283349" y="1172528"/>
            <a:chExt cx="2926080" cy="5335269"/>
          </a:xfrm>
        </p:grpSpPr>
        <p:sp>
          <p:nvSpPr>
            <p:cNvPr id="45" name="Rectangle 44"/>
            <p:cNvSpPr/>
            <p:nvPr/>
          </p:nvSpPr>
          <p:spPr bwMode="auto">
            <a:xfrm>
              <a:off x="6283557" y="1172528"/>
              <a:ext cx="2925665" cy="75512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822843" tIns="46630" rIns="182854" bIns="46630" numCol="1" rtlCol="0" anchor="ctr" anchorCtr="0" compatLnSpc="1">
              <a:prstTxWarp prst="textNoShape">
                <a:avLst/>
              </a:prstTxWarp>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itchFamily="34" charset="0"/>
                </a:rPr>
                <a:t>Manufacturing</a:t>
              </a:r>
            </a:p>
          </p:txBody>
        </p:sp>
        <p:grpSp>
          <p:nvGrpSpPr>
            <p:cNvPr id="19" name="Group 18">
              <a:extLst>
                <a:ext uri="{FF2B5EF4-FFF2-40B4-BE49-F238E27FC236}">
                  <a16:creationId xmlns:a16="http://schemas.microsoft.com/office/drawing/2014/main" id="{C200B7A0-B5F2-40BA-A229-1571FC8A7CD5}"/>
                </a:ext>
              </a:extLst>
            </p:cNvPr>
            <p:cNvGrpSpPr/>
            <p:nvPr/>
          </p:nvGrpSpPr>
          <p:grpSpPr>
            <a:xfrm>
              <a:off x="6283557" y="3612264"/>
              <a:ext cx="2925665" cy="1371600"/>
              <a:chOff x="6345463" y="3920472"/>
              <a:chExt cx="2925665" cy="1371600"/>
            </a:xfrm>
          </p:grpSpPr>
          <p:sp>
            <p:nvSpPr>
              <p:cNvPr id="9" name="Rectangle 8"/>
              <p:cNvSpPr/>
              <p:nvPr/>
            </p:nvSpPr>
            <p:spPr bwMode="auto">
              <a:xfrm>
                <a:off x="6345463" y="3920472"/>
                <a:ext cx="2925665"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hat is the root cause of the  test failure?</a:t>
                </a:r>
              </a:p>
            </p:txBody>
          </p:sp>
          <p:sp>
            <p:nvSpPr>
              <p:cNvPr id="27" name="Freeform 22"/>
              <p:cNvSpPr>
                <a:spLocks noChangeAspect="1" noEditPoints="1"/>
              </p:cNvSpPr>
              <p:nvPr/>
            </p:nvSpPr>
            <p:spPr bwMode="black">
              <a:xfrm>
                <a:off x="6552135" y="4398819"/>
                <a:ext cx="378880" cy="37878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tx1"/>
              </a:solidFill>
              <a:ln>
                <a:noFill/>
              </a:ln>
              <a:extLst/>
            </p:spPr>
            <p:txBody>
              <a:bodyPr vert="horz" wrap="square" lIns="82293" tIns="41147" rIns="82293" bIns="41147"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041CA09F-A59C-401F-B938-F167E8A27E8D}"/>
                </a:ext>
              </a:extLst>
            </p:cNvPr>
            <p:cNvGrpSpPr/>
            <p:nvPr/>
          </p:nvGrpSpPr>
          <p:grpSpPr>
            <a:xfrm>
              <a:off x="6283557" y="2075593"/>
              <a:ext cx="2925665" cy="1371600"/>
              <a:chOff x="6302387" y="2469588"/>
              <a:chExt cx="2925665" cy="1371600"/>
            </a:xfrm>
          </p:grpSpPr>
          <p:sp>
            <p:nvSpPr>
              <p:cNvPr id="10" name="Rectangle 9"/>
              <p:cNvSpPr/>
              <p:nvPr/>
            </p:nvSpPr>
            <p:spPr bwMode="auto">
              <a:xfrm>
                <a:off x="6302387" y="2469588"/>
                <a:ext cx="2925665"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ill the component pass next stage of testing on factory floor?</a:t>
                </a:r>
              </a:p>
            </p:txBody>
          </p:sp>
          <p:sp>
            <p:nvSpPr>
              <p:cNvPr id="25" name="Freeform 58"/>
              <p:cNvSpPr>
                <a:spLocks noEditPoints="1"/>
              </p:cNvSpPr>
              <p:nvPr/>
            </p:nvSpPr>
            <p:spPr bwMode="black">
              <a:xfrm>
                <a:off x="6535206" y="2998131"/>
                <a:ext cx="380953" cy="4083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0" tIns="41147" rIns="82293" bIns="41147" numCol="1" anchor="t" anchorCtr="0" compatLnSpc="1">
                <a:prstTxWarp prst="textNoShape">
                  <a:avLst/>
                </a:prstTxWarp>
              </a:body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28" name="Rectangle 27">
              <a:extLst>
                <a:ext uri="{FF2B5EF4-FFF2-40B4-BE49-F238E27FC236}">
                  <a16:creationId xmlns:a16="http://schemas.microsoft.com/office/drawing/2014/main" id="{FF629784-C466-4895-84B5-0AD033D59E23}"/>
                </a:ext>
              </a:extLst>
            </p:cNvPr>
            <p:cNvSpPr/>
            <p:nvPr/>
          </p:nvSpPr>
          <p:spPr bwMode="auto">
            <a:xfrm>
              <a:off x="6283349" y="5136197"/>
              <a:ext cx="2926080" cy="1371600"/>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22843" tIns="46630" rIns="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s a turbine about to overspeed and explode?</a:t>
              </a:r>
            </a:p>
          </p:txBody>
        </p:sp>
      </p:grpSp>
      <p:pic>
        <p:nvPicPr>
          <p:cNvPr id="3074" name="Picture 2" descr="Image result for turbine icon white">
            <a:extLst>
              <a:ext uri="{FF2B5EF4-FFF2-40B4-BE49-F238E27FC236}">
                <a16:creationId xmlns:a16="http://schemas.microsoft.com/office/drawing/2014/main" id="{D83DC3D8-BC4A-465F-A6AE-024286C42E8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6368965" y="5515007"/>
            <a:ext cx="613980" cy="613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1126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Rectangle 813"/>
          <p:cNvSpPr/>
          <p:nvPr/>
        </p:nvSpPr>
        <p:spPr bwMode="auto">
          <a:xfrm rot="16200000">
            <a:off x="4232846" y="-2736455"/>
            <a:ext cx="3970782" cy="11732222"/>
          </a:xfrm>
          <a:prstGeom prst="rect">
            <a:avLst/>
          </a:prstGeom>
          <a:solidFill>
            <a:srgbClr val="F2F2F2"/>
          </a:solidFill>
          <a:ln w="28575">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815" name="Rectangle 814"/>
          <p:cNvSpPr/>
          <p:nvPr/>
        </p:nvSpPr>
        <p:spPr>
          <a:xfrm>
            <a:off x="374737" y="1203746"/>
            <a:ext cx="11291491" cy="371780"/>
          </a:xfrm>
          <a:prstGeom prst="rect">
            <a:avLst/>
          </a:prstGeom>
        </p:spPr>
        <p:txBody>
          <a:bodyPr wrap="square" lIns="149217" tIns="93260">
            <a:spAutoFit/>
          </a:bodyPr>
          <a:lstStyle/>
          <a:p>
            <a:pPr marL="0" marR="0" lvl="0" indent="0" algn="l" defTabSz="951028" rtl="0" eaLnBrk="1" fontAlgn="base" latinLnBrk="0" hangingPunct="1">
              <a:lnSpc>
                <a:spcPct val="90000"/>
              </a:lnSpc>
              <a:spcBef>
                <a:spcPct val="0"/>
              </a:spcBef>
              <a:spcAft>
                <a:spcPts val="510"/>
              </a:spcAft>
              <a:buClrTx/>
              <a:buSzTx/>
              <a:buFontTx/>
              <a:buNone/>
              <a:tabLst/>
              <a:defRPr/>
            </a:pPr>
            <a:r>
              <a:rPr kumimoji="0" lang="en-US" sz="1632" b="0" i="0" u="none" strike="noStrike" kern="0" cap="none" spc="0" normalizeH="0" baseline="0" noProof="0">
                <a:ln>
                  <a:noFill/>
                </a:ln>
                <a:solidFill>
                  <a:sysClr val="windowText" lastClr="000000"/>
                </a:solidFill>
                <a:effectLst/>
                <a:uLnTx/>
                <a:uFillTx/>
                <a:latin typeface="Segoe UI Light"/>
                <a:ea typeface="+mn-ea"/>
                <a:cs typeface="+mn-cs"/>
              </a:rPr>
              <a:t>Address business needs across a range of scenarios…</a:t>
            </a:r>
          </a:p>
        </p:txBody>
      </p:sp>
      <p:sp>
        <p:nvSpPr>
          <p:cNvPr id="820" name="Rectangle 819"/>
          <p:cNvSpPr/>
          <p:nvPr/>
        </p:nvSpPr>
        <p:spPr bwMode="auto">
          <a:xfrm>
            <a:off x="435510" y="1691825"/>
            <a:ext cx="2797810" cy="3318325"/>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86521" bIns="9326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lumMod val="50000"/>
                  </a:srgbClr>
                </a:solidFill>
                <a:effectLst/>
                <a:uLnTx/>
                <a:uFillTx/>
                <a:latin typeface="Segoe UI Semibold" panose="020B0702040204020203" pitchFamily="34" charset="0"/>
                <a:ea typeface="Segoe UI" pitchFamily="34" charset="0"/>
                <a:cs typeface="Segoe UI Semibold" panose="020B0702040204020203" pitchFamily="34" charset="0"/>
              </a:rPr>
              <a:t>Optimize uptime and extend equipment life expectancy to improve product quality</a:t>
            </a:r>
          </a:p>
        </p:txBody>
      </p:sp>
      <p:sp>
        <p:nvSpPr>
          <p:cNvPr id="539" name="TextBox 538"/>
          <p:cNvSpPr txBox="1"/>
          <p:nvPr/>
        </p:nvSpPr>
        <p:spPr>
          <a:xfrm>
            <a:off x="442674" y="4192568"/>
            <a:ext cx="2790646" cy="755092"/>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ts val="0"/>
              </a:spcBef>
              <a:spcAft>
                <a:spcPts val="612"/>
              </a:spcAft>
              <a:buClrTx/>
              <a:buSzTx/>
              <a:buFontTx/>
              <a:buNone/>
              <a:tabLst/>
              <a:defRPr/>
            </a:pPr>
            <a:r>
              <a:rPr kumimoji="0" lang="en-US" sz="1071" b="0" i="0" u="none" strike="noStrike" kern="0" cap="none" spc="0" normalizeH="0" baseline="0" noProof="0">
                <a:ln>
                  <a:noFill/>
                </a:ln>
                <a:solidFill>
                  <a:sysClr val="windowText" lastClr="000000"/>
                </a:solidFill>
                <a:effectLst/>
                <a:uLnTx/>
                <a:uFillTx/>
                <a:latin typeface="Segoe UI Light"/>
                <a:ea typeface="+mn-ea"/>
                <a:cs typeface="+mn-cs"/>
              </a:rPr>
              <a:t>Gain visibility into product performance and enable workflows to respond to changing conditions.</a:t>
            </a:r>
          </a:p>
        </p:txBody>
      </p:sp>
      <p:grpSp>
        <p:nvGrpSpPr>
          <p:cNvPr id="1350" name="Group 1349"/>
          <p:cNvGrpSpPr/>
          <p:nvPr/>
        </p:nvGrpSpPr>
        <p:grpSpPr>
          <a:xfrm>
            <a:off x="726791" y="2673101"/>
            <a:ext cx="2163276" cy="1525139"/>
            <a:chOff x="6470426" y="1801129"/>
            <a:chExt cx="2121052" cy="1495370"/>
          </a:xfrm>
        </p:grpSpPr>
        <p:sp>
          <p:nvSpPr>
            <p:cNvPr id="1351" name="Freeform 1350"/>
            <p:cNvSpPr>
              <a:spLocks/>
            </p:cNvSpPr>
            <p:nvPr/>
          </p:nvSpPr>
          <p:spPr bwMode="auto">
            <a:xfrm flipH="1">
              <a:off x="8033232" y="2483827"/>
              <a:ext cx="558246" cy="812672"/>
            </a:xfrm>
            <a:custGeom>
              <a:avLst/>
              <a:gdLst>
                <a:gd name="connsiteX0" fmla="*/ 132790 w 286468"/>
                <a:gd name="connsiteY0" fmla="*/ 0 h 417029"/>
                <a:gd name="connsiteX1" fmla="*/ 108918 w 286468"/>
                <a:gd name="connsiteY1" fmla="*/ 2237 h 417029"/>
                <a:gd name="connsiteX2" fmla="*/ 77585 w 286468"/>
                <a:gd name="connsiteY2" fmla="*/ 32812 h 417029"/>
                <a:gd name="connsiteX3" fmla="*/ 746 w 286468"/>
                <a:gd name="connsiteY3" fmla="*/ 141685 h 417029"/>
                <a:gd name="connsiteX4" fmla="*/ 0 w 286468"/>
                <a:gd name="connsiteY4" fmla="*/ 152871 h 417029"/>
                <a:gd name="connsiteX5" fmla="*/ 0 w 286468"/>
                <a:gd name="connsiteY5" fmla="*/ 154141 h 417029"/>
                <a:gd name="connsiteX6" fmla="*/ 0 w 286468"/>
                <a:gd name="connsiteY6" fmla="*/ 156093 h 417029"/>
                <a:gd name="connsiteX7" fmla="*/ 14699 w 286468"/>
                <a:gd name="connsiteY7" fmla="*/ 203445 h 417029"/>
                <a:gd name="connsiteX8" fmla="*/ 147060 w 286468"/>
                <a:gd name="connsiteY8" fmla="*/ 399762 h 417029"/>
                <a:gd name="connsiteX9" fmla="*/ 167988 w 286468"/>
                <a:gd name="connsiteY9" fmla="*/ 417029 h 417029"/>
                <a:gd name="connsiteX10" fmla="*/ 199931 w 286468"/>
                <a:gd name="connsiteY10" fmla="*/ 372108 h 417029"/>
                <a:gd name="connsiteX11" fmla="*/ 286468 w 286468"/>
                <a:gd name="connsiteY11" fmla="*/ 234153 h 417029"/>
                <a:gd name="connsiteX12" fmla="*/ 286468 w 286468"/>
                <a:gd name="connsiteY12" fmla="*/ 152871 h 417029"/>
                <a:gd name="connsiteX13" fmla="*/ 132790 w 286468"/>
                <a:gd name="connsiteY13" fmla="*/ 0 h 41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468" h="417029">
                  <a:moveTo>
                    <a:pt x="132790" y="0"/>
                  </a:moveTo>
                  <a:cubicBezTo>
                    <a:pt x="124584" y="0"/>
                    <a:pt x="116378" y="746"/>
                    <a:pt x="108918" y="2237"/>
                  </a:cubicBezTo>
                  <a:cubicBezTo>
                    <a:pt x="108918" y="2237"/>
                    <a:pt x="108918" y="2237"/>
                    <a:pt x="77585" y="32812"/>
                  </a:cubicBezTo>
                  <a:cubicBezTo>
                    <a:pt x="77585" y="32812"/>
                    <a:pt x="746" y="117821"/>
                    <a:pt x="746" y="141685"/>
                  </a:cubicBezTo>
                  <a:cubicBezTo>
                    <a:pt x="746" y="145413"/>
                    <a:pt x="0" y="149142"/>
                    <a:pt x="0" y="152871"/>
                  </a:cubicBezTo>
                  <a:cubicBezTo>
                    <a:pt x="0" y="152871"/>
                    <a:pt x="0" y="152871"/>
                    <a:pt x="0" y="154141"/>
                  </a:cubicBezTo>
                  <a:lnTo>
                    <a:pt x="0" y="156093"/>
                  </a:lnTo>
                  <a:lnTo>
                    <a:pt x="14699" y="203445"/>
                  </a:lnTo>
                  <a:cubicBezTo>
                    <a:pt x="45952" y="277336"/>
                    <a:pt x="91176" y="343879"/>
                    <a:pt x="147060" y="399762"/>
                  </a:cubicBezTo>
                  <a:lnTo>
                    <a:pt x="167988" y="417029"/>
                  </a:lnTo>
                  <a:lnTo>
                    <a:pt x="199931" y="372108"/>
                  </a:lnTo>
                  <a:cubicBezTo>
                    <a:pt x="251406" y="346754"/>
                    <a:pt x="286468" y="294554"/>
                    <a:pt x="286468" y="234153"/>
                  </a:cubicBezTo>
                  <a:cubicBezTo>
                    <a:pt x="286468" y="234153"/>
                    <a:pt x="286468" y="234153"/>
                    <a:pt x="286468" y="152871"/>
                  </a:cubicBezTo>
                  <a:cubicBezTo>
                    <a:pt x="286468" y="68605"/>
                    <a:pt x="217835" y="0"/>
                    <a:pt x="132790" y="0"/>
                  </a:cubicBezTo>
                  <a:close/>
                </a:path>
              </a:pathLst>
            </a:custGeom>
            <a:solidFill>
              <a:srgbClr val="969696"/>
            </a:solidFill>
            <a:ln>
              <a:noFill/>
            </a:ln>
          </p:spPr>
          <p:txBody>
            <a:bodyPr vert="horz" wrap="square" lIns="93247" tIns="46623" rIns="93247" bIns="46623" numCol="1" anchor="t" anchorCtr="0" compatLnSpc="1">
              <a:prstTxWarp prst="textNoShape">
                <a:avLst/>
              </a:prstTxWarp>
              <a:noAutofit/>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1352" name="Freeform 7"/>
            <p:cNvSpPr>
              <a:spLocks/>
            </p:cNvSpPr>
            <p:nvPr/>
          </p:nvSpPr>
          <p:spPr bwMode="auto">
            <a:xfrm flipH="1">
              <a:off x="6470426" y="1801129"/>
              <a:ext cx="1965840" cy="1220632"/>
            </a:xfrm>
            <a:custGeom>
              <a:avLst/>
              <a:gdLst>
                <a:gd name="T0" fmla="*/ 0 w 1353"/>
                <a:gd name="T1" fmla="*/ 820 h 840"/>
                <a:gd name="T2" fmla="*/ 19 w 1353"/>
                <a:gd name="T3" fmla="*/ 840 h 840"/>
                <a:gd name="T4" fmla="*/ 1334 w 1353"/>
                <a:gd name="T5" fmla="*/ 840 h 840"/>
                <a:gd name="T6" fmla="*/ 1353 w 1353"/>
                <a:gd name="T7" fmla="*/ 820 h 840"/>
                <a:gd name="T8" fmla="*/ 1353 w 1353"/>
                <a:gd name="T9" fmla="*/ 20 h 840"/>
                <a:gd name="T10" fmla="*/ 1334 w 1353"/>
                <a:gd name="T11" fmla="*/ 0 h 840"/>
                <a:gd name="T12" fmla="*/ 19 w 1353"/>
                <a:gd name="T13" fmla="*/ 0 h 840"/>
                <a:gd name="T14" fmla="*/ 0 w 1353"/>
                <a:gd name="T15" fmla="*/ 20 h 840"/>
                <a:gd name="T16" fmla="*/ 0 w 1353"/>
                <a:gd name="T17" fmla="*/ 82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3" h="840">
                  <a:moveTo>
                    <a:pt x="0" y="820"/>
                  </a:moveTo>
                  <a:cubicBezTo>
                    <a:pt x="0" y="831"/>
                    <a:pt x="9" y="840"/>
                    <a:pt x="19" y="840"/>
                  </a:cubicBezTo>
                  <a:cubicBezTo>
                    <a:pt x="1334" y="840"/>
                    <a:pt x="1334" y="840"/>
                    <a:pt x="1334" y="840"/>
                  </a:cubicBezTo>
                  <a:cubicBezTo>
                    <a:pt x="1345" y="840"/>
                    <a:pt x="1353" y="831"/>
                    <a:pt x="1353" y="820"/>
                  </a:cubicBezTo>
                  <a:cubicBezTo>
                    <a:pt x="1353" y="20"/>
                    <a:pt x="1353" y="20"/>
                    <a:pt x="1353" y="20"/>
                  </a:cubicBezTo>
                  <a:cubicBezTo>
                    <a:pt x="1353" y="9"/>
                    <a:pt x="1345" y="0"/>
                    <a:pt x="1334" y="0"/>
                  </a:cubicBezTo>
                  <a:cubicBezTo>
                    <a:pt x="19" y="0"/>
                    <a:pt x="19" y="0"/>
                    <a:pt x="19" y="0"/>
                  </a:cubicBezTo>
                  <a:cubicBezTo>
                    <a:pt x="9" y="0"/>
                    <a:pt x="0" y="9"/>
                    <a:pt x="0" y="20"/>
                  </a:cubicBezTo>
                  <a:cubicBezTo>
                    <a:pt x="0" y="820"/>
                    <a:pt x="0" y="820"/>
                    <a:pt x="0" y="82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1353" name="Rounded Rectangle 1352"/>
            <p:cNvSpPr/>
            <p:nvPr/>
          </p:nvSpPr>
          <p:spPr bwMode="auto">
            <a:xfrm flipH="1">
              <a:off x="6595111" y="1916840"/>
              <a:ext cx="1725091" cy="989207"/>
            </a:xfrm>
            <a:prstGeom prst="roundRect">
              <a:avLst>
                <a:gd name="adj" fmla="val 877"/>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Freeform 75"/>
            <p:cNvSpPr>
              <a:spLocks/>
            </p:cNvSpPr>
            <p:nvPr/>
          </p:nvSpPr>
          <p:spPr bwMode="auto">
            <a:xfrm flipH="1">
              <a:off x="8347436" y="2350578"/>
              <a:ext cx="243467" cy="477066"/>
            </a:xfrm>
            <a:custGeom>
              <a:avLst/>
              <a:gdLst>
                <a:gd name="T0" fmla="*/ 152 w 168"/>
                <a:gd name="T1" fmla="*/ 88 h 329"/>
                <a:gd name="T2" fmla="*/ 104 w 168"/>
                <a:gd name="T3" fmla="*/ 136 h 329"/>
                <a:gd name="T4" fmla="*/ 104 w 168"/>
                <a:gd name="T5" fmla="*/ 310 h 329"/>
                <a:gd name="T6" fmla="*/ 86 w 168"/>
                <a:gd name="T7" fmla="*/ 329 h 329"/>
                <a:gd name="T8" fmla="*/ 52 w 168"/>
                <a:gd name="T9" fmla="*/ 327 h 329"/>
                <a:gd name="T10" fmla="*/ 1 w 168"/>
                <a:gd name="T11" fmla="*/ 282 h 329"/>
                <a:gd name="T12" fmla="*/ 0 w 168"/>
                <a:gd name="T13" fmla="*/ 275 h 329"/>
                <a:gd name="T14" fmla="*/ 0 w 168"/>
                <a:gd name="T15" fmla="*/ 144 h 329"/>
                <a:gd name="T16" fmla="*/ 12 w 168"/>
                <a:gd name="T17" fmla="*/ 111 h 329"/>
                <a:gd name="T18" fmla="*/ 12 w 168"/>
                <a:gd name="T19" fmla="*/ 111 h 329"/>
                <a:gd name="T20" fmla="*/ 18 w 168"/>
                <a:gd name="T21" fmla="*/ 104 h 329"/>
                <a:gd name="T22" fmla="*/ 84 w 168"/>
                <a:gd name="T23" fmla="*/ 38 h 329"/>
                <a:gd name="T24" fmla="*/ 122 w 168"/>
                <a:gd name="T25" fmla="*/ 0 h 329"/>
                <a:gd name="T26" fmla="*/ 133 w 168"/>
                <a:gd name="T27" fmla="*/ 10 h 329"/>
                <a:gd name="T28" fmla="*/ 152 w 168"/>
                <a:gd name="T29" fmla="*/ 29 h 329"/>
                <a:gd name="T30" fmla="*/ 152 w 168"/>
                <a:gd name="T31" fmla="*/ 8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329">
                  <a:moveTo>
                    <a:pt x="152" y="88"/>
                  </a:moveTo>
                  <a:cubicBezTo>
                    <a:pt x="104" y="136"/>
                    <a:pt x="104" y="136"/>
                    <a:pt x="104" y="136"/>
                  </a:cubicBezTo>
                  <a:cubicBezTo>
                    <a:pt x="104" y="310"/>
                    <a:pt x="104" y="310"/>
                    <a:pt x="104" y="310"/>
                  </a:cubicBezTo>
                  <a:cubicBezTo>
                    <a:pt x="104" y="326"/>
                    <a:pt x="97" y="329"/>
                    <a:pt x="86" y="329"/>
                  </a:cubicBezTo>
                  <a:cubicBezTo>
                    <a:pt x="77" y="329"/>
                    <a:pt x="65" y="327"/>
                    <a:pt x="52" y="327"/>
                  </a:cubicBezTo>
                  <a:cubicBezTo>
                    <a:pt x="26" y="327"/>
                    <a:pt x="4" y="307"/>
                    <a:pt x="1" y="282"/>
                  </a:cubicBezTo>
                  <a:cubicBezTo>
                    <a:pt x="1" y="279"/>
                    <a:pt x="0" y="277"/>
                    <a:pt x="0" y="275"/>
                  </a:cubicBezTo>
                  <a:cubicBezTo>
                    <a:pt x="0" y="144"/>
                    <a:pt x="0" y="144"/>
                    <a:pt x="0" y="144"/>
                  </a:cubicBezTo>
                  <a:cubicBezTo>
                    <a:pt x="0" y="131"/>
                    <a:pt x="5" y="120"/>
                    <a:pt x="12" y="111"/>
                  </a:cubicBezTo>
                  <a:cubicBezTo>
                    <a:pt x="12" y="111"/>
                    <a:pt x="12" y="111"/>
                    <a:pt x="12" y="111"/>
                  </a:cubicBezTo>
                  <a:cubicBezTo>
                    <a:pt x="14" y="108"/>
                    <a:pt x="16" y="106"/>
                    <a:pt x="18" y="104"/>
                  </a:cubicBezTo>
                  <a:cubicBezTo>
                    <a:pt x="84" y="38"/>
                    <a:pt x="84" y="38"/>
                    <a:pt x="84" y="38"/>
                  </a:cubicBezTo>
                  <a:cubicBezTo>
                    <a:pt x="122" y="0"/>
                    <a:pt x="122" y="0"/>
                    <a:pt x="122" y="0"/>
                  </a:cubicBezTo>
                  <a:cubicBezTo>
                    <a:pt x="133" y="10"/>
                    <a:pt x="133" y="10"/>
                    <a:pt x="133" y="10"/>
                  </a:cubicBezTo>
                  <a:cubicBezTo>
                    <a:pt x="152" y="29"/>
                    <a:pt x="152" y="29"/>
                    <a:pt x="152" y="29"/>
                  </a:cubicBezTo>
                  <a:cubicBezTo>
                    <a:pt x="168" y="46"/>
                    <a:pt x="168" y="72"/>
                    <a:pt x="152" y="88"/>
                  </a:cubicBezTo>
                  <a:close/>
                </a:path>
              </a:pathLst>
            </a:custGeom>
            <a:solidFill>
              <a:srgbClr val="969696"/>
            </a:solidFill>
            <a:ln>
              <a:noFill/>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1355" name="Freeform 1354"/>
            <p:cNvSpPr>
              <a:spLocks/>
            </p:cNvSpPr>
            <p:nvPr/>
          </p:nvSpPr>
          <p:spPr bwMode="auto">
            <a:xfrm flipH="1">
              <a:off x="8249678" y="2791795"/>
              <a:ext cx="232798" cy="423388"/>
            </a:xfrm>
            <a:custGeom>
              <a:avLst/>
              <a:gdLst>
                <a:gd name="connsiteX0" fmla="*/ 0 w 119462"/>
                <a:gd name="connsiteY0" fmla="*/ 0 h 217265"/>
                <a:gd name="connsiteX1" fmla="*/ 0 w 119462"/>
                <a:gd name="connsiteY1" fmla="*/ 119475 h 217265"/>
                <a:gd name="connsiteX2" fmla="*/ 18884 w 119462"/>
                <a:gd name="connsiteY2" fmla="*/ 154266 h 217265"/>
                <a:gd name="connsiteX3" fmla="*/ 70863 w 119462"/>
                <a:gd name="connsiteY3" fmla="*/ 217265 h 217265"/>
                <a:gd name="connsiteX4" fmla="*/ 85597 w 119462"/>
                <a:gd name="connsiteY4" fmla="*/ 210817 h 217265"/>
                <a:gd name="connsiteX5" fmla="*/ 119462 w 119462"/>
                <a:gd name="connsiteY5" fmla="*/ 142845 h 217265"/>
                <a:gd name="connsiteX6" fmla="*/ 0 w 119462"/>
                <a:gd name="connsiteY6" fmla="*/ 0 h 2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62" h="217265">
                  <a:moveTo>
                    <a:pt x="0" y="0"/>
                  </a:moveTo>
                  <a:lnTo>
                    <a:pt x="0" y="119475"/>
                  </a:lnTo>
                  <a:lnTo>
                    <a:pt x="18884" y="154266"/>
                  </a:lnTo>
                  <a:lnTo>
                    <a:pt x="70863" y="217265"/>
                  </a:lnTo>
                  <a:lnTo>
                    <a:pt x="85597" y="210817"/>
                  </a:lnTo>
                  <a:cubicBezTo>
                    <a:pt x="106841" y="197190"/>
                    <a:pt x="119462" y="177099"/>
                    <a:pt x="119462" y="142845"/>
                  </a:cubicBezTo>
                  <a:cubicBezTo>
                    <a:pt x="119462" y="74965"/>
                    <a:pt x="68977" y="17456"/>
                    <a:pt x="0" y="0"/>
                  </a:cubicBezTo>
                  <a:close/>
                </a:path>
              </a:pathLst>
            </a:custGeom>
            <a:solidFill>
              <a:srgbClr val="969696"/>
            </a:solidFill>
            <a:ln>
              <a:noFill/>
            </a:ln>
          </p:spPr>
          <p:txBody>
            <a:bodyPr vert="horz" wrap="square" lIns="93247" tIns="46623" rIns="93247" bIns="46623" numCol="1" anchor="t" anchorCtr="0" compatLnSpc="1">
              <a:prstTxWarp prst="textNoShape">
                <a:avLst/>
              </a:prstTxWarp>
              <a:noAutofit/>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1356" name="Rectangle 1355"/>
            <p:cNvSpPr/>
            <p:nvPr/>
          </p:nvSpPr>
          <p:spPr bwMode="auto">
            <a:xfrm>
              <a:off x="7473131" y="2163816"/>
              <a:ext cx="809044" cy="694090"/>
            </a:xfrm>
            <a:prstGeom prst="rect">
              <a:avLst/>
            </a:prstGeom>
            <a:solidFill>
              <a:srgbClr val="FFFFFF"/>
            </a:solid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none" lIns="186521" tIns="46630"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10000"/>
                </a:lnSpc>
                <a:spcBef>
                  <a:spcPct val="0"/>
                </a:spcBef>
                <a:spcAft>
                  <a:spcPct val="0"/>
                </a:spcAft>
                <a:buClrTx/>
                <a:buSzTx/>
                <a:buFontTx/>
                <a:buNone/>
                <a:tabLst/>
                <a:defRPr/>
              </a:pPr>
              <a:r>
                <a:rPr kumimoji="0" lang="en-US" sz="1071" b="0" i="0" u="none" strike="noStrike" kern="0" cap="none" spc="0" normalizeH="0" baseline="0" noProof="0">
                  <a:ln>
                    <a:noFill/>
                  </a:ln>
                  <a:solidFill>
                    <a:srgbClr val="0072C6"/>
                  </a:solidFill>
                  <a:effectLst/>
                  <a:uLnTx/>
                  <a:uFillTx/>
                  <a:latin typeface="Segoe UI Light"/>
                  <a:ea typeface="Segoe UI" pitchFamily="34" charset="0"/>
                  <a:cs typeface="Segoe UI Semibold" panose="020B0702040204020203" pitchFamily="34" charset="0"/>
                </a:rPr>
                <a:t>43.1°  </a:t>
              </a:r>
              <a:r>
                <a:rPr kumimoji="0" lang="en-US" sz="1071" b="0" i="0" u="none" strike="noStrike" kern="0" cap="none" spc="0" normalizeH="0" baseline="0" noProof="0">
                  <a:ln>
                    <a:noFill/>
                  </a:ln>
                  <a:solidFill>
                    <a:srgbClr val="FFFFFF">
                      <a:lumMod val="65000"/>
                    </a:srgbClr>
                  </a:solidFill>
                  <a:effectLst/>
                  <a:uLnTx/>
                  <a:uFillTx/>
                  <a:latin typeface="Segoe UI Light"/>
                  <a:ea typeface="Segoe UI" pitchFamily="34" charset="0"/>
                  <a:cs typeface="Segoe UI Semibold" panose="020B0702040204020203" pitchFamily="34" charset="0"/>
                </a:rPr>
                <a:t>|  </a:t>
              </a:r>
              <a:r>
                <a:rPr kumimoji="0" lang="en-US" sz="1071" b="0" i="0" u="none" strike="noStrike" kern="0" cap="none" spc="0" normalizeH="0" baseline="0" noProof="0">
                  <a:ln>
                    <a:noFill/>
                  </a:ln>
                  <a:solidFill>
                    <a:srgbClr val="DD5900"/>
                  </a:solidFill>
                  <a:effectLst/>
                  <a:uLnTx/>
                  <a:uFillTx/>
                  <a:latin typeface="Segoe UI Light"/>
                  <a:ea typeface="Segoe UI" pitchFamily="34" charset="0"/>
                  <a:cs typeface="Segoe UI Semibold" panose="020B0702040204020203" pitchFamily="34" charset="0"/>
                </a:rPr>
                <a:t>35.2°</a:t>
              </a:r>
            </a:p>
            <a:p>
              <a:pPr marL="0" marR="0" lvl="0" indent="0" algn="ctr" defTabSz="950846" rtl="0" eaLnBrk="1" fontAlgn="base" latinLnBrk="0" hangingPunct="1">
                <a:lnSpc>
                  <a:spcPct val="110000"/>
                </a:lnSpc>
                <a:spcBef>
                  <a:spcPct val="0"/>
                </a:spcBef>
                <a:spcAft>
                  <a:spcPct val="0"/>
                </a:spcAft>
                <a:buClrTx/>
                <a:buSzTx/>
                <a:buFontTx/>
                <a:buNone/>
                <a:tabLst/>
                <a:defRPr/>
              </a:pPr>
              <a:r>
                <a:rPr kumimoji="0" lang="en-US" sz="1071" b="0" i="0" u="none" strike="noStrike" kern="0" cap="none" spc="0" normalizeH="0" baseline="0" noProof="0">
                  <a:ln>
                    <a:noFill/>
                  </a:ln>
                  <a:solidFill>
                    <a:srgbClr val="0072C6"/>
                  </a:solidFill>
                  <a:effectLst/>
                  <a:uLnTx/>
                  <a:uFillTx/>
                  <a:latin typeface="Segoe UI Light"/>
                  <a:ea typeface="Segoe UI" pitchFamily="34" charset="0"/>
                  <a:cs typeface="Segoe UI Semibold" panose="020B0702040204020203" pitchFamily="34" charset="0"/>
                </a:rPr>
                <a:t>91.6°  </a:t>
              </a:r>
              <a:r>
                <a:rPr kumimoji="0" lang="en-US" sz="1071" b="0" i="0" u="none" strike="noStrike" kern="0" cap="none" spc="0" normalizeH="0" baseline="0" noProof="0">
                  <a:ln>
                    <a:noFill/>
                  </a:ln>
                  <a:solidFill>
                    <a:srgbClr val="FFFFFF">
                      <a:lumMod val="65000"/>
                    </a:srgbClr>
                  </a:solidFill>
                  <a:effectLst/>
                  <a:uLnTx/>
                  <a:uFillTx/>
                  <a:latin typeface="Segoe UI Light"/>
                  <a:ea typeface="Segoe UI" pitchFamily="34" charset="0"/>
                  <a:cs typeface="Segoe UI Semibold" panose="020B0702040204020203" pitchFamily="34" charset="0"/>
                </a:rPr>
                <a:t>|  </a:t>
              </a:r>
              <a:r>
                <a:rPr kumimoji="0" lang="en-US" sz="1071" b="0" i="0" u="none" strike="noStrike" kern="0" cap="none" spc="0" normalizeH="0" baseline="0" noProof="0">
                  <a:ln>
                    <a:noFill/>
                  </a:ln>
                  <a:solidFill>
                    <a:srgbClr val="0072C6"/>
                  </a:solidFill>
                  <a:effectLst/>
                  <a:uLnTx/>
                  <a:uFillTx/>
                  <a:latin typeface="Segoe UI Light"/>
                  <a:ea typeface="Segoe UI" pitchFamily="34" charset="0"/>
                  <a:cs typeface="Segoe UI Semibold" panose="020B0702040204020203" pitchFamily="34" charset="0"/>
                </a:rPr>
                <a:t>87.3°</a:t>
              </a:r>
            </a:p>
          </p:txBody>
        </p:sp>
        <p:grpSp>
          <p:nvGrpSpPr>
            <p:cNvPr id="1357" name="Group 1356"/>
            <p:cNvGrpSpPr/>
            <p:nvPr/>
          </p:nvGrpSpPr>
          <p:grpSpPr>
            <a:xfrm>
              <a:off x="6628999" y="1948913"/>
              <a:ext cx="818888" cy="915225"/>
              <a:chOff x="6628999" y="1948913"/>
              <a:chExt cx="818888" cy="915225"/>
            </a:xfrm>
          </p:grpSpPr>
          <p:grpSp>
            <p:nvGrpSpPr>
              <p:cNvPr id="1365" name="Group 1364"/>
              <p:cNvGrpSpPr/>
              <p:nvPr/>
            </p:nvGrpSpPr>
            <p:grpSpPr>
              <a:xfrm>
                <a:off x="6628999" y="1948913"/>
                <a:ext cx="818888" cy="915225"/>
                <a:chOff x="6628999" y="1948916"/>
                <a:chExt cx="818888" cy="805321"/>
              </a:xfrm>
            </p:grpSpPr>
            <p:grpSp>
              <p:nvGrpSpPr>
                <p:cNvPr id="1385" name="Group 1384"/>
                <p:cNvGrpSpPr/>
                <p:nvPr/>
              </p:nvGrpSpPr>
              <p:grpSpPr>
                <a:xfrm>
                  <a:off x="6628999" y="1948916"/>
                  <a:ext cx="818888" cy="188823"/>
                  <a:chOff x="6626090" y="1950776"/>
                  <a:chExt cx="802753" cy="185102"/>
                </a:xfrm>
              </p:grpSpPr>
              <p:sp>
                <p:nvSpPr>
                  <p:cNvPr id="1398" name="Rectangle 1397"/>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9" name="Rectangle 1398"/>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400" name="Rectangle 1399"/>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386" name="Group 1385"/>
                <p:cNvGrpSpPr/>
                <p:nvPr/>
              </p:nvGrpSpPr>
              <p:grpSpPr>
                <a:xfrm>
                  <a:off x="6628999" y="2154415"/>
                  <a:ext cx="818888" cy="188823"/>
                  <a:chOff x="6626090" y="1950776"/>
                  <a:chExt cx="802753" cy="185102"/>
                </a:xfrm>
              </p:grpSpPr>
              <p:sp>
                <p:nvSpPr>
                  <p:cNvPr id="1395" name="Rectangle 1394"/>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6" name="Rectangle 1395"/>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7" name="Rectangle 1396"/>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387" name="Group 1386"/>
                <p:cNvGrpSpPr/>
                <p:nvPr/>
              </p:nvGrpSpPr>
              <p:grpSpPr>
                <a:xfrm>
                  <a:off x="6628999" y="2359914"/>
                  <a:ext cx="818888" cy="188823"/>
                  <a:chOff x="6626090" y="1950776"/>
                  <a:chExt cx="802753" cy="185102"/>
                </a:xfrm>
              </p:grpSpPr>
              <p:sp>
                <p:nvSpPr>
                  <p:cNvPr id="1392" name="Rectangle 1391"/>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3" name="Rectangle 1392"/>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4" name="Rectangle 1393"/>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388" name="Group 1387"/>
                <p:cNvGrpSpPr/>
                <p:nvPr/>
              </p:nvGrpSpPr>
              <p:grpSpPr>
                <a:xfrm>
                  <a:off x="6628999" y="2565414"/>
                  <a:ext cx="818888" cy="188823"/>
                  <a:chOff x="6626090" y="1950776"/>
                  <a:chExt cx="802753" cy="185102"/>
                </a:xfrm>
              </p:grpSpPr>
              <p:sp>
                <p:nvSpPr>
                  <p:cNvPr id="1389" name="Rectangle 1388"/>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0" name="Rectangle 1389"/>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91" name="Rectangle 1390"/>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nvGrpSpPr>
              <p:cNvPr id="1366" name="Group 1365"/>
              <p:cNvGrpSpPr>
                <a:grpSpLocks noChangeAspect="1"/>
              </p:cNvGrpSpPr>
              <p:nvPr/>
            </p:nvGrpSpPr>
            <p:grpSpPr>
              <a:xfrm rot="16200000">
                <a:off x="6682844" y="2113002"/>
                <a:ext cx="702546" cy="576819"/>
                <a:chOff x="-4435475" y="1371600"/>
                <a:chExt cx="4435475" cy="3641725"/>
              </a:xfrm>
            </p:grpSpPr>
            <p:sp>
              <p:nvSpPr>
                <p:cNvPr id="137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FFFF">
                    <a:lumMod val="85000"/>
                  </a:srgbClr>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1376" name="Group 1375"/>
                <p:cNvGrpSpPr/>
                <p:nvPr/>
              </p:nvGrpSpPr>
              <p:grpSpPr>
                <a:xfrm>
                  <a:off x="-4206871" y="1603381"/>
                  <a:ext cx="3978266" cy="3168650"/>
                  <a:chOff x="-4206875" y="1603375"/>
                  <a:chExt cx="3978275" cy="3168650"/>
                </a:xfrm>
                <a:solidFill>
                  <a:srgbClr val="FFFFFF"/>
                </a:solidFill>
              </p:grpSpPr>
              <p:sp>
                <p:nvSpPr>
                  <p:cNvPr id="137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7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7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8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8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8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8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38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sp>
            <p:nvSpPr>
              <p:cNvPr id="1367" name="Oval 1366"/>
              <p:cNvSpPr/>
              <p:nvPr/>
            </p:nvSpPr>
            <p:spPr bwMode="auto">
              <a:xfrm>
                <a:off x="6725745" y="2318223"/>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68" name="Oval 1367"/>
              <p:cNvSpPr/>
              <p:nvPr/>
            </p:nvSpPr>
            <p:spPr bwMode="auto">
              <a:xfrm>
                <a:off x="7049541" y="2664368"/>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69" name="Oval 1368"/>
              <p:cNvSpPr/>
              <p:nvPr/>
            </p:nvSpPr>
            <p:spPr bwMode="auto">
              <a:xfrm>
                <a:off x="7195920" y="2057203"/>
                <a:ext cx="130247" cy="130248"/>
              </a:xfrm>
              <a:prstGeom prst="ellipse">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70" name="Oval 1369"/>
              <p:cNvSpPr/>
              <p:nvPr/>
            </p:nvSpPr>
            <p:spPr bwMode="auto">
              <a:xfrm>
                <a:off x="7049541" y="2395674"/>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71" name="Donut 15"/>
              <p:cNvSpPr>
                <a:spLocks noChangeAspect="1"/>
              </p:cNvSpPr>
              <p:nvPr/>
            </p:nvSpPr>
            <p:spPr bwMode="auto">
              <a:xfrm>
                <a:off x="7081258" y="2421893"/>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Donut 15"/>
              <p:cNvSpPr>
                <a:spLocks noChangeAspect="1"/>
              </p:cNvSpPr>
              <p:nvPr/>
            </p:nvSpPr>
            <p:spPr bwMode="auto">
              <a:xfrm>
                <a:off x="7081258" y="2691914"/>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Donut 15"/>
              <p:cNvSpPr>
                <a:spLocks noChangeAspect="1"/>
              </p:cNvSpPr>
              <p:nvPr/>
            </p:nvSpPr>
            <p:spPr bwMode="auto">
              <a:xfrm>
                <a:off x="6756419" y="2343783"/>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Donut 15"/>
              <p:cNvSpPr>
                <a:spLocks noChangeAspect="1"/>
              </p:cNvSpPr>
              <p:nvPr/>
            </p:nvSpPr>
            <p:spPr bwMode="auto">
              <a:xfrm>
                <a:off x="7227828" y="2084390"/>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58" name="Group 1357"/>
            <p:cNvGrpSpPr/>
            <p:nvPr/>
          </p:nvGrpSpPr>
          <p:grpSpPr>
            <a:xfrm>
              <a:off x="7473131" y="1952627"/>
              <a:ext cx="809051" cy="214592"/>
              <a:chOff x="7473131" y="2653212"/>
              <a:chExt cx="809051" cy="214592"/>
            </a:xfrm>
          </p:grpSpPr>
          <p:sp>
            <p:nvSpPr>
              <p:cNvPr id="1363" name="Rectangle 1362"/>
              <p:cNvSpPr/>
              <p:nvPr/>
            </p:nvSpPr>
            <p:spPr bwMode="auto">
              <a:xfrm>
                <a:off x="7473131" y="2653212"/>
                <a:ext cx="809051" cy="214592"/>
              </a:xfrm>
              <a:prstGeom prst="rect">
                <a:avLst/>
              </a:prstGeom>
              <a:solidFill>
                <a:srgbClr val="FFFFFF"/>
              </a:solidFill>
              <a:ln w="9525" cap="flat" cmpd="sng" algn="ctr">
                <a:solidFill>
                  <a:srgbClr val="DD5900"/>
                </a:solidFill>
                <a:prstDash val="solid"/>
                <a:headEnd type="none" w="med" len="med"/>
                <a:tailEnd type="none" w="med" len="med"/>
              </a:ln>
              <a:effectLst/>
            </p:spPr>
            <p:txBody>
              <a:bodyPr rot="0" spcFirstLastPara="0" vertOverflow="overflow" horzOverflow="overflow" vert="horz" wrap="none" lIns="27978" tIns="158543" rIns="186494" bIns="149195"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612" b="0" i="0" u="none" strike="noStrike" kern="0" cap="none" spc="0" normalizeH="0" baseline="0" noProof="0">
                    <a:ln>
                      <a:noFill/>
                    </a:ln>
                    <a:solidFill>
                      <a:srgbClr val="DD5900"/>
                    </a:solidFill>
                    <a:effectLst/>
                    <a:uLnTx/>
                    <a:uFillTx/>
                    <a:latin typeface="Segoe UI Semibold" panose="020B0702040204020203" pitchFamily="34" charset="0"/>
                    <a:ea typeface="Segoe UI" pitchFamily="34" charset="0"/>
                    <a:cs typeface="Segoe UI Semibold" panose="020B0702040204020203" pitchFamily="34" charset="0"/>
                  </a:rPr>
                  <a:t>MAINTENANCE </a:t>
                </a:r>
                <a:br>
                  <a:rPr kumimoji="0" lang="en-US" sz="612" b="0" i="0" u="none" strike="noStrike" kern="0" cap="none" spc="0" normalizeH="0" baseline="0" noProof="0">
                    <a:ln>
                      <a:noFill/>
                    </a:ln>
                    <a:solidFill>
                      <a:srgbClr val="DD590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612" b="0" i="0" u="none" strike="noStrike" kern="0" cap="none" spc="0" normalizeH="0" baseline="0" noProof="0">
                    <a:ln>
                      <a:noFill/>
                    </a:ln>
                    <a:solidFill>
                      <a:srgbClr val="DD5900"/>
                    </a:solidFill>
                    <a:effectLst/>
                    <a:uLnTx/>
                    <a:uFillTx/>
                    <a:latin typeface="Segoe UI Semibold" panose="020B0702040204020203" pitchFamily="34" charset="0"/>
                    <a:ea typeface="Segoe UI" pitchFamily="34" charset="0"/>
                    <a:cs typeface="Segoe UI Semibold" panose="020B0702040204020203" pitchFamily="34" charset="0"/>
                  </a:rPr>
                  <a:t>INITIATED</a:t>
                </a:r>
              </a:p>
            </p:txBody>
          </p:sp>
          <p:sp>
            <p:nvSpPr>
              <p:cNvPr id="1364" name="Half Frame 1363"/>
              <p:cNvSpPr/>
              <p:nvPr/>
            </p:nvSpPr>
            <p:spPr bwMode="auto">
              <a:xfrm rot="8026432">
                <a:off x="8150789" y="2722095"/>
                <a:ext cx="66560" cy="66560"/>
              </a:xfrm>
              <a:prstGeom prst="halfFrame">
                <a:avLst>
                  <a:gd name="adj1" fmla="val 4914"/>
                  <a:gd name="adj2" fmla="val 6150"/>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59" name="Group 1358"/>
            <p:cNvGrpSpPr/>
            <p:nvPr/>
          </p:nvGrpSpPr>
          <p:grpSpPr>
            <a:xfrm>
              <a:off x="7526823" y="2589908"/>
              <a:ext cx="704311" cy="220302"/>
              <a:chOff x="7526813" y="2589908"/>
              <a:chExt cx="729630" cy="220302"/>
            </a:xfrm>
          </p:grpSpPr>
          <p:sp>
            <p:nvSpPr>
              <p:cNvPr id="1360" name="Freeform 1359"/>
              <p:cNvSpPr>
                <a:spLocks noChangeAspect="1"/>
              </p:cNvSpPr>
              <p:nvPr/>
            </p:nvSpPr>
            <p:spPr bwMode="black">
              <a:xfrm>
                <a:off x="7526813" y="2589908"/>
                <a:ext cx="228866" cy="220302"/>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Freeform 1360"/>
              <p:cNvSpPr>
                <a:spLocks noChangeAspect="1"/>
              </p:cNvSpPr>
              <p:nvPr/>
            </p:nvSpPr>
            <p:spPr bwMode="black">
              <a:xfrm flipH="1">
                <a:off x="7778512" y="2630596"/>
                <a:ext cx="228866" cy="179614"/>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Freeform 1361"/>
              <p:cNvSpPr>
                <a:spLocks noChangeAspect="1"/>
              </p:cNvSpPr>
              <p:nvPr/>
            </p:nvSpPr>
            <p:spPr bwMode="black">
              <a:xfrm flipH="1">
                <a:off x="8027577" y="2630596"/>
                <a:ext cx="228866" cy="179614"/>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35" name="Rectangle 834"/>
          <p:cNvSpPr/>
          <p:nvPr/>
        </p:nvSpPr>
        <p:spPr bwMode="auto">
          <a:xfrm>
            <a:off x="434274" y="5118384"/>
            <a:ext cx="2797810" cy="1652806"/>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7178" name="Picture 10" descr="Image result for jabi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5424" y="5218257"/>
            <a:ext cx="1495510" cy="284790"/>
          </a:xfrm>
          <a:prstGeom prst="rect">
            <a:avLst/>
          </a:prstGeom>
          <a:noFill/>
          <a:extLst>
            <a:ext uri="{909E8E84-426E-40DD-AFC4-6F175D3DCCD1}">
              <a14:hiddenFill xmlns:a14="http://schemas.microsoft.com/office/drawing/2010/main">
                <a:solidFill>
                  <a:srgbClr val="FFFFFF"/>
                </a:solidFill>
              </a14:hiddenFill>
            </a:ext>
          </a:extLst>
        </p:spPr>
      </p:pic>
      <p:sp>
        <p:nvSpPr>
          <p:cNvPr id="818" name="Rectangle 817"/>
          <p:cNvSpPr/>
          <p:nvPr/>
        </p:nvSpPr>
        <p:spPr bwMode="auto">
          <a:xfrm>
            <a:off x="6265826" y="1691825"/>
            <a:ext cx="2797810" cy="3318325"/>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86521" bIns="9326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lumMod val="50000"/>
                  </a:srgbClr>
                </a:solidFill>
                <a:effectLst/>
                <a:uLnTx/>
                <a:uFillTx/>
                <a:latin typeface="Segoe UI Semibold" panose="020B0702040204020203" pitchFamily="34" charset="0"/>
                <a:ea typeface="Segoe UI" pitchFamily="34" charset="0"/>
                <a:cs typeface="Segoe UI Semibold" panose="020B0702040204020203" pitchFamily="34" charset="0"/>
              </a:rPr>
              <a:t>Enhance customer engagement with contextual and responsive services</a:t>
            </a:r>
          </a:p>
        </p:txBody>
      </p:sp>
      <p:sp>
        <p:nvSpPr>
          <p:cNvPr id="542" name="TextBox 541"/>
          <p:cNvSpPr txBox="1"/>
          <p:nvPr/>
        </p:nvSpPr>
        <p:spPr>
          <a:xfrm>
            <a:off x="6269408" y="4192568"/>
            <a:ext cx="2790646" cy="603829"/>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ts val="0"/>
              </a:spcBef>
              <a:spcAft>
                <a:spcPts val="612"/>
              </a:spcAft>
              <a:buClrTx/>
              <a:buSzTx/>
              <a:buFontTx/>
              <a:buNone/>
              <a:tabLst/>
              <a:defRPr/>
            </a:pPr>
            <a:r>
              <a:rPr kumimoji="0" lang="en-US" sz="1071" b="0" i="0" u="none" strike="noStrike" kern="0" cap="none" spc="0" normalizeH="0" baseline="0" noProof="0">
                <a:ln>
                  <a:noFill/>
                </a:ln>
                <a:solidFill>
                  <a:sysClr val="windowText" lastClr="000000"/>
                </a:solidFill>
                <a:effectLst/>
                <a:uLnTx/>
                <a:uFillTx/>
                <a:latin typeface="Segoe UI Light"/>
                <a:ea typeface="+mn-ea"/>
                <a:cs typeface="+mn-cs"/>
              </a:rPr>
              <a:t>Offer predictive and proactive services to address customer and product needs.</a:t>
            </a:r>
          </a:p>
        </p:txBody>
      </p:sp>
      <p:grpSp>
        <p:nvGrpSpPr>
          <p:cNvPr id="544" name="Group 543"/>
          <p:cNvGrpSpPr/>
          <p:nvPr/>
        </p:nvGrpSpPr>
        <p:grpSpPr>
          <a:xfrm>
            <a:off x="6529776" y="2568188"/>
            <a:ext cx="2269923" cy="1515115"/>
            <a:chOff x="674969" y="1801074"/>
            <a:chExt cx="2225612" cy="1485542"/>
          </a:xfrm>
        </p:grpSpPr>
        <p:grpSp>
          <p:nvGrpSpPr>
            <p:cNvPr id="545" name="Group 544"/>
            <p:cNvGrpSpPr/>
            <p:nvPr/>
          </p:nvGrpSpPr>
          <p:grpSpPr>
            <a:xfrm flipH="1">
              <a:off x="1981734" y="2864610"/>
              <a:ext cx="849869" cy="420840"/>
              <a:chOff x="2319967" y="4610869"/>
              <a:chExt cx="1195070" cy="591780"/>
            </a:xfrm>
          </p:grpSpPr>
          <p:sp>
            <p:nvSpPr>
              <p:cNvPr id="760" name="Cube 759"/>
              <p:cNvSpPr/>
              <p:nvPr/>
            </p:nvSpPr>
            <p:spPr bwMode="auto">
              <a:xfrm>
                <a:off x="3328556" y="4610869"/>
                <a:ext cx="63956" cy="41662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61" name="Cube 760"/>
              <p:cNvSpPr/>
              <p:nvPr/>
            </p:nvSpPr>
            <p:spPr bwMode="auto">
              <a:xfrm>
                <a:off x="2451540" y="4610869"/>
                <a:ext cx="63956" cy="41662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62" name="Cube 761"/>
              <p:cNvSpPr/>
              <p:nvPr/>
            </p:nvSpPr>
            <p:spPr bwMode="auto">
              <a:xfrm>
                <a:off x="3424884" y="4615372"/>
                <a:ext cx="90153" cy="58727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63" name="Cube 762"/>
              <p:cNvSpPr/>
              <p:nvPr/>
            </p:nvSpPr>
            <p:spPr bwMode="auto">
              <a:xfrm>
                <a:off x="2319967" y="4615372"/>
                <a:ext cx="90153" cy="58727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546" name="Trapezoid 545"/>
            <p:cNvSpPr/>
            <p:nvPr/>
          </p:nvSpPr>
          <p:spPr bwMode="auto">
            <a:xfrm flipH="1">
              <a:off x="1915199" y="2754237"/>
              <a:ext cx="985382" cy="111947"/>
            </a:xfrm>
            <a:prstGeom prst="trapezoid">
              <a:avLst>
                <a:gd name="adj" fmla="val 92159"/>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47" name="Group 546"/>
            <p:cNvGrpSpPr/>
            <p:nvPr/>
          </p:nvGrpSpPr>
          <p:grpSpPr>
            <a:xfrm flipH="1">
              <a:off x="2199359" y="2787715"/>
              <a:ext cx="356383" cy="57234"/>
              <a:chOff x="1769350" y="1538167"/>
              <a:chExt cx="1821693" cy="292564"/>
            </a:xfrm>
          </p:grpSpPr>
          <p:sp>
            <p:nvSpPr>
              <p:cNvPr id="740" name="Rectangle 739"/>
              <p:cNvSpPr/>
              <p:nvPr/>
            </p:nvSpPr>
            <p:spPr bwMode="auto">
              <a:xfrm>
                <a:off x="1769350" y="1785012"/>
                <a:ext cx="1819656" cy="45719"/>
              </a:xfrm>
              <a:prstGeom prst="rect">
                <a:avLst/>
              </a:pr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1" name="Trapezoid 740"/>
              <p:cNvSpPr/>
              <p:nvPr/>
            </p:nvSpPr>
            <p:spPr bwMode="auto">
              <a:xfrm>
                <a:off x="1769351" y="1538167"/>
                <a:ext cx="1821692" cy="247064"/>
              </a:xfrm>
              <a:prstGeom prst="trapezoid">
                <a:avLst>
                  <a:gd name="adj" fmla="val 82583"/>
                </a:avLst>
              </a:prstGeom>
              <a:solidFill>
                <a:srgbClr val="FFFFFF">
                  <a:lumMod val="85000"/>
                </a:srgbClr>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742" name="Trapezoid 741"/>
              <p:cNvSpPr/>
              <p:nvPr/>
            </p:nvSpPr>
            <p:spPr bwMode="auto">
              <a:xfrm>
                <a:off x="2242427" y="1706021"/>
                <a:ext cx="87554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743" name="Trapezoid 742"/>
              <p:cNvSpPr/>
              <p:nvPr/>
            </p:nvSpPr>
            <p:spPr bwMode="auto">
              <a:xfrm>
                <a:off x="1994397" y="1561778"/>
                <a:ext cx="137160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744" name="Trapezoid 743"/>
              <p:cNvSpPr/>
              <p:nvPr/>
            </p:nvSpPr>
            <p:spPr bwMode="auto">
              <a:xfrm>
                <a:off x="1994397" y="1633900"/>
                <a:ext cx="137160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745" name="Group 744"/>
              <p:cNvGrpSpPr/>
              <p:nvPr/>
            </p:nvGrpSpPr>
            <p:grpSpPr>
              <a:xfrm>
                <a:off x="2048766" y="1546680"/>
                <a:ext cx="1256210" cy="182880"/>
                <a:chOff x="2048766" y="1234719"/>
                <a:chExt cx="1256210" cy="243413"/>
              </a:xfrm>
              <a:solidFill>
                <a:srgbClr val="FFFFFF">
                  <a:lumMod val="85000"/>
                </a:srgbClr>
              </a:solidFill>
            </p:grpSpPr>
            <p:sp>
              <p:nvSpPr>
                <p:cNvPr id="746" name="Rectangle 745"/>
                <p:cNvSpPr/>
                <p:nvPr/>
              </p:nvSpPr>
              <p:spPr bwMode="auto">
                <a:xfrm rot="1800000">
                  <a:off x="2048766" y="1234719"/>
                  <a:ext cx="18288" cy="24341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7" name="Rectangle 746"/>
                <p:cNvSpPr/>
                <p:nvPr/>
              </p:nvSpPr>
              <p:spPr bwMode="auto">
                <a:xfrm rot="1200000">
                  <a:off x="215493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8" name="Rectangle 747"/>
                <p:cNvSpPr/>
                <p:nvPr/>
              </p:nvSpPr>
              <p:spPr bwMode="auto">
                <a:xfrm rot="1200000">
                  <a:off x="224924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9" name="Rectangle 748"/>
                <p:cNvSpPr/>
                <p:nvPr/>
              </p:nvSpPr>
              <p:spPr bwMode="auto">
                <a:xfrm rot="900000">
                  <a:off x="234355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0" name="Rectangle 749"/>
                <p:cNvSpPr/>
                <p:nvPr/>
              </p:nvSpPr>
              <p:spPr bwMode="auto">
                <a:xfrm rot="900000">
                  <a:off x="2437871"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1" name="Rectangle 750"/>
                <p:cNvSpPr/>
                <p:nvPr/>
              </p:nvSpPr>
              <p:spPr bwMode="auto">
                <a:xfrm rot="600000">
                  <a:off x="2532184"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2" name="Rectangle 751"/>
                <p:cNvSpPr/>
                <p:nvPr/>
              </p:nvSpPr>
              <p:spPr bwMode="auto">
                <a:xfrm rot="600000">
                  <a:off x="2626497"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3" name="Rectangle 752"/>
                <p:cNvSpPr/>
                <p:nvPr/>
              </p:nvSpPr>
              <p:spPr bwMode="auto">
                <a:xfrm>
                  <a:off x="2720810"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4" name="Rectangle 753"/>
                <p:cNvSpPr/>
                <p:nvPr/>
              </p:nvSpPr>
              <p:spPr bwMode="auto">
                <a:xfrm rot="21000000">
                  <a:off x="2815123"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5" name="Rectangle 754"/>
                <p:cNvSpPr/>
                <p:nvPr/>
              </p:nvSpPr>
              <p:spPr bwMode="auto">
                <a:xfrm rot="21000000">
                  <a:off x="2909436"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6" name="Rectangle 755"/>
                <p:cNvSpPr/>
                <p:nvPr/>
              </p:nvSpPr>
              <p:spPr bwMode="auto">
                <a:xfrm rot="20400000">
                  <a:off x="328668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7" name="Rectangle 756"/>
                <p:cNvSpPr/>
                <p:nvPr/>
              </p:nvSpPr>
              <p:spPr bwMode="auto">
                <a:xfrm rot="20700000">
                  <a:off x="3003749"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8" name="Rectangle 757"/>
                <p:cNvSpPr/>
                <p:nvPr/>
              </p:nvSpPr>
              <p:spPr bwMode="auto">
                <a:xfrm rot="20700000">
                  <a:off x="309806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59" name="Rectangle 758"/>
                <p:cNvSpPr/>
                <p:nvPr/>
              </p:nvSpPr>
              <p:spPr bwMode="auto">
                <a:xfrm rot="20400000">
                  <a:off x="319237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sp>
          <p:nvSpPr>
            <p:cNvPr id="548" name="Rectangle 547"/>
            <p:cNvSpPr/>
            <p:nvPr/>
          </p:nvSpPr>
          <p:spPr bwMode="auto">
            <a:xfrm flipH="1">
              <a:off x="1914615" y="2864142"/>
              <a:ext cx="985908" cy="325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49" name="Group 548"/>
            <p:cNvGrpSpPr/>
            <p:nvPr/>
          </p:nvGrpSpPr>
          <p:grpSpPr>
            <a:xfrm>
              <a:off x="1862832" y="1806130"/>
              <a:ext cx="802315" cy="745166"/>
              <a:chOff x="5399727" y="2507620"/>
              <a:chExt cx="1933527" cy="1795802"/>
            </a:xfrm>
          </p:grpSpPr>
          <p:sp>
            <p:nvSpPr>
              <p:cNvPr id="730" name="AutoShape 3"/>
              <p:cNvSpPr>
                <a:spLocks noChangeAspect="1" noChangeArrowheads="1" noTextEdit="1"/>
              </p:cNvSpPr>
              <p:nvPr/>
            </p:nvSpPr>
            <p:spPr bwMode="auto">
              <a:xfrm>
                <a:off x="5702024" y="2629547"/>
                <a:ext cx="1288286" cy="112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nvGrpSpPr>
              <p:cNvPr id="731" name="Group 730"/>
              <p:cNvGrpSpPr/>
              <p:nvPr/>
            </p:nvGrpSpPr>
            <p:grpSpPr>
              <a:xfrm>
                <a:off x="5511155" y="2547214"/>
                <a:ext cx="1696338" cy="1696333"/>
                <a:chOff x="6022973" y="2903538"/>
                <a:chExt cx="668338" cy="668337"/>
              </a:xfrm>
            </p:grpSpPr>
            <p:sp>
              <p:nvSpPr>
                <p:cNvPr id="737" name="Freeform 7"/>
                <p:cNvSpPr>
                  <a:spLocks/>
                </p:cNvSpPr>
                <p:nvPr/>
              </p:nvSpPr>
              <p:spPr bwMode="auto">
                <a:xfrm>
                  <a:off x="6048375" y="3336925"/>
                  <a:ext cx="627063" cy="234950"/>
                </a:xfrm>
                <a:custGeom>
                  <a:avLst/>
                  <a:gdLst>
                    <a:gd name="T0" fmla="*/ 585 w 585"/>
                    <a:gd name="T1" fmla="*/ 0 h 218"/>
                    <a:gd name="T2" fmla="*/ 273 w 585"/>
                    <a:gd name="T3" fmla="*/ 101 h 218"/>
                    <a:gd name="T4" fmla="*/ 0 w 585"/>
                    <a:gd name="T5" fmla="*/ 26 h 218"/>
                    <a:gd name="T6" fmla="*/ 288 w 585"/>
                    <a:gd name="T7" fmla="*/ 218 h 218"/>
                    <a:gd name="T8" fmla="*/ 585 w 585"/>
                    <a:gd name="T9" fmla="*/ 0 h 218"/>
                  </a:gdLst>
                  <a:ahLst/>
                  <a:cxnLst>
                    <a:cxn ang="0">
                      <a:pos x="T0" y="T1"/>
                    </a:cxn>
                    <a:cxn ang="0">
                      <a:pos x="T2" y="T3"/>
                    </a:cxn>
                    <a:cxn ang="0">
                      <a:pos x="T4" y="T5"/>
                    </a:cxn>
                    <a:cxn ang="0">
                      <a:pos x="T6" y="T7"/>
                    </a:cxn>
                    <a:cxn ang="0">
                      <a:pos x="T8" y="T9"/>
                    </a:cxn>
                  </a:cxnLst>
                  <a:rect l="0" t="0" r="r" b="b"/>
                  <a:pathLst>
                    <a:path w="585" h="218">
                      <a:moveTo>
                        <a:pt x="585" y="0"/>
                      </a:moveTo>
                      <a:cubicBezTo>
                        <a:pt x="497" y="64"/>
                        <a:pt x="389" y="101"/>
                        <a:pt x="273" y="101"/>
                      </a:cubicBezTo>
                      <a:cubicBezTo>
                        <a:pt x="173" y="101"/>
                        <a:pt x="80" y="74"/>
                        <a:pt x="0" y="26"/>
                      </a:cubicBezTo>
                      <a:cubicBezTo>
                        <a:pt x="47" y="139"/>
                        <a:pt x="158" y="218"/>
                        <a:pt x="288" y="218"/>
                      </a:cubicBezTo>
                      <a:cubicBezTo>
                        <a:pt x="427" y="218"/>
                        <a:pt x="545" y="127"/>
                        <a:pt x="585" y="0"/>
                      </a:cubicBez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738" name="Freeform 8"/>
                <p:cNvSpPr>
                  <a:spLocks/>
                </p:cNvSpPr>
                <p:nvPr/>
              </p:nvSpPr>
              <p:spPr bwMode="auto">
                <a:xfrm>
                  <a:off x="6022973" y="2903538"/>
                  <a:ext cx="668338" cy="542925"/>
                </a:xfrm>
                <a:custGeom>
                  <a:avLst/>
                  <a:gdLst>
                    <a:gd name="T0" fmla="*/ 608 w 622"/>
                    <a:gd name="T1" fmla="*/ 404 h 505"/>
                    <a:gd name="T2" fmla="*/ 622 w 622"/>
                    <a:gd name="T3" fmla="*/ 311 h 505"/>
                    <a:gd name="T4" fmla="*/ 311 w 622"/>
                    <a:gd name="T5" fmla="*/ 0 h 505"/>
                    <a:gd name="T6" fmla="*/ 0 w 622"/>
                    <a:gd name="T7" fmla="*/ 311 h 505"/>
                    <a:gd name="T8" fmla="*/ 23 w 622"/>
                    <a:gd name="T9" fmla="*/ 430 h 505"/>
                    <a:gd name="T10" fmla="*/ 296 w 622"/>
                    <a:gd name="T11" fmla="*/ 505 h 505"/>
                    <a:gd name="T12" fmla="*/ 608 w 622"/>
                    <a:gd name="T13" fmla="*/ 404 h 505"/>
                  </a:gdLst>
                  <a:ahLst/>
                  <a:cxnLst>
                    <a:cxn ang="0">
                      <a:pos x="T0" y="T1"/>
                    </a:cxn>
                    <a:cxn ang="0">
                      <a:pos x="T2" y="T3"/>
                    </a:cxn>
                    <a:cxn ang="0">
                      <a:pos x="T4" y="T5"/>
                    </a:cxn>
                    <a:cxn ang="0">
                      <a:pos x="T6" y="T7"/>
                    </a:cxn>
                    <a:cxn ang="0">
                      <a:pos x="T8" y="T9"/>
                    </a:cxn>
                    <a:cxn ang="0">
                      <a:pos x="T10" y="T11"/>
                    </a:cxn>
                    <a:cxn ang="0">
                      <a:pos x="T12" y="T13"/>
                    </a:cxn>
                  </a:cxnLst>
                  <a:rect l="0" t="0" r="r" b="b"/>
                  <a:pathLst>
                    <a:path w="622" h="505">
                      <a:moveTo>
                        <a:pt x="608" y="404"/>
                      </a:moveTo>
                      <a:cubicBezTo>
                        <a:pt x="617" y="375"/>
                        <a:pt x="622" y="344"/>
                        <a:pt x="622" y="311"/>
                      </a:cubicBezTo>
                      <a:cubicBezTo>
                        <a:pt x="622" y="139"/>
                        <a:pt x="483" y="0"/>
                        <a:pt x="311" y="0"/>
                      </a:cubicBezTo>
                      <a:cubicBezTo>
                        <a:pt x="139" y="0"/>
                        <a:pt x="0" y="139"/>
                        <a:pt x="0" y="311"/>
                      </a:cubicBezTo>
                      <a:cubicBezTo>
                        <a:pt x="0" y="353"/>
                        <a:pt x="8" y="394"/>
                        <a:pt x="23" y="430"/>
                      </a:cubicBezTo>
                      <a:cubicBezTo>
                        <a:pt x="103" y="478"/>
                        <a:pt x="196" y="505"/>
                        <a:pt x="296" y="505"/>
                      </a:cubicBezTo>
                      <a:cubicBezTo>
                        <a:pt x="412" y="505"/>
                        <a:pt x="520" y="468"/>
                        <a:pt x="608" y="404"/>
                      </a:cubicBez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739" name="Freeform 9"/>
                <p:cNvSpPr>
                  <a:spLocks/>
                </p:cNvSpPr>
                <p:nvPr/>
              </p:nvSpPr>
              <p:spPr bwMode="auto">
                <a:xfrm>
                  <a:off x="6084888" y="2928938"/>
                  <a:ext cx="485775" cy="606425"/>
                </a:xfrm>
                <a:custGeom>
                  <a:avLst/>
                  <a:gdLst>
                    <a:gd name="T0" fmla="*/ 24 w 453"/>
                    <a:gd name="T1" fmla="*/ 101 h 565"/>
                    <a:gd name="T2" fmla="*/ 83 w 453"/>
                    <a:gd name="T3" fmla="*/ 95 h 565"/>
                    <a:gd name="T4" fmla="*/ 61 w 453"/>
                    <a:gd name="T5" fmla="*/ 157 h 565"/>
                    <a:gd name="T6" fmla="*/ 64 w 453"/>
                    <a:gd name="T7" fmla="*/ 191 h 565"/>
                    <a:gd name="T8" fmla="*/ 93 w 453"/>
                    <a:gd name="T9" fmla="*/ 241 h 565"/>
                    <a:gd name="T10" fmla="*/ 88 w 453"/>
                    <a:gd name="T11" fmla="*/ 202 h 565"/>
                    <a:gd name="T12" fmla="*/ 102 w 453"/>
                    <a:gd name="T13" fmla="*/ 248 h 565"/>
                    <a:gd name="T14" fmla="*/ 136 w 453"/>
                    <a:gd name="T15" fmla="*/ 268 h 565"/>
                    <a:gd name="T16" fmla="*/ 157 w 453"/>
                    <a:gd name="T17" fmla="*/ 275 h 565"/>
                    <a:gd name="T18" fmla="*/ 179 w 453"/>
                    <a:gd name="T19" fmla="*/ 295 h 565"/>
                    <a:gd name="T20" fmla="*/ 202 w 453"/>
                    <a:gd name="T21" fmla="*/ 304 h 565"/>
                    <a:gd name="T22" fmla="*/ 185 w 453"/>
                    <a:gd name="T23" fmla="*/ 344 h 565"/>
                    <a:gd name="T24" fmla="*/ 238 w 453"/>
                    <a:gd name="T25" fmla="*/ 414 h 565"/>
                    <a:gd name="T26" fmla="*/ 255 w 453"/>
                    <a:gd name="T27" fmla="*/ 536 h 565"/>
                    <a:gd name="T28" fmla="*/ 274 w 453"/>
                    <a:gd name="T29" fmla="*/ 556 h 565"/>
                    <a:gd name="T30" fmla="*/ 306 w 453"/>
                    <a:gd name="T31" fmla="*/ 562 h 565"/>
                    <a:gd name="T32" fmla="*/ 289 w 453"/>
                    <a:gd name="T33" fmla="*/ 504 h 565"/>
                    <a:gd name="T34" fmla="*/ 375 w 453"/>
                    <a:gd name="T35" fmla="*/ 367 h 565"/>
                    <a:gd name="T36" fmla="*/ 363 w 453"/>
                    <a:gd name="T37" fmla="*/ 340 h 565"/>
                    <a:gd name="T38" fmla="*/ 313 w 453"/>
                    <a:gd name="T39" fmla="*/ 308 h 565"/>
                    <a:gd name="T40" fmla="*/ 222 w 453"/>
                    <a:gd name="T41" fmla="*/ 275 h 565"/>
                    <a:gd name="T42" fmla="*/ 196 w 453"/>
                    <a:gd name="T43" fmla="*/ 281 h 565"/>
                    <a:gd name="T44" fmla="*/ 178 w 453"/>
                    <a:gd name="T45" fmla="*/ 260 h 565"/>
                    <a:gd name="T46" fmla="*/ 178 w 453"/>
                    <a:gd name="T47" fmla="*/ 238 h 565"/>
                    <a:gd name="T48" fmla="*/ 158 w 453"/>
                    <a:gd name="T49" fmla="*/ 243 h 565"/>
                    <a:gd name="T50" fmla="*/ 187 w 453"/>
                    <a:gd name="T51" fmla="*/ 207 h 565"/>
                    <a:gd name="T52" fmla="*/ 208 w 453"/>
                    <a:gd name="T53" fmla="*/ 226 h 565"/>
                    <a:gd name="T54" fmla="*/ 235 w 453"/>
                    <a:gd name="T55" fmla="*/ 186 h 565"/>
                    <a:gd name="T56" fmla="*/ 276 w 453"/>
                    <a:gd name="T57" fmla="*/ 149 h 565"/>
                    <a:gd name="T58" fmla="*/ 301 w 453"/>
                    <a:gd name="T59" fmla="*/ 134 h 565"/>
                    <a:gd name="T60" fmla="*/ 297 w 453"/>
                    <a:gd name="T61" fmla="*/ 122 h 565"/>
                    <a:gd name="T62" fmla="*/ 327 w 453"/>
                    <a:gd name="T63" fmla="*/ 115 h 565"/>
                    <a:gd name="T64" fmla="*/ 305 w 453"/>
                    <a:gd name="T65" fmla="*/ 85 h 565"/>
                    <a:gd name="T66" fmla="*/ 270 w 453"/>
                    <a:gd name="T67" fmla="*/ 75 h 565"/>
                    <a:gd name="T68" fmla="*/ 249 w 453"/>
                    <a:gd name="T69" fmla="*/ 99 h 565"/>
                    <a:gd name="T70" fmla="*/ 228 w 453"/>
                    <a:gd name="T71" fmla="*/ 88 h 565"/>
                    <a:gd name="T72" fmla="*/ 271 w 453"/>
                    <a:gd name="T73" fmla="*/ 68 h 565"/>
                    <a:gd name="T74" fmla="*/ 295 w 453"/>
                    <a:gd name="T75" fmla="*/ 67 h 565"/>
                    <a:gd name="T76" fmla="*/ 302 w 453"/>
                    <a:gd name="T77" fmla="*/ 70 h 565"/>
                    <a:gd name="T78" fmla="*/ 320 w 453"/>
                    <a:gd name="T79" fmla="*/ 68 h 565"/>
                    <a:gd name="T80" fmla="*/ 334 w 453"/>
                    <a:gd name="T81" fmla="*/ 45 h 565"/>
                    <a:gd name="T82" fmla="*/ 316 w 453"/>
                    <a:gd name="T83" fmla="*/ 31 h 565"/>
                    <a:gd name="T84" fmla="*/ 366 w 453"/>
                    <a:gd name="T85" fmla="*/ 44 h 565"/>
                    <a:gd name="T86" fmla="*/ 356 w 453"/>
                    <a:gd name="T87" fmla="*/ 68 h 565"/>
                    <a:gd name="T88" fmla="*/ 393 w 453"/>
                    <a:gd name="T89" fmla="*/ 74 h 565"/>
                    <a:gd name="T90" fmla="*/ 446 w 453"/>
                    <a:gd name="T91" fmla="*/ 56 h 565"/>
                    <a:gd name="T92" fmla="*/ 374 w 453"/>
                    <a:gd name="T93" fmla="*/ 4 h 565"/>
                    <a:gd name="T94" fmla="*/ 330 w 453"/>
                    <a:gd name="T95" fmla="*/ 0 h 565"/>
                    <a:gd name="T96" fmla="*/ 295 w 453"/>
                    <a:gd name="T97" fmla="*/ 9 h 565"/>
                    <a:gd name="T98" fmla="*/ 286 w 453"/>
                    <a:gd name="T99" fmla="*/ 23 h 565"/>
                    <a:gd name="T100" fmla="*/ 265 w 453"/>
                    <a:gd name="T101" fmla="*/ 41 h 565"/>
                    <a:gd name="T102" fmla="*/ 241 w 453"/>
                    <a:gd name="T103" fmla="*/ 26 h 565"/>
                    <a:gd name="T104" fmla="*/ 173 w 453"/>
                    <a:gd name="T105" fmla="*/ 39 h 565"/>
                    <a:gd name="T106" fmla="*/ 135 w 453"/>
                    <a:gd name="T107" fmla="*/ 42 h 565"/>
                    <a:gd name="T108" fmla="*/ 67 w 453"/>
                    <a:gd name="T109" fmla="*/ 39 h 565"/>
                    <a:gd name="T110" fmla="*/ 6 w 453"/>
                    <a:gd name="T111" fmla="*/ 107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565">
                      <a:moveTo>
                        <a:pt x="6" y="107"/>
                      </a:moveTo>
                      <a:cubicBezTo>
                        <a:pt x="24" y="101"/>
                        <a:pt x="24" y="101"/>
                        <a:pt x="24" y="101"/>
                      </a:cubicBezTo>
                      <a:cubicBezTo>
                        <a:pt x="24" y="101"/>
                        <a:pt x="24" y="101"/>
                        <a:pt x="24" y="101"/>
                      </a:cubicBezTo>
                      <a:cubicBezTo>
                        <a:pt x="48" y="90"/>
                        <a:pt x="48" y="90"/>
                        <a:pt x="48" y="90"/>
                      </a:cubicBezTo>
                      <a:cubicBezTo>
                        <a:pt x="63" y="87"/>
                        <a:pt x="63" y="87"/>
                        <a:pt x="63" y="87"/>
                      </a:cubicBezTo>
                      <a:cubicBezTo>
                        <a:pt x="83" y="95"/>
                        <a:pt x="83" y="95"/>
                        <a:pt x="83" y="95"/>
                      </a:cubicBezTo>
                      <a:cubicBezTo>
                        <a:pt x="84" y="106"/>
                        <a:pt x="84" y="106"/>
                        <a:pt x="84" y="106"/>
                      </a:cubicBezTo>
                      <a:cubicBezTo>
                        <a:pt x="76" y="130"/>
                        <a:pt x="76" y="130"/>
                        <a:pt x="76" y="130"/>
                      </a:cubicBezTo>
                      <a:cubicBezTo>
                        <a:pt x="61" y="157"/>
                        <a:pt x="61" y="157"/>
                        <a:pt x="61" y="157"/>
                      </a:cubicBezTo>
                      <a:cubicBezTo>
                        <a:pt x="60" y="158"/>
                        <a:pt x="60" y="159"/>
                        <a:pt x="60" y="160"/>
                      </a:cubicBezTo>
                      <a:cubicBezTo>
                        <a:pt x="64" y="189"/>
                        <a:pt x="64" y="189"/>
                        <a:pt x="64" y="189"/>
                      </a:cubicBezTo>
                      <a:cubicBezTo>
                        <a:pt x="64" y="190"/>
                        <a:pt x="64" y="191"/>
                        <a:pt x="64" y="191"/>
                      </a:cubicBezTo>
                      <a:cubicBezTo>
                        <a:pt x="77" y="214"/>
                        <a:pt x="77" y="214"/>
                        <a:pt x="77" y="214"/>
                      </a:cubicBezTo>
                      <a:cubicBezTo>
                        <a:pt x="88" y="238"/>
                        <a:pt x="88" y="238"/>
                        <a:pt x="88" y="238"/>
                      </a:cubicBezTo>
                      <a:cubicBezTo>
                        <a:pt x="89" y="240"/>
                        <a:pt x="91" y="241"/>
                        <a:pt x="93" y="241"/>
                      </a:cubicBezTo>
                      <a:cubicBezTo>
                        <a:pt x="96" y="241"/>
                        <a:pt x="99" y="238"/>
                        <a:pt x="99" y="235"/>
                      </a:cubicBezTo>
                      <a:cubicBezTo>
                        <a:pt x="99" y="234"/>
                        <a:pt x="98" y="234"/>
                        <a:pt x="98" y="233"/>
                      </a:cubicBezTo>
                      <a:cubicBezTo>
                        <a:pt x="88" y="202"/>
                        <a:pt x="88" y="202"/>
                        <a:pt x="88" y="202"/>
                      </a:cubicBezTo>
                      <a:cubicBezTo>
                        <a:pt x="92" y="201"/>
                        <a:pt x="92" y="201"/>
                        <a:pt x="92" y="201"/>
                      </a:cubicBezTo>
                      <a:cubicBezTo>
                        <a:pt x="101" y="225"/>
                        <a:pt x="101" y="225"/>
                        <a:pt x="101" y="225"/>
                      </a:cubicBezTo>
                      <a:cubicBezTo>
                        <a:pt x="102" y="248"/>
                        <a:pt x="102" y="248"/>
                        <a:pt x="102" y="248"/>
                      </a:cubicBezTo>
                      <a:cubicBezTo>
                        <a:pt x="102" y="250"/>
                        <a:pt x="103" y="252"/>
                        <a:pt x="105" y="253"/>
                      </a:cubicBezTo>
                      <a:cubicBezTo>
                        <a:pt x="132" y="268"/>
                        <a:pt x="132" y="268"/>
                        <a:pt x="132" y="268"/>
                      </a:cubicBezTo>
                      <a:cubicBezTo>
                        <a:pt x="133" y="268"/>
                        <a:pt x="135" y="269"/>
                        <a:pt x="136" y="268"/>
                      </a:cubicBezTo>
                      <a:cubicBezTo>
                        <a:pt x="143" y="266"/>
                        <a:pt x="143" y="266"/>
                        <a:pt x="143" y="266"/>
                      </a:cubicBezTo>
                      <a:cubicBezTo>
                        <a:pt x="154" y="274"/>
                        <a:pt x="154" y="274"/>
                        <a:pt x="154" y="274"/>
                      </a:cubicBezTo>
                      <a:cubicBezTo>
                        <a:pt x="155" y="274"/>
                        <a:pt x="156" y="275"/>
                        <a:pt x="157" y="275"/>
                      </a:cubicBezTo>
                      <a:cubicBezTo>
                        <a:pt x="169" y="277"/>
                        <a:pt x="169" y="277"/>
                        <a:pt x="169" y="277"/>
                      </a:cubicBezTo>
                      <a:cubicBezTo>
                        <a:pt x="177" y="293"/>
                        <a:pt x="177" y="293"/>
                        <a:pt x="177" y="293"/>
                      </a:cubicBezTo>
                      <a:cubicBezTo>
                        <a:pt x="177" y="294"/>
                        <a:pt x="178" y="295"/>
                        <a:pt x="179" y="295"/>
                      </a:cubicBezTo>
                      <a:cubicBezTo>
                        <a:pt x="197" y="304"/>
                        <a:pt x="197" y="304"/>
                        <a:pt x="197" y="304"/>
                      </a:cubicBezTo>
                      <a:cubicBezTo>
                        <a:pt x="198" y="305"/>
                        <a:pt x="200" y="305"/>
                        <a:pt x="201" y="304"/>
                      </a:cubicBezTo>
                      <a:cubicBezTo>
                        <a:pt x="202" y="304"/>
                        <a:pt x="202" y="304"/>
                        <a:pt x="202" y="304"/>
                      </a:cubicBezTo>
                      <a:cubicBezTo>
                        <a:pt x="202" y="308"/>
                        <a:pt x="202" y="308"/>
                        <a:pt x="202" y="308"/>
                      </a:cubicBezTo>
                      <a:cubicBezTo>
                        <a:pt x="185" y="339"/>
                        <a:pt x="185" y="339"/>
                        <a:pt x="185" y="339"/>
                      </a:cubicBezTo>
                      <a:cubicBezTo>
                        <a:pt x="184" y="341"/>
                        <a:pt x="184" y="343"/>
                        <a:pt x="185" y="344"/>
                      </a:cubicBezTo>
                      <a:cubicBezTo>
                        <a:pt x="211" y="394"/>
                        <a:pt x="211" y="394"/>
                        <a:pt x="211" y="394"/>
                      </a:cubicBezTo>
                      <a:cubicBezTo>
                        <a:pt x="212" y="394"/>
                        <a:pt x="212" y="395"/>
                        <a:pt x="213" y="396"/>
                      </a:cubicBezTo>
                      <a:cubicBezTo>
                        <a:pt x="238" y="414"/>
                        <a:pt x="238" y="414"/>
                        <a:pt x="238" y="414"/>
                      </a:cubicBezTo>
                      <a:cubicBezTo>
                        <a:pt x="244" y="505"/>
                        <a:pt x="244" y="505"/>
                        <a:pt x="244" y="505"/>
                      </a:cubicBezTo>
                      <a:cubicBezTo>
                        <a:pt x="244" y="506"/>
                        <a:pt x="244" y="506"/>
                        <a:pt x="244" y="507"/>
                      </a:cubicBezTo>
                      <a:cubicBezTo>
                        <a:pt x="255" y="536"/>
                        <a:pt x="255" y="536"/>
                        <a:pt x="255" y="536"/>
                      </a:cubicBezTo>
                      <a:cubicBezTo>
                        <a:pt x="255" y="537"/>
                        <a:pt x="255" y="537"/>
                        <a:pt x="256" y="538"/>
                      </a:cubicBezTo>
                      <a:cubicBezTo>
                        <a:pt x="271" y="555"/>
                        <a:pt x="271" y="555"/>
                        <a:pt x="271" y="555"/>
                      </a:cubicBezTo>
                      <a:cubicBezTo>
                        <a:pt x="272" y="555"/>
                        <a:pt x="273" y="556"/>
                        <a:pt x="274" y="556"/>
                      </a:cubicBezTo>
                      <a:cubicBezTo>
                        <a:pt x="299" y="564"/>
                        <a:pt x="299" y="564"/>
                        <a:pt x="299" y="564"/>
                      </a:cubicBezTo>
                      <a:cubicBezTo>
                        <a:pt x="300" y="565"/>
                        <a:pt x="301" y="565"/>
                        <a:pt x="301" y="565"/>
                      </a:cubicBezTo>
                      <a:cubicBezTo>
                        <a:pt x="303" y="565"/>
                        <a:pt x="305" y="564"/>
                        <a:pt x="306" y="562"/>
                      </a:cubicBezTo>
                      <a:cubicBezTo>
                        <a:pt x="307" y="560"/>
                        <a:pt x="307" y="557"/>
                        <a:pt x="305" y="555"/>
                      </a:cubicBezTo>
                      <a:cubicBezTo>
                        <a:pt x="289" y="539"/>
                        <a:pt x="289" y="539"/>
                        <a:pt x="289" y="539"/>
                      </a:cubicBezTo>
                      <a:cubicBezTo>
                        <a:pt x="289" y="504"/>
                        <a:pt x="289" y="504"/>
                        <a:pt x="289" y="504"/>
                      </a:cubicBezTo>
                      <a:cubicBezTo>
                        <a:pt x="354" y="422"/>
                        <a:pt x="354" y="422"/>
                        <a:pt x="354" y="422"/>
                      </a:cubicBezTo>
                      <a:cubicBezTo>
                        <a:pt x="354" y="422"/>
                        <a:pt x="355" y="421"/>
                        <a:pt x="355" y="421"/>
                      </a:cubicBezTo>
                      <a:cubicBezTo>
                        <a:pt x="375" y="367"/>
                        <a:pt x="375" y="367"/>
                        <a:pt x="375" y="367"/>
                      </a:cubicBezTo>
                      <a:cubicBezTo>
                        <a:pt x="376" y="366"/>
                        <a:pt x="375" y="364"/>
                        <a:pt x="375" y="363"/>
                      </a:cubicBezTo>
                      <a:cubicBezTo>
                        <a:pt x="367" y="344"/>
                        <a:pt x="367" y="344"/>
                        <a:pt x="367" y="344"/>
                      </a:cubicBezTo>
                      <a:cubicBezTo>
                        <a:pt x="366" y="342"/>
                        <a:pt x="365" y="341"/>
                        <a:pt x="363" y="340"/>
                      </a:cubicBezTo>
                      <a:cubicBezTo>
                        <a:pt x="344" y="336"/>
                        <a:pt x="322" y="331"/>
                        <a:pt x="314" y="328"/>
                      </a:cubicBezTo>
                      <a:cubicBezTo>
                        <a:pt x="315" y="323"/>
                        <a:pt x="315" y="318"/>
                        <a:pt x="315" y="313"/>
                      </a:cubicBezTo>
                      <a:cubicBezTo>
                        <a:pt x="315" y="311"/>
                        <a:pt x="314" y="309"/>
                        <a:pt x="313" y="308"/>
                      </a:cubicBezTo>
                      <a:cubicBezTo>
                        <a:pt x="273" y="276"/>
                        <a:pt x="273" y="276"/>
                        <a:pt x="273" y="276"/>
                      </a:cubicBezTo>
                      <a:cubicBezTo>
                        <a:pt x="272" y="275"/>
                        <a:pt x="271" y="275"/>
                        <a:pt x="270" y="275"/>
                      </a:cubicBezTo>
                      <a:cubicBezTo>
                        <a:pt x="222" y="275"/>
                        <a:pt x="222" y="275"/>
                        <a:pt x="222" y="275"/>
                      </a:cubicBezTo>
                      <a:cubicBezTo>
                        <a:pt x="221" y="275"/>
                        <a:pt x="220" y="275"/>
                        <a:pt x="219" y="276"/>
                      </a:cubicBezTo>
                      <a:cubicBezTo>
                        <a:pt x="205" y="284"/>
                        <a:pt x="205" y="284"/>
                        <a:pt x="205" y="284"/>
                      </a:cubicBezTo>
                      <a:cubicBezTo>
                        <a:pt x="196" y="281"/>
                        <a:pt x="196" y="281"/>
                        <a:pt x="196" y="281"/>
                      </a:cubicBezTo>
                      <a:cubicBezTo>
                        <a:pt x="196" y="269"/>
                        <a:pt x="196" y="269"/>
                        <a:pt x="196" y="269"/>
                      </a:cubicBezTo>
                      <a:cubicBezTo>
                        <a:pt x="196" y="267"/>
                        <a:pt x="194" y="264"/>
                        <a:pt x="192" y="264"/>
                      </a:cubicBezTo>
                      <a:cubicBezTo>
                        <a:pt x="178" y="260"/>
                        <a:pt x="178" y="260"/>
                        <a:pt x="178" y="260"/>
                      </a:cubicBezTo>
                      <a:cubicBezTo>
                        <a:pt x="184" y="245"/>
                        <a:pt x="184" y="245"/>
                        <a:pt x="184" y="245"/>
                      </a:cubicBezTo>
                      <a:cubicBezTo>
                        <a:pt x="184" y="244"/>
                        <a:pt x="184" y="242"/>
                        <a:pt x="183" y="240"/>
                      </a:cubicBezTo>
                      <a:cubicBezTo>
                        <a:pt x="182" y="239"/>
                        <a:pt x="180" y="238"/>
                        <a:pt x="178" y="238"/>
                      </a:cubicBezTo>
                      <a:cubicBezTo>
                        <a:pt x="166" y="238"/>
                        <a:pt x="166" y="238"/>
                        <a:pt x="166" y="238"/>
                      </a:cubicBezTo>
                      <a:cubicBezTo>
                        <a:pt x="165" y="238"/>
                        <a:pt x="163" y="238"/>
                        <a:pt x="162" y="240"/>
                      </a:cubicBezTo>
                      <a:cubicBezTo>
                        <a:pt x="161" y="241"/>
                        <a:pt x="159" y="242"/>
                        <a:pt x="158" y="243"/>
                      </a:cubicBezTo>
                      <a:cubicBezTo>
                        <a:pt x="156" y="243"/>
                        <a:pt x="152" y="241"/>
                        <a:pt x="147" y="240"/>
                      </a:cubicBezTo>
                      <a:cubicBezTo>
                        <a:pt x="154" y="216"/>
                        <a:pt x="154" y="216"/>
                        <a:pt x="154" y="216"/>
                      </a:cubicBezTo>
                      <a:cubicBezTo>
                        <a:pt x="187" y="207"/>
                        <a:pt x="187" y="207"/>
                        <a:pt x="187" y="207"/>
                      </a:cubicBezTo>
                      <a:cubicBezTo>
                        <a:pt x="194" y="223"/>
                        <a:pt x="194" y="223"/>
                        <a:pt x="194" y="223"/>
                      </a:cubicBezTo>
                      <a:cubicBezTo>
                        <a:pt x="195" y="225"/>
                        <a:pt x="198" y="227"/>
                        <a:pt x="200" y="226"/>
                      </a:cubicBezTo>
                      <a:cubicBezTo>
                        <a:pt x="208" y="226"/>
                        <a:pt x="208" y="226"/>
                        <a:pt x="208" y="226"/>
                      </a:cubicBezTo>
                      <a:cubicBezTo>
                        <a:pt x="211" y="225"/>
                        <a:pt x="213" y="223"/>
                        <a:pt x="213" y="221"/>
                      </a:cubicBezTo>
                      <a:cubicBezTo>
                        <a:pt x="215" y="203"/>
                        <a:pt x="215" y="203"/>
                        <a:pt x="215" y="203"/>
                      </a:cubicBezTo>
                      <a:cubicBezTo>
                        <a:pt x="235" y="186"/>
                        <a:pt x="235" y="186"/>
                        <a:pt x="235" y="186"/>
                      </a:cubicBezTo>
                      <a:cubicBezTo>
                        <a:pt x="236" y="185"/>
                        <a:pt x="237" y="184"/>
                        <a:pt x="237" y="183"/>
                      </a:cubicBezTo>
                      <a:cubicBezTo>
                        <a:pt x="239" y="172"/>
                        <a:pt x="239" y="172"/>
                        <a:pt x="239" y="172"/>
                      </a:cubicBezTo>
                      <a:cubicBezTo>
                        <a:pt x="276" y="149"/>
                        <a:pt x="276" y="149"/>
                        <a:pt x="276" y="149"/>
                      </a:cubicBezTo>
                      <a:cubicBezTo>
                        <a:pt x="293" y="149"/>
                        <a:pt x="293" y="149"/>
                        <a:pt x="293" y="149"/>
                      </a:cubicBezTo>
                      <a:cubicBezTo>
                        <a:pt x="296" y="149"/>
                        <a:pt x="298" y="147"/>
                        <a:pt x="299" y="145"/>
                      </a:cubicBezTo>
                      <a:cubicBezTo>
                        <a:pt x="301" y="134"/>
                        <a:pt x="301" y="134"/>
                        <a:pt x="301" y="134"/>
                      </a:cubicBezTo>
                      <a:cubicBezTo>
                        <a:pt x="301" y="132"/>
                        <a:pt x="301" y="130"/>
                        <a:pt x="300" y="129"/>
                      </a:cubicBezTo>
                      <a:cubicBezTo>
                        <a:pt x="295" y="123"/>
                        <a:pt x="295" y="123"/>
                        <a:pt x="295" y="123"/>
                      </a:cubicBezTo>
                      <a:cubicBezTo>
                        <a:pt x="297" y="122"/>
                        <a:pt x="297" y="122"/>
                        <a:pt x="297" y="122"/>
                      </a:cubicBezTo>
                      <a:cubicBezTo>
                        <a:pt x="315" y="122"/>
                        <a:pt x="315" y="122"/>
                        <a:pt x="315" y="122"/>
                      </a:cubicBezTo>
                      <a:cubicBezTo>
                        <a:pt x="316" y="122"/>
                        <a:pt x="317" y="122"/>
                        <a:pt x="318" y="121"/>
                      </a:cubicBezTo>
                      <a:cubicBezTo>
                        <a:pt x="327" y="115"/>
                        <a:pt x="327" y="115"/>
                        <a:pt x="327" y="115"/>
                      </a:cubicBezTo>
                      <a:cubicBezTo>
                        <a:pt x="328" y="114"/>
                        <a:pt x="329" y="112"/>
                        <a:pt x="329" y="111"/>
                      </a:cubicBezTo>
                      <a:cubicBezTo>
                        <a:pt x="329" y="109"/>
                        <a:pt x="329" y="107"/>
                        <a:pt x="328" y="106"/>
                      </a:cubicBezTo>
                      <a:cubicBezTo>
                        <a:pt x="305" y="85"/>
                        <a:pt x="305" y="85"/>
                        <a:pt x="305" y="85"/>
                      </a:cubicBezTo>
                      <a:cubicBezTo>
                        <a:pt x="299" y="77"/>
                        <a:pt x="299" y="77"/>
                        <a:pt x="299" y="77"/>
                      </a:cubicBezTo>
                      <a:cubicBezTo>
                        <a:pt x="298" y="75"/>
                        <a:pt x="296" y="75"/>
                        <a:pt x="295" y="75"/>
                      </a:cubicBezTo>
                      <a:cubicBezTo>
                        <a:pt x="270" y="75"/>
                        <a:pt x="270" y="75"/>
                        <a:pt x="270" y="75"/>
                      </a:cubicBezTo>
                      <a:cubicBezTo>
                        <a:pt x="268" y="75"/>
                        <a:pt x="266" y="76"/>
                        <a:pt x="265" y="78"/>
                      </a:cubicBezTo>
                      <a:cubicBezTo>
                        <a:pt x="259" y="97"/>
                        <a:pt x="259" y="97"/>
                        <a:pt x="259" y="97"/>
                      </a:cubicBezTo>
                      <a:cubicBezTo>
                        <a:pt x="249" y="99"/>
                        <a:pt x="249" y="99"/>
                        <a:pt x="249" y="99"/>
                      </a:cubicBezTo>
                      <a:cubicBezTo>
                        <a:pt x="249" y="98"/>
                        <a:pt x="249" y="98"/>
                        <a:pt x="249" y="97"/>
                      </a:cubicBezTo>
                      <a:cubicBezTo>
                        <a:pt x="248" y="96"/>
                        <a:pt x="247" y="95"/>
                        <a:pt x="246" y="94"/>
                      </a:cubicBezTo>
                      <a:cubicBezTo>
                        <a:pt x="228" y="88"/>
                        <a:pt x="228" y="88"/>
                        <a:pt x="228" y="88"/>
                      </a:cubicBezTo>
                      <a:cubicBezTo>
                        <a:pt x="241" y="75"/>
                        <a:pt x="241" y="75"/>
                        <a:pt x="241" y="75"/>
                      </a:cubicBezTo>
                      <a:cubicBezTo>
                        <a:pt x="265" y="73"/>
                        <a:pt x="265" y="73"/>
                        <a:pt x="265" y="73"/>
                      </a:cubicBezTo>
                      <a:cubicBezTo>
                        <a:pt x="268" y="73"/>
                        <a:pt x="270" y="71"/>
                        <a:pt x="271" y="68"/>
                      </a:cubicBezTo>
                      <a:cubicBezTo>
                        <a:pt x="272" y="58"/>
                        <a:pt x="272" y="58"/>
                        <a:pt x="272" y="58"/>
                      </a:cubicBezTo>
                      <a:cubicBezTo>
                        <a:pt x="289" y="58"/>
                        <a:pt x="289" y="58"/>
                        <a:pt x="289" y="58"/>
                      </a:cubicBezTo>
                      <a:cubicBezTo>
                        <a:pt x="295" y="67"/>
                        <a:pt x="295" y="67"/>
                        <a:pt x="295" y="67"/>
                      </a:cubicBezTo>
                      <a:cubicBezTo>
                        <a:pt x="295" y="67"/>
                        <a:pt x="296" y="68"/>
                        <a:pt x="297" y="68"/>
                      </a:cubicBezTo>
                      <a:cubicBezTo>
                        <a:pt x="300" y="70"/>
                        <a:pt x="300" y="70"/>
                        <a:pt x="300" y="70"/>
                      </a:cubicBezTo>
                      <a:cubicBezTo>
                        <a:pt x="300" y="70"/>
                        <a:pt x="301" y="70"/>
                        <a:pt x="302" y="70"/>
                      </a:cubicBezTo>
                      <a:cubicBezTo>
                        <a:pt x="313" y="72"/>
                        <a:pt x="313" y="72"/>
                        <a:pt x="313" y="72"/>
                      </a:cubicBezTo>
                      <a:cubicBezTo>
                        <a:pt x="315" y="72"/>
                        <a:pt x="317" y="72"/>
                        <a:pt x="318" y="70"/>
                      </a:cubicBezTo>
                      <a:cubicBezTo>
                        <a:pt x="320" y="68"/>
                        <a:pt x="320" y="68"/>
                        <a:pt x="320" y="68"/>
                      </a:cubicBezTo>
                      <a:cubicBezTo>
                        <a:pt x="331" y="67"/>
                        <a:pt x="331" y="67"/>
                        <a:pt x="331" y="67"/>
                      </a:cubicBezTo>
                      <a:cubicBezTo>
                        <a:pt x="334" y="66"/>
                        <a:pt x="336" y="63"/>
                        <a:pt x="336" y="60"/>
                      </a:cubicBezTo>
                      <a:cubicBezTo>
                        <a:pt x="334" y="45"/>
                        <a:pt x="334" y="45"/>
                        <a:pt x="334" y="45"/>
                      </a:cubicBezTo>
                      <a:cubicBezTo>
                        <a:pt x="334" y="43"/>
                        <a:pt x="333" y="42"/>
                        <a:pt x="331" y="41"/>
                      </a:cubicBezTo>
                      <a:cubicBezTo>
                        <a:pt x="317" y="32"/>
                        <a:pt x="317" y="32"/>
                        <a:pt x="317" y="32"/>
                      </a:cubicBezTo>
                      <a:cubicBezTo>
                        <a:pt x="316" y="31"/>
                        <a:pt x="316" y="31"/>
                        <a:pt x="316" y="31"/>
                      </a:cubicBezTo>
                      <a:cubicBezTo>
                        <a:pt x="341" y="26"/>
                        <a:pt x="341" y="26"/>
                        <a:pt x="341" y="26"/>
                      </a:cubicBezTo>
                      <a:cubicBezTo>
                        <a:pt x="358" y="33"/>
                        <a:pt x="358" y="33"/>
                        <a:pt x="358" y="33"/>
                      </a:cubicBezTo>
                      <a:cubicBezTo>
                        <a:pt x="366" y="44"/>
                        <a:pt x="366" y="44"/>
                        <a:pt x="366" y="44"/>
                      </a:cubicBezTo>
                      <a:cubicBezTo>
                        <a:pt x="361" y="47"/>
                        <a:pt x="361" y="47"/>
                        <a:pt x="361" y="47"/>
                      </a:cubicBezTo>
                      <a:cubicBezTo>
                        <a:pt x="361" y="48"/>
                        <a:pt x="360" y="49"/>
                        <a:pt x="359" y="50"/>
                      </a:cubicBezTo>
                      <a:cubicBezTo>
                        <a:pt x="355" y="64"/>
                        <a:pt x="356" y="67"/>
                        <a:pt x="356" y="68"/>
                      </a:cubicBezTo>
                      <a:cubicBezTo>
                        <a:pt x="357" y="69"/>
                        <a:pt x="357" y="72"/>
                        <a:pt x="371" y="85"/>
                      </a:cubicBezTo>
                      <a:cubicBezTo>
                        <a:pt x="373" y="87"/>
                        <a:pt x="376" y="87"/>
                        <a:pt x="378" y="86"/>
                      </a:cubicBezTo>
                      <a:cubicBezTo>
                        <a:pt x="393" y="74"/>
                        <a:pt x="393" y="74"/>
                        <a:pt x="393" y="74"/>
                      </a:cubicBezTo>
                      <a:cubicBezTo>
                        <a:pt x="404" y="67"/>
                        <a:pt x="404" y="67"/>
                        <a:pt x="404" y="67"/>
                      </a:cubicBezTo>
                      <a:cubicBezTo>
                        <a:pt x="444" y="57"/>
                        <a:pt x="444" y="57"/>
                        <a:pt x="444" y="57"/>
                      </a:cubicBezTo>
                      <a:cubicBezTo>
                        <a:pt x="445" y="56"/>
                        <a:pt x="445" y="56"/>
                        <a:pt x="446" y="56"/>
                      </a:cubicBezTo>
                      <a:cubicBezTo>
                        <a:pt x="453" y="50"/>
                        <a:pt x="453" y="50"/>
                        <a:pt x="453" y="50"/>
                      </a:cubicBezTo>
                      <a:cubicBezTo>
                        <a:pt x="431" y="31"/>
                        <a:pt x="407" y="15"/>
                        <a:pt x="380" y="4"/>
                      </a:cubicBezTo>
                      <a:cubicBezTo>
                        <a:pt x="374" y="4"/>
                        <a:pt x="374" y="4"/>
                        <a:pt x="374" y="4"/>
                      </a:cubicBezTo>
                      <a:cubicBezTo>
                        <a:pt x="374" y="4"/>
                        <a:pt x="374" y="4"/>
                        <a:pt x="373" y="4"/>
                      </a:cubicBezTo>
                      <a:cubicBezTo>
                        <a:pt x="373" y="1"/>
                        <a:pt x="371" y="0"/>
                        <a:pt x="368" y="0"/>
                      </a:cubicBezTo>
                      <a:cubicBezTo>
                        <a:pt x="330" y="0"/>
                        <a:pt x="330" y="0"/>
                        <a:pt x="330" y="0"/>
                      </a:cubicBezTo>
                      <a:cubicBezTo>
                        <a:pt x="330" y="0"/>
                        <a:pt x="330" y="0"/>
                        <a:pt x="329" y="0"/>
                      </a:cubicBezTo>
                      <a:cubicBezTo>
                        <a:pt x="299" y="4"/>
                        <a:pt x="299" y="4"/>
                        <a:pt x="299" y="4"/>
                      </a:cubicBezTo>
                      <a:cubicBezTo>
                        <a:pt x="297" y="5"/>
                        <a:pt x="295" y="7"/>
                        <a:pt x="295" y="9"/>
                      </a:cubicBezTo>
                      <a:cubicBezTo>
                        <a:pt x="294" y="11"/>
                        <a:pt x="295" y="13"/>
                        <a:pt x="297" y="15"/>
                      </a:cubicBezTo>
                      <a:cubicBezTo>
                        <a:pt x="300" y="17"/>
                        <a:pt x="300" y="17"/>
                        <a:pt x="300" y="17"/>
                      </a:cubicBezTo>
                      <a:cubicBezTo>
                        <a:pt x="286" y="23"/>
                        <a:pt x="286" y="23"/>
                        <a:pt x="286" y="23"/>
                      </a:cubicBezTo>
                      <a:cubicBezTo>
                        <a:pt x="285" y="23"/>
                        <a:pt x="285" y="23"/>
                        <a:pt x="284" y="24"/>
                      </a:cubicBezTo>
                      <a:cubicBezTo>
                        <a:pt x="269" y="39"/>
                        <a:pt x="269" y="39"/>
                        <a:pt x="269" y="39"/>
                      </a:cubicBezTo>
                      <a:cubicBezTo>
                        <a:pt x="268" y="40"/>
                        <a:pt x="266" y="40"/>
                        <a:pt x="265" y="41"/>
                      </a:cubicBezTo>
                      <a:cubicBezTo>
                        <a:pt x="264" y="37"/>
                        <a:pt x="262" y="33"/>
                        <a:pt x="262" y="33"/>
                      </a:cubicBezTo>
                      <a:cubicBezTo>
                        <a:pt x="261" y="31"/>
                        <a:pt x="260" y="30"/>
                        <a:pt x="258" y="30"/>
                      </a:cubicBezTo>
                      <a:cubicBezTo>
                        <a:pt x="256" y="29"/>
                        <a:pt x="246" y="26"/>
                        <a:pt x="241" y="26"/>
                      </a:cubicBezTo>
                      <a:cubicBezTo>
                        <a:pt x="205" y="26"/>
                        <a:pt x="205" y="26"/>
                        <a:pt x="205" y="26"/>
                      </a:cubicBezTo>
                      <a:cubicBezTo>
                        <a:pt x="198" y="26"/>
                        <a:pt x="181" y="33"/>
                        <a:pt x="176" y="36"/>
                      </a:cubicBezTo>
                      <a:cubicBezTo>
                        <a:pt x="175" y="36"/>
                        <a:pt x="174" y="37"/>
                        <a:pt x="173" y="39"/>
                      </a:cubicBezTo>
                      <a:cubicBezTo>
                        <a:pt x="173" y="40"/>
                        <a:pt x="173" y="42"/>
                        <a:pt x="173" y="43"/>
                      </a:cubicBezTo>
                      <a:cubicBezTo>
                        <a:pt x="174" y="45"/>
                        <a:pt x="174" y="45"/>
                        <a:pt x="174" y="45"/>
                      </a:cubicBezTo>
                      <a:cubicBezTo>
                        <a:pt x="135" y="42"/>
                        <a:pt x="135" y="42"/>
                        <a:pt x="135" y="42"/>
                      </a:cubicBezTo>
                      <a:cubicBezTo>
                        <a:pt x="85" y="35"/>
                        <a:pt x="85" y="35"/>
                        <a:pt x="85" y="35"/>
                      </a:cubicBezTo>
                      <a:cubicBezTo>
                        <a:pt x="84" y="35"/>
                        <a:pt x="83" y="35"/>
                        <a:pt x="83" y="35"/>
                      </a:cubicBezTo>
                      <a:cubicBezTo>
                        <a:pt x="67" y="39"/>
                        <a:pt x="67" y="39"/>
                        <a:pt x="67" y="39"/>
                      </a:cubicBezTo>
                      <a:cubicBezTo>
                        <a:pt x="41" y="59"/>
                        <a:pt x="19" y="82"/>
                        <a:pt x="0" y="108"/>
                      </a:cubicBezTo>
                      <a:cubicBezTo>
                        <a:pt x="4" y="108"/>
                        <a:pt x="4" y="108"/>
                        <a:pt x="4" y="108"/>
                      </a:cubicBezTo>
                      <a:cubicBezTo>
                        <a:pt x="5" y="108"/>
                        <a:pt x="5" y="108"/>
                        <a:pt x="6"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732" name="Oval 731"/>
              <p:cNvSpPr/>
              <p:nvPr/>
            </p:nvSpPr>
            <p:spPr bwMode="auto">
              <a:xfrm>
                <a:off x="5514771" y="2550829"/>
                <a:ext cx="1692720" cy="1692720"/>
              </a:xfrm>
              <a:prstGeom prst="ellipse">
                <a:avLst/>
              </a:prstGeom>
              <a:noFill/>
              <a:ln w="12700" cap="flat" cmpd="sng" algn="ctr">
                <a:solidFill>
                  <a:srgbClr val="0072C6"/>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33" name="Group 732"/>
              <p:cNvGrpSpPr/>
              <p:nvPr/>
            </p:nvGrpSpPr>
            <p:grpSpPr>
              <a:xfrm rot="10800000">
                <a:off x="5399727" y="2507620"/>
                <a:ext cx="1933527" cy="1795802"/>
                <a:chOff x="3952803" y="2756486"/>
                <a:chExt cx="1441609" cy="1338923"/>
              </a:xfrm>
            </p:grpSpPr>
            <p:pic>
              <p:nvPicPr>
                <p:cNvPr id="734" name="Picture 30" descr="E:\Projects\Creations\_Self\Business Systems\ID_2013\Demos\Your Preso Designer\_Artwork\Icons\On-Site Support\SJD_Demo_Services Icons_Pieces_On Site_Line 1.png"/>
                <p:cNvPicPr>
                  <a:picLocks noChangeAspect="1" noChangeArrowheads="1"/>
                </p:cNvPicPr>
                <p:nvPr/>
              </p:nvPicPr>
              <p:blipFill>
                <a:blip r:embed="rId4" cstate="print">
                  <a:duotone>
                    <a:prstClr val="black"/>
                    <a:srgbClr val="0072C6">
                      <a:tint val="45000"/>
                      <a:satMod val="400000"/>
                    </a:srgbClr>
                  </a:duotone>
                  <a:extLst>
                    <a:ext uri="{28A0092B-C50C-407E-A947-70E740481C1C}">
                      <a14:useLocalDpi xmlns:a14="http://schemas.microsoft.com/office/drawing/2010/main" val="0"/>
                    </a:ext>
                  </a:extLst>
                </a:blip>
                <a:srcRect/>
                <a:stretch>
                  <a:fillRect/>
                </a:stretch>
              </p:blipFill>
              <p:spPr bwMode="auto">
                <a:xfrm>
                  <a:off x="3952803" y="3080548"/>
                  <a:ext cx="1441609" cy="691466"/>
                </a:xfrm>
                <a:prstGeom prst="rect">
                  <a:avLst/>
                </a:prstGeom>
                <a:noFill/>
                <a:extLst>
                  <a:ext uri="{909E8E84-426E-40DD-AFC4-6F175D3DCCD1}">
                    <a14:hiddenFill xmlns:a14="http://schemas.microsoft.com/office/drawing/2010/main">
                      <a:solidFill>
                        <a:srgbClr val="FFFFFF"/>
                      </a:solidFill>
                    </a14:hiddenFill>
                  </a:ext>
                </a:extLst>
              </p:spPr>
            </p:pic>
            <p:pic>
              <p:nvPicPr>
                <p:cNvPr id="735" name="Picture 31" descr="E:\Projects\Creations\_Self\Business Systems\ID_2013\Demos\Your Preso Designer\_Artwork\Icons\On-Site Support\SJD_Demo_Services Icons_Pieces_On Site_Line 2.png"/>
                <p:cNvPicPr>
                  <a:picLocks noChangeAspect="1" noChangeArrowheads="1"/>
                </p:cNvPicPr>
                <p:nvPr/>
              </p:nvPicPr>
              <p:blipFill>
                <a:blip r:embed="rId5" cstate="print">
                  <a:duotone>
                    <a:prstClr val="black"/>
                    <a:srgbClr val="0072C6">
                      <a:tint val="45000"/>
                      <a:satMod val="400000"/>
                    </a:srgbClr>
                  </a:duotone>
                  <a:extLst>
                    <a:ext uri="{28A0092B-C50C-407E-A947-70E740481C1C}">
                      <a14:useLocalDpi xmlns:a14="http://schemas.microsoft.com/office/drawing/2010/main" val="0"/>
                    </a:ext>
                  </a:extLst>
                </a:blip>
                <a:srcRect/>
                <a:stretch>
                  <a:fillRect/>
                </a:stretch>
              </p:blipFill>
              <p:spPr bwMode="auto">
                <a:xfrm>
                  <a:off x="4312872" y="2756486"/>
                  <a:ext cx="722138" cy="1338923"/>
                </a:xfrm>
                <a:prstGeom prst="rect">
                  <a:avLst/>
                </a:prstGeom>
                <a:noFill/>
                <a:extLst>
                  <a:ext uri="{909E8E84-426E-40DD-AFC4-6F175D3DCCD1}">
                    <a14:hiddenFill xmlns:a14="http://schemas.microsoft.com/office/drawing/2010/main">
                      <a:solidFill>
                        <a:srgbClr val="FFFFFF"/>
                      </a:solidFill>
                    </a14:hiddenFill>
                  </a:ext>
                </a:extLst>
              </p:spPr>
            </p:pic>
            <p:pic>
              <p:nvPicPr>
                <p:cNvPr id="736" name="Picture 32" descr="E:\Projects\Creations\_Self\Business Systems\ID_2013\Demos\Your Preso Designer\_Artwork\Icons\On-Site Support\SJD_Demo_Services Icons_Pieces_On Site_Line 3.png"/>
                <p:cNvPicPr>
                  <a:picLocks noChangeAspect="1" noChangeArrowheads="1"/>
                </p:cNvPicPr>
                <p:nvPr/>
              </p:nvPicPr>
              <p:blipFill>
                <a:blip r:embed="rId6" cstate="print">
                  <a:duotone>
                    <a:prstClr val="black"/>
                    <a:srgbClr val="0072C6">
                      <a:tint val="45000"/>
                      <a:satMod val="400000"/>
                    </a:srgbClr>
                  </a:duotone>
                  <a:extLst>
                    <a:ext uri="{28A0092B-C50C-407E-A947-70E740481C1C}">
                      <a14:useLocalDpi xmlns:a14="http://schemas.microsoft.com/office/drawing/2010/main" val="0"/>
                    </a:ext>
                  </a:extLst>
                </a:blip>
                <a:srcRect/>
                <a:stretch>
                  <a:fillRect/>
                </a:stretch>
              </p:blipFill>
              <p:spPr bwMode="auto">
                <a:xfrm>
                  <a:off x="3952803" y="3168565"/>
                  <a:ext cx="1441609" cy="51476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50" name="Freeform 224"/>
            <p:cNvSpPr>
              <a:spLocks/>
            </p:cNvSpPr>
            <p:nvPr/>
          </p:nvSpPr>
          <p:spPr bwMode="auto">
            <a:xfrm>
              <a:off x="2046036" y="1937858"/>
              <a:ext cx="34937" cy="5726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FF">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551" name="Freeform 224"/>
            <p:cNvSpPr>
              <a:spLocks/>
            </p:cNvSpPr>
            <p:nvPr/>
          </p:nvSpPr>
          <p:spPr bwMode="auto">
            <a:xfrm>
              <a:off x="2310863" y="1916177"/>
              <a:ext cx="34937" cy="5726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FF">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552" name="Freeform 224"/>
            <p:cNvSpPr>
              <a:spLocks/>
            </p:cNvSpPr>
            <p:nvPr/>
          </p:nvSpPr>
          <p:spPr bwMode="auto">
            <a:xfrm>
              <a:off x="2296924" y="2201135"/>
              <a:ext cx="34937" cy="5726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FF">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553" name="Freeform 224"/>
            <p:cNvSpPr>
              <a:spLocks/>
            </p:cNvSpPr>
            <p:nvPr/>
          </p:nvSpPr>
          <p:spPr bwMode="auto">
            <a:xfrm>
              <a:off x="2216392" y="2086532"/>
              <a:ext cx="34937" cy="5726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FF">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554" name="Freeform 224"/>
            <p:cNvSpPr>
              <a:spLocks/>
            </p:cNvSpPr>
            <p:nvPr/>
          </p:nvSpPr>
          <p:spPr bwMode="auto">
            <a:xfrm>
              <a:off x="2063072" y="2057108"/>
              <a:ext cx="34937" cy="5726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FFFFFF">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grpSp>
          <p:nvGrpSpPr>
            <p:cNvPr id="555" name="Group 554"/>
            <p:cNvGrpSpPr/>
            <p:nvPr/>
          </p:nvGrpSpPr>
          <p:grpSpPr>
            <a:xfrm>
              <a:off x="1828938" y="1976276"/>
              <a:ext cx="137018" cy="137018"/>
              <a:chOff x="7070413" y="3331828"/>
              <a:chExt cx="387248" cy="387248"/>
            </a:xfrm>
          </p:grpSpPr>
          <p:sp>
            <p:nvSpPr>
              <p:cNvPr id="718" name="Oval 717"/>
              <p:cNvSpPr/>
              <p:nvPr/>
            </p:nvSpPr>
            <p:spPr bwMode="auto">
              <a:xfrm>
                <a:off x="7070413" y="3331828"/>
                <a:ext cx="387248" cy="387248"/>
              </a:xfrm>
              <a:prstGeom prst="ellipse">
                <a:avLst/>
              </a:prstGeom>
              <a:solidFill>
                <a:schemeClr val="accent1"/>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19" name="Group 718"/>
              <p:cNvGrpSpPr>
                <a:grpSpLocks noChangeAspect="1"/>
              </p:cNvGrpSpPr>
              <p:nvPr/>
            </p:nvGrpSpPr>
            <p:grpSpPr>
              <a:xfrm>
                <a:off x="7140656" y="3408854"/>
                <a:ext cx="266984" cy="219206"/>
                <a:chOff x="-4435475" y="1371600"/>
                <a:chExt cx="4435475" cy="3641725"/>
              </a:xfrm>
            </p:grpSpPr>
            <p:sp>
              <p:nvSpPr>
                <p:cNvPr id="720"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accent1"/>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721" name="Group 720"/>
                <p:cNvGrpSpPr/>
                <p:nvPr/>
              </p:nvGrpSpPr>
              <p:grpSpPr>
                <a:xfrm>
                  <a:off x="-4206871" y="1603381"/>
                  <a:ext cx="3978266" cy="3168650"/>
                  <a:chOff x="-4206875" y="1603375"/>
                  <a:chExt cx="3978275" cy="3168650"/>
                </a:xfrm>
                <a:solidFill>
                  <a:srgbClr val="FFFFFF"/>
                </a:solidFill>
              </p:grpSpPr>
              <p:sp>
                <p:nvSpPr>
                  <p:cNvPr id="722"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3"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4"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5"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6"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7"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8"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29"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grpSp>
        <p:grpSp>
          <p:nvGrpSpPr>
            <p:cNvPr id="556" name="Group 555"/>
            <p:cNvGrpSpPr/>
            <p:nvPr/>
          </p:nvGrpSpPr>
          <p:grpSpPr>
            <a:xfrm>
              <a:off x="2065303" y="2094458"/>
              <a:ext cx="137018" cy="137018"/>
              <a:chOff x="7070408" y="3331828"/>
              <a:chExt cx="387248" cy="387248"/>
            </a:xfrm>
          </p:grpSpPr>
          <p:sp>
            <p:nvSpPr>
              <p:cNvPr id="706" name="Oval 705"/>
              <p:cNvSpPr/>
              <p:nvPr/>
            </p:nvSpPr>
            <p:spPr bwMode="auto">
              <a:xfrm>
                <a:off x="7070408" y="3331828"/>
                <a:ext cx="387248" cy="387248"/>
              </a:xfrm>
              <a:prstGeom prst="ellipse">
                <a:avLst/>
              </a:prstGeom>
              <a:solidFill>
                <a:schemeClr val="accent1"/>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07" name="Group 706"/>
              <p:cNvGrpSpPr>
                <a:grpSpLocks noChangeAspect="1"/>
              </p:cNvGrpSpPr>
              <p:nvPr/>
            </p:nvGrpSpPr>
            <p:grpSpPr>
              <a:xfrm>
                <a:off x="7140656" y="3408854"/>
                <a:ext cx="266984" cy="219206"/>
                <a:chOff x="-4435475" y="1371600"/>
                <a:chExt cx="4435475" cy="3641725"/>
              </a:xfrm>
            </p:grpSpPr>
            <p:sp>
              <p:nvSpPr>
                <p:cNvPr id="708"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accent1"/>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709" name="Group 708"/>
                <p:cNvGrpSpPr/>
                <p:nvPr/>
              </p:nvGrpSpPr>
              <p:grpSpPr>
                <a:xfrm>
                  <a:off x="-4206871" y="1603381"/>
                  <a:ext cx="3978266" cy="3168650"/>
                  <a:chOff x="-4206875" y="1603375"/>
                  <a:chExt cx="3978275" cy="3168650"/>
                </a:xfrm>
                <a:solidFill>
                  <a:srgbClr val="FFFFFF"/>
                </a:solidFill>
              </p:grpSpPr>
              <p:sp>
                <p:nvSpPr>
                  <p:cNvPr id="710"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1"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2"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3"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4"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5"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6"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17"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grpSp>
        <p:grpSp>
          <p:nvGrpSpPr>
            <p:cNvPr id="557" name="Group 556"/>
            <p:cNvGrpSpPr/>
            <p:nvPr/>
          </p:nvGrpSpPr>
          <p:grpSpPr>
            <a:xfrm>
              <a:off x="2325513" y="1801074"/>
              <a:ext cx="137018" cy="137018"/>
              <a:chOff x="7070408" y="3331833"/>
              <a:chExt cx="387248" cy="387248"/>
            </a:xfrm>
          </p:grpSpPr>
          <p:sp>
            <p:nvSpPr>
              <p:cNvPr id="694" name="Oval 693"/>
              <p:cNvSpPr/>
              <p:nvPr/>
            </p:nvSpPr>
            <p:spPr bwMode="auto">
              <a:xfrm>
                <a:off x="7070408" y="3331833"/>
                <a:ext cx="387248" cy="387248"/>
              </a:xfrm>
              <a:prstGeom prst="ellipse">
                <a:avLst/>
              </a:prstGeom>
              <a:solidFill>
                <a:schemeClr val="accent1"/>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95" name="Group 694"/>
              <p:cNvGrpSpPr>
                <a:grpSpLocks noChangeAspect="1"/>
              </p:cNvGrpSpPr>
              <p:nvPr/>
            </p:nvGrpSpPr>
            <p:grpSpPr>
              <a:xfrm>
                <a:off x="7140656" y="3408854"/>
                <a:ext cx="266984" cy="219206"/>
                <a:chOff x="-4435475" y="1371600"/>
                <a:chExt cx="4435475" cy="3641725"/>
              </a:xfrm>
            </p:grpSpPr>
            <p:sp>
              <p:nvSpPr>
                <p:cNvPr id="696"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accent1"/>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697" name="Group 696"/>
                <p:cNvGrpSpPr/>
                <p:nvPr/>
              </p:nvGrpSpPr>
              <p:grpSpPr>
                <a:xfrm>
                  <a:off x="-4206871" y="1603381"/>
                  <a:ext cx="3978266" cy="3168650"/>
                  <a:chOff x="-4206875" y="1603375"/>
                  <a:chExt cx="3978275" cy="3168650"/>
                </a:xfrm>
                <a:solidFill>
                  <a:srgbClr val="FFFFFF"/>
                </a:solidFill>
              </p:grpSpPr>
              <p:sp>
                <p:nvSpPr>
                  <p:cNvPr id="698"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99"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0"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1"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2"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3"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4"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70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grpSp>
        <p:grpSp>
          <p:nvGrpSpPr>
            <p:cNvPr id="558" name="Group 557"/>
            <p:cNvGrpSpPr/>
            <p:nvPr/>
          </p:nvGrpSpPr>
          <p:grpSpPr>
            <a:xfrm>
              <a:off x="2484127" y="2057136"/>
              <a:ext cx="137018" cy="137018"/>
              <a:chOff x="7070408" y="3331828"/>
              <a:chExt cx="387248" cy="387248"/>
            </a:xfrm>
          </p:grpSpPr>
          <p:sp>
            <p:nvSpPr>
              <p:cNvPr id="682" name="Oval 681"/>
              <p:cNvSpPr/>
              <p:nvPr/>
            </p:nvSpPr>
            <p:spPr bwMode="auto">
              <a:xfrm>
                <a:off x="7070408" y="3331828"/>
                <a:ext cx="387248" cy="387248"/>
              </a:xfrm>
              <a:prstGeom prst="ellipse">
                <a:avLst/>
              </a:prstGeom>
              <a:solidFill>
                <a:schemeClr val="accent1"/>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83" name="Group 682"/>
              <p:cNvGrpSpPr>
                <a:grpSpLocks noChangeAspect="1"/>
              </p:cNvGrpSpPr>
              <p:nvPr/>
            </p:nvGrpSpPr>
            <p:grpSpPr>
              <a:xfrm>
                <a:off x="7140656" y="3408854"/>
                <a:ext cx="266984" cy="219206"/>
                <a:chOff x="-4435475" y="1371600"/>
                <a:chExt cx="4435475" cy="3641725"/>
              </a:xfrm>
            </p:grpSpPr>
            <p:sp>
              <p:nvSpPr>
                <p:cNvPr id="684"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chemeClr val="accent1"/>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685" name="Group 684"/>
                <p:cNvGrpSpPr/>
                <p:nvPr/>
              </p:nvGrpSpPr>
              <p:grpSpPr>
                <a:xfrm>
                  <a:off x="-4206871" y="1603381"/>
                  <a:ext cx="3978266" cy="3168650"/>
                  <a:chOff x="-4206875" y="1603375"/>
                  <a:chExt cx="3978275" cy="3168650"/>
                </a:xfrm>
                <a:solidFill>
                  <a:srgbClr val="FFFFFF"/>
                </a:solidFill>
              </p:grpSpPr>
              <p:sp>
                <p:nvSpPr>
                  <p:cNvPr id="686"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87"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88"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89"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90"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91"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92"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693"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grpSp>
        <p:sp>
          <p:nvSpPr>
            <p:cNvPr id="559" name="Freeform 73"/>
            <p:cNvSpPr>
              <a:spLocks/>
            </p:cNvSpPr>
            <p:nvPr/>
          </p:nvSpPr>
          <p:spPr bwMode="auto">
            <a:xfrm>
              <a:off x="2300731" y="2814054"/>
              <a:ext cx="169340" cy="180630"/>
            </a:xfrm>
            <a:custGeom>
              <a:avLst/>
              <a:gdLst>
                <a:gd name="T0" fmla="*/ 150 w 150"/>
                <a:gd name="T1" fmla="*/ 102 h 160"/>
                <a:gd name="T2" fmla="*/ 54 w 150"/>
                <a:gd name="T3" fmla="*/ 8 h 160"/>
                <a:gd name="T4" fmla="*/ 52 w 150"/>
                <a:gd name="T5" fmla="*/ 8 h 160"/>
                <a:gd name="T6" fmla="*/ 52 w 150"/>
                <a:gd name="T7" fmla="*/ 8 h 160"/>
                <a:gd name="T8" fmla="*/ 52 w 150"/>
                <a:gd name="T9" fmla="*/ 8 h 160"/>
                <a:gd name="T10" fmla="*/ 40 w 150"/>
                <a:gd name="T11" fmla="*/ 2 h 160"/>
                <a:gd name="T12" fmla="*/ 28 w 150"/>
                <a:gd name="T13" fmla="*/ 0 h 160"/>
                <a:gd name="T14" fmla="*/ 18 w 150"/>
                <a:gd name="T15" fmla="*/ 4 h 160"/>
                <a:gd name="T16" fmla="*/ 12 w 150"/>
                <a:gd name="T17" fmla="*/ 8 h 160"/>
                <a:gd name="T18" fmla="*/ 8 w 150"/>
                <a:gd name="T19" fmla="*/ 12 h 160"/>
                <a:gd name="T20" fmla="*/ 8 w 150"/>
                <a:gd name="T21" fmla="*/ 12 h 160"/>
                <a:gd name="T22" fmla="*/ 4 w 150"/>
                <a:gd name="T23" fmla="*/ 16 h 160"/>
                <a:gd name="T24" fmla="*/ 2 w 150"/>
                <a:gd name="T25" fmla="*/ 22 h 160"/>
                <a:gd name="T26" fmla="*/ 0 w 150"/>
                <a:gd name="T27" fmla="*/ 34 h 160"/>
                <a:gd name="T28" fmla="*/ 2 w 150"/>
                <a:gd name="T29" fmla="*/ 46 h 160"/>
                <a:gd name="T30" fmla="*/ 8 w 150"/>
                <a:gd name="T31" fmla="*/ 56 h 160"/>
                <a:gd name="T32" fmla="*/ 112 w 150"/>
                <a:gd name="T33" fmla="*/ 158 h 160"/>
                <a:gd name="T34" fmla="*/ 112 w 150"/>
                <a:gd name="T35" fmla="*/ 158 h 160"/>
                <a:gd name="T36" fmla="*/ 116 w 150"/>
                <a:gd name="T37" fmla="*/ 160 h 160"/>
                <a:gd name="T38" fmla="*/ 128 w 150"/>
                <a:gd name="T39" fmla="*/ 158 h 160"/>
                <a:gd name="T40" fmla="*/ 134 w 150"/>
                <a:gd name="T41" fmla="*/ 154 h 160"/>
                <a:gd name="T42" fmla="*/ 140 w 150"/>
                <a:gd name="T43" fmla="*/ 148 h 160"/>
                <a:gd name="T44" fmla="*/ 146 w 150"/>
                <a:gd name="T45" fmla="*/ 142 h 160"/>
                <a:gd name="T46" fmla="*/ 150 w 150"/>
                <a:gd name="T47" fmla="*/ 130 h 160"/>
                <a:gd name="T48" fmla="*/ 150 w 150"/>
                <a:gd name="T49" fmla="*/ 10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60">
                  <a:moveTo>
                    <a:pt x="150" y="102"/>
                  </a:moveTo>
                  <a:lnTo>
                    <a:pt x="54" y="8"/>
                  </a:lnTo>
                  <a:lnTo>
                    <a:pt x="52" y="8"/>
                  </a:lnTo>
                  <a:lnTo>
                    <a:pt x="52" y="8"/>
                  </a:lnTo>
                  <a:lnTo>
                    <a:pt x="52" y="8"/>
                  </a:lnTo>
                  <a:lnTo>
                    <a:pt x="40" y="2"/>
                  </a:lnTo>
                  <a:lnTo>
                    <a:pt x="28" y="0"/>
                  </a:lnTo>
                  <a:lnTo>
                    <a:pt x="18" y="4"/>
                  </a:lnTo>
                  <a:lnTo>
                    <a:pt x="12" y="8"/>
                  </a:lnTo>
                  <a:lnTo>
                    <a:pt x="8" y="12"/>
                  </a:lnTo>
                  <a:lnTo>
                    <a:pt x="8" y="12"/>
                  </a:lnTo>
                  <a:lnTo>
                    <a:pt x="4" y="16"/>
                  </a:lnTo>
                  <a:lnTo>
                    <a:pt x="2" y="22"/>
                  </a:lnTo>
                  <a:lnTo>
                    <a:pt x="0" y="34"/>
                  </a:lnTo>
                  <a:lnTo>
                    <a:pt x="2" y="46"/>
                  </a:lnTo>
                  <a:lnTo>
                    <a:pt x="8" y="56"/>
                  </a:lnTo>
                  <a:lnTo>
                    <a:pt x="112" y="158"/>
                  </a:lnTo>
                  <a:lnTo>
                    <a:pt x="112" y="158"/>
                  </a:lnTo>
                  <a:lnTo>
                    <a:pt x="116" y="160"/>
                  </a:lnTo>
                  <a:lnTo>
                    <a:pt x="128" y="158"/>
                  </a:lnTo>
                  <a:lnTo>
                    <a:pt x="134" y="154"/>
                  </a:lnTo>
                  <a:lnTo>
                    <a:pt x="140" y="148"/>
                  </a:lnTo>
                  <a:lnTo>
                    <a:pt x="146" y="142"/>
                  </a:lnTo>
                  <a:lnTo>
                    <a:pt x="150" y="130"/>
                  </a:lnTo>
                  <a:lnTo>
                    <a:pt x="150" y="102"/>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60" name="Rectangle 559"/>
            <p:cNvSpPr/>
            <p:nvPr/>
          </p:nvSpPr>
          <p:spPr bwMode="auto">
            <a:xfrm>
              <a:off x="1901706" y="2349361"/>
              <a:ext cx="726833" cy="3759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61" name="Group 560"/>
            <p:cNvGrpSpPr/>
            <p:nvPr/>
          </p:nvGrpSpPr>
          <p:grpSpPr>
            <a:xfrm>
              <a:off x="1922573" y="2394720"/>
              <a:ext cx="684005" cy="296750"/>
              <a:chOff x="942242" y="3531095"/>
              <a:chExt cx="3774529" cy="1601188"/>
            </a:xfrm>
          </p:grpSpPr>
          <p:sp>
            <p:nvSpPr>
              <p:cNvPr id="667" name="Rectangle 666"/>
              <p:cNvSpPr/>
              <p:nvPr/>
            </p:nvSpPr>
            <p:spPr bwMode="auto">
              <a:xfrm>
                <a:off x="942242" y="3531095"/>
                <a:ext cx="709197" cy="505187"/>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68" name="Rectangle 667"/>
              <p:cNvSpPr/>
              <p:nvPr/>
            </p:nvSpPr>
            <p:spPr bwMode="auto">
              <a:xfrm>
                <a:off x="1704126" y="3531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69" name="Rectangle 668"/>
              <p:cNvSpPr/>
              <p:nvPr/>
            </p:nvSpPr>
            <p:spPr bwMode="auto">
              <a:xfrm>
                <a:off x="2466008" y="4627095"/>
                <a:ext cx="718570" cy="505188"/>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0" name="Rectangle 669"/>
              <p:cNvSpPr/>
              <p:nvPr/>
            </p:nvSpPr>
            <p:spPr bwMode="auto">
              <a:xfrm>
                <a:off x="3227889" y="3531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1" name="Rectangle 670"/>
              <p:cNvSpPr/>
              <p:nvPr/>
            </p:nvSpPr>
            <p:spPr bwMode="auto">
              <a:xfrm>
                <a:off x="1704126" y="4079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2" name="Rectangle 671"/>
              <p:cNvSpPr/>
              <p:nvPr/>
            </p:nvSpPr>
            <p:spPr bwMode="auto">
              <a:xfrm>
                <a:off x="3227889" y="4079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3" name="Rectangle 672"/>
              <p:cNvSpPr/>
              <p:nvPr/>
            </p:nvSpPr>
            <p:spPr bwMode="auto">
              <a:xfrm>
                <a:off x="942243" y="4627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4" name="Rectangle 673"/>
              <p:cNvSpPr/>
              <p:nvPr/>
            </p:nvSpPr>
            <p:spPr bwMode="auto">
              <a:xfrm>
                <a:off x="1704126" y="4627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5" name="Rectangle 674"/>
              <p:cNvSpPr/>
              <p:nvPr/>
            </p:nvSpPr>
            <p:spPr bwMode="auto">
              <a:xfrm>
                <a:off x="3227889" y="4627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6" name="Rectangle 675"/>
              <p:cNvSpPr/>
              <p:nvPr/>
            </p:nvSpPr>
            <p:spPr bwMode="auto">
              <a:xfrm>
                <a:off x="2466008" y="3531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7" name="Rectangle 676"/>
              <p:cNvSpPr/>
              <p:nvPr/>
            </p:nvSpPr>
            <p:spPr bwMode="auto">
              <a:xfrm>
                <a:off x="2466008" y="4079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8" name="Rectangle 677"/>
              <p:cNvSpPr/>
              <p:nvPr/>
            </p:nvSpPr>
            <p:spPr bwMode="auto">
              <a:xfrm>
                <a:off x="942243" y="4079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9" name="Rectangle 678"/>
              <p:cNvSpPr/>
              <p:nvPr/>
            </p:nvSpPr>
            <p:spPr bwMode="auto">
              <a:xfrm>
                <a:off x="3998201" y="3531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80" name="Rectangle 679"/>
              <p:cNvSpPr/>
              <p:nvPr/>
            </p:nvSpPr>
            <p:spPr bwMode="auto">
              <a:xfrm>
                <a:off x="3998201" y="4079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81" name="Rectangle 680"/>
              <p:cNvSpPr/>
              <p:nvPr/>
            </p:nvSpPr>
            <p:spPr bwMode="auto">
              <a:xfrm>
                <a:off x="3998201" y="4627095"/>
                <a:ext cx="718570" cy="50518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562" name="Group 561"/>
            <p:cNvGrpSpPr/>
            <p:nvPr/>
          </p:nvGrpSpPr>
          <p:grpSpPr>
            <a:xfrm>
              <a:off x="1888866" y="2365037"/>
              <a:ext cx="751423" cy="406820"/>
              <a:chOff x="4407865" y="3370934"/>
              <a:chExt cx="4054491" cy="2195098"/>
            </a:xfrm>
          </p:grpSpPr>
          <p:sp>
            <p:nvSpPr>
              <p:cNvPr id="664" name="Freeform 663"/>
              <p:cNvSpPr>
                <a:spLocks noChangeArrowheads="1"/>
              </p:cNvSpPr>
              <p:nvPr/>
            </p:nvSpPr>
            <p:spPr bwMode="auto">
              <a:xfrm>
                <a:off x="4407865" y="3370934"/>
                <a:ext cx="607480" cy="2001142"/>
              </a:xfrm>
              <a:custGeom>
                <a:avLst/>
                <a:gdLst>
                  <a:gd name="connsiteX0" fmla="*/ 109462 w 607480"/>
                  <a:gd name="connsiteY0" fmla="*/ 0 h 2001142"/>
                  <a:gd name="connsiteX1" fmla="*/ 393093 w 607480"/>
                  <a:gd name="connsiteY1" fmla="*/ 0 h 2001142"/>
                  <a:gd name="connsiteX2" fmla="*/ 607480 w 607480"/>
                  <a:gd name="connsiteY2" fmla="*/ 0 h 2001142"/>
                  <a:gd name="connsiteX3" fmla="*/ 607480 w 607480"/>
                  <a:gd name="connsiteY3" fmla="*/ 86041 h 2001142"/>
                  <a:gd name="connsiteX4" fmla="*/ 93967 w 607480"/>
                  <a:gd name="connsiteY4" fmla="*/ 86041 h 2001142"/>
                  <a:gd name="connsiteX5" fmla="*/ 93967 w 607480"/>
                  <a:gd name="connsiteY5" fmla="*/ 1837389 h 2001142"/>
                  <a:gd name="connsiteX6" fmla="*/ 607480 w 607480"/>
                  <a:gd name="connsiteY6" fmla="*/ 1837389 h 2001142"/>
                  <a:gd name="connsiteX7" fmla="*/ 607480 w 607480"/>
                  <a:gd name="connsiteY7" fmla="*/ 2001142 h 2001142"/>
                  <a:gd name="connsiteX8" fmla="*/ 537446 w 607480"/>
                  <a:gd name="connsiteY8" fmla="*/ 2001142 h 2001142"/>
                  <a:gd name="connsiteX9" fmla="*/ 109462 w 607480"/>
                  <a:gd name="connsiteY9" fmla="*/ 2001142 h 2001142"/>
                  <a:gd name="connsiteX10" fmla="*/ 0 w 607480"/>
                  <a:gd name="connsiteY10" fmla="*/ 1891113 h 2001142"/>
                  <a:gd name="connsiteX11" fmla="*/ 0 w 607480"/>
                  <a:gd name="connsiteY11" fmla="*/ 110028 h 2001142"/>
                  <a:gd name="connsiteX12" fmla="*/ 109462 w 607480"/>
                  <a:gd name="connsiteY12" fmla="*/ 0 h 20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480" h="2001142">
                    <a:moveTo>
                      <a:pt x="109462" y="0"/>
                    </a:moveTo>
                    <a:cubicBezTo>
                      <a:pt x="207023" y="0"/>
                      <a:pt x="301535" y="0"/>
                      <a:pt x="393093" y="0"/>
                    </a:cubicBezTo>
                    <a:lnTo>
                      <a:pt x="607480" y="0"/>
                    </a:lnTo>
                    <a:lnTo>
                      <a:pt x="607480" y="86041"/>
                    </a:lnTo>
                    <a:lnTo>
                      <a:pt x="93967" y="86041"/>
                    </a:lnTo>
                    <a:lnTo>
                      <a:pt x="93967" y="1837389"/>
                    </a:lnTo>
                    <a:lnTo>
                      <a:pt x="607480" y="1837389"/>
                    </a:lnTo>
                    <a:lnTo>
                      <a:pt x="607480" y="2001142"/>
                    </a:lnTo>
                    <a:lnTo>
                      <a:pt x="537446" y="2001142"/>
                    </a:lnTo>
                    <a:cubicBezTo>
                      <a:pt x="109462" y="2001142"/>
                      <a:pt x="109462" y="2001142"/>
                      <a:pt x="109462" y="2001142"/>
                    </a:cubicBezTo>
                    <a:cubicBezTo>
                      <a:pt x="50169" y="2001142"/>
                      <a:pt x="0" y="1950713"/>
                      <a:pt x="0" y="1891113"/>
                    </a:cubicBezTo>
                    <a:cubicBezTo>
                      <a:pt x="0" y="110028"/>
                      <a:pt x="0" y="110028"/>
                      <a:pt x="0" y="110028"/>
                    </a:cubicBezTo>
                    <a:cubicBezTo>
                      <a:pt x="0" y="50429"/>
                      <a:pt x="50169" y="0"/>
                      <a:pt x="109462" y="0"/>
                    </a:cubicBez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sp>
            <p:nvSpPr>
              <p:cNvPr id="665" name="Freeform 664"/>
              <p:cNvSpPr/>
              <p:nvPr/>
            </p:nvSpPr>
            <p:spPr bwMode="auto">
              <a:xfrm>
                <a:off x="4963758" y="3370934"/>
                <a:ext cx="2942705" cy="2195098"/>
              </a:xfrm>
              <a:custGeom>
                <a:avLst/>
                <a:gdLst>
                  <a:gd name="connsiteX0" fmla="*/ 0 w 2942705"/>
                  <a:gd name="connsiteY0" fmla="*/ 1837389 h 2195098"/>
                  <a:gd name="connsiteX1" fmla="*/ 2942705 w 2942705"/>
                  <a:gd name="connsiteY1" fmla="*/ 1837389 h 2195098"/>
                  <a:gd name="connsiteX2" fmla="*/ 2942705 w 2942705"/>
                  <a:gd name="connsiteY2" fmla="*/ 2001142 h 2195098"/>
                  <a:gd name="connsiteX3" fmla="*/ 2927058 w 2942705"/>
                  <a:gd name="connsiteY3" fmla="*/ 2001142 h 2195098"/>
                  <a:gd name="connsiteX4" fmla="*/ 2849616 w 2942705"/>
                  <a:gd name="connsiteY4" fmla="*/ 2001142 h 2195098"/>
                  <a:gd name="connsiteX5" fmla="*/ 2741538 w 2942705"/>
                  <a:gd name="connsiteY5" fmla="*/ 2001142 h 2195098"/>
                  <a:gd name="connsiteX6" fmla="*/ 2614695 w 2942705"/>
                  <a:gd name="connsiteY6" fmla="*/ 2001142 h 2195098"/>
                  <a:gd name="connsiteX7" fmla="*/ 2597719 w 2942705"/>
                  <a:gd name="connsiteY7" fmla="*/ 2001142 h 2195098"/>
                  <a:gd name="connsiteX8" fmla="*/ 2235158 w 2942705"/>
                  <a:gd name="connsiteY8" fmla="*/ 2001142 h 2195098"/>
                  <a:gd name="connsiteX9" fmla="*/ 1586055 w 2942705"/>
                  <a:gd name="connsiteY9" fmla="*/ 2001142 h 2195098"/>
                  <a:gd name="connsiteX10" fmla="*/ 1543216 w 2942705"/>
                  <a:gd name="connsiteY10" fmla="*/ 2001142 h 2195098"/>
                  <a:gd name="connsiteX11" fmla="*/ 1543216 w 2942705"/>
                  <a:gd name="connsiteY11" fmla="*/ 2142361 h 2195098"/>
                  <a:gd name="connsiteX12" fmla="*/ 2294949 w 2942705"/>
                  <a:gd name="connsiteY12" fmla="*/ 2142361 h 2195098"/>
                  <a:gd name="connsiteX13" fmla="*/ 2294949 w 2942705"/>
                  <a:gd name="connsiteY13" fmla="*/ 2195098 h 2195098"/>
                  <a:gd name="connsiteX14" fmla="*/ 639466 w 2942705"/>
                  <a:gd name="connsiteY14" fmla="*/ 2195098 h 2195098"/>
                  <a:gd name="connsiteX15" fmla="*/ 639466 w 2942705"/>
                  <a:gd name="connsiteY15" fmla="*/ 2142361 h 2195098"/>
                  <a:gd name="connsiteX16" fmla="*/ 1399495 w 2942705"/>
                  <a:gd name="connsiteY16" fmla="*/ 2142361 h 2195098"/>
                  <a:gd name="connsiteX17" fmla="*/ 1399495 w 2942705"/>
                  <a:gd name="connsiteY17" fmla="*/ 2001142 h 2195098"/>
                  <a:gd name="connsiteX18" fmla="*/ 1228585 w 2942705"/>
                  <a:gd name="connsiteY18" fmla="*/ 2001142 h 2195098"/>
                  <a:gd name="connsiteX19" fmla="*/ 21806 w 2942705"/>
                  <a:gd name="connsiteY19" fmla="*/ 2001142 h 2195098"/>
                  <a:gd name="connsiteX20" fmla="*/ 0 w 2942705"/>
                  <a:gd name="connsiteY20" fmla="*/ 2001142 h 2195098"/>
                  <a:gd name="connsiteX21" fmla="*/ 0 w 2942705"/>
                  <a:gd name="connsiteY21" fmla="*/ 0 h 2195098"/>
                  <a:gd name="connsiteX22" fmla="*/ 195145 w 2942705"/>
                  <a:gd name="connsiteY22" fmla="*/ 0 h 2195098"/>
                  <a:gd name="connsiteX23" fmla="*/ 942001 w 2942705"/>
                  <a:gd name="connsiteY23" fmla="*/ 0 h 2195098"/>
                  <a:gd name="connsiteX24" fmla="*/ 1219852 w 2942705"/>
                  <a:gd name="connsiteY24" fmla="*/ 0 h 2195098"/>
                  <a:gd name="connsiteX25" fmla="*/ 1223394 w 2942705"/>
                  <a:gd name="connsiteY25" fmla="*/ 0 h 2195098"/>
                  <a:gd name="connsiteX26" fmla="*/ 1248188 w 2942705"/>
                  <a:gd name="connsiteY26" fmla="*/ 0 h 2195098"/>
                  <a:gd name="connsiteX27" fmla="*/ 1315490 w 2942705"/>
                  <a:gd name="connsiteY27" fmla="*/ 0 h 2195098"/>
                  <a:gd name="connsiteX28" fmla="*/ 1358921 w 2942705"/>
                  <a:gd name="connsiteY28" fmla="*/ 0 h 2195098"/>
                  <a:gd name="connsiteX29" fmla="*/ 1371721 w 2942705"/>
                  <a:gd name="connsiteY29" fmla="*/ 0 h 2195098"/>
                  <a:gd name="connsiteX30" fmla="*/ 1446550 w 2942705"/>
                  <a:gd name="connsiteY30" fmla="*/ 0 h 2195098"/>
                  <a:gd name="connsiteX31" fmla="*/ 1542631 w 2942705"/>
                  <a:gd name="connsiteY31" fmla="*/ 0 h 2195098"/>
                  <a:gd name="connsiteX32" fmla="*/ 1662622 w 2942705"/>
                  <a:gd name="connsiteY32" fmla="*/ 0 h 2195098"/>
                  <a:gd name="connsiteX33" fmla="*/ 1716390 w 2942705"/>
                  <a:gd name="connsiteY33" fmla="*/ 0 h 2195098"/>
                  <a:gd name="connsiteX34" fmla="*/ 1809178 w 2942705"/>
                  <a:gd name="connsiteY34" fmla="*/ 0 h 2195098"/>
                  <a:gd name="connsiteX35" fmla="*/ 1984956 w 2942705"/>
                  <a:gd name="connsiteY35" fmla="*/ 0 h 2195098"/>
                  <a:gd name="connsiteX36" fmla="*/ 2018982 w 2942705"/>
                  <a:gd name="connsiteY36" fmla="*/ 0 h 2195098"/>
                  <a:gd name="connsiteX37" fmla="*/ 2192616 w 2942705"/>
                  <a:gd name="connsiteY37" fmla="*/ 0 h 2195098"/>
                  <a:gd name="connsiteX38" fmla="*/ 2271268 w 2942705"/>
                  <a:gd name="connsiteY38" fmla="*/ 0 h 2195098"/>
                  <a:gd name="connsiteX39" fmla="*/ 2434811 w 2942705"/>
                  <a:gd name="connsiteY39" fmla="*/ 0 h 2195098"/>
                  <a:gd name="connsiteX40" fmla="*/ 2477822 w 2942705"/>
                  <a:gd name="connsiteY40" fmla="*/ 0 h 2195098"/>
                  <a:gd name="connsiteX41" fmla="*/ 2643218 w 2942705"/>
                  <a:gd name="connsiteY41" fmla="*/ 0 h 2195098"/>
                  <a:gd name="connsiteX42" fmla="*/ 2714197 w 2942705"/>
                  <a:gd name="connsiteY42" fmla="*/ 0 h 2195098"/>
                  <a:gd name="connsiteX43" fmla="*/ 2772029 w 2942705"/>
                  <a:gd name="connsiteY43" fmla="*/ 0 h 2195098"/>
                  <a:gd name="connsiteX44" fmla="*/ 2930862 w 2942705"/>
                  <a:gd name="connsiteY44" fmla="*/ 0 h 2195098"/>
                  <a:gd name="connsiteX45" fmla="*/ 2942705 w 2942705"/>
                  <a:gd name="connsiteY45" fmla="*/ 0 h 2195098"/>
                  <a:gd name="connsiteX46" fmla="*/ 2942705 w 2942705"/>
                  <a:gd name="connsiteY46" fmla="*/ 86041 h 2195098"/>
                  <a:gd name="connsiteX47" fmla="*/ 0 w 2942705"/>
                  <a:gd name="connsiteY47" fmla="*/ 86041 h 219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942705" h="2195098">
                    <a:moveTo>
                      <a:pt x="0" y="1837389"/>
                    </a:moveTo>
                    <a:lnTo>
                      <a:pt x="2942705" y="1837389"/>
                    </a:lnTo>
                    <a:lnTo>
                      <a:pt x="2942705" y="2001142"/>
                    </a:lnTo>
                    <a:lnTo>
                      <a:pt x="2927058" y="2001142"/>
                    </a:lnTo>
                    <a:lnTo>
                      <a:pt x="2849616" y="2001142"/>
                    </a:lnTo>
                    <a:lnTo>
                      <a:pt x="2741538" y="2001142"/>
                    </a:lnTo>
                    <a:lnTo>
                      <a:pt x="2614695" y="2001142"/>
                    </a:lnTo>
                    <a:lnTo>
                      <a:pt x="2597719" y="2001142"/>
                    </a:lnTo>
                    <a:lnTo>
                      <a:pt x="2235158" y="2001142"/>
                    </a:lnTo>
                    <a:cubicBezTo>
                      <a:pt x="1994781" y="2001142"/>
                      <a:pt x="1779271" y="2001142"/>
                      <a:pt x="1586055" y="2001142"/>
                    </a:cubicBezTo>
                    <a:lnTo>
                      <a:pt x="1543216" y="2001142"/>
                    </a:lnTo>
                    <a:lnTo>
                      <a:pt x="1543216" y="2142361"/>
                    </a:lnTo>
                    <a:lnTo>
                      <a:pt x="2294949" y="2142361"/>
                    </a:lnTo>
                    <a:lnTo>
                      <a:pt x="2294949" y="2195098"/>
                    </a:lnTo>
                    <a:lnTo>
                      <a:pt x="639466" y="2195098"/>
                    </a:lnTo>
                    <a:lnTo>
                      <a:pt x="639466" y="2142361"/>
                    </a:lnTo>
                    <a:lnTo>
                      <a:pt x="1399495" y="2142361"/>
                    </a:lnTo>
                    <a:lnTo>
                      <a:pt x="1399495" y="2001142"/>
                    </a:lnTo>
                    <a:lnTo>
                      <a:pt x="1228585" y="2001142"/>
                    </a:lnTo>
                    <a:cubicBezTo>
                      <a:pt x="487733" y="2001142"/>
                      <a:pt x="163610" y="2001142"/>
                      <a:pt x="21806" y="2001142"/>
                    </a:cubicBezTo>
                    <a:lnTo>
                      <a:pt x="0" y="2001142"/>
                    </a:lnTo>
                    <a:close/>
                    <a:moveTo>
                      <a:pt x="0" y="0"/>
                    </a:moveTo>
                    <a:lnTo>
                      <a:pt x="195145" y="0"/>
                    </a:lnTo>
                    <a:cubicBezTo>
                      <a:pt x="469821" y="0"/>
                      <a:pt x="717916" y="0"/>
                      <a:pt x="942001" y="0"/>
                    </a:cubicBezTo>
                    <a:lnTo>
                      <a:pt x="1219852" y="0"/>
                    </a:lnTo>
                    <a:lnTo>
                      <a:pt x="1223394" y="0"/>
                    </a:lnTo>
                    <a:lnTo>
                      <a:pt x="1248188" y="0"/>
                    </a:lnTo>
                    <a:lnTo>
                      <a:pt x="1315490" y="0"/>
                    </a:lnTo>
                    <a:lnTo>
                      <a:pt x="1358921" y="0"/>
                    </a:lnTo>
                    <a:lnTo>
                      <a:pt x="1371721" y="0"/>
                    </a:lnTo>
                    <a:lnTo>
                      <a:pt x="1446550" y="0"/>
                    </a:lnTo>
                    <a:lnTo>
                      <a:pt x="1542631" y="0"/>
                    </a:lnTo>
                    <a:lnTo>
                      <a:pt x="1662622" y="0"/>
                    </a:lnTo>
                    <a:lnTo>
                      <a:pt x="1716390" y="0"/>
                    </a:lnTo>
                    <a:lnTo>
                      <a:pt x="1809178" y="0"/>
                    </a:lnTo>
                    <a:lnTo>
                      <a:pt x="1984956" y="0"/>
                    </a:lnTo>
                    <a:lnTo>
                      <a:pt x="2018982" y="0"/>
                    </a:lnTo>
                    <a:lnTo>
                      <a:pt x="2192616" y="0"/>
                    </a:lnTo>
                    <a:lnTo>
                      <a:pt x="2271268" y="0"/>
                    </a:lnTo>
                    <a:lnTo>
                      <a:pt x="2434811" y="0"/>
                    </a:lnTo>
                    <a:lnTo>
                      <a:pt x="2477822" y="0"/>
                    </a:lnTo>
                    <a:cubicBezTo>
                      <a:pt x="2539561" y="0"/>
                      <a:pt x="2594438" y="0"/>
                      <a:pt x="2643218" y="0"/>
                    </a:cubicBezTo>
                    <a:lnTo>
                      <a:pt x="2714197" y="0"/>
                    </a:lnTo>
                    <a:lnTo>
                      <a:pt x="2772029" y="0"/>
                    </a:lnTo>
                    <a:cubicBezTo>
                      <a:pt x="2842056" y="0"/>
                      <a:pt x="2893325" y="0"/>
                      <a:pt x="2930862" y="0"/>
                    </a:cubicBezTo>
                    <a:lnTo>
                      <a:pt x="2942705" y="0"/>
                    </a:lnTo>
                    <a:lnTo>
                      <a:pt x="2942705" y="86041"/>
                    </a:lnTo>
                    <a:lnTo>
                      <a:pt x="0" y="86041"/>
                    </a:ln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sp>
            <p:nvSpPr>
              <p:cNvPr id="666" name="Freeform 665"/>
              <p:cNvSpPr>
                <a:spLocks noChangeArrowheads="1"/>
              </p:cNvSpPr>
              <p:nvPr/>
            </p:nvSpPr>
            <p:spPr bwMode="auto">
              <a:xfrm flipH="1">
                <a:off x="7854876" y="3370934"/>
                <a:ext cx="607480" cy="2001142"/>
              </a:xfrm>
              <a:custGeom>
                <a:avLst/>
                <a:gdLst>
                  <a:gd name="connsiteX0" fmla="*/ 109462 w 607480"/>
                  <a:gd name="connsiteY0" fmla="*/ 0 h 2001142"/>
                  <a:gd name="connsiteX1" fmla="*/ 393093 w 607480"/>
                  <a:gd name="connsiteY1" fmla="*/ 0 h 2001142"/>
                  <a:gd name="connsiteX2" fmla="*/ 607480 w 607480"/>
                  <a:gd name="connsiteY2" fmla="*/ 0 h 2001142"/>
                  <a:gd name="connsiteX3" fmla="*/ 607480 w 607480"/>
                  <a:gd name="connsiteY3" fmla="*/ 86041 h 2001142"/>
                  <a:gd name="connsiteX4" fmla="*/ 93967 w 607480"/>
                  <a:gd name="connsiteY4" fmla="*/ 86041 h 2001142"/>
                  <a:gd name="connsiteX5" fmla="*/ 93967 w 607480"/>
                  <a:gd name="connsiteY5" fmla="*/ 1837389 h 2001142"/>
                  <a:gd name="connsiteX6" fmla="*/ 607480 w 607480"/>
                  <a:gd name="connsiteY6" fmla="*/ 1837389 h 2001142"/>
                  <a:gd name="connsiteX7" fmla="*/ 607480 w 607480"/>
                  <a:gd name="connsiteY7" fmla="*/ 2001142 h 2001142"/>
                  <a:gd name="connsiteX8" fmla="*/ 537446 w 607480"/>
                  <a:gd name="connsiteY8" fmla="*/ 2001142 h 2001142"/>
                  <a:gd name="connsiteX9" fmla="*/ 109462 w 607480"/>
                  <a:gd name="connsiteY9" fmla="*/ 2001142 h 2001142"/>
                  <a:gd name="connsiteX10" fmla="*/ 0 w 607480"/>
                  <a:gd name="connsiteY10" fmla="*/ 1891113 h 2001142"/>
                  <a:gd name="connsiteX11" fmla="*/ 0 w 607480"/>
                  <a:gd name="connsiteY11" fmla="*/ 110028 h 2001142"/>
                  <a:gd name="connsiteX12" fmla="*/ 109462 w 607480"/>
                  <a:gd name="connsiteY12" fmla="*/ 0 h 20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480" h="2001142">
                    <a:moveTo>
                      <a:pt x="109462" y="0"/>
                    </a:moveTo>
                    <a:cubicBezTo>
                      <a:pt x="207023" y="0"/>
                      <a:pt x="301535" y="0"/>
                      <a:pt x="393093" y="0"/>
                    </a:cubicBezTo>
                    <a:lnTo>
                      <a:pt x="607480" y="0"/>
                    </a:lnTo>
                    <a:lnTo>
                      <a:pt x="607480" y="86041"/>
                    </a:lnTo>
                    <a:lnTo>
                      <a:pt x="93967" y="86041"/>
                    </a:lnTo>
                    <a:lnTo>
                      <a:pt x="93967" y="1837389"/>
                    </a:lnTo>
                    <a:lnTo>
                      <a:pt x="607480" y="1837389"/>
                    </a:lnTo>
                    <a:lnTo>
                      <a:pt x="607480" y="2001142"/>
                    </a:lnTo>
                    <a:lnTo>
                      <a:pt x="537446" y="2001142"/>
                    </a:lnTo>
                    <a:cubicBezTo>
                      <a:pt x="109462" y="2001142"/>
                      <a:pt x="109462" y="2001142"/>
                      <a:pt x="109462" y="2001142"/>
                    </a:cubicBezTo>
                    <a:cubicBezTo>
                      <a:pt x="50169" y="2001142"/>
                      <a:pt x="0" y="1950713"/>
                      <a:pt x="0" y="1891113"/>
                    </a:cubicBezTo>
                    <a:cubicBezTo>
                      <a:pt x="0" y="110028"/>
                      <a:pt x="0" y="110028"/>
                      <a:pt x="0" y="110028"/>
                    </a:cubicBezTo>
                    <a:cubicBezTo>
                      <a:pt x="0" y="50429"/>
                      <a:pt x="50169" y="0"/>
                      <a:pt x="109462" y="0"/>
                    </a:cubicBez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grpSp>
        <p:grpSp>
          <p:nvGrpSpPr>
            <p:cNvPr id="563" name="Group 562"/>
            <p:cNvGrpSpPr/>
            <p:nvPr/>
          </p:nvGrpSpPr>
          <p:grpSpPr>
            <a:xfrm>
              <a:off x="1933417" y="2414500"/>
              <a:ext cx="644295" cy="262329"/>
              <a:chOff x="7470445" y="4533208"/>
              <a:chExt cx="2844698" cy="1158239"/>
            </a:xfrm>
          </p:grpSpPr>
          <p:sp>
            <p:nvSpPr>
              <p:cNvPr id="656" name="Freeform 18"/>
              <p:cNvSpPr>
                <a:spLocks noEditPoints="1"/>
              </p:cNvSpPr>
              <p:nvPr/>
            </p:nvSpPr>
            <p:spPr bwMode="auto">
              <a:xfrm>
                <a:off x="7470445" y="4642683"/>
                <a:ext cx="2844698" cy="1048764"/>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000000">
                  <a:lumMod val="20000"/>
                  <a:lumOff val="80000"/>
                </a:srgbClr>
              </a:solidFill>
              <a:ln>
                <a:noFill/>
              </a:ln>
            </p:spPr>
            <p:txBody>
              <a:bodyPr vert="horz" wrap="square" lIns="93224" tIns="46611" rIns="93224" bIns="4661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3231" b="0" i="0" u="none" strike="noStrike" kern="0" cap="none" spc="0" normalizeH="0" baseline="0" noProof="0">
                  <a:ln>
                    <a:noFill/>
                  </a:ln>
                  <a:solidFill>
                    <a:srgbClr val="000000"/>
                  </a:solidFill>
                  <a:effectLst/>
                  <a:uLnTx/>
                  <a:uFillTx/>
                  <a:latin typeface="Segoe UI Light"/>
                  <a:ea typeface="+mn-ea"/>
                  <a:cs typeface="+mn-cs"/>
                </a:endParaRPr>
              </a:p>
            </p:txBody>
          </p:sp>
          <p:sp>
            <p:nvSpPr>
              <p:cNvPr id="657" name="Freeform 224"/>
              <p:cNvSpPr>
                <a:spLocks/>
              </p:cNvSpPr>
              <p:nvPr/>
            </p:nvSpPr>
            <p:spPr bwMode="auto">
              <a:xfrm>
                <a:off x="9833063" y="4533208"/>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58" name="Freeform 224"/>
              <p:cNvSpPr>
                <a:spLocks/>
              </p:cNvSpPr>
              <p:nvPr/>
            </p:nvSpPr>
            <p:spPr bwMode="auto">
              <a:xfrm>
                <a:off x="8940830" y="5081848"/>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59" name="Freeform 224"/>
              <p:cNvSpPr>
                <a:spLocks/>
              </p:cNvSpPr>
              <p:nvPr/>
            </p:nvSpPr>
            <p:spPr bwMode="auto">
              <a:xfrm>
                <a:off x="9810896" y="5159434"/>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60" name="Freeform 224"/>
              <p:cNvSpPr>
                <a:spLocks/>
              </p:cNvSpPr>
              <p:nvPr/>
            </p:nvSpPr>
            <p:spPr bwMode="auto">
              <a:xfrm>
                <a:off x="9489471" y="4765965"/>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61" name="Freeform 224"/>
              <p:cNvSpPr>
                <a:spLocks/>
              </p:cNvSpPr>
              <p:nvPr/>
            </p:nvSpPr>
            <p:spPr bwMode="auto">
              <a:xfrm>
                <a:off x="8386649" y="4549835"/>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62" name="Freeform 224"/>
              <p:cNvSpPr>
                <a:spLocks/>
              </p:cNvSpPr>
              <p:nvPr/>
            </p:nvSpPr>
            <p:spPr bwMode="auto">
              <a:xfrm>
                <a:off x="7854634" y="4893427"/>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sp>
            <p:nvSpPr>
              <p:cNvPr id="663" name="Freeform 224"/>
              <p:cNvSpPr>
                <a:spLocks/>
              </p:cNvSpPr>
              <p:nvPr/>
            </p:nvSpPr>
            <p:spPr bwMode="auto">
              <a:xfrm>
                <a:off x="8331231" y="5187144"/>
                <a:ext cx="119438" cy="195792"/>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rgbClr val="505050">
                  <a:lumMod val="50000"/>
                </a:srgbClr>
              </a:solidFill>
              <a:ln w="12700">
                <a:noFill/>
              </a:ln>
            </p:spPr>
            <p:txBody>
              <a:bodyPr vert="horz" wrap="square" lIns="126773" tIns="63386" rIns="126773" bIns="63386" numCol="1" anchor="t" anchorCtr="0" compatLnSpc="1">
                <a:prstTxWarp prst="textNoShape">
                  <a:avLst/>
                </a:prstTxWarp>
              </a:bodyPr>
              <a:lstStyle/>
              <a:p>
                <a:pPr marL="0" marR="0" lvl="0" indent="0" algn="l" defTabSz="1267568" rtl="0" eaLnBrk="1" fontAlgn="auto" latinLnBrk="0" hangingPunct="1">
                  <a:lnSpc>
                    <a:spcPct val="100000"/>
                  </a:lnSpc>
                  <a:spcBef>
                    <a:spcPts val="0"/>
                  </a:spcBef>
                  <a:spcAft>
                    <a:spcPts val="0"/>
                  </a:spcAft>
                  <a:buClrTx/>
                  <a:buSzTx/>
                  <a:buFontTx/>
                  <a:buNone/>
                  <a:tabLst/>
                  <a:defRPr/>
                </a:pPr>
                <a:endParaRPr kumimoji="0" lang="en-US" sz="4392" b="0" i="0" u="none" strike="noStrike" kern="0" cap="none" spc="0" normalizeH="0" baseline="0" noProof="0">
                  <a:ln>
                    <a:noFill/>
                  </a:ln>
                  <a:solidFill>
                    <a:srgbClr val="1B3B41"/>
                  </a:solidFill>
                  <a:effectLst/>
                  <a:uLnTx/>
                  <a:uFillTx/>
                  <a:latin typeface="Segoe UI Light"/>
                  <a:ea typeface="+mn-ea"/>
                  <a:cs typeface="+mn-cs"/>
                </a:endParaRPr>
              </a:p>
            </p:txBody>
          </p:sp>
        </p:grpSp>
        <p:sp>
          <p:nvSpPr>
            <p:cNvPr id="564" name="Rounded Rectangle 563"/>
            <p:cNvSpPr/>
            <p:nvPr/>
          </p:nvSpPr>
          <p:spPr bwMode="auto">
            <a:xfrm flipH="1">
              <a:off x="2378666" y="2796720"/>
              <a:ext cx="236185" cy="168704"/>
            </a:xfrm>
            <a:prstGeom prst="round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65" name="Rounded Rectangle 564"/>
            <p:cNvSpPr/>
            <p:nvPr/>
          </p:nvSpPr>
          <p:spPr bwMode="auto">
            <a:xfrm flipH="1">
              <a:off x="2393301" y="2793506"/>
              <a:ext cx="206917" cy="277959"/>
            </a:xfrm>
            <a:prstGeom prst="roundRect">
              <a:avLst>
                <a:gd name="adj" fmla="val 17485"/>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66" name="Rounded Rectangle 565"/>
            <p:cNvSpPr/>
            <p:nvPr/>
          </p:nvSpPr>
          <p:spPr bwMode="auto">
            <a:xfrm flipH="1">
              <a:off x="2393127" y="3000770"/>
              <a:ext cx="207265" cy="67481"/>
            </a:xfrm>
            <a:prstGeom prst="round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67" name="Freeform 566"/>
            <p:cNvSpPr/>
            <p:nvPr/>
          </p:nvSpPr>
          <p:spPr bwMode="auto">
            <a:xfrm flipH="1">
              <a:off x="2421731" y="3082495"/>
              <a:ext cx="150054" cy="181773"/>
            </a:xfrm>
            <a:custGeom>
              <a:avLst/>
              <a:gdLst>
                <a:gd name="connsiteX0" fmla="*/ 147192 w 275507"/>
                <a:gd name="connsiteY0" fmla="*/ 0 h 333745"/>
                <a:gd name="connsiteX1" fmla="*/ 275507 w 275507"/>
                <a:gd name="connsiteY1" fmla="*/ 0 h 333745"/>
                <a:gd name="connsiteX2" fmla="*/ 275507 w 275507"/>
                <a:gd name="connsiteY2" fmla="*/ 225844 h 333745"/>
                <a:gd name="connsiteX3" fmla="*/ 272591 w 275507"/>
                <a:gd name="connsiteY3" fmla="*/ 281253 h 333745"/>
                <a:gd name="connsiteX4" fmla="*/ 269675 w 275507"/>
                <a:gd name="connsiteY4" fmla="*/ 298750 h 333745"/>
                <a:gd name="connsiteX5" fmla="*/ 260926 w 275507"/>
                <a:gd name="connsiteY5" fmla="*/ 313331 h 333745"/>
                <a:gd name="connsiteX6" fmla="*/ 246345 w 275507"/>
                <a:gd name="connsiteY6" fmla="*/ 324996 h 333745"/>
                <a:gd name="connsiteX7" fmla="*/ 234680 w 275507"/>
                <a:gd name="connsiteY7" fmla="*/ 330829 h 333745"/>
                <a:gd name="connsiteX8" fmla="*/ 220098 w 275507"/>
                <a:gd name="connsiteY8" fmla="*/ 333745 h 333745"/>
                <a:gd name="connsiteX9" fmla="*/ 202601 w 275507"/>
                <a:gd name="connsiteY9" fmla="*/ 333745 h 333745"/>
                <a:gd name="connsiteX10" fmla="*/ 185103 w 275507"/>
                <a:gd name="connsiteY10" fmla="*/ 327913 h 333745"/>
                <a:gd name="connsiteX11" fmla="*/ 170522 w 275507"/>
                <a:gd name="connsiteY11" fmla="*/ 319164 h 333745"/>
                <a:gd name="connsiteX12" fmla="*/ 161773 w 275507"/>
                <a:gd name="connsiteY12" fmla="*/ 313331 h 333745"/>
                <a:gd name="connsiteX13" fmla="*/ 155941 w 275507"/>
                <a:gd name="connsiteY13" fmla="*/ 304583 h 333745"/>
                <a:gd name="connsiteX14" fmla="*/ 153025 w 275507"/>
                <a:gd name="connsiteY14" fmla="*/ 295834 h 333745"/>
                <a:gd name="connsiteX15" fmla="*/ 150108 w 275507"/>
                <a:gd name="connsiteY15" fmla="*/ 287085 h 333745"/>
                <a:gd name="connsiteX16" fmla="*/ 147192 w 275507"/>
                <a:gd name="connsiteY16" fmla="*/ 231676 h 333745"/>
                <a:gd name="connsiteX17" fmla="*/ 0 w 275507"/>
                <a:gd name="connsiteY17" fmla="*/ 0 h 333745"/>
                <a:gd name="connsiteX18" fmla="*/ 128315 w 275507"/>
                <a:gd name="connsiteY18" fmla="*/ 0 h 333745"/>
                <a:gd name="connsiteX19" fmla="*/ 128315 w 275507"/>
                <a:gd name="connsiteY19" fmla="*/ 231676 h 333745"/>
                <a:gd name="connsiteX20" fmla="*/ 125399 w 275507"/>
                <a:gd name="connsiteY20" fmla="*/ 287085 h 333745"/>
                <a:gd name="connsiteX21" fmla="*/ 122483 w 275507"/>
                <a:gd name="connsiteY21" fmla="*/ 295834 h 333745"/>
                <a:gd name="connsiteX22" fmla="*/ 119566 w 275507"/>
                <a:gd name="connsiteY22" fmla="*/ 304583 h 333745"/>
                <a:gd name="connsiteX23" fmla="*/ 113734 w 275507"/>
                <a:gd name="connsiteY23" fmla="*/ 313331 h 333745"/>
                <a:gd name="connsiteX24" fmla="*/ 104985 w 275507"/>
                <a:gd name="connsiteY24" fmla="*/ 319164 h 333745"/>
                <a:gd name="connsiteX25" fmla="*/ 90404 w 275507"/>
                <a:gd name="connsiteY25" fmla="*/ 327913 h 333745"/>
                <a:gd name="connsiteX26" fmla="*/ 72906 w 275507"/>
                <a:gd name="connsiteY26" fmla="*/ 333745 h 333745"/>
                <a:gd name="connsiteX27" fmla="*/ 55409 w 275507"/>
                <a:gd name="connsiteY27" fmla="*/ 333745 h 333745"/>
                <a:gd name="connsiteX28" fmla="*/ 40828 w 275507"/>
                <a:gd name="connsiteY28" fmla="*/ 330829 h 333745"/>
                <a:gd name="connsiteX29" fmla="*/ 29162 w 275507"/>
                <a:gd name="connsiteY29" fmla="*/ 324996 h 333745"/>
                <a:gd name="connsiteX30" fmla="*/ 14581 w 275507"/>
                <a:gd name="connsiteY30" fmla="*/ 313331 h 333745"/>
                <a:gd name="connsiteX31" fmla="*/ 5832 w 275507"/>
                <a:gd name="connsiteY31" fmla="*/ 298750 h 333745"/>
                <a:gd name="connsiteX32" fmla="*/ 2916 w 275507"/>
                <a:gd name="connsiteY32" fmla="*/ 281253 h 333745"/>
                <a:gd name="connsiteX33" fmla="*/ 0 w 275507"/>
                <a:gd name="connsiteY33" fmla="*/ 225844 h 33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507" h="333745">
                  <a:moveTo>
                    <a:pt x="147192" y="0"/>
                  </a:moveTo>
                  <a:lnTo>
                    <a:pt x="275507" y="0"/>
                  </a:lnTo>
                  <a:lnTo>
                    <a:pt x="275507" y="225844"/>
                  </a:lnTo>
                  <a:lnTo>
                    <a:pt x="272591" y="281253"/>
                  </a:lnTo>
                  <a:lnTo>
                    <a:pt x="269675" y="298750"/>
                  </a:lnTo>
                  <a:lnTo>
                    <a:pt x="260926" y="313331"/>
                  </a:lnTo>
                  <a:lnTo>
                    <a:pt x="246345" y="324996"/>
                  </a:lnTo>
                  <a:lnTo>
                    <a:pt x="234680" y="330829"/>
                  </a:lnTo>
                  <a:lnTo>
                    <a:pt x="220098" y="333745"/>
                  </a:lnTo>
                  <a:lnTo>
                    <a:pt x="202601" y="333745"/>
                  </a:lnTo>
                  <a:lnTo>
                    <a:pt x="185103" y="327913"/>
                  </a:lnTo>
                  <a:lnTo>
                    <a:pt x="170522" y="319164"/>
                  </a:lnTo>
                  <a:lnTo>
                    <a:pt x="161773" y="313331"/>
                  </a:lnTo>
                  <a:lnTo>
                    <a:pt x="155941" y="304583"/>
                  </a:lnTo>
                  <a:lnTo>
                    <a:pt x="153025" y="295834"/>
                  </a:lnTo>
                  <a:lnTo>
                    <a:pt x="150108" y="287085"/>
                  </a:lnTo>
                  <a:lnTo>
                    <a:pt x="147192" y="231676"/>
                  </a:lnTo>
                  <a:close/>
                  <a:moveTo>
                    <a:pt x="0" y="0"/>
                  </a:moveTo>
                  <a:lnTo>
                    <a:pt x="128315" y="0"/>
                  </a:lnTo>
                  <a:lnTo>
                    <a:pt x="128315" y="231676"/>
                  </a:lnTo>
                  <a:lnTo>
                    <a:pt x="125399" y="287085"/>
                  </a:lnTo>
                  <a:lnTo>
                    <a:pt x="122483" y="295834"/>
                  </a:lnTo>
                  <a:lnTo>
                    <a:pt x="119566" y="304583"/>
                  </a:lnTo>
                  <a:lnTo>
                    <a:pt x="113734" y="313331"/>
                  </a:lnTo>
                  <a:lnTo>
                    <a:pt x="104985" y="319164"/>
                  </a:lnTo>
                  <a:lnTo>
                    <a:pt x="90404" y="327913"/>
                  </a:lnTo>
                  <a:lnTo>
                    <a:pt x="72906" y="333745"/>
                  </a:lnTo>
                  <a:lnTo>
                    <a:pt x="55409" y="333745"/>
                  </a:lnTo>
                  <a:lnTo>
                    <a:pt x="40828" y="330829"/>
                  </a:lnTo>
                  <a:lnTo>
                    <a:pt x="29162" y="324996"/>
                  </a:lnTo>
                  <a:lnTo>
                    <a:pt x="14581" y="313331"/>
                  </a:lnTo>
                  <a:lnTo>
                    <a:pt x="5832" y="298750"/>
                  </a:lnTo>
                  <a:lnTo>
                    <a:pt x="2916" y="281253"/>
                  </a:lnTo>
                  <a:lnTo>
                    <a:pt x="0" y="225844"/>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68" name="Group 567"/>
            <p:cNvGrpSpPr/>
            <p:nvPr/>
          </p:nvGrpSpPr>
          <p:grpSpPr>
            <a:xfrm flipH="1">
              <a:off x="2271910" y="2776484"/>
              <a:ext cx="449698" cy="510132"/>
              <a:chOff x="41612" y="2996493"/>
              <a:chExt cx="759439" cy="861498"/>
            </a:xfrm>
            <a:solidFill>
              <a:schemeClr val="bg1">
                <a:lumMod val="85000"/>
              </a:schemeClr>
            </a:solidFill>
          </p:grpSpPr>
          <p:sp>
            <p:nvSpPr>
              <p:cNvPr id="650" name="Freeform 5"/>
              <p:cNvSpPr>
                <a:spLocks/>
              </p:cNvSpPr>
              <p:nvPr/>
            </p:nvSpPr>
            <p:spPr bwMode="auto">
              <a:xfrm>
                <a:off x="244114" y="2996493"/>
                <a:ext cx="353310" cy="432250"/>
              </a:xfrm>
              <a:custGeom>
                <a:avLst/>
                <a:gdLst>
                  <a:gd name="T0" fmla="*/ 487 w 1061"/>
                  <a:gd name="T1" fmla="*/ 1152 h 1152"/>
                  <a:gd name="T2" fmla="*/ 304 w 1061"/>
                  <a:gd name="T3" fmla="*/ 1143 h 1152"/>
                  <a:gd name="T4" fmla="*/ 229 w 1061"/>
                  <a:gd name="T5" fmla="*/ 1138 h 1152"/>
                  <a:gd name="T6" fmla="*/ 146 w 1061"/>
                  <a:gd name="T7" fmla="*/ 1128 h 1152"/>
                  <a:gd name="T8" fmla="*/ 64 w 1061"/>
                  <a:gd name="T9" fmla="*/ 1113 h 1152"/>
                  <a:gd name="T10" fmla="*/ 49 w 1061"/>
                  <a:gd name="T11" fmla="*/ 1108 h 1152"/>
                  <a:gd name="T12" fmla="*/ 25 w 1061"/>
                  <a:gd name="T13" fmla="*/ 1098 h 1152"/>
                  <a:gd name="T14" fmla="*/ 18 w 1061"/>
                  <a:gd name="T15" fmla="*/ 1090 h 1152"/>
                  <a:gd name="T16" fmla="*/ 12 w 1061"/>
                  <a:gd name="T17" fmla="*/ 1081 h 1152"/>
                  <a:gd name="T18" fmla="*/ 4 w 1061"/>
                  <a:gd name="T19" fmla="*/ 1055 h 1152"/>
                  <a:gd name="T20" fmla="*/ 3 w 1061"/>
                  <a:gd name="T21" fmla="*/ 1039 h 1152"/>
                  <a:gd name="T22" fmla="*/ 0 w 1061"/>
                  <a:gd name="T23" fmla="*/ 956 h 1152"/>
                  <a:gd name="T24" fmla="*/ 2 w 1061"/>
                  <a:gd name="T25" fmla="*/ 873 h 1152"/>
                  <a:gd name="T26" fmla="*/ 5 w 1061"/>
                  <a:gd name="T27" fmla="*/ 816 h 1152"/>
                  <a:gd name="T28" fmla="*/ 20 w 1061"/>
                  <a:gd name="T29" fmla="*/ 644 h 1152"/>
                  <a:gd name="T30" fmla="*/ 33 w 1061"/>
                  <a:gd name="T31" fmla="*/ 521 h 1152"/>
                  <a:gd name="T32" fmla="*/ 48 w 1061"/>
                  <a:gd name="T33" fmla="*/ 398 h 1152"/>
                  <a:gd name="T34" fmla="*/ 85 w 1061"/>
                  <a:gd name="T35" fmla="*/ 130 h 1152"/>
                  <a:gd name="T36" fmla="*/ 88 w 1061"/>
                  <a:gd name="T37" fmla="*/ 116 h 1152"/>
                  <a:gd name="T38" fmla="*/ 89 w 1061"/>
                  <a:gd name="T39" fmla="*/ 103 h 1152"/>
                  <a:gd name="T40" fmla="*/ 90 w 1061"/>
                  <a:gd name="T41" fmla="*/ 94 h 1152"/>
                  <a:gd name="T42" fmla="*/ 95 w 1061"/>
                  <a:gd name="T43" fmla="*/ 83 h 1152"/>
                  <a:gd name="T44" fmla="*/ 102 w 1061"/>
                  <a:gd name="T45" fmla="*/ 75 h 1152"/>
                  <a:gd name="T46" fmla="*/ 117 w 1061"/>
                  <a:gd name="T47" fmla="*/ 67 h 1152"/>
                  <a:gd name="T48" fmla="*/ 143 w 1061"/>
                  <a:gd name="T49" fmla="*/ 57 h 1152"/>
                  <a:gd name="T50" fmla="*/ 194 w 1061"/>
                  <a:gd name="T51" fmla="*/ 41 h 1152"/>
                  <a:gd name="T52" fmla="*/ 248 w 1061"/>
                  <a:gd name="T53" fmla="*/ 29 h 1152"/>
                  <a:gd name="T54" fmla="*/ 301 w 1061"/>
                  <a:gd name="T55" fmla="*/ 18 h 1152"/>
                  <a:gd name="T56" fmla="*/ 328 w 1061"/>
                  <a:gd name="T57" fmla="*/ 14 h 1152"/>
                  <a:gd name="T58" fmla="*/ 401 w 1061"/>
                  <a:gd name="T59" fmla="*/ 6 h 1152"/>
                  <a:gd name="T60" fmla="*/ 473 w 1061"/>
                  <a:gd name="T61" fmla="*/ 1 h 1152"/>
                  <a:gd name="T62" fmla="*/ 546 w 1061"/>
                  <a:gd name="T63" fmla="*/ 0 h 1152"/>
                  <a:gd name="T64" fmla="*/ 619 w 1061"/>
                  <a:gd name="T65" fmla="*/ 3 h 1152"/>
                  <a:gd name="T66" fmla="*/ 661 w 1061"/>
                  <a:gd name="T67" fmla="*/ 6 h 1152"/>
                  <a:gd name="T68" fmla="*/ 745 w 1061"/>
                  <a:gd name="T69" fmla="*/ 15 h 1152"/>
                  <a:gd name="T70" fmla="*/ 829 w 1061"/>
                  <a:gd name="T71" fmla="*/ 32 h 1152"/>
                  <a:gd name="T72" fmla="*/ 910 w 1061"/>
                  <a:gd name="T73" fmla="*/ 55 h 1152"/>
                  <a:gd name="T74" fmla="*/ 950 w 1061"/>
                  <a:gd name="T75" fmla="*/ 70 h 1152"/>
                  <a:gd name="T76" fmla="*/ 964 w 1061"/>
                  <a:gd name="T77" fmla="*/ 79 h 1152"/>
                  <a:gd name="T78" fmla="*/ 968 w 1061"/>
                  <a:gd name="T79" fmla="*/ 85 h 1152"/>
                  <a:gd name="T80" fmla="*/ 970 w 1061"/>
                  <a:gd name="T81" fmla="*/ 95 h 1152"/>
                  <a:gd name="T82" fmla="*/ 997 w 1061"/>
                  <a:gd name="T83" fmla="*/ 291 h 1152"/>
                  <a:gd name="T84" fmla="*/ 1024 w 1061"/>
                  <a:gd name="T85" fmla="*/ 488 h 1152"/>
                  <a:gd name="T86" fmla="*/ 1037 w 1061"/>
                  <a:gd name="T87" fmla="*/ 601 h 1152"/>
                  <a:gd name="T88" fmla="*/ 1048 w 1061"/>
                  <a:gd name="T89" fmla="*/ 715 h 1152"/>
                  <a:gd name="T90" fmla="*/ 1056 w 1061"/>
                  <a:gd name="T91" fmla="*/ 829 h 1152"/>
                  <a:gd name="T92" fmla="*/ 1061 w 1061"/>
                  <a:gd name="T93" fmla="*/ 944 h 1152"/>
                  <a:gd name="T94" fmla="*/ 1060 w 1061"/>
                  <a:gd name="T95" fmla="*/ 972 h 1152"/>
                  <a:gd name="T96" fmla="*/ 1054 w 1061"/>
                  <a:gd name="T97" fmla="*/ 1053 h 1152"/>
                  <a:gd name="T98" fmla="*/ 1053 w 1061"/>
                  <a:gd name="T99" fmla="*/ 1063 h 1152"/>
                  <a:gd name="T100" fmla="*/ 1047 w 1061"/>
                  <a:gd name="T101" fmla="*/ 1082 h 1152"/>
                  <a:gd name="T102" fmla="*/ 1036 w 1061"/>
                  <a:gd name="T103" fmla="*/ 1096 h 1152"/>
                  <a:gd name="T104" fmla="*/ 1021 w 1061"/>
                  <a:gd name="T105" fmla="*/ 1105 h 1152"/>
                  <a:gd name="T106" fmla="*/ 1011 w 1061"/>
                  <a:gd name="T107" fmla="*/ 1108 h 1152"/>
                  <a:gd name="T108" fmla="*/ 933 w 1061"/>
                  <a:gd name="T109" fmla="*/ 1126 h 1152"/>
                  <a:gd name="T110" fmla="*/ 908 w 1061"/>
                  <a:gd name="T111" fmla="*/ 1130 h 1152"/>
                  <a:gd name="T112" fmla="*/ 812 w 1061"/>
                  <a:gd name="T113" fmla="*/ 1140 h 1152"/>
                  <a:gd name="T114" fmla="*/ 714 w 1061"/>
                  <a:gd name="T115" fmla="*/ 1146 h 1152"/>
                  <a:gd name="T116" fmla="*/ 606 w 1061"/>
                  <a:gd name="T117" fmla="*/ 1151 h 1152"/>
                  <a:gd name="T118" fmla="*/ 487 w 1061"/>
                  <a:gd name="T119"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1" h="1152">
                    <a:moveTo>
                      <a:pt x="487" y="1152"/>
                    </a:moveTo>
                    <a:lnTo>
                      <a:pt x="487" y="1152"/>
                    </a:lnTo>
                    <a:lnTo>
                      <a:pt x="374" y="1147"/>
                    </a:lnTo>
                    <a:lnTo>
                      <a:pt x="304" y="1143"/>
                    </a:lnTo>
                    <a:lnTo>
                      <a:pt x="229" y="1138"/>
                    </a:lnTo>
                    <a:lnTo>
                      <a:pt x="229" y="1138"/>
                    </a:lnTo>
                    <a:lnTo>
                      <a:pt x="188" y="1134"/>
                    </a:lnTo>
                    <a:lnTo>
                      <a:pt x="146" y="1128"/>
                    </a:lnTo>
                    <a:lnTo>
                      <a:pt x="105" y="1121"/>
                    </a:lnTo>
                    <a:lnTo>
                      <a:pt x="64" y="1113"/>
                    </a:lnTo>
                    <a:lnTo>
                      <a:pt x="64" y="1113"/>
                    </a:lnTo>
                    <a:lnTo>
                      <a:pt x="49" y="1108"/>
                    </a:lnTo>
                    <a:lnTo>
                      <a:pt x="35" y="1104"/>
                    </a:lnTo>
                    <a:lnTo>
                      <a:pt x="25" y="1098"/>
                    </a:lnTo>
                    <a:lnTo>
                      <a:pt x="21" y="1094"/>
                    </a:lnTo>
                    <a:lnTo>
                      <a:pt x="18" y="1090"/>
                    </a:lnTo>
                    <a:lnTo>
                      <a:pt x="15" y="1086"/>
                    </a:lnTo>
                    <a:lnTo>
                      <a:pt x="12" y="1081"/>
                    </a:lnTo>
                    <a:lnTo>
                      <a:pt x="8" y="1069"/>
                    </a:lnTo>
                    <a:lnTo>
                      <a:pt x="4" y="1055"/>
                    </a:lnTo>
                    <a:lnTo>
                      <a:pt x="3" y="1039"/>
                    </a:lnTo>
                    <a:lnTo>
                      <a:pt x="3" y="1039"/>
                    </a:lnTo>
                    <a:lnTo>
                      <a:pt x="1" y="997"/>
                    </a:lnTo>
                    <a:lnTo>
                      <a:pt x="0" y="956"/>
                    </a:lnTo>
                    <a:lnTo>
                      <a:pt x="0" y="914"/>
                    </a:lnTo>
                    <a:lnTo>
                      <a:pt x="2" y="873"/>
                    </a:lnTo>
                    <a:lnTo>
                      <a:pt x="2" y="873"/>
                    </a:lnTo>
                    <a:lnTo>
                      <a:pt x="5" y="816"/>
                    </a:lnTo>
                    <a:lnTo>
                      <a:pt x="10" y="758"/>
                    </a:lnTo>
                    <a:lnTo>
                      <a:pt x="20" y="644"/>
                    </a:lnTo>
                    <a:lnTo>
                      <a:pt x="20" y="644"/>
                    </a:lnTo>
                    <a:lnTo>
                      <a:pt x="33" y="521"/>
                    </a:lnTo>
                    <a:lnTo>
                      <a:pt x="48" y="398"/>
                    </a:lnTo>
                    <a:lnTo>
                      <a:pt x="48" y="398"/>
                    </a:lnTo>
                    <a:lnTo>
                      <a:pt x="66" y="265"/>
                    </a:lnTo>
                    <a:lnTo>
                      <a:pt x="85" y="130"/>
                    </a:lnTo>
                    <a:lnTo>
                      <a:pt x="85" y="130"/>
                    </a:lnTo>
                    <a:lnTo>
                      <a:pt x="88" y="116"/>
                    </a:lnTo>
                    <a:lnTo>
                      <a:pt x="89" y="110"/>
                    </a:lnTo>
                    <a:lnTo>
                      <a:pt x="89" y="103"/>
                    </a:lnTo>
                    <a:lnTo>
                      <a:pt x="89" y="103"/>
                    </a:lnTo>
                    <a:lnTo>
                      <a:pt x="90" y="94"/>
                    </a:lnTo>
                    <a:lnTo>
                      <a:pt x="92" y="88"/>
                    </a:lnTo>
                    <a:lnTo>
                      <a:pt x="95" y="83"/>
                    </a:lnTo>
                    <a:lnTo>
                      <a:pt x="98" y="79"/>
                    </a:lnTo>
                    <a:lnTo>
                      <a:pt x="102" y="75"/>
                    </a:lnTo>
                    <a:lnTo>
                      <a:pt x="106" y="72"/>
                    </a:lnTo>
                    <a:lnTo>
                      <a:pt x="117" y="67"/>
                    </a:lnTo>
                    <a:lnTo>
                      <a:pt x="117" y="67"/>
                    </a:lnTo>
                    <a:lnTo>
                      <a:pt x="143" y="57"/>
                    </a:lnTo>
                    <a:lnTo>
                      <a:pt x="169" y="49"/>
                    </a:lnTo>
                    <a:lnTo>
                      <a:pt x="194" y="41"/>
                    </a:lnTo>
                    <a:lnTo>
                      <a:pt x="221" y="35"/>
                    </a:lnTo>
                    <a:lnTo>
                      <a:pt x="248" y="29"/>
                    </a:lnTo>
                    <a:lnTo>
                      <a:pt x="274" y="23"/>
                    </a:lnTo>
                    <a:lnTo>
                      <a:pt x="301" y="18"/>
                    </a:lnTo>
                    <a:lnTo>
                      <a:pt x="328" y="14"/>
                    </a:lnTo>
                    <a:lnTo>
                      <a:pt x="328" y="14"/>
                    </a:lnTo>
                    <a:lnTo>
                      <a:pt x="364" y="9"/>
                    </a:lnTo>
                    <a:lnTo>
                      <a:pt x="401" y="6"/>
                    </a:lnTo>
                    <a:lnTo>
                      <a:pt x="437" y="3"/>
                    </a:lnTo>
                    <a:lnTo>
                      <a:pt x="473" y="1"/>
                    </a:lnTo>
                    <a:lnTo>
                      <a:pt x="509" y="0"/>
                    </a:lnTo>
                    <a:lnTo>
                      <a:pt x="546" y="0"/>
                    </a:lnTo>
                    <a:lnTo>
                      <a:pt x="582" y="1"/>
                    </a:lnTo>
                    <a:lnTo>
                      <a:pt x="619" y="3"/>
                    </a:lnTo>
                    <a:lnTo>
                      <a:pt x="619" y="3"/>
                    </a:lnTo>
                    <a:lnTo>
                      <a:pt x="661" y="6"/>
                    </a:lnTo>
                    <a:lnTo>
                      <a:pt x="703" y="10"/>
                    </a:lnTo>
                    <a:lnTo>
                      <a:pt x="745" y="15"/>
                    </a:lnTo>
                    <a:lnTo>
                      <a:pt x="788" y="23"/>
                    </a:lnTo>
                    <a:lnTo>
                      <a:pt x="829" y="32"/>
                    </a:lnTo>
                    <a:lnTo>
                      <a:pt x="870" y="42"/>
                    </a:lnTo>
                    <a:lnTo>
                      <a:pt x="910" y="55"/>
                    </a:lnTo>
                    <a:lnTo>
                      <a:pt x="950" y="70"/>
                    </a:lnTo>
                    <a:lnTo>
                      <a:pt x="950" y="70"/>
                    </a:lnTo>
                    <a:lnTo>
                      <a:pt x="958" y="74"/>
                    </a:lnTo>
                    <a:lnTo>
                      <a:pt x="964" y="79"/>
                    </a:lnTo>
                    <a:lnTo>
                      <a:pt x="966" y="82"/>
                    </a:lnTo>
                    <a:lnTo>
                      <a:pt x="968" y="85"/>
                    </a:lnTo>
                    <a:lnTo>
                      <a:pt x="969" y="89"/>
                    </a:lnTo>
                    <a:lnTo>
                      <a:pt x="970" y="95"/>
                    </a:lnTo>
                    <a:lnTo>
                      <a:pt x="970" y="95"/>
                    </a:lnTo>
                    <a:lnTo>
                      <a:pt x="997" y="291"/>
                    </a:lnTo>
                    <a:lnTo>
                      <a:pt x="1010" y="389"/>
                    </a:lnTo>
                    <a:lnTo>
                      <a:pt x="1024" y="488"/>
                    </a:lnTo>
                    <a:lnTo>
                      <a:pt x="1024" y="488"/>
                    </a:lnTo>
                    <a:lnTo>
                      <a:pt x="1037" y="601"/>
                    </a:lnTo>
                    <a:lnTo>
                      <a:pt x="1043" y="659"/>
                    </a:lnTo>
                    <a:lnTo>
                      <a:pt x="1048" y="715"/>
                    </a:lnTo>
                    <a:lnTo>
                      <a:pt x="1052" y="773"/>
                    </a:lnTo>
                    <a:lnTo>
                      <a:pt x="1056" y="829"/>
                    </a:lnTo>
                    <a:lnTo>
                      <a:pt x="1059" y="887"/>
                    </a:lnTo>
                    <a:lnTo>
                      <a:pt x="1061" y="944"/>
                    </a:lnTo>
                    <a:lnTo>
                      <a:pt x="1061" y="944"/>
                    </a:lnTo>
                    <a:lnTo>
                      <a:pt x="1060" y="972"/>
                    </a:lnTo>
                    <a:lnTo>
                      <a:pt x="1059" y="999"/>
                    </a:lnTo>
                    <a:lnTo>
                      <a:pt x="1054" y="1053"/>
                    </a:lnTo>
                    <a:lnTo>
                      <a:pt x="1054" y="1053"/>
                    </a:lnTo>
                    <a:lnTo>
                      <a:pt x="1053" y="1063"/>
                    </a:lnTo>
                    <a:lnTo>
                      <a:pt x="1050" y="1074"/>
                    </a:lnTo>
                    <a:lnTo>
                      <a:pt x="1047" y="1082"/>
                    </a:lnTo>
                    <a:lnTo>
                      <a:pt x="1042" y="1089"/>
                    </a:lnTo>
                    <a:lnTo>
                      <a:pt x="1036" y="1096"/>
                    </a:lnTo>
                    <a:lnTo>
                      <a:pt x="1029" y="1101"/>
                    </a:lnTo>
                    <a:lnTo>
                      <a:pt x="1021" y="1105"/>
                    </a:lnTo>
                    <a:lnTo>
                      <a:pt x="1011" y="1108"/>
                    </a:lnTo>
                    <a:lnTo>
                      <a:pt x="1011" y="1108"/>
                    </a:lnTo>
                    <a:lnTo>
                      <a:pt x="959" y="1121"/>
                    </a:lnTo>
                    <a:lnTo>
                      <a:pt x="933" y="1126"/>
                    </a:lnTo>
                    <a:lnTo>
                      <a:pt x="908" y="1130"/>
                    </a:lnTo>
                    <a:lnTo>
                      <a:pt x="908" y="1130"/>
                    </a:lnTo>
                    <a:lnTo>
                      <a:pt x="860" y="1136"/>
                    </a:lnTo>
                    <a:lnTo>
                      <a:pt x="812" y="1140"/>
                    </a:lnTo>
                    <a:lnTo>
                      <a:pt x="764" y="1144"/>
                    </a:lnTo>
                    <a:lnTo>
                      <a:pt x="714" y="1146"/>
                    </a:lnTo>
                    <a:lnTo>
                      <a:pt x="661" y="1149"/>
                    </a:lnTo>
                    <a:lnTo>
                      <a:pt x="606" y="1151"/>
                    </a:lnTo>
                    <a:lnTo>
                      <a:pt x="487" y="1152"/>
                    </a:lnTo>
                    <a:lnTo>
                      <a:pt x="487" y="1152"/>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51" name="Freeform 6"/>
              <p:cNvSpPr>
                <a:spLocks/>
              </p:cNvSpPr>
              <p:nvPr/>
            </p:nvSpPr>
            <p:spPr bwMode="auto">
              <a:xfrm>
                <a:off x="164683" y="3629109"/>
                <a:ext cx="495662" cy="228882"/>
              </a:xfrm>
              <a:custGeom>
                <a:avLst/>
                <a:gdLst>
                  <a:gd name="T0" fmla="*/ 592 w 1321"/>
                  <a:gd name="T1" fmla="*/ 14 h 610"/>
                  <a:gd name="T2" fmla="*/ 592 w 1321"/>
                  <a:gd name="T3" fmla="*/ 105 h 610"/>
                  <a:gd name="T4" fmla="*/ 592 w 1321"/>
                  <a:gd name="T5" fmla="*/ 146 h 610"/>
                  <a:gd name="T6" fmla="*/ 588 w 1321"/>
                  <a:gd name="T7" fmla="*/ 165 h 610"/>
                  <a:gd name="T8" fmla="*/ 575 w 1321"/>
                  <a:gd name="T9" fmla="*/ 175 h 610"/>
                  <a:gd name="T10" fmla="*/ 455 w 1321"/>
                  <a:gd name="T11" fmla="*/ 227 h 610"/>
                  <a:gd name="T12" fmla="*/ 334 w 1321"/>
                  <a:gd name="T13" fmla="*/ 278 h 610"/>
                  <a:gd name="T14" fmla="*/ 200 w 1321"/>
                  <a:gd name="T15" fmla="*/ 341 h 610"/>
                  <a:gd name="T16" fmla="*/ 98 w 1321"/>
                  <a:gd name="T17" fmla="*/ 384 h 610"/>
                  <a:gd name="T18" fmla="*/ 55 w 1321"/>
                  <a:gd name="T19" fmla="*/ 400 h 610"/>
                  <a:gd name="T20" fmla="*/ 32 w 1321"/>
                  <a:gd name="T21" fmla="*/ 415 h 610"/>
                  <a:gd name="T22" fmla="*/ 16 w 1321"/>
                  <a:gd name="T23" fmla="*/ 438 h 610"/>
                  <a:gd name="T24" fmla="*/ 5 w 1321"/>
                  <a:gd name="T25" fmla="*/ 464 h 610"/>
                  <a:gd name="T26" fmla="*/ 0 w 1321"/>
                  <a:gd name="T27" fmla="*/ 495 h 610"/>
                  <a:gd name="T28" fmla="*/ 4 w 1321"/>
                  <a:gd name="T29" fmla="*/ 526 h 610"/>
                  <a:gd name="T30" fmla="*/ 10 w 1321"/>
                  <a:gd name="T31" fmla="*/ 546 h 610"/>
                  <a:gd name="T32" fmla="*/ 23 w 1321"/>
                  <a:gd name="T33" fmla="*/ 572 h 610"/>
                  <a:gd name="T34" fmla="*/ 43 w 1321"/>
                  <a:gd name="T35" fmla="*/ 593 h 610"/>
                  <a:gd name="T36" fmla="*/ 64 w 1321"/>
                  <a:gd name="T37" fmla="*/ 605 h 610"/>
                  <a:gd name="T38" fmla="*/ 89 w 1321"/>
                  <a:gd name="T39" fmla="*/ 610 h 610"/>
                  <a:gd name="T40" fmla="*/ 106 w 1321"/>
                  <a:gd name="T41" fmla="*/ 608 h 610"/>
                  <a:gd name="T42" fmla="*/ 132 w 1321"/>
                  <a:gd name="T43" fmla="*/ 598 h 610"/>
                  <a:gd name="T44" fmla="*/ 153 w 1321"/>
                  <a:gd name="T45" fmla="*/ 580 h 610"/>
                  <a:gd name="T46" fmla="*/ 169 w 1321"/>
                  <a:gd name="T47" fmla="*/ 558 h 610"/>
                  <a:gd name="T48" fmla="*/ 178 w 1321"/>
                  <a:gd name="T49" fmla="*/ 529 h 610"/>
                  <a:gd name="T50" fmla="*/ 181 w 1321"/>
                  <a:gd name="T51" fmla="*/ 498 h 610"/>
                  <a:gd name="T52" fmla="*/ 180 w 1321"/>
                  <a:gd name="T53" fmla="*/ 480 h 610"/>
                  <a:gd name="T54" fmla="*/ 230 w 1321"/>
                  <a:gd name="T55" fmla="*/ 460 h 610"/>
                  <a:gd name="T56" fmla="*/ 567 w 1321"/>
                  <a:gd name="T57" fmla="*/ 376 h 610"/>
                  <a:gd name="T58" fmla="*/ 673 w 1321"/>
                  <a:gd name="T59" fmla="*/ 348 h 610"/>
                  <a:gd name="T60" fmla="*/ 688 w 1321"/>
                  <a:gd name="T61" fmla="*/ 348 h 610"/>
                  <a:gd name="T62" fmla="*/ 749 w 1321"/>
                  <a:gd name="T63" fmla="*/ 364 h 610"/>
                  <a:gd name="T64" fmla="*/ 949 w 1321"/>
                  <a:gd name="T65" fmla="*/ 414 h 610"/>
                  <a:gd name="T66" fmla="*/ 1142 w 1321"/>
                  <a:gd name="T67" fmla="*/ 473 h 610"/>
                  <a:gd name="T68" fmla="*/ 1140 w 1321"/>
                  <a:gd name="T69" fmla="*/ 504 h 610"/>
                  <a:gd name="T70" fmla="*/ 1145 w 1321"/>
                  <a:gd name="T71" fmla="*/ 535 h 610"/>
                  <a:gd name="T72" fmla="*/ 1156 w 1321"/>
                  <a:gd name="T73" fmla="*/ 562 h 610"/>
                  <a:gd name="T74" fmla="*/ 1173 w 1321"/>
                  <a:gd name="T75" fmla="*/ 584 h 610"/>
                  <a:gd name="T76" fmla="*/ 1194 w 1321"/>
                  <a:gd name="T77" fmla="*/ 600 h 610"/>
                  <a:gd name="T78" fmla="*/ 1219 w 1321"/>
                  <a:gd name="T79" fmla="*/ 609 h 610"/>
                  <a:gd name="T80" fmla="*/ 1235 w 1321"/>
                  <a:gd name="T81" fmla="*/ 610 h 610"/>
                  <a:gd name="T82" fmla="*/ 1260 w 1321"/>
                  <a:gd name="T83" fmla="*/ 604 h 610"/>
                  <a:gd name="T84" fmla="*/ 1281 w 1321"/>
                  <a:gd name="T85" fmla="*/ 590 h 610"/>
                  <a:gd name="T86" fmla="*/ 1300 w 1321"/>
                  <a:gd name="T87" fmla="*/ 570 h 610"/>
                  <a:gd name="T88" fmla="*/ 1313 w 1321"/>
                  <a:gd name="T89" fmla="*/ 545 h 610"/>
                  <a:gd name="T90" fmla="*/ 1320 w 1321"/>
                  <a:gd name="T91" fmla="*/ 516 h 610"/>
                  <a:gd name="T92" fmla="*/ 1321 w 1321"/>
                  <a:gd name="T93" fmla="*/ 495 h 610"/>
                  <a:gd name="T94" fmla="*/ 1316 w 1321"/>
                  <a:gd name="T95" fmla="*/ 465 h 610"/>
                  <a:gd name="T96" fmla="*/ 1306 w 1321"/>
                  <a:gd name="T97" fmla="*/ 439 h 610"/>
                  <a:gd name="T98" fmla="*/ 1289 w 1321"/>
                  <a:gd name="T99" fmla="*/ 416 h 610"/>
                  <a:gd name="T100" fmla="*/ 1267 w 1321"/>
                  <a:gd name="T101" fmla="*/ 400 h 610"/>
                  <a:gd name="T102" fmla="*/ 1251 w 1321"/>
                  <a:gd name="T103" fmla="*/ 392 h 610"/>
                  <a:gd name="T104" fmla="*/ 1214 w 1321"/>
                  <a:gd name="T105" fmla="*/ 381 h 610"/>
                  <a:gd name="T106" fmla="*/ 1091 w 1321"/>
                  <a:gd name="T107" fmla="*/ 324 h 610"/>
                  <a:gd name="T108" fmla="*/ 959 w 1321"/>
                  <a:gd name="T109" fmla="*/ 256 h 610"/>
                  <a:gd name="T110" fmla="*/ 790 w 1321"/>
                  <a:gd name="T111" fmla="*/ 175 h 610"/>
                  <a:gd name="T112" fmla="*/ 779 w 1321"/>
                  <a:gd name="T113" fmla="*/ 168 h 610"/>
                  <a:gd name="T114" fmla="*/ 774 w 1321"/>
                  <a:gd name="T115" fmla="*/ 157 h 610"/>
                  <a:gd name="T116" fmla="*/ 773 w 1321"/>
                  <a:gd name="T117" fmla="*/ 105 h 610"/>
                  <a:gd name="T118" fmla="*/ 773 w 1321"/>
                  <a:gd name="T119" fmla="*/ 49 h 610"/>
                  <a:gd name="T120" fmla="*/ 773 w 1321"/>
                  <a:gd name="T121" fmla="*/ 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1" h="610">
                    <a:moveTo>
                      <a:pt x="591" y="0"/>
                    </a:moveTo>
                    <a:lnTo>
                      <a:pt x="591" y="0"/>
                    </a:lnTo>
                    <a:lnTo>
                      <a:pt x="592" y="14"/>
                    </a:lnTo>
                    <a:lnTo>
                      <a:pt x="592" y="14"/>
                    </a:lnTo>
                    <a:lnTo>
                      <a:pt x="592" y="105"/>
                    </a:lnTo>
                    <a:lnTo>
                      <a:pt x="592" y="105"/>
                    </a:lnTo>
                    <a:lnTo>
                      <a:pt x="592" y="105"/>
                    </a:lnTo>
                    <a:lnTo>
                      <a:pt x="592" y="146"/>
                    </a:lnTo>
                    <a:lnTo>
                      <a:pt x="592" y="146"/>
                    </a:lnTo>
                    <a:lnTo>
                      <a:pt x="591" y="157"/>
                    </a:lnTo>
                    <a:lnTo>
                      <a:pt x="590" y="161"/>
                    </a:lnTo>
                    <a:lnTo>
                      <a:pt x="588" y="165"/>
                    </a:lnTo>
                    <a:lnTo>
                      <a:pt x="585" y="168"/>
                    </a:lnTo>
                    <a:lnTo>
                      <a:pt x="582" y="171"/>
                    </a:lnTo>
                    <a:lnTo>
                      <a:pt x="575" y="175"/>
                    </a:lnTo>
                    <a:lnTo>
                      <a:pt x="575" y="175"/>
                    </a:lnTo>
                    <a:lnTo>
                      <a:pt x="502" y="207"/>
                    </a:lnTo>
                    <a:lnTo>
                      <a:pt x="455" y="227"/>
                    </a:lnTo>
                    <a:lnTo>
                      <a:pt x="407" y="248"/>
                    </a:lnTo>
                    <a:lnTo>
                      <a:pt x="334" y="278"/>
                    </a:lnTo>
                    <a:lnTo>
                      <a:pt x="334" y="278"/>
                    </a:lnTo>
                    <a:lnTo>
                      <a:pt x="301" y="294"/>
                    </a:lnTo>
                    <a:lnTo>
                      <a:pt x="267" y="310"/>
                    </a:lnTo>
                    <a:lnTo>
                      <a:pt x="200" y="341"/>
                    </a:lnTo>
                    <a:lnTo>
                      <a:pt x="166" y="356"/>
                    </a:lnTo>
                    <a:lnTo>
                      <a:pt x="132" y="371"/>
                    </a:lnTo>
                    <a:lnTo>
                      <a:pt x="98" y="384"/>
                    </a:lnTo>
                    <a:lnTo>
                      <a:pt x="63" y="397"/>
                    </a:lnTo>
                    <a:lnTo>
                      <a:pt x="63" y="397"/>
                    </a:lnTo>
                    <a:lnTo>
                      <a:pt x="55" y="400"/>
                    </a:lnTo>
                    <a:lnTo>
                      <a:pt x="47" y="404"/>
                    </a:lnTo>
                    <a:lnTo>
                      <a:pt x="39" y="409"/>
                    </a:lnTo>
                    <a:lnTo>
                      <a:pt x="32" y="415"/>
                    </a:lnTo>
                    <a:lnTo>
                      <a:pt x="26" y="421"/>
                    </a:lnTo>
                    <a:lnTo>
                      <a:pt x="21" y="429"/>
                    </a:lnTo>
                    <a:lnTo>
                      <a:pt x="16" y="438"/>
                    </a:lnTo>
                    <a:lnTo>
                      <a:pt x="12" y="446"/>
                    </a:lnTo>
                    <a:lnTo>
                      <a:pt x="8" y="455"/>
                    </a:lnTo>
                    <a:lnTo>
                      <a:pt x="5" y="464"/>
                    </a:lnTo>
                    <a:lnTo>
                      <a:pt x="2" y="475"/>
                    </a:lnTo>
                    <a:lnTo>
                      <a:pt x="1" y="485"/>
                    </a:lnTo>
                    <a:lnTo>
                      <a:pt x="0" y="495"/>
                    </a:lnTo>
                    <a:lnTo>
                      <a:pt x="0" y="505"/>
                    </a:lnTo>
                    <a:lnTo>
                      <a:pt x="1" y="516"/>
                    </a:lnTo>
                    <a:lnTo>
                      <a:pt x="4" y="526"/>
                    </a:lnTo>
                    <a:lnTo>
                      <a:pt x="4" y="526"/>
                    </a:lnTo>
                    <a:lnTo>
                      <a:pt x="6" y="536"/>
                    </a:lnTo>
                    <a:lnTo>
                      <a:pt x="10" y="546"/>
                    </a:lnTo>
                    <a:lnTo>
                      <a:pt x="14" y="556"/>
                    </a:lnTo>
                    <a:lnTo>
                      <a:pt x="18" y="564"/>
                    </a:lnTo>
                    <a:lnTo>
                      <a:pt x="23" y="572"/>
                    </a:lnTo>
                    <a:lnTo>
                      <a:pt x="29" y="579"/>
                    </a:lnTo>
                    <a:lnTo>
                      <a:pt x="35" y="586"/>
                    </a:lnTo>
                    <a:lnTo>
                      <a:pt x="43" y="593"/>
                    </a:lnTo>
                    <a:lnTo>
                      <a:pt x="50" y="598"/>
                    </a:lnTo>
                    <a:lnTo>
                      <a:pt x="57" y="602"/>
                    </a:lnTo>
                    <a:lnTo>
                      <a:pt x="64" y="605"/>
                    </a:lnTo>
                    <a:lnTo>
                      <a:pt x="72" y="608"/>
                    </a:lnTo>
                    <a:lnTo>
                      <a:pt x="80" y="609"/>
                    </a:lnTo>
                    <a:lnTo>
                      <a:pt x="89" y="610"/>
                    </a:lnTo>
                    <a:lnTo>
                      <a:pt x="97" y="610"/>
                    </a:lnTo>
                    <a:lnTo>
                      <a:pt x="106" y="608"/>
                    </a:lnTo>
                    <a:lnTo>
                      <a:pt x="106" y="608"/>
                    </a:lnTo>
                    <a:lnTo>
                      <a:pt x="115" y="606"/>
                    </a:lnTo>
                    <a:lnTo>
                      <a:pt x="124" y="602"/>
                    </a:lnTo>
                    <a:lnTo>
                      <a:pt x="132" y="598"/>
                    </a:lnTo>
                    <a:lnTo>
                      <a:pt x="139" y="593"/>
                    </a:lnTo>
                    <a:lnTo>
                      <a:pt x="146" y="586"/>
                    </a:lnTo>
                    <a:lnTo>
                      <a:pt x="153" y="580"/>
                    </a:lnTo>
                    <a:lnTo>
                      <a:pt x="158" y="573"/>
                    </a:lnTo>
                    <a:lnTo>
                      <a:pt x="164" y="566"/>
                    </a:lnTo>
                    <a:lnTo>
                      <a:pt x="169" y="558"/>
                    </a:lnTo>
                    <a:lnTo>
                      <a:pt x="173" y="548"/>
                    </a:lnTo>
                    <a:lnTo>
                      <a:pt x="176" y="539"/>
                    </a:lnTo>
                    <a:lnTo>
                      <a:pt x="178" y="529"/>
                    </a:lnTo>
                    <a:lnTo>
                      <a:pt x="180" y="520"/>
                    </a:lnTo>
                    <a:lnTo>
                      <a:pt x="181" y="508"/>
                    </a:lnTo>
                    <a:lnTo>
                      <a:pt x="181" y="498"/>
                    </a:lnTo>
                    <a:lnTo>
                      <a:pt x="180" y="487"/>
                    </a:lnTo>
                    <a:lnTo>
                      <a:pt x="180" y="487"/>
                    </a:lnTo>
                    <a:lnTo>
                      <a:pt x="180" y="480"/>
                    </a:lnTo>
                    <a:lnTo>
                      <a:pt x="180" y="473"/>
                    </a:lnTo>
                    <a:lnTo>
                      <a:pt x="180" y="473"/>
                    </a:lnTo>
                    <a:lnTo>
                      <a:pt x="230" y="460"/>
                    </a:lnTo>
                    <a:lnTo>
                      <a:pt x="291" y="444"/>
                    </a:lnTo>
                    <a:lnTo>
                      <a:pt x="429" y="410"/>
                    </a:lnTo>
                    <a:lnTo>
                      <a:pt x="567" y="376"/>
                    </a:lnTo>
                    <a:lnTo>
                      <a:pt x="625" y="362"/>
                    </a:lnTo>
                    <a:lnTo>
                      <a:pt x="673" y="348"/>
                    </a:lnTo>
                    <a:lnTo>
                      <a:pt x="673" y="348"/>
                    </a:lnTo>
                    <a:lnTo>
                      <a:pt x="678" y="347"/>
                    </a:lnTo>
                    <a:lnTo>
                      <a:pt x="683" y="347"/>
                    </a:lnTo>
                    <a:lnTo>
                      <a:pt x="688" y="348"/>
                    </a:lnTo>
                    <a:lnTo>
                      <a:pt x="694" y="349"/>
                    </a:lnTo>
                    <a:lnTo>
                      <a:pt x="694" y="349"/>
                    </a:lnTo>
                    <a:lnTo>
                      <a:pt x="749" y="364"/>
                    </a:lnTo>
                    <a:lnTo>
                      <a:pt x="813" y="379"/>
                    </a:lnTo>
                    <a:lnTo>
                      <a:pt x="882" y="397"/>
                    </a:lnTo>
                    <a:lnTo>
                      <a:pt x="949" y="414"/>
                    </a:lnTo>
                    <a:lnTo>
                      <a:pt x="949" y="414"/>
                    </a:lnTo>
                    <a:lnTo>
                      <a:pt x="1142" y="473"/>
                    </a:lnTo>
                    <a:lnTo>
                      <a:pt x="1142" y="473"/>
                    </a:lnTo>
                    <a:lnTo>
                      <a:pt x="1141" y="489"/>
                    </a:lnTo>
                    <a:lnTo>
                      <a:pt x="1140" y="504"/>
                    </a:lnTo>
                    <a:lnTo>
                      <a:pt x="1140" y="504"/>
                    </a:lnTo>
                    <a:lnTo>
                      <a:pt x="1141" y="516"/>
                    </a:lnTo>
                    <a:lnTo>
                      <a:pt x="1143" y="526"/>
                    </a:lnTo>
                    <a:lnTo>
                      <a:pt x="1145" y="535"/>
                    </a:lnTo>
                    <a:lnTo>
                      <a:pt x="1148" y="544"/>
                    </a:lnTo>
                    <a:lnTo>
                      <a:pt x="1152" y="554"/>
                    </a:lnTo>
                    <a:lnTo>
                      <a:pt x="1156" y="562"/>
                    </a:lnTo>
                    <a:lnTo>
                      <a:pt x="1161" y="570"/>
                    </a:lnTo>
                    <a:lnTo>
                      <a:pt x="1166" y="577"/>
                    </a:lnTo>
                    <a:lnTo>
                      <a:pt x="1173" y="584"/>
                    </a:lnTo>
                    <a:lnTo>
                      <a:pt x="1180" y="590"/>
                    </a:lnTo>
                    <a:lnTo>
                      <a:pt x="1187" y="596"/>
                    </a:lnTo>
                    <a:lnTo>
                      <a:pt x="1194" y="600"/>
                    </a:lnTo>
                    <a:lnTo>
                      <a:pt x="1201" y="604"/>
                    </a:lnTo>
                    <a:lnTo>
                      <a:pt x="1210" y="607"/>
                    </a:lnTo>
                    <a:lnTo>
                      <a:pt x="1219" y="609"/>
                    </a:lnTo>
                    <a:lnTo>
                      <a:pt x="1227" y="610"/>
                    </a:lnTo>
                    <a:lnTo>
                      <a:pt x="1227" y="610"/>
                    </a:lnTo>
                    <a:lnTo>
                      <a:pt x="1235" y="610"/>
                    </a:lnTo>
                    <a:lnTo>
                      <a:pt x="1243" y="609"/>
                    </a:lnTo>
                    <a:lnTo>
                      <a:pt x="1252" y="607"/>
                    </a:lnTo>
                    <a:lnTo>
                      <a:pt x="1260" y="604"/>
                    </a:lnTo>
                    <a:lnTo>
                      <a:pt x="1267" y="600"/>
                    </a:lnTo>
                    <a:lnTo>
                      <a:pt x="1274" y="596"/>
                    </a:lnTo>
                    <a:lnTo>
                      <a:pt x="1281" y="590"/>
                    </a:lnTo>
                    <a:lnTo>
                      <a:pt x="1288" y="584"/>
                    </a:lnTo>
                    <a:lnTo>
                      <a:pt x="1294" y="577"/>
                    </a:lnTo>
                    <a:lnTo>
                      <a:pt x="1300" y="570"/>
                    </a:lnTo>
                    <a:lnTo>
                      <a:pt x="1305" y="562"/>
                    </a:lnTo>
                    <a:lnTo>
                      <a:pt x="1309" y="554"/>
                    </a:lnTo>
                    <a:lnTo>
                      <a:pt x="1313" y="545"/>
                    </a:lnTo>
                    <a:lnTo>
                      <a:pt x="1316" y="536"/>
                    </a:lnTo>
                    <a:lnTo>
                      <a:pt x="1318" y="526"/>
                    </a:lnTo>
                    <a:lnTo>
                      <a:pt x="1320" y="516"/>
                    </a:lnTo>
                    <a:lnTo>
                      <a:pt x="1320" y="516"/>
                    </a:lnTo>
                    <a:lnTo>
                      <a:pt x="1321" y="505"/>
                    </a:lnTo>
                    <a:lnTo>
                      <a:pt x="1321" y="495"/>
                    </a:lnTo>
                    <a:lnTo>
                      <a:pt x="1320" y="485"/>
                    </a:lnTo>
                    <a:lnTo>
                      <a:pt x="1319" y="475"/>
                    </a:lnTo>
                    <a:lnTo>
                      <a:pt x="1316" y="465"/>
                    </a:lnTo>
                    <a:lnTo>
                      <a:pt x="1313" y="456"/>
                    </a:lnTo>
                    <a:lnTo>
                      <a:pt x="1310" y="447"/>
                    </a:lnTo>
                    <a:lnTo>
                      <a:pt x="1306" y="439"/>
                    </a:lnTo>
                    <a:lnTo>
                      <a:pt x="1301" y="430"/>
                    </a:lnTo>
                    <a:lnTo>
                      <a:pt x="1295" y="422"/>
                    </a:lnTo>
                    <a:lnTo>
                      <a:pt x="1289" y="416"/>
                    </a:lnTo>
                    <a:lnTo>
                      <a:pt x="1282" y="410"/>
                    </a:lnTo>
                    <a:lnTo>
                      <a:pt x="1275" y="404"/>
                    </a:lnTo>
                    <a:lnTo>
                      <a:pt x="1267" y="400"/>
                    </a:lnTo>
                    <a:lnTo>
                      <a:pt x="1260" y="395"/>
                    </a:lnTo>
                    <a:lnTo>
                      <a:pt x="1251" y="392"/>
                    </a:lnTo>
                    <a:lnTo>
                      <a:pt x="1251" y="392"/>
                    </a:lnTo>
                    <a:lnTo>
                      <a:pt x="1232" y="387"/>
                    </a:lnTo>
                    <a:lnTo>
                      <a:pt x="1223" y="385"/>
                    </a:lnTo>
                    <a:lnTo>
                      <a:pt x="1214" y="381"/>
                    </a:lnTo>
                    <a:lnTo>
                      <a:pt x="1214" y="381"/>
                    </a:lnTo>
                    <a:lnTo>
                      <a:pt x="1146" y="350"/>
                    </a:lnTo>
                    <a:lnTo>
                      <a:pt x="1091" y="324"/>
                    </a:lnTo>
                    <a:lnTo>
                      <a:pt x="1044" y="300"/>
                    </a:lnTo>
                    <a:lnTo>
                      <a:pt x="1002" y="278"/>
                    </a:lnTo>
                    <a:lnTo>
                      <a:pt x="959" y="256"/>
                    </a:lnTo>
                    <a:lnTo>
                      <a:pt x="912" y="232"/>
                    </a:lnTo>
                    <a:lnTo>
                      <a:pt x="857" y="206"/>
                    </a:lnTo>
                    <a:lnTo>
                      <a:pt x="790" y="175"/>
                    </a:lnTo>
                    <a:lnTo>
                      <a:pt x="790" y="175"/>
                    </a:lnTo>
                    <a:lnTo>
                      <a:pt x="783" y="171"/>
                    </a:lnTo>
                    <a:lnTo>
                      <a:pt x="779" y="168"/>
                    </a:lnTo>
                    <a:lnTo>
                      <a:pt x="776" y="165"/>
                    </a:lnTo>
                    <a:lnTo>
                      <a:pt x="775" y="161"/>
                    </a:lnTo>
                    <a:lnTo>
                      <a:pt x="774" y="157"/>
                    </a:lnTo>
                    <a:lnTo>
                      <a:pt x="773" y="146"/>
                    </a:lnTo>
                    <a:lnTo>
                      <a:pt x="773" y="146"/>
                    </a:lnTo>
                    <a:lnTo>
                      <a:pt x="773" y="105"/>
                    </a:lnTo>
                    <a:lnTo>
                      <a:pt x="773" y="105"/>
                    </a:lnTo>
                    <a:lnTo>
                      <a:pt x="773" y="105"/>
                    </a:lnTo>
                    <a:lnTo>
                      <a:pt x="773" y="49"/>
                    </a:lnTo>
                    <a:lnTo>
                      <a:pt x="773" y="49"/>
                    </a:lnTo>
                    <a:lnTo>
                      <a:pt x="773" y="20"/>
                    </a:lnTo>
                    <a:lnTo>
                      <a:pt x="773" y="20"/>
                    </a:lnTo>
                    <a:lnTo>
                      <a:pt x="774" y="0"/>
                    </a:lnTo>
                    <a:lnTo>
                      <a:pt x="591"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52" name="Freeform 8"/>
              <p:cNvSpPr>
                <a:spLocks/>
              </p:cNvSpPr>
              <p:nvPr/>
            </p:nvSpPr>
            <p:spPr bwMode="auto">
              <a:xfrm>
                <a:off x="635956" y="3278281"/>
                <a:ext cx="165095" cy="227381"/>
              </a:xfrm>
              <a:custGeom>
                <a:avLst/>
                <a:gdLst>
                  <a:gd name="T0" fmla="*/ 0 w 440"/>
                  <a:gd name="T1" fmla="*/ 468 h 606"/>
                  <a:gd name="T2" fmla="*/ 22 w 440"/>
                  <a:gd name="T3" fmla="*/ 464 h 606"/>
                  <a:gd name="T4" fmla="*/ 37 w 440"/>
                  <a:gd name="T5" fmla="*/ 459 h 606"/>
                  <a:gd name="T6" fmla="*/ 63 w 440"/>
                  <a:gd name="T7" fmla="*/ 446 h 606"/>
                  <a:gd name="T8" fmla="*/ 87 w 440"/>
                  <a:gd name="T9" fmla="*/ 429 h 606"/>
                  <a:gd name="T10" fmla="*/ 107 w 440"/>
                  <a:gd name="T11" fmla="*/ 410 h 606"/>
                  <a:gd name="T12" fmla="*/ 125 w 440"/>
                  <a:gd name="T13" fmla="*/ 387 h 606"/>
                  <a:gd name="T14" fmla="*/ 138 w 440"/>
                  <a:gd name="T15" fmla="*/ 362 h 606"/>
                  <a:gd name="T16" fmla="*/ 147 w 440"/>
                  <a:gd name="T17" fmla="*/ 335 h 606"/>
                  <a:gd name="T18" fmla="*/ 153 w 440"/>
                  <a:gd name="T19" fmla="*/ 305 h 606"/>
                  <a:gd name="T20" fmla="*/ 154 w 440"/>
                  <a:gd name="T21" fmla="*/ 291 h 606"/>
                  <a:gd name="T22" fmla="*/ 154 w 440"/>
                  <a:gd name="T23" fmla="*/ 147 h 606"/>
                  <a:gd name="T24" fmla="*/ 154 w 440"/>
                  <a:gd name="T25" fmla="*/ 135 h 606"/>
                  <a:gd name="T26" fmla="*/ 72 w 440"/>
                  <a:gd name="T27" fmla="*/ 135 h 606"/>
                  <a:gd name="T28" fmla="*/ 61 w 440"/>
                  <a:gd name="T29" fmla="*/ 134 h 606"/>
                  <a:gd name="T30" fmla="*/ 44 w 440"/>
                  <a:gd name="T31" fmla="*/ 130 h 606"/>
                  <a:gd name="T32" fmla="*/ 28 w 440"/>
                  <a:gd name="T33" fmla="*/ 120 h 606"/>
                  <a:gd name="T34" fmla="*/ 17 w 440"/>
                  <a:gd name="T35" fmla="*/ 106 h 606"/>
                  <a:gd name="T36" fmla="*/ 12 w 440"/>
                  <a:gd name="T37" fmla="*/ 98 h 606"/>
                  <a:gd name="T38" fmla="*/ 6 w 440"/>
                  <a:gd name="T39" fmla="*/ 80 h 606"/>
                  <a:gd name="T40" fmla="*/ 4 w 440"/>
                  <a:gd name="T41" fmla="*/ 63 h 606"/>
                  <a:gd name="T42" fmla="*/ 8 w 440"/>
                  <a:gd name="T43" fmla="*/ 45 h 606"/>
                  <a:gd name="T44" fmla="*/ 17 w 440"/>
                  <a:gd name="T45" fmla="*/ 29 h 606"/>
                  <a:gd name="T46" fmla="*/ 21 w 440"/>
                  <a:gd name="T47" fmla="*/ 23 h 606"/>
                  <a:gd name="T48" fmla="*/ 34 w 440"/>
                  <a:gd name="T49" fmla="*/ 12 h 606"/>
                  <a:gd name="T50" fmla="*/ 47 w 440"/>
                  <a:gd name="T51" fmla="*/ 4 h 606"/>
                  <a:gd name="T52" fmla="*/ 62 w 440"/>
                  <a:gd name="T53" fmla="*/ 1 h 606"/>
                  <a:gd name="T54" fmla="*/ 71 w 440"/>
                  <a:gd name="T55" fmla="*/ 0 h 606"/>
                  <a:gd name="T56" fmla="*/ 373 w 440"/>
                  <a:gd name="T57" fmla="*/ 0 h 606"/>
                  <a:gd name="T58" fmla="*/ 387 w 440"/>
                  <a:gd name="T59" fmla="*/ 2 h 606"/>
                  <a:gd name="T60" fmla="*/ 399 w 440"/>
                  <a:gd name="T61" fmla="*/ 6 h 606"/>
                  <a:gd name="T62" fmla="*/ 410 w 440"/>
                  <a:gd name="T63" fmla="*/ 13 h 606"/>
                  <a:gd name="T64" fmla="*/ 429 w 440"/>
                  <a:gd name="T65" fmla="*/ 30 h 606"/>
                  <a:gd name="T66" fmla="*/ 437 w 440"/>
                  <a:gd name="T67" fmla="*/ 48 h 606"/>
                  <a:gd name="T68" fmla="*/ 440 w 440"/>
                  <a:gd name="T69" fmla="*/ 61 h 606"/>
                  <a:gd name="T70" fmla="*/ 440 w 440"/>
                  <a:gd name="T71" fmla="*/ 67 h 606"/>
                  <a:gd name="T72" fmla="*/ 439 w 440"/>
                  <a:gd name="T73" fmla="*/ 80 h 606"/>
                  <a:gd name="T74" fmla="*/ 435 w 440"/>
                  <a:gd name="T75" fmla="*/ 93 h 606"/>
                  <a:gd name="T76" fmla="*/ 420 w 440"/>
                  <a:gd name="T77" fmla="*/ 114 h 606"/>
                  <a:gd name="T78" fmla="*/ 406 w 440"/>
                  <a:gd name="T79" fmla="*/ 127 h 606"/>
                  <a:gd name="T80" fmla="*/ 394 w 440"/>
                  <a:gd name="T81" fmla="*/ 132 h 606"/>
                  <a:gd name="T82" fmla="*/ 381 w 440"/>
                  <a:gd name="T83" fmla="*/ 135 h 606"/>
                  <a:gd name="T84" fmla="*/ 374 w 440"/>
                  <a:gd name="T85" fmla="*/ 135 h 606"/>
                  <a:gd name="T86" fmla="*/ 288 w 440"/>
                  <a:gd name="T87" fmla="*/ 135 h 606"/>
                  <a:gd name="T88" fmla="*/ 288 w 440"/>
                  <a:gd name="T89" fmla="*/ 150 h 606"/>
                  <a:gd name="T90" fmla="*/ 289 w 440"/>
                  <a:gd name="T91" fmla="*/ 227 h 606"/>
                  <a:gd name="T92" fmla="*/ 288 w 440"/>
                  <a:gd name="T93" fmla="*/ 303 h 606"/>
                  <a:gd name="T94" fmla="*/ 286 w 440"/>
                  <a:gd name="T95" fmla="*/ 329 h 606"/>
                  <a:gd name="T96" fmla="*/ 276 w 440"/>
                  <a:gd name="T97" fmla="*/ 379 h 606"/>
                  <a:gd name="T98" fmla="*/ 257 w 440"/>
                  <a:gd name="T99" fmla="*/ 426 h 606"/>
                  <a:gd name="T100" fmla="*/ 233 w 440"/>
                  <a:gd name="T101" fmla="*/ 469 h 606"/>
                  <a:gd name="T102" fmla="*/ 201 w 440"/>
                  <a:gd name="T103" fmla="*/ 508 h 606"/>
                  <a:gd name="T104" fmla="*/ 163 w 440"/>
                  <a:gd name="T105" fmla="*/ 541 h 606"/>
                  <a:gd name="T106" fmla="*/ 121 w 440"/>
                  <a:gd name="T107" fmla="*/ 569 h 606"/>
                  <a:gd name="T108" fmla="*/ 74 w 440"/>
                  <a:gd name="T109" fmla="*/ 589 h 606"/>
                  <a:gd name="T110" fmla="*/ 49 w 440"/>
                  <a:gd name="T111" fmla="*/ 597 h 606"/>
                  <a:gd name="T112" fmla="*/ 0 w 440"/>
                  <a:gd name="T113"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606">
                    <a:moveTo>
                      <a:pt x="0" y="468"/>
                    </a:moveTo>
                    <a:lnTo>
                      <a:pt x="0" y="468"/>
                    </a:lnTo>
                    <a:lnTo>
                      <a:pt x="11" y="466"/>
                    </a:lnTo>
                    <a:lnTo>
                      <a:pt x="22" y="464"/>
                    </a:lnTo>
                    <a:lnTo>
                      <a:pt x="22" y="464"/>
                    </a:lnTo>
                    <a:lnTo>
                      <a:pt x="37" y="459"/>
                    </a:lnTo>
                    <a:lnTo>
                      <a:pt x="50" y="453"/>
                    </a:lnTo>
                    <a:lnTo>
                      <a:pt x="63" y="446"/>
                    </a:lnTo>
                    <a:lnTo>
                      <a:pt x="76" y="439"/>
                    </a:lnTo>
                    <a:lnTo>
                      <a:pt x="87" y="429"/>
                    </a:lnTo>
                    <a:lnTo>
                      <a:pt x="98" y="420"/>
                    </a:lnTo>
                    <a:lnTo>
                      <a:pt x="107" y="410"/>
                    </a:lnTo>
                    <a:lnTo>
                      <a:pt x="117" y="399"/>
                    </a:lnTo>
                    <a:lnTo>
                      <a:pt x="125" y="387"/>
                    </a:lnTo>
                    <a:lnTo>
                      <a:pt x="132" y="375"/>
                    </a:lnTo>
                    <a:lnTo>
                      <a:pt x="138" y="362"/>
                    </a:lnTo>
                    <a:lnTo>
                      <a:pt x="143" y="348"/>
                    </a:lnTo>
                    <a:lnTo>
                      <a:pt x="147" y="335"/>
                    </a:lnTo>
                    <a:lnTo>
                      <a:pt x="151" y="321"/>
                    </a:lnTo>
                    <a:lnTo>
                      <a:pt x="153" y="305"/>
                    </a:lnTo>
                    <a:lnTo>
                      <a:pt x="154" y="291"/>
                    </a:lnTo>
                    <a:lnTo>
                      <a:pt x="154" y="291"/>
                    </a:lnTo>
                    <a:lnTo>
                      <a:pt x="154" y="147"/>
                    </a:lnTo>
                    <a:lnTo>
                      <a:pt x="154" y="147"/>
                    </a:lnTo>
                    <a:lnTo>
                      <a:pt x="154" y="135"/>
                    </a:lnTo>
                    <a:lnTo>
                      <a:pt x="154" y="135"/>
                    </a:lnTo>
                    <a:lnTo>
                      <a:pt x="112" y="135"/>
                    </a:lnTo>
                    <a:lnTo>
                      <a:pt x="72" y="135"/>
                    </a:lnTo>
                    <a:lnTo>
                      <a:pt x="72" y="135"/>
                    </a:lnTo>
                    <a:lnTo>
                      <a:pt x="61" y="134"/>
                    </a:lnTo>
                    <a:lnTo>
                      <a:pt x="52" y="132"/>
                    </a:lnTo>
                    <a:lnTo>
                      <a:pt x="44" y="130"/>
                    </a:lnTo>
                    <a:lnTo>
                      <a:pt x="36" y="126"/>
                    </a:lnTo>
                    <a:lnTo>
                      <a:pt x="28" y="120"/>
                    </a:lnTo>
                    <a:lnTo>
                      <a:pt x="22" y="113"/>
                    </a:lnTo>
                    <a:lnTo>
                      <a:pt x="17" y="106"/>
                    </a:lnTo>
                    <a:lnTo>
                      <a:pt x="12" y="98"/>
                    </a:lnTo>
                    <a:lnTo>
                      <a:pt x="12" y="98"/>
                    </a:lnTo>
                    <a:lnTo>
                      <a:pt x="8" y="90"/>
                    </a:lnTo>
                    <a:lnTo>
                      <a:pt x="6" y="80"/>
                    </a:lnTo>
                    <a:lnTo>
                      <a:pt x="5" y="71"/>
                    </a:lnTo>
                    <a:lnTo>
                      <a:pt x="4" y="63"/>
                    </a:lnTo>
                    <a:lnTo>
                      <a:pt x="6" y="55"/>
                    </a:lnTo>
                    <a:lnTo>
                      <a:pt x="8" y="45"/>
                    </a:lnTo>
                    <a:lnTo>
                      <a:pt x="12" y="37"/>
                    </a:lnTo>
                    <a:lnTo>
                      <a:pt x="17" y="29"/>
                    </a:lnTo>
                    <a:lnTo>
                      <a:pt x="17" y="29"/>
                    </a:lnTo>
                    <a:lnTo>
                      <a:pt x="21" y="23"/>
                    </a:lnTo>
                    <a:lnTo>
                      <a:pt x="27" y="17"/>
                    </a:lnTo>
                    <a:lnTo>
                      <a:pt x="34" y="12"/>
                    </a:lnTo>
                    <a:lnTo>
                      <a:pt x="40" y="9"/>
                    </a:lnTo>
                    <a:lnTo>
                      <a:pt x="47" y="4"/>
                    </a:lnTo>
                    <a:lnTo>
                      <a:pt x="54" y="2"/>
                    </a:lnTo>
                    <a:lnTo>
                      <a:pt x="62" y="1"/>
                    </a:lnTo>
                    <a:lnTo>
                      <a:pt x="71" y="0"/>
                    </a:lnTo>
                    <a:lnTo>
                      <a:pt x="71" y="0"/>
                    </a:lnTo>
                    <a:lnTo>
                      <a:pt x="373" y="0"/>
                    </a:lnTo>
                    <a:lnTo>
                      <a:pt x="373" y="0"/>
                    </a:lnTo>
                    <a:lnTo>
                      <a:pt x="380" y="1"/>
                    </a:lnTo>
                    <a:lnTo>
                      <a:pt x="387" y="2"/>
                    </a:lnTo>
                    <a:lnTo>
                      <a:pt x="393" y="3"/>
                    </a:lnTo>
                    <a:lnTo>
                      <a:pt x="399" y="6"/>
                    </a:lnTo>
                    <a:lnTo>
                      <a:pt x="405" y="9"/>
                    </a:lnTo>
                    <a:lnTo>
                      <a:pt x="410" y="13"/>
                    </a:lnTo>
                    <a:lnTo>
                      <a:pt x="420" y="21"/>
                    </a:lnTo>
                    <a:lnTo>
                      <a:pt x="429" y="30"/>
                    </a:lnTo>
                    <a:lnTo>
                      <a:pt x="435" y="41"/>
                    </a:lnTo>
                    <a:lnTo>
                      <a:pt x="437" y="48"/>
                    </a:lnTo>
                    <a:lnTo>
                      <a:pt x="439" y="54"/>
                    </a:lnTo>
                    <a:lnTo>
                      <a:pt x="440" y="61"/>
                    </a:lnTo>
                    <a:lnTo>
                      <a:pt x="440" y="67"/>
                    </a:lnTo>
                    <a:lnTo>
                      <a:pt x="440" y="67"/>
                    </a:lnTo>
                    <a:lnTo>
                      <a:pt x="440" y="74"/>
                    </a:lnTo>
                    <a:lnTo>
                      <a:pt x="439" y="80"/>
                    </a:lnTo>
                    <a:lnTo>
                      <a:pt x="437" y="87"/>
                    </a:lnTo>
                    <a:lnTo>
                      <a:pt x="435" y="93"/>
                    </a:lnTo>
                    <a:lnTo>
                      <a:pt x="429" y="104"/>
                    </a:lnTo>
                    <a:lnTo>
                      <a:pt x="420" y="114"/>
                    </a:lnTo>
                    <a:lnTo>
                      <a:pt x="411" y="122"/>
                    </a:lnTo>
                    <a:lnTo>
                      <a:pt x="406" y="127"/>
                    </a:lnTo>
                    <a:lnTo>
                      <a:pt x="400" y="129"/>
                    </a:lnTo>
                    <a:lnTo>
                      <a:pt x="394" y="132"/>
                    </a:lnTo>
                    <a:lnTo>
                      <a:pt x="388" y="133"/>
                    </a:lnTo>
                    <a:lnTo>
                      <a:pt x="381" y="135"/>
                    </a:lnTo>
                    <a:lnTo>
                      <a:pt x="374" y="135"/>
                    </a:lnTo>
                    <a:lnTo>
                      <a:pt x="374" y="135"/>
                    </a:lnTo>
                    <a:lnTo>
                      <a:pt x="332" y="135"/>
                    </a:lnTo>
                    <a:lnTo>
                      <a:pt x="288" y="135"/>
                    </a:lnTo>
                    <a:lnTo>
                      <a:pt x="288" y="135"/>
                    </a:lnTo>
                    <a:lnTo>
                      <a:pt x="288" y="150"/>
                    </a:lnTo>
                    <a:lnTo>
                      <a:pt x="288" y="150"/>
                    </a:lnTo>
                    <a:lnTo>
                      <a:pt x="289" y="227"/>
                    </a:lnTo>
                    <a:lnTo>
                      <a:pt x="288" y="265"/>
                    </a:lnTo>
                    <a:lnTo>
                      <a:pt x="288" y="303"/>
                    </a:lnTo>
                    <a:lnTo>
                      <a:pt x="288" y="303"/>
                    </a:lnTo>
                    <a:lnTo>
                      <a:pt x="286" y="329"/>
                    </a:lnTo>
                    <a:lnTo>
                      <a:pt x="282" y="354"/>
                    </a:lnTo>
                    <a:lnTo>
                      <a:pt x="276" y="379"/>
                    </a:lnTo>
                    <a:lnTo>
                      <a:pt x="268" y="403"/>
                    </a:lnTo>
                    <a:lnTo>
                      <a:pt x="257" y="426"/>
                    </a:lnTo>
                    <a:lnTo>
                      <a:pt x="246" y="448"/>
                    </a:lnTo>
                    <a:lnTo>
                      <a:pt x="233" y="469"/>
                    </a:lnTo>
                    <a:lnTo>
                      <a:pt x="217" y="489"/>
                    </a:lnTo>
                    <a:lnTo>
                      <a:pt x="201" y="508"/>
                    </a:lnTo>
                    <a:lnTo>
                      <a:pt x="182" y="526"/>
                    </a:lnTo>
                    <a:lnTo>
                      <a:pt x="163" y="541"/>
                    </a:lnTo>
                    <a:lnTo>
                      <a:pt x="142" y="557"/>
                    </a:lnTo>
                    <a:lnTo>
                      <a:pt x="121" y="569"/>
                    </a:lnTo>
                    <a:lnTo>
                      <a:pt x="98" y="580"/>
                    </a:lnTo>
                    <a:lnTo>
                      <a:pt x="74" y="589"/>
                    </a:lnTo>
                    <a:lnTo>
                      <a:pt x="49" y="597"/>
                    </a:lnTo>
                    <a:lnTo>
                      <a:pt x="49" y="597"/>
                    </a:lnTo>
                    <a:lnTo>
                      <a:pt x="24" y="602"/>
                    </a:lnTo>
                    <a:lnTo>
                      <a:pt x="0" y="606"/>
                    </a:lnTo>
                    <a:lnTo>
                      <a:pt x="0" y="46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53" name="Freeform 10"/>
              <p:cNvSpPr>
                <a:spLocks/>
              </p:cNvSpPr>
              <p:nvPr/>
            </p:nvSpPr>
            <p:spPr bwMode="auto">
              <a:xfrm>
                <a:off x="41612" y="3278281"/>
                <a:ext cx="165095" cy="227381"/>
              </a:xfrm>
              <a:custGeom>
                <a:avLst/>
                <a:gdLst>
                  <a:gd name="T0" fmla="*/ 440 w 440"/>
                  <a:gd name="T1" fmla="*/ 468 h 606"/>
                  <a:gd name="T2" fmla="*/ 418 w 440"/>
                  <a:gd name="T3" fmla="*/ 464 h 606"/>
                  <a:gd name="T4" fmla="*/ 403 w 440"/>
                  <a:gd name="T5" fmla="*/ 459 h 606"/>
                  <a:gd name="T6" fmla="*/ 377 w 440"/>
                  <a:gd name="T7" fmla="*/ 446 h 606"/>
                  <a:gd name="T8" fmla="*/ 353 w 440"/>
                  <a:gd name="T9" fmla="*/ 429 h 606"/>
                  <a:gd name="T10" fmla="*/ 333 w 440"/>
                  <a:gd name="T11" fmla="*/ 410 h 606"/>
                  <a:gd name="T12" fmla="*/ 315 w 440"/>
                  <a:gd name="T13" fmla="*/ 387 h 606"/>
                  <a:gd name="T14" fmla="*/ 302 w 440"/>
                  <a:gd name="T15" fmla="*/ 362 h 606"/>
                  <a:gd name="T16" fmla="*/ 293 w 440"/>
                  <a:gd name="T17" fmla="*/ 335 h 606"/>
                  <a:gd name="T18" fmla="*/ 287 w 440"/>
                  <a:gd name="T19" fmla="*/ 305 h 606"/>
                  <a:gd name="T20" fmla="*/ 286 w 440"/>
                  <a:gd name="T21" fmla="*/ 291 h 606"/>
                  <a:gd name="T22" fmla="*/ 286 w 440"/>
                  <a:gd name="T23" fmla="*/ 147 h 606"/>
                  <a:gd name="T24" fmla="*/ 286 w 440"/>
                  <a:gd name="T25" fmla="*/ 135 h 606"/>
                  <a:gd name="T26" fmla="*/ 368 w 440"/>
                  <a:gd name="T27" fmla="*/ 135 h 606"/>
                  <a:gd name="T28" fmla="*/ 379 w 440"/>
                  <a:gd name="T29" fmla="*/ 134 h 606"/>
                  <a:gd name="T30" fmla="*/ 396 w 440"/>
                  <a:gd name="T31" fmla="*/ 130 h 606"/>
                  <a:gd name="T32" fmla="*/ 412 w 440"/>
                  <a:gd name="T33" fmla="*/ 120 h 606"/>
                  <a:gd name="T34" fmla="*/ 423 w 440"/>
                  <a:gd name="T35" fmla="*/ 106 h 606"/>
                  <a:gd name="T36" fmla="*/ 428 w 440"/>
                  <a:gd name="T37" fmla="*/ 98 h 606"/>
                  <a:gd name="T38" fmla="*/ 434 w 440"/>
                  <a:gd name="T39" fmla="*/ 80 h 606"/>
                  <a:gd name="T40" fmla="*/ 435 w 440"/>
                  <a:gd name="T41" fmla="*/ 63 h 606"/>
                  <a:gd name="T42" fmla="*/ 432 w 440"/>
                  <a:gd name="T43" fmla="*/ 45 h 606"/>
                  <a:gd name="T44" fmla="*/ 423 w 440"/>
                  <a:gd name="T45" fmla="*/ 29 h 606"/>
                  <a:gd name="T46" fmla="*/ 418 w 440"/>
                  <a:gd name="T47" fmla="*/ 23 h 606"/>
                  <a:gd name="T48" fmla="*/ 406 w 440"/>
                  <a:gd name="T49" fmla="*/ 12 h 606"/>
                  <a:gd name="T50" fmla="*/ 393 w 440"/>
                  <a:gd name="T51" fmla="*/ 4 h 606"/>
                  <a:gd name="T52" fmla="*/ 378 w 440"/>
                  <a:gd name="T53" fmla="*/ 1 h 606"/>
                  <a:gd name="T54" fmla="*/ 369 w 440"/>
                  <a:gd name="T55" fmla="*/ 0 h 606"/>
                  <a:gd name="T56" fmla="*/ 67 w 440"/>
                  <a:gd name="T57" fmla="*/ 0 h 606"/>
                  <a:gd name="T58" fmla="*/ 53 w 440"/>
                  <a:gd name="T59" fmla="*/ 2 h 606"/>
                  <a:gd name="T60" fmla="*/ 41 w 440"/>
                  <a:gd name="T61" fmla="*/ 6 h 606"/>
                  <a:gd name="T62" fmla="*/ 30 w 440"/>
                  <a:gd name="T63" fmla="*/ 13 h 606"/>
                  <a:gd name="T64" fmla="*/ 11 w 440"/>
                  <a:gd name="T65" fmla="*/ 30 h 606"/>
                  <a:gd name="T66" fmla="*/ 3 w 440"/>
                  <a:gd name="T67" fmla="*/ 48 h 606"/>
                  <a:gd name="T68" fmla="*/ 0 w 440"/>
                  <a:gd name="T69" fmla="*/ 61 h 606"/>
                  <a:gd name="T70" fmla="*/ 0 w 440"/>
                  <a:gd name="T71" fmla="*/ 67 h 606"/>
                  <a:gd name="T72" fmla="*/ 1 w 440"/>
                  <a:gd name="T73" fmla="*/ 80 h 606"/>
                  <a:gd name="T74" fmla="*/ 5 w 440"/>
                  <a:gd name="T75" fmla="*/ 93 h 606"/>
                  <a:gd name="T76" fmla="*/ 20 w 440"/>
                  <a:gd name="T77" fmla="*/ 114 h 606"/>
                  <a:gd name="T78" fmla="*/ 34 w 440"/>
                  <a:gd name="T79" fmla="*/ 127 h 606"/>
                  <a:gd name="T80" fmla="*/ 46 w 440"/>
                  <a:gd name="T81" fmla="*/ 132 h 606"/>
                  <a:gd name="T82" fmla="*/ 59 w 440"/>
                  <a:gd name="T83" fmla="*/ 135 h 606"/>
                  <a:gd name="T84" fmla="*/ 66 w 440"/>
                  <a:gd name="T85" fmla="*/ 135 h 606"/>
                  <a:gd name="T86" fmla="*/ 152 w 440"/>
                  <a:gd name="T87" fmla="*/ 135 h 606"/>
                  <a:gd name="T88" fmla="*/ 152 w 440"/>
                  <a:gd name="T89" fmla="*/ 150 h 606"/>
                  <a:gd name="T90" fmla="*/ 151 w 440"/>
                  <a:gd name="T91" fmla="*/ 227 h 606"/>
                  <a:gd name="T92" fmla="*/ 152 w 440"/>
                  <a:gd name="T93" fmla="*/ 303 h 606"/>
                  <a:gd name="T94" fmla="*/ 154 w 440"/>
                  <a:gd name="T95" fmla="*/ 329 h 606"/>
                  <a:gd name="T96" fmla="*/ 164 w 440"/>
                  <a:gd name="T97" fmla="*/ 379 h 606"/>
                  <a:gd name="T98" fmla="*/ 183 w 440"/>
                  <a:gd name="T99" fmla="*/ 426 h 606"/>
                  <a:gd name="T100" fmla="*/ 207 w 440"/>
                  <a:gd name="T101" fmla="*/ 469 h 606"/>
                  <a:gd name="T102" fmla="*/ 239 w 440"/>
                  <a:gd name="T103" fmla="*/ 508 h 606"/>
                  <a:gd name="T104" fmla="*/ 277 w 440"/>
                  <a:gd name="T105" fmla="*/ 541 h 606"/>
                  <a:gd name="T106" fmla="*/ 319 w 440"/>
                  <a:gd name="T107" fmla="*/ 569 h 606"/>
                  <a:gd name="T108" fmla="*/ 366 w 440"/>
                  <a:gd name="T109" fmla="*/ 589 h 606"/>
                  <a:gd name="T110" fmla="*/ 391 w 440"/>
                  <a:gd name="T111" fmla="*/ 597 h 606"/>
                  <a:gd name="T112" fmla="*/ 440 w 440"/>
                  <a:gd name="T113"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606">
                    <a:moveTo>
                      <a:pt x="440" y="468"/>
                    </a:moveTo>
                    <a:lnTo>
                      <a:pt x="440" y="468"/>
                    </a:lnTo>
                    <a:lnTo>
                      <a:pt x="429" y="466"/>
                    </a:lnTo>
                    <a:lnTo>
                      <a:pt x="418" y="464"/>
                    </a:lnTo>
                    <a:lnTo>
                      <a:pt x="418" y="464"/>
                    </a:lnTo>
                    <a:lnTo>
                      <a:pt x="403" y="459"/>
                    </a:lnTo>
                    <a:lnTo>
                      <a:pt x="390" y="453"/>
                    </a:lnTo>
                    <a:lnTo>
                      <a:pt x="377" y="446"/>
                    </a:lnTo>
                    <a:lnTo>
                      <a:pt x="364" y="439"/>
                    </a:lnTo>
                    <a:lnTo>
                      <a:pt x="353" y="429"/>
                    </a:lnTo>
                    <a:lnTo>
                      <a:pt x="342" y="420"/>
                    </a:lnTo>
                    <a:lnTo>
                      <a:pt x="333" y="410"/>
                    </a:lnTo>
                    <a:lnTo>
                      <a:pt x="323" y="399"/>
                    </a:lnTo>
                    <a:lnTo>
                      <a:pt x="315" y="387"/>
                    </a:lnTo>
                    <a:lnTo>
                      <a:pt x="308" y="375"/>
                    </a:lnTo>
                    <a:lnTo>
                      <a:pt x="302" y="362"/>
                    </a:lnTo>
                    <a:lnTo>
                      <a:pt x="297" y="348"/>
                    </a:lnTo>
                    <a:lnTo>
                      <a:pt x="293" y="335"/>
                    </a:lnTo>
                    <a:lnTo>
                      <a:pt x="289" y="321"/>
                    </a:lnTo>
                    <a:lnTo>
                      <a:pt x="287" y="305"/>
                    </a:lnTo>
                    <a:lnTo>
                      <a:pt x="286" y="291"/>
                    </a:lnTo>
                    <a:lnTo>
                      <a:pt x="286" y="291"/>
                    </a:lnTo>
                    <a:lnTo>
                      <a:pt x="286" y="147"/>
                    </a:lnTo>
                    <a:lnTo>
                      <a:pt x="286" y="147"/>
                    </a:lnTo>
                    <a:lnTo>
                      <a:pt x="286" y="135"/>
                    </a:lnTo>
                    <a:lnTo>
                      <a:pt x="286" y="135"/>
                    </a:lnTo>
                    <a:lnTo>
                      <a:pt x="327" y="135"/>
                    </a:lnTo>
                    <a:lnTo>
                      <a:pt x="368" y="135"/>
                    </a:lnTo>
                    <a:lnTo>
                      <a:pt x="368" y="135"/>
                    </a:lnTo>
                    <a:lnTo>
                      <a:pt x="379" y="134"/>
                    </a:lnTo>
                    <a:lnTo>
                      <a:pt x="388" y="132"/>
                    </a:lnTo>
                    <a:lnTo>
                      <a:pt x="396" y="130"/>
                    </a:lnTo>
                    <a:lnTo>
                      <a:pt x="404" y="126"/>
                    </a:lnTo>
                    <a:lnTo>
                      <a:pt x="412" y="120"/>
                    </a:lnTo>
                    <a:lnTo>
                      <a:pt x="418" y="113"/>
                    </a:lnTo>
                    <a:lnTo>
                      <a:pt x="423" y="106"/>
                    </a:lnTo>
                    <a:lnTo>
                      <a:pt x="428" y="98"/>
                    </a:lnTo>
                    <a:lnTo>
                      <a:pt x="428" y="98"/>
                    </a:lnTo>
                    <a:lnTo>
                      <a:pt x="432" y="90"/>
                    </a:lnTo>
                    <a:lnTo>
                      <a:pt x="434" y="80"/>
                    </a:lnTo>
                    <a:lnTo>
                      <a:pt x="435" y="71"/>
                    </a:lnTo>
                    <a:lnTo>
                      <a:pt x="435" y="63"/>
                    </a:lnTo>
                    <a:lnTo>
                      <a:pt x="434" y="55"/>
                    </a:lnTo>
                    <a:lnTo>
                      <a:pt x="432" y="45"/>
                    </a:lnTo>
                    <a:lnTo>
                      <a:pt x="428" y="37"/>
                    </a:lnTo>
                    <a:lnTo>
                      <a:pt x="423" y="29"/>
                    </a:lnTo>
                    <a:lnTo>
                      <a:pt x="423" y="29"/>
                    </a:lnTo>
                    <a:lnTo>
                      <a:pt x="418" y="23"/>
                    </a:lnTo>
                    <a:lnTo>
                      <a:pt x="413" y="17"/>
                    </a:lnTo>
                    <a:lnTo>
                      <a:pt x="406" y="12"/>
                    </a:lnTo>
                    <a:lnTo>
                      <a:pt x="400" y="9"/>
                    </a:lnTo>
                    <a:lnTo>
                      <a:pt x="393" y="4"/>
                    </a:lnTo>
                    <a:lnTo>
                      <a:pt x="386" y="2"/>
                    </a:lnTo>
                    <a:lnTo>
                      <a:pt x="378" y="1"/>
                    </a:lnTo>
                    <a:lnTo>
                      <a:pt x="369" y="0"/>
                    </a:lnTo>
                    <a:lnTo>
                      <a:pt x="369" y="0"/>
                    </a:lnTo>
                    <a:lnTo>
                      <a:pt x="67" y="0"/>
                    </a:lnTo>
                    <a:lnTo>
                      <a:pt x="67" y="0"/>
                    </a:lnTo>
                    <a:lnTo>
                      <a:pt x="60" y="1"/>
                    </a:lnTo>
                    <a:lnTo>
                      <a:pt x="53" y="2"/>
                    </a:lnTo>
                    <a:lnTo>
                      <a:pt x="47" y="3"/>
                    </a:lnTo>
                    <a:lnTo>
                      <a:pt x="41" y="6"/>
                    </a:lnTo>
                    <a:lnTo>
                      <a:pt x="35" y="9"/>
                    </a:lnTo>
                    <a:lnTo>
                      <a:pt x="30" y="13"/>
                    </a:lnTo>
                    <a:lnTo>
                      <a:pt x="20" y="21"/>
                    </a:lnTo>
                    <a:lnTo>
                      <a:pt x="11" y="30"/>
                    </a:lnTo>
                    <a:lnTo>
                      <a:pt x="5" y="41"/>
                    </a:lnTo>
                    <a:lnTo>
                      <a:pt x="3" y="48"/>
                    </a:lnTo>
                    <a:lnTo>
                      <a:pt x="1" y="54"/>
                    </a:lnTo>
                    <a:lnTo>
                      <a:pt x="0" y="61"/>
                    </a:lnTo>
                    <a:lnTo>
                      <a:pt x="0" y="67"/>
                    </a:lnTo>
                    <a:lnTo>
                      <a:pt x="0" y="67"/>
                    </a:lnTo>
                    <a:lnTo>
                      <a:pt x="0" y="74"/>
                    </a:lnTo>
                    <a:lnTo>
                      <a:pt x="1" y="80"/>
                    </a:lnTo>
                    <a:lnTo>
                      <a:pt x="3" y="87"/>
                    </a:lnTo>
                    <a:lnTo>
                      <a:pt x="5" y="93"/>
                    </a:lnTo>
                    <a:lnTo>
                      <a:pt x="11" y="104"/>
                    </a:lnTo>
                    <a:lnTo>
                      <a:pt x="20" y="114"/>
                    </a:lnTo>
                    <a:lnTo>
                      <a:pt x="29" y="122"/>
                    </a:lnTo>
                    <a:lnTo>
                      <a:pt x="34" y="127"/>
                    </a:lnTo>
                    <a:lnTo>
                      <a:pt x="40" y="129"/>
                    </a:lnTo>
                    <a:lnTo>
                      <a:pt x="46" y="132"/>
                    </a:lnTo>
                    <a:lnTo>
                      <a:pt x="52" y="133"/>
                    </a:lnTo>
                    <a:lnTo>
                      <a:pt x="59" y="135"/>
                    </a:lnTo>
                    <a:lnTo>
                      <a:pt x="66" y="135"/>
                    </a:lnTo>
                    <a:lnTo>
                      <a:pt x="66" y="135"/>
                    </a:lnTo>
                    <a:lnTo>
                      <a:pt x="108" y="135"/>
                    </a:lnTo>
                    <a:lnTo>
                      <a:pt x="152" y="135"/>
                    </a:lnTo>
                    <a:lnTo>
                      <a:pt x="152" y="135"/>
                    </a:lnTo>
                    <a:lnTo>
                      <a:pt x="152" y="150"/>
                    </a:lnTo>
                    <a:lnTo>
                      <a:pt x="152" y="150"/>
                    </a:lnTo>
                    <a:lnTo>
                      <a:pt x="151" y="227"/>
                    </a:lnTo>
                    <a:lnTo>
                      <a:pt x="152" y="265"/>
                    </a:lnTo>
                    <a:lnTo>
                      <a:pt x="152" y="303"/>
                    </a:lnTo>
                    <a:lnTo>
                      <a:pt x="152" y="303"/>
                    </a:lnTo>
                    <a:lnTo>
                      <a:pt x="154" y="329"/>
                    </a:lnTo>
                    <a:lnTo>
                      <a:pt x="158" y="354"/>
                    </a:lnTo>
                    <a:lnTo>
                      <a:pt x="164" y="379"/>
                    </a:lnTo>
                    <a:lnTo>
                      <a:pt x="172" y="403"/>
                    </a:lnTo>
                    <a:lnTo>
                      <a:pt x="183" y="426"/>
                    </a:lnTo>
                    <a:lnTo>
                      <a:pt x="194" y="448"/>
                    </a:lnTo>
                    <a:lnTo>
                      <a:pt x="207" y="469"/>
                    </a:lnTo>
                    <a:lnTo>
                      <a:pt x="223" y="489"/>
                    </a:lnTo>
                    <a:lnTo>
                      <a:pt x="239" y="508"/>
                    </a:lnTo>
                    <a:lnTo>
                      <a:pt x="258" y="526"/>
                    </a:lnTo>
                    <a:lnTo>
                      <a:pt x="277" y="541"/>
                    </a:lnTo>
                    <a:lnTo>
                      <a:pt x="298" y="557"/>
                    </a:lnTo>
                    <a:lnTo>
                      <a:pt x="319" y="569"/>
                    </a:lnTo>
                    <a:lnTo>
                      <a:pt x="342" y="580"/>
                    </a:lnTo>
                    <a:lnTo>
                      <a:pt x="366" y="589"/>
                    </a:lnTo>
                    <a:lnTo>
                      <a:pt x="391" y="597"/>
                    </a:lnTo>
                    <a:lnTo>
                      <a:pt x="391" y="597"/>
                    </a:lnTo>
                    <a:lnTo>
                      <a:pt x="416" y="602"/>
                    </a:lnTo>
                    <a:lnTo>
                      <a:pt x="440" y="606"/>
                    </a:lnTo>
                    <a:lnTo>
                      <a:pt x="440" y="46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54" name="Freeform 12"/>
              <p:cNvSpPr>
                <a:spLocks/>
              </p:cNvSpPr>
              <p:nvPr/>
            </p:nvSpPr>
            <p:spPr bwMode="auto">
              <a:xfrm>
                <a:off x="285128" y="3561945"/>
                <a:ext cx="271282" cy="67164"/>
              </a:xfrm>
              <a:custGeom>
                <a:avLst/>
                <a:gdLst>
                  <a:gd name="T0" fmla="*/ 453 w 723"/>
                  <a:gd name="T1" fmla="*/ 179 h 179"/>
                  <a:gd name="T2" fmla="*/ 473 w 723"/>
                  <a:gd name="T3" fmla="*/ 179 h 179"/>
                  <a:gd name="T4" fmla="*/ 664 w 723"/>
                  <a:gd name="T5" fmla="*/ 179 h 179"/>
                  <a:gd name="T6" fmla="*/ 677 w 723"/>
                  <a:gd name="T7" fmla="*/ 177 h 179"/>
                  <a:gd name="T8" fmla="*/ 688 w 723"/>
                  <a:gd name="T9" fmla="*/ 174 h 179"/>
                  <a:gd name="T10" fmla="*/ 699 w 723"/>
                  <a:gd name="T11" fmla="*/ 168 h 179"/>
                  <a:gd name="T12" fmla="*/ 707 w 723"/>
                  <a:gd name="T13" fmla="*/ 160 h 179"/>
                  <a:gd name="T14" fmla="*/ 714 w 723"/>
                  <a:gd name="T15" fmla="*/ 150 h 179"/>
                  <a:gd name="T16" fmla="*/ 722 w 723"/>
                  <a:gd name="T17" fmla="*/ 123 h 179"/>
                  <a:gd name="T18" fmla="*/ 723 w 723"/>
                  <a:gd name="T19" fmla="*/ 107 h 179"/>
                  <a:gd name="T20" fmla="*/ 723 w 723"/>
                  <a:gd name="T21" fmla="*/ 68 h 179"/>
                  <a:gd name="T22" fmla="*/ 722 w 723"/>
                  <a:gd name="T23" fmla="*/ 54 h 179"/>
                  <a:gd name="T24" fmla="*/ 713 w 723"/>
                  <a:gd name="T25" fmla="*/ 28 h 179"/>
                  <a:gd name="T26" fmla="*/ 699 w 723"/>
                  <a:gd name="T27" fmla="*/ 11 h 179"/>
                  <a:gd name="T28" fmla="*/ 688 w 723"/>
                  <a:gd name="T29" fmla="*/ 5 h 179"/>
                  <a:gd name="T30" fmla="*/ 678 w 723"/>
                  <a:gd name="T31" fmla="*/ 1 h 179"/>
                  <a:gd name="T32" fmla="*/ 666 w 723"/>
                  <a:gd name="T33" fmla="*/ 0 h 179"/>
                  <a:gd name="T34" fmla="*/ 56 w 723"/>
                  <a:gd name="T35" fmla="*/ 0 h 179"/>
                  <a:gd name="T36" fmla="*/ 50 w 723"/>
                  <a:gd name="T37" fmla="*/ 0 h 179"/>
                  <a:gd name="T38" fmla="*/ 39 w 723"/>
                  <a:gd name="T39" fmla="*/ 3 h 179"/>
                  <a:gd name="T40" fmla="*/ 28 w 723"/>
                  <a:gd name="T41" fmla="*/ 8 h 179"/>
                  <a:gd name="T42" fmla="*/ 16 w 723"/>
                  <a:gd name="T43" fmla="*/ 19 h 179"/>
                  <a:gd name="T44" fmla="*/ 4 w 723"/>
                  <a:gd name="T45" fmla="*/ 41 h 179"/>
                  <a:gd name="T46" fmla="*/ 0 w 723"/>
                  <a:gd name="T47" fmla="*/ 68 h 179"/>
                  <a:gd name="T48" fmla="*/ 0 w 723"/>
                  <a:gd name="T49" fmla="*/ 103 h 179"/>
                  <a:gd name="T50" fmla="*/ 1 w 723"/>
                  <a:gd name="T51" fmla="*/ 121 h 179"/>
                  <a:gd name="T52" fmla="*/ 6 w 723"/>
                  <a:gd name="T53" fmla="*/ 142 h 179"/>
                  <a:gd name="T54" fmla="*/ 12 w 723"/>
                  <a:gd name="T55" fmla="*/ 155 h 179"/>
                  <a:gd name="T56" fmla="*/ 20 w 723"/>
                  <a:gd name="T57" fmla="*/ 164 h 179"/>
                  <a:gd name="T58" fmla="*/ 29 w 723"/>
                  <a:gd name="T59" fmla="*/ 171 h 179"/>
                  <a:gd name="T60" fmla="*/ 42 w 723"/>
                  <a:gd name="T61" fmla="*/ 176 h 179"/>
                  <a:gd name="T62" fmla="*/ 55 w 723"/>
                  <a:gd name="T63" fmla="*/ 178 h 179"/>
                  <a:gd name="T64" fmla="*/ 62 w 723"/>
                  <a:gd name="T65" fmla="*/ 179 h 179"/>
                  <a:gd name="T66" fmla="*/ 252 w 723"/>
                  <a:gd name="T67" fmla="*/ 179 h 179"/>
                  <a:gd name="T68" fmla="*/ 453 w 723"/>
                  <a:gd name="T6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179">
                    <a:moveTo>
                      <a:pt x="453" y="179"/>
                    </a:moveTo>
                    <a:lnTo>
                      <a:pt x="453" y="179"/>
                    </a:lnTo>
                    <a:lnTo>
                      <a:pt x="473" y="179"/>
                    </a:lnTo>
                    <a:lnTo>
                      <a:pt x="473" y="179"/>
                    </a:lnTo>
                    <a:lnTo>
                      <a:pt x="664" y="179"/>
                    </a:lnTo>
                    <a:lnTo>
                      <a:pt x="664" y="179"/>
                    </a:lnTo>
                    <a:lnTo>
                      <a:pt x="670" y="178"/>
                    </a:lnTo>
                    <a:lnTo>
                      <a:pt x="677" y="177"/>
                    </a:lnTo>
                    <a:lnTo>
                      <a:pt x="682" y="176"/>
                    </a:lnTo>
                    <a:lnTo>
                      <a:pt x="688" y="174"/>
                    </a:lnTo>
                    <a:lnTo>
                      <a:pt x="693" y="171"/>
                    </a:lnTo>
                    <a:lnTo>
                      <a:pt x="699" y="168"/>
                    </a:lnTo>
                    <a:lnTo>
                      <a:pt x="703" y="164"/>
                    </a:lnTo>
                    <a:lnTo>
                      <a:pt x="707" y="160"/>
                    </a:lnTo>
                    <a:lnTo>
                      <a:pt x="711" y="155"/>
                    </a:lnTo>
                    <a:lnTo>
                      <a:pt x="714" y="150"/>
                    </a:lnTo>
                    <a:lnTo>
                      <a:pt x="719" y="137"/>
                    </a:lnTo>
                    <a:lnTo>
                      <a:pt x="722" y="123"/>
                    </a:lnTo>
                    <a:lnTo>
                      <a:pt x="723" y="107"/>
                    </a:lnTo>
                    <a:lnTo>
                      <a:pt x="723" y="107"/>
                    </a:lnTo>
                    <a:lnTo>
                      <a:pt x="723" y="88"/>
                    </a:lnTo>
                    <a:lnTo>
                      <a:pt x="723" y="68"/>
                    </a:lnTo>
                    <a:lnTo>
                      <a:pt x="723" y="68"/>
                    </a:lnTo>
                    <a:lnTo>
                      <a:pt x="722" y="54"/>
                    </a:lnTo>
                    <a:lnTo>
                      <a:pt x="718" y="41"/>
                    </a:lnTo>
                    <a:lnTo>
                      <a:pt x="713" y="28"/>
                    </a:lnTo>
                    <a:lnTo>
                      <a:pt x="707" y="19"/>
                    </a:lnTo>
                    <a:lnTo>
                      <a:pt x="699" y="11"/>
                    </a:lnTo>
                    <a:lnTo>
                      <a:pt x="693" y="8"/>
                    </a:lnTo>
                    <a:lnTo>
                      <a:pt x="688" y="5"/>
                    </a:lnTo>
                    <a:lnTo>
                      <a:pt x="683" y="3"/>
                    </a:lnTo>
                    <a:lnTo>
                      <a:pt x="678" y="1"/>
                    </a:lnTo>
                    <a:lnTo>
                      <a:pt x="672" y="0"/>
                    </a:lnTo>
                    <a:lnTo>
                      <a:pt x="666" y="0"/>
                    </a:lnTo>
                    <a:lnTo>
                      <a:pt x="666" y="0"/>
                    </a:lnTo>
                    <a:lnTo>
                      <a:pt x="56" y="0"/>
                    </a:lnTo>
                    <a:lnTo>
                      <a:pt x="56" y="0"/>
                    </a:lnTo>
                    <a:lnTo>
                      <a:pt x="50" y="0"/>
                    </a:lnTo>
                    <a:lnTo>
                      <a:pt x="45" y="1"/>
                    </a:lnTo>
                    <a:lnTo>
                      <a:pt x="39" y="3"/>
                    </a:lnTo>
                    <a:lnTo>
                      <a:pt x="34" y="5"/>
                    </a:lnTo>
                    <a:lnTo>
                      <a:pt x="28" y="8"/>
                    </a:lnTo>
                    <a:lnTo>
                      <a:pt x="24" y="11"/>
                    </a:lnTo>
                    <a:lnTo>
                      <a:pt x="16" y="19"/>
                    </a:lnTo>
                    <a:lnTo>
                      <a:pt x="9" y="28"/>
                    </a:lnTo>
                    <a:lnTo>
                      <a:pt x="4" y="41"/>
                    </a:lnTo>
                    <a:lnTo>
                      <a:pt x="1" y="54"/>
                    </a:lnTo>
                    <a:lnTo>
                      <a:pt x="0" y="68"/>
                    </a:lnTo>
                    <a:lnTo>
                      <a:pt x="0" y="68"/>
                    </a:lnTo>
                    <a:lnTo>
                      <a:pt x="0" y="103"/>
                    </a:lnTo>
                    <a:lnTo>
                      <a:pt x="0" y="103"/>
                    </a:lnTo>
                    <a:lnTo>
                      <a:pt x="1" y="121"/>
                    </a:lnTo>
                    <a:lnTo>
                      <a:pt x="4" y="135"/>
                    </a:lnTo>
                    <a:lnTo>
                      <a:pt x="6" y="142"/>
                    </a:lnTo>
                    <a:lnTo>
                      <a:pt x="9" y="149"/>
                    </a:lnTo>
                    <a:lnTo>
                      <a:pt x="12" y="155"/>
                    </a:lnTo>
                    <a:lnTo>
                      <a:pt x="16" y="160"/>
                    </a:lnTo>
                    <a:lnTo>
                      <a:pt x="20" y="164"/>
                    </a:lnTo>
                    <a:lnTo>
                      <a:pt x="24" y="168"/>
                    </a:lnTo>
                    <a:lnTo>
                      <a:pt x="29" y="171"/>
                    </a:lnTo>
                    <a:lnTo>
                      <a:pt x="36" y="174"/>
                    </a:lnTo>
                    <a:lnTo>
                      <a:pt x="42" y="176"/>
                    </a:lnTo>
                    <a:lnTo>
                      <a:pt x="48" y="178"/>
                    </a:lnTo>
                    <a:lnTo>
                      <a:pt x="55" y="178"/>
                    </a:lnTo>
                    <a:lnTo>
                      <a:pt x="62" y="179"/>
                    </a:lnTo>
                    <a:lnTo>
                      <a:pt x="62" y="179"/>
                    </a:lnTo>
                    <a:lnTo>
                      <a:pt x="252" y="179"/>
                    </a:lnTo>
                    <a:lnTo>
                      <a:pt x="252" y="179"/>
                    </a:lnTo>
                    <a:lnTo>
                      <a:pt x="270" y="179"/>
                    </a:lnTo>
                    <a:lnTo>
                      <a:pt x="453" y="179"/>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55" name="Freeform 14"/>
              <p:cNvSpPr>
                <a:spLocks/>
              </p:cNvSpPr>
              <p:nvPr/>
            </p:nvSpPr>
            <p:spPr bwMode="auto">
              <a:xfrm>
                <a:off x="194325" y="3428742"/>
                <a:ext cx="452511" cy="110314"/>
              </a:xfrm>
              <a:custGeom>
                <a:avLst/>
                <a:gdLst>
                  <a:gd name="T0" fmla="*/ 603 w 1206"/>
                  <a:gd name="T1" fmla="*/ 294 h 294"/>
                  <a:gd name="T2" fmla="*/ 114 w 1206"/>
                  <a:gd name="T3" fmla="*/ 294 h 294"/>
                  <a:gd name="T4" fmla="*/ 89 w 1206"/>
                  <a:gd name="T5" fmla="*/ 292 h 294"/>
                  <a:gd name="T6" fmla="*/ 66 w 1206"/>
                  <a:gd name="T7" fmla="*/ 285 h 294"/>
                  <a:gd name="T8" fmla="*/ 47 w 1206"/>
                  <a:gd name="T9" fmla="*/ 273 h 294"/>
                  <a:gd name="T10" fmla="*/ 30 w 1206"/>
                  <a:gd name="T11" fmla="*/ 255 h 294"/>
                  <a:gd name="T12" fmla="*/ 17 w 1206"/>
                  <a:gd name="T13" fmla="*/ 235 h 294"/>
                  <a:gd name="T14" fmla="*/ 8 w 1206"/>
                  <a:gd name="T15" fmla="*/ 210 h 294"/>
                  <a:gd name="T16" fmla="*/ 1 w 1206"/>
                  <a:gd name="T17" fmla="*/ 181 h 294"/>
                  <a:gd name="T18" fmla="*/ 0 w 1206"/>
                  <a:gd name="T19" fmla="*/ 148 h 294"/>
                  <a:gd name="T20" fmla="*/ 0 w 1206"/>
                  <a:gd name="T21" fmla="*/ 109 h 294"/>
                  <a:gd name="T22" fmla="*/ 3 w 1206"/>
                  <a:gd name="T23" fmla="*/ 71 h 294"/>
                  <a:gd name="T24" fmla="*/ 5 w 1206"/>
                  <a:gd name="T25" fmla="*/ 61 h 294"/>
                  <a:gd name="T26" fmla="*/ 10 w 1206"/>
                  <a:gd name="T27" fmla="*/ 45 h 294"/>
                  <a:gd name="T28" fmla="*/ 17 w 1206"/>
                  <a:gd name="T29" fmla="*/ 30 h 294"/>
                  <a:gd name="T30" fmla="*/ 26 w 1206"/>
                  <a:gd name="T31" fmla="*/ 18 h 294"/>
                  <a:gd name="T32" fmla="*/ 37 w 1206"/>
                  <a:gd name="T33" fmla="*/ 9 h 294"/>
                  <a:gd name="T34" fmla="*/ 50 w 1206"/>
                  <a:gd name="T35" fmla="*/ 3 h 294"/>
                  <a:gd name="T36" fmla="*/ 63 w 1206"/>
                  <a:gd name="T37" fmla="*/ 1 h 294"/>
                  <a:gd name="T38" fmla="*/ 78 w 1206"/>
                  <a:gd name="T39" fmla="*/ 1 h 294"/>
                  <a:gd name="T40" fmla="*/ 86 w 1206"/>
                  <a:gd name="T41" fmla="*/ 3 h 294"/>
                  <a:gd name="T42" fmla="*/ 174 w 1206"/>
                  <a:gd name="T43" fmla="*/ 27 h 294"/>
                  <a:gd name="T44" fmla="*/ 240 w 1206"/>
                  <a:gd name="T45" fmla="*/ 44 h 294"/>
                  <a:gd name="T46" fmla="*/ 262 w 1206"/>
                  <a:gd name="T47" fmla="*/ 47 h 294"/>
                  <a:gd name="T48" fmla="*/ 395 w 1206"/>
                  <a:gd name="T49" fmla="*/ 63 h 294"/>
                  <a:gd name="T50" fmla="*/ 494 w 1206"/>
                  <a:gd name="T51" fmla="*/ 71 h 294"/>
                  <a:gd name="T52" fmla="*/ 527 w 1206"/>
                  <a:gd name="T53" fmla="*/ 72 h 294"/>
                  <a:gd name="T54" fmla="*/ 672 w 1206"/>
                  <a:gd name="T55" fmla="*/ 72 h 294"/>
                  <a:gd name="T56" fmla="*/ 815 w 1206"/>
                  <a:gd name="T57" fmla="*/ 64 h 294"/>
                  <a:gd name="T58" fmla="*/ 853 w 1206"/>
                  <a:gd name="T59" fmla="*/ 61 h 294"/>
                  <a:gd name="T60" fmla="*/ 927 w 1206"/>
                  <a:gd name="T61" fmla="*/ 52 h 294"/>
                  <a:gd name="T62" fmla="*/ 1001 w 1206"/>
                  <a:gd name="T63" fmla="*/ 38 h 294"/>
                  <a:gd name="T64" fmla="*/ 1074 w 1206"/>
                  <a:gd name="T65" fmla="*/ 18 h 294"/>
                  <a:gd name="T66" fmla="*/ 1111 w 1206"/>
                  <a:gd name="T67" fmla="*/ 5 h 294"/>
                  <a:gd name="T68" fmla="*/ 1128 w 1206"/>
                  <a:gd name="T69" fmla="*/ 1 h 294"/>
                  <a:gd name="T70" fmla="*/ 1145 w 1206"/>
                  <a:gd name="T71" fmla="*/ 1 h 294"/>
                  <a:gd name="T72" fmla="*/ 1160 w 1206"/>
                  <a:gd name="T73" fmla="*/ 5 h 294"/>
                  <a:gd name="T74" fmla="*/ 1174 w 1206"/>
                  <a:gd name="T75" fmla="*/ 12 h 294"/>
                  <a:gd name="T76" fmla="*/ 1185 w 1206"/>
                  <a:gd name="T77" fmla="*/ 24 h 294"/>
                  <a:gd name="T78" fmla="*/ 1194 w 1206"/>
                  <a:gd name="T79" fmla="*/ 40 h 294"/>
                  <a:gd name="T80" fmla="*/ 1200 w 1206"/>
                  <a:gd name="T81" fmla="*/ 59 h 294"/>
                  <a:gd name="T82" fmla="*/ 1204 w 1206"/>
                  <a:gd name="T83" fmla="*/ 81 h 294"/>
                  <a:gd name="T84" fmla="*/ 1206 w 1206"/>
                  <a:gd name="T85" fmla="*/ 105 h 294"/>
                  <a:gd name="T86" fmla="*/ 1206 w 1206"/>
                  <a:gd name="T87" fmla="*/ 155 h 294"/>
                  <a:gd name="T88" fmla="*/ 1204 w 1206"/>
                  <a:gd name="T89" fmla="*/ 179 h 294"/>
                  <a:gd name="T90" fmla="*/ 1199 w 1206"/>
                  <a:gd name="T91" fmla="*/ 205 h 294"/>
                  <a:gd name="T92" fmla="*/ 1192 w 1206"/>
                  <a:gd name="T93" fmla="*/ 227 h 294"/>
                  <a:gd name="T94" fmla="*/ 1182 w 1206"/>
                  <a:gd name="T95" fmla="*/ 247 h 294"/>
                  <a:gd name="T96" fmla="*/ 1168 w 1206"/>
                  <a:gd name="T97" fmla="*/ 263 h 294"/>
                  <a:gd name="T98" fmla="*/ 1154 w 1206"/>
                  <a:gd name="T99" fmla="*/ 277 h 294"/>
                  <a:gd name="T100" fmla="*/ 1137 w 1206"/>
                  <a:gd name="T101" fmla="*/ 286 h 294"/>
                  <a:gd name="T102" fmla="*/ 1117 w 1206"/>
                  <a:gd name="T103" fmla="*/ 292 h 294"/>
                  <a:gd name="T104" fmla="*/ 1097 w 1206"/>
                  <a:gd name="T105" fmla="*/ 294 h 294"/>
                  <a:gd name="T106" fmla="*/ 603 w 1206"/>
                  <a:gd name="T10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6" h="294">
                    <a:moveTo>
                      <a:pt x="603" y="294"/>
                    </a:moveTo>
                    <a:lnTo>
                      <a:pt x="603" y="294"/>
                    </a:lnTo>
                    <a:lnTo>
                      <a:pt x="114" y="294"/>
                    </a:lnTo>
                    <a:lnTo>
                      <a:pt x="114" y="294"/>
                    </a:lnTo>
                    <a:lnTo>
                      <a:pt x="101" y="294"/>
                    </a:lnTo>
                    <a:lnTo>
                      <a:pt x="89" y="292"/>
                    </a:lnTo>
                    <a:lnTo>
                      <a:pt x="77" y="289"/>
                    </a:lnTo>
                    <a:lnTo>
                      <a:pt x="66" y="285"/>
                    </a:lnTo>
                    <a:lnTo>
                      <a:pt x="56" y="279"/>
                    </a:lnTo>
                    <a:lnTo>
                      <a:pt x="47" y="273"/>
                    </a:lnTo>
                    <a:lnTo>
                      <a:pt x="38" y="264"/>
                    </a:lnTo>
                    <a:lnTo>
                      <a:pt x="30" y="255"/>
                    </a:lnTo>
                    <a:lnTo>
                      <a:pt x="23" y="246"/>
                    </a:lnTo>
                    <a:lnTo>
                      <a:pt x="17" y="235"/>
                    </a:lnTo>
                    <a:lnTo>
                      <a:pt x="12" y="222"/>
                    </a:lnTo>
                    <a:lnTo>
                      <a:pt x="8" y="210"/>
                    </a:lnTo>
                    <a:lnTo>
                      <a:pt x="5" y="196"/>
                    </a:lnTo>
                    <a:lnTo>
                      <a:pt x="1" y="181"/>
                    </a:lnTo>
                    <a:lnTo>
                      <a:pt x="0" y="165"/>
                    </a:lnTo>
                    <a:lnTo>
                      <a:pt x="0" y="148"/>
                    </a:lnTo>
                    <a:lnTo>
                      <a:pt x="0" y="148"/>
                    </a:lnTo>
                    <a:lnTo>
                      <a:pt x="0" y="109"/>
                    </a:lnTo>
                    <a:lnTo>
                      <a:pt x="1" y="90"/>
                    </a:lnTo>
                    <a:lnTo>
                      <a:pt x="3" y="71"/>
                    </a:lnTo>
                    <a:lnTo>
                      <a:pt x="3" y="71"/>
                    </a:lnTo>
                    <a:lnTo>
                      <a:pt x="5" y="61"/>
                    </a:lnTo>
                    <a:lnTo>
                      <a:pt x="7" y="53"/>
                    </a:lnTo>
                    <a:lnTo>
                      <a:pt x="10" y="45"/>
                    </a:lnTo>
                    <a:lnTo>
                      <a:pt x="13" y="38"/>
                    </a:lnTo>
                    <a:lnTo>
                      <a:pt x="17" y="30"/>
                    </a:lnTo>
                    <a:lnTo>
                      <a:pt x="22" y="24"/>
                    </a:lnTo>
                    <a:lnTo>
                      <a:pt x="26" y="18"/>
                    </a:lnTo>
                    <a:lnTo>
                      <a:pt x="31" y="13"/>
                    </a:lnTo>
                    <a:lnTo>
                      <a:pt x="37" y="9"/>
                    </a:lnTo>
                    <a:lnTo>
                      <a:pt x="44" y="6"/>
                    </a:lnTo>
                    <a:lnTo>
                      <a:pt x="50" y="3"/>
                    </a:lnTo>
                    <a:lnTo>
                      <a:pt x="57" y="2"/>
                    </a:lnTo>
                    <a:lnTo>
                      <a:pt x="63" y="1"/>
                    </a:lnTo>
                    <a:lnTo>
                      <a:pt x="70" y="0"/>
                    </a:lnTo>
                    <a:lnTo>
                      <a:pt x="78" y="1"/>
                    </a:lnTo>
                    <a:lnTo>
                      <a:pt x="86" y="3"/>
                    </a:lnTo>
                    <a:lnTo>
                      <a:pt x="86" y="3"/>
                    </a:lnTo>
                    <a:lnTo>
                      <a:pt x="130" y="15"/>
                    </a:lnTo>
                    <a:lnTo>
                      <a:pt x="174" y="27"/>
                    </a:lnTo>
                    <a:lnTo>
                      <a:pt x="218" y="39"/>
                    </a:lnTo>
                    <a:lnTo>
                      <a:pt x="240" y="44"/>
                    </a:lnTo>
                    <a:lnTo>
                      <a:pt x="262" y="47"/>
                    </a:lnTo>
                    <a:lnTo>
                      <a:pt x="262" y="47"/>
                    </a:lnTo>
                    <a:lnTo>
                      <a:pt x="328" y="56"/>
                    </a:lnTo>
                    <a:lnTo>
                      <a:pt x="395" y="63"/>
                    </a:lnTo>
                    <a:lnTo>
                      <a:pt x="460" y="69"/>
                    </a:lnTo>
                    <a:lnTo>
                      <a:pt x="494" y="71"/>
                    </a:lnTo>
                    <a:lnTo>
                      <a:pt x="527" y="72"/>
                    </a:lnTo>
                    <a:lnTo>
                      <a:pt x="527" y="72"/>
                    </a:lnTo>
                    <a:lnTo>
                      <a:pt x="599" y="73"/>
                    </a:lnTo>
                    <a:lnTo>
                      <a:pt x="672" y="72"/>
                    </a:lnTo>
                    <a:lnTo>
                      <a:pt x="744" y="69"/>
                    </a:lnTo>
                    <a:lnTo>
                      <a:pt x="815" y="64"/>
                    </a:lnTo>
                    <a:lnTo>
                      <a:pt x="815" y="64"/>
                    </a:lnTo>
                    <a:lnTo>
                      <a:pt x="853" y="61"/>
                    </a:lnTo>
                    <a:lnTo>
                      <a:pt x="890" y="57"/>
                    </a:lnTo>
                    <a:lnTo>
                      <a:pt x="927" y="52"/>
                    </a:lnTo>
                    <a:lnTo>
                      <a:pt x="964" y="46"/>
                    </a:lnTo>
                    <a:lnTo>
                      <a:pt x="1001" y="38"/>
                    </a:lnTo>
                    <a:lnTo>
                      <a:pt x="1038" y="28"/>
                    </a:lnTo>
                    <a:lnTo>
                      <a:pt x="1074" y="18"/>
                    </a:lnTo>
                    <a:lnTo>
                      <a:pt x="1111" y="5"/>
                    </a:lnTo>
                    <a:lnTo>
                      <a:pt x="1111" y="5"/>
                    </a:lnTo>
                    <a:lnTo>
                      <a:pt x="1120" y="3"/>
                    </a:lnTo>
                    <a:lnTo>
                      <a:pt x="1128" y="1"/>
                    </a:lnTo>
                    <a:lnTo>
                      <a:pt x="1137" y="0"/>
                    </a:lnTo>
                    <a:lnTo>
                      <a:pt x="1145" y="1"/>
                    </a:lnTo>
                    <a:lnTo>
                      <a:pt x="1153" y="2"/>
                    </a:lnTo>
                    <a:lnTo>
                      <a:pt x="1160" y="5"/>
                    </a:lnTo>
                    <a:lnTo>
                      <a:pt x="1167" y="8"/>
                    </a:lnTo>
                    <a:lnTo>
                      <a:pt x="1174" y="12"/>
                    </a:lnTo>
                    <a:lnTo>
                      <a:pt x="1180" y="18"/>
                    </a:lnTo>
                    <a:lnTo>
                      <a:pt x="1185" y="24"/>
                    </a:lnTo>
                    <a:lnTo>
                      <a:pt x="1190" y="31"/>
                    </a:lnTo>
                    <a:lnTo>
                      <a:pt x="1194" y="40"/>
                    </a:lnTo>
                    <a:lnTo>
                      <a:pt x="1197" y="49"/>
                    </a:lnTo>
                    <a:lnTo>
                      <a:pt x="1200" y="59"/>
                    </a:lnTo>
                    <a:lnTo>
                      <a:pt x="1202" y="69"/>
                    </a:lnTo>
                    <a:lnTo>
                      <a:pt x="1204" y="81"/>
                    </a:lnTo>
                    <a:lnTo>
                      <a:pt x="1204" y="81"/>
                    </a:lnTo>
                    <a:lnTo>
                      <a:pt x="1206" y="105"/>
                    </a:lnTo>
                    <a:lnTo>
                      <a:pt x="1206" y="130"/>
                    </a:lnTo>
                    <a:lnTo>
                      <a:pt x="1206" y="155"/>
                    </a:lnTo>
                    <a:lnTo>
                      <a:pt x="1204" y="179"/>
                    </a:lnTo>
                    <a:lnTo>
                      <a:pt x="1204" y="179"/>
                    </a:lnTo>
                    <a:lnTo>
                      <a:pt x="1202" y="193"/>
                    </a:lnTo>
                    <a:lnTo>
                      <a:pt x="1199" y="205"/>
                    </a:lnTo>
                    <a:lnTo>
                      <a:pt x="1196" y="216"/>
                    </a:lnTo>
                    <a:lnTo>
                      <a:pt x="1192" y="227"/>
                    </a:lnTo>
                    <a:lnTo>
                      <a:pt x="1187" y="238"/>
                    </a:lnTo>
                    <a:lnTo>
                      <a:pt x="1182" y="247"/>
                    </a:lnTo>
                    <a:lnTo>
                      <a:pt x="1176" y="255"/>
                    </a:lnTo>
                    <a:lnTo>
                      <a:pt x="1168" y="263"/>
                    </a:lnTo>
                    <a:lnTo>
                      <a:pt x="1161" y="271"/>
                    </a:lnTo>
                    <a:lnTo>
                      <a:pt x="1154" y="277"/>
                    </a:lnTo>
                    <a:lnTo>
                      <a:pt x="1145" y="282"/>
                    </a:lnTo>
                    <a:lnTo>
                      <a:pt x="1137" y="286"/>
                    </a:lnTo>
                    <a:lnTo>
                      <a:pt x="1127" y="290"/>
                    </a:lnTo>
                    <a:lnTo>
                      <a:pt x="1117" y="292"/>
                    </a:lnTo>
                    <a:lnTo>
                      <a:pt x="1107" y="294"/>
                    </a:lnTo>
                    <a:lnTo>
                      <a:pt x="1097" y="294"/>
                    </a:lnTo>
                    <a:lnTo>
                      <a:pt x="1097" y="294"/>
                    </a:lnTo>
                    <a:lnTo>
                      <a:pt x="603" y="294"/>
                    </a:lnTo>
                    <a:lnTo>
                      <a:pt x="603" y="294"/>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grpSp>
        <p:sp>
          <p:nvSpPr>
            <p:cNvPr id="569" name="Oval 568"/>
            <p:cNvSpPr/>
            <p:nvPr/>
          </p:nvSpPr>
          <p:spPr bwMode="auto">
            <a:xfrm flipH="1">
              <a:off x="2432491" y="2631229"/>
              <a:ext cx="128536" cy="128536"/>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70" name="Group 569"/>
            <p:cNvGrpSpPr/>
            <p:nvPr/>
          </p:nvGrpSpPr>
          <p:grpSpPr>
            <a:xfrm>
              <a:off x="674969" y="1802553"/>
              <a:ext cx="1121028" cy="1484059"/>
              <a:chOff x="2000157" y="3283765"/>
              <a:chExt cx="1507206" cy="1995303"/>
            </a:xfrm>
          </p:grpSpPr>
          <p:grpSp>
            <p:nvGrpSpPr>
              <p:cNvPr id="571" name="Group 570"/>
              <p:cNvGrpSpPr/>
              <p:nvPr/>
            </p:nvGrpSpPr>
            <p:grpSpPr>
              <a:xfrm>
                <a:off x="2092898" y="4711678"/>
                <a:ext cx="1142637" cy="565814"/>
                <a:chOff x="2319967" y="4610869"/>
                <a:chExt cx="1195070" cy="591780"/>
              </a:xfrm>
            </p:grpSpPr>
            <p:sp>
              <p:nvSpPr>
                <p:cNvPr id="646" name="Cube 645"/>
                <p:cNvSpPr/>
                <p:nvPr/>
              </p:nvSpPr>
              <p:spPr bwMode="auto">
                <a:xfrm>
                  <a:off x="3328556" y="4610869"/>
                  <a:ext cx="63956" cy="41662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7" name="Cube 646"/>
                <p:cNvSpPr/>
                <p:nvPr/>
              </p:nvSpPr>
              <p:spPr bwMode="auto">
                <a:xfrm>
                  <a:off x="2451540" y="4610869"/>
                  <a:ext cx="63956" cy="41662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8" name="Cube 647"/>
                <p:cNvSpPr/>
                <p:nvPr/>
              </p:nvSpPr>
              <p:spPr bwMode="auto">
                <a:xfrm>
                  <a:off x="3424884" y="4615372"/>
                  <a:ext cx="90153" cy="58727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9" name="Cube 648"/>
                <p:cNvSpPr/>
                <p:nvPr/>
              </p:nvSpPr>
              <p:spPr bwMode="auto">
                <a:xfrm>
                  <a:off x="2319967" y="4615372"/>
                  <a:ext cx="90153" cy="587277"/>
                </a:xfrm>
                <a:prstGeom prst="cub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572" name="Trapezoid 571"/>
              <p:cNvSpPr/>
              <p:nvPr/>
            </p:nvSpPr>
            <p:spPr bwMode="auto">
              <a:xfrm>
                <a:off x="2000157" y="4563285"/>
                <a:ext cx="1324834" cy="150511"/>
              </a:xfrm>
              <a:prstGeom prst="trapezoid">
                <a:avLst>
                  <a:gd name="adj" fmla="val 92159"/>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73" name="Group 572"/>
              <p:cNvGrpSpPr/>
              <p:nvPr/>
            </p:nvGrpSpPr>
            <p:grpSpPr>
              <a:xfrm>
                <a:off x="2463789" y="4608293"/>
                <a:ext cx="479152" cy="76950"/>
                <a:chOff x="1769350" y="1538167"/>
                <a:chExt cx="1821693" cy="292564"/>
              </a:xfrm>
            </p:grpSpPr>
            <p:sp>
              <p:nvSpPr>
                <p:cNvPr id="626" name="Rectangle 625"/>
                <p:cNvSpPr/>
                <p:nvPr/>
              </p:nvSpPr>
              <p:spPr bwMode="auto">
                <a:xfrm>
                  <a:off x="1769350" y="1785012"/>
                  <a:ext cx="1819656" cy="45719"/>
                </a:xfrm>
                <a:prstGeom prst="rect">
                  <a:avLst/>
                </a:pr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27" name="Trapezoid 626"/>
                <p:cNvSpPr/>
                <p:nvPr/>
              </p:nvSpPr>
              <p:spPr bwMode="auto">
                <a:xfrm>
                  <a:off x="1769351" y="1538167"/>
                  <a:ext cx="1821692" cy="247064"/>
                </a:xfrm>
                <a:prstGeom prst="trapezoid">
                  <a:avLst>
                    <a:gd name="adj" fmla="val 82583"/>
                  </a:avLst>
                </a:prstGeom>
                <a:solidFill>
                  <a:srgbClr val="FFFFFF">
                    <a:lumMod val="85000"/>
                  </a:srgbClr>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628" name="Trapezoid 627"/>
                <p:cNvSpPr/>
                <p:nvPr/>
              </p:nvSpPr>
              <p:spPr bwMode="auto">
                <a:xfrm>
                  <a:off x="2242427" y="1706021"/>
                  <a:ext cx="87554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629" name="Trapezoid 628"/>
                <p:cNvSpPr/>
                <p:nvPr/>
              </p:nvSpPr>
              <p:spPr bwMode="auto">
                <a:xfrm>
                  <a:off x="1994397" y="1561778"/>
                  <a:ext cx="137160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sp>
              <p:nvSpPr>
                <p:cNvPr id="630" name="Trapezoid 629"/>
                <p:cNvSpPr/>
                <p:nvPr/>
              </p:nvSpPr>
              <p:spPr bwMode="auto">
                <a:xfrm>
                  <a:off x="1994397" y="1633900"/>
                  <a:ext cx="1371600" cy="45719"/>
                </a:xfrm>
                <a:prstGeom prst="trapezoid">
                  <a:avLst>
                    <a:gd name="adj" fmla="val 82583"/>
                  </a:avLst>
                </a:prstGeom>
                <a:solidFill>
                  <a:srgbClr val="FFFFFF"/>
                </a:solidFill>
                <a:ln w="4">
                  <a:noFill/>
                  <a:prstDash val="solid"/>
                  <a:round/>
                  <a:headEnd/>
                  <a:tailEnd/>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631" name="Group 630"/>
                <p:cNvGrpSpPr/>
                <p:nvPr/>
              </p:nvGrpSpPr>
              <p:grpSpPr>
                <a:xfrm>
                  <a:off x="2048766" y="1546680"/>
                  <a:ext cx="1256210" cy="182880"/>
                  <a:chOff x="2048766" y="1234719"/>
                  <a:chExt cx="1256210" cy="243413"/>
                </a:xfrm>
                <a:solidFill>
                  <a:srgbClr val="FFFFFF">
                    <a:lumMod val="85000"/>
                  </a:srgbClr>
                </a:solidFill>
              </p:grpSpPr>
              <p:sp>
                <p:nvSpPr>
                  <p:cNvPr id="632" name="Rectangle 631"/>
                  <p:cNvSpPr/>
                  <p:nvPr/>
                </p:nvSpPr>
                <p:spPr bwMode="auto">
                  <a:xfrm rot="1800000">
                    <a:off x="2048766" y="1234719"/>
                    <a:ext cx="18288" cy="24341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3" name="Rectangle 632"/>
                  <p:cNvSpPr/>
                  <p:nvPr/>
                </p:nvSpPr>
                <p:spPr bwMode="auto">
                  <a:xfrm rot="1200000">
                    <a:off x="215493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4" name="Rectangle 633"/>
                  <p:cNvSpPr/>
                  <p:nvPr/>
                </p:nvSpPr>
                <p:spPr bwMode="auto">
                  <a:xfrm rot="1200000">
                    <a:off x="224924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5" name="Rectangle 634"/>
                  <p:cNvSpPr/>
                  <p:nvPr/>
                </p:nvSpPr>
                <p:spPr bwMode="auto">
                  <a:xfrm rot="900000">
                    <a:off x="234355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6" name="Rectangle 635"/>
                  <p:cNvSpPr/>
                  <p:nvPr/>
                </p:nvSpPr>
                <p:spPr bwMode="auto">
                  <a:xfrm rot="900000">
                    <a:off x="2437871"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7" name="Rectangle 636"/>
                  <p:cNvSpPr/>
                  <p:nvPr/>
                </p:nvSpPr>
                <p:spPr bwMode="auto">
                  <a:xfrm rot="600000">
                    <a:off x="2532184"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8" name="Rectangle 637"/>
                  <p:cNvSpPr/>
                  <p:nvPr/>
                </p:nvSpPr>
                <p:spPr bwMode="auto">
                  <a:xfrm rot="600000">
                    <a:off x="2626497"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39" name="Rectangle 638"/>
                  <p:cNvSpPr/>
                  <p:nvPr/>
                </p:nvSpPr>
                <p:spPr bwMode="auto">
                  <a:xfrm>
                    <a:off x="2720810"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0" name="Rectangle 639"/>
                  <p:cNvSpPr/>
                  <p:nvPr/>
                </p:nvSpPr>
                <p:spPr bwMode="auto">
                  <a:xfrm rot="21000000">
                    <a:off x="2815123"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1" name="Rectangle 640"/>
                  <p:cNvSpPr/>
                  <p:nvPr/>
                </p:nvSpPr>
                <p:spPr bwMode="auto">
                  <a:xfrm rot="21000000">
                    <a:off x="2909436"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2" name="Rectangle 641"/>
                  <p:cNvSpPr/>
                  <p:nvPr/>
                </p:nvSpPr>
                <p:spPr bwMode="auto">
                  <a:xfrm rot="20400000">
                    <a:off x="328668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3" name="Rectangle 642"/>
                  <p:cNvSpPr/>
                  <p:nvPr/>
                </p:nvSpPr>
                <p:spPr bwMode="auto">
                  <a:xfrm rot="20700000">
                    <a:off x="3003749"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4" name="Rectangle 643"/>
                  <p:cNvSpPr/>
                  <p:nvPr/>
                </p:nvSpPr>
                <p:spPr bwMode="auto">
                  <a:xfrm rot="20700000">
                    <a:off x="309806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45" name="Rectangle 644"/>
                  <p:cNvSpPr/>
                  <p:nvPr/>
                </p:nvSpPr>
                <p:spPr bwMode="auto">
                  <a:xfrm rot="20400000">
                    <a:off x="319237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sp>
            <p:nvSpPr>
              <p:cNvPr id="574" name="Rectangle 573"/>
              <p:cNvSpPr/>
              <p:nvPr/>
            </p:nvSpPr>
            <p:spPr bwMode="auto">
              <a:xfrm>
                <a:off x="2000236" y="4711051"/>
                <a:ext cx="1325539" cy="437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75" name="Rectangle 574"/>
              <p:cNvSpPr/>
              <p:nvPr/>
            </p:nvSpPr>
            <p:spPr bwMode="auto">
              <a:xfrm>
                <a:off x="2386681" y="4024560"/>
                <a:ext cx="989700" cy="50545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76" name="Group 575"/>
              <p:cNvGrpSpPr/>
              <p:nvPr/>
            </p:nvGrpSpPr>
            <p:grpSpPr>
              <a:xfrm>
                <a:off x="2417259" y="4089288"/>
                <a:ext cx="360700" cy="125880"/>
                <a:chOff x="2368860" y="4108205"/>
                <a:chExt cx="377254" cy="131657"/>
              </a:xfrm>
            </p:grpSpPr>
            <p:sp>
              <p:nvSpPr>
                <p:cNvPr id="624" name="Rectangle 623"/>
                <p:cNvSpPr/>
                <p:nvPr/>
              </p:nvSpPr>
              <p:spPr bwMode="auto">
                <a:xfrm>
                  <a:off x="2368860" y="4108205"/>
                  <a:ext cx="180721" cy="131657"/>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25" name="Rectangle 624"/>
                <p:cNvSpPr/>
                <p:nvPr/>
              </p:nvSpPr>
              <p:spPr bwMode="auto">
                <a:xfrm>
                  <a:off x="2563006" y="4108205"/>
                  <a:ext cx="183108" cy="13165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577" name="Rectangle 576"/>
              <p:cNvSpPr/>
              <p:nvPr/>
            </p:nvSpPr>
            <p:spPr bwMode="auto">
              <a:xfrm>
                <a:off x="2788512" y="4362384"/>
                <a:ext cx="175073" cy="125880"/>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78" name="Rectangle 577"/>
              <p:cNvSpPr/>
              <p:nvPr/>
            </p:nvSpPr>
            <p:spPr bwMode="auto">
              <a:xfrm>
                <a:off x="2602886" y="4225836"/>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79" name="Rectangle 578"/>
              <p:cNvSpPr/>
              <p:nvPr/>
            </p:nvSpPr>
            <p:spPr bwMode="auto">
              <a:xfrm>
                <a:off x="2974138" y="4225836"/>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0" name="Rectangle 579"/>
              <p:cNvSpPr/>
              <p:nvPr/>
            </p:nvSpPr>
            <p:spPr bwMode="auto">
              <a:xfrm>
                <a:off x="2417259" y="4362384"/>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1" name="Rectangle 580"/>
              <p:cNvSpPr/>
              <p:nvPr/>
            </p:nvSpPr>
            <p:spPr bwMode="auto">
              <a:xfrm>
                <a:off x="2602886" y="4362384"/>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2" name="Rectangle 581"/>
              <p:cNvSpPr/>
              <p:nvPr/>
            </p:nvSpPr>
            <p:spPr bwMode="auto">
              <a:xfrm>
                <a:off x="2974138" y="4362384"/>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3" name="Rectangle 582"/>
              <p:cNvSpPr/>
              <p:nvPr/>
            </p:nvSpPr>
            <p:spPr bwMode="auto">
              <a:xfrm>
                <a:off x="2788512" y="4089288"/>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4" name="Rectangle 583"/>
              <p:cNvSpPr/>
              <p:nvPr/>
            </p:nvSpPr>
            <p:spPr bwMode="auto">
              <a:xfrm>
                <a:off x="2788512" y="4225836"/>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5" name="Rectangle 584"/>
              <p:cNvSpPr/>
              <p:nvPr/>
            </p:nvSpPr>
            <p:spPr bwMode="auto">
              <a:xfrm>
                <a:off x="2417259" y="4225836"/>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86" name="Group 585"/>
              <p:cNvGrpSpPr/>
              <p:nvPr/>
            </p:nvGrpSpPr>
            <p:grpSpPr>
              <a:xfrm>
                <a:off x="2974131" y="4089288"/>
                <a:ext cx="362755" cy="125880"/>
                <a:chOff x="2951296" y="4108205"/>
                <a:chExt cx="379404" cy="131657"/>
              </a:xfrm>
            </p:grpSpPr>
            <p:sp>
              <p:nvSpPr>
                <p:cNvPr id="622" name="Rectangle 621"/>
                <p:cNvSpPr/>
                <p:nvPr/>
              </p:nvSpPr>
              <p:spPr bwMode="auto">
                <a:xfrm>
                  <a:off x="2951296" y="4108205"/>
                  <a:ext cx="183108" cy="13165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23" name="Rectangle 622"/>
                <p:cNvSpPr/>
                <p:nvPr/>
              </p:nvSpPr>
              <p:spPr bwMode="auto">
                <a:xfrm>
                  <a:off x="3147592" y="4108205"/>
                  <a:ext cx="183108" cy="13165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587" name="Rectangle 586"/>
              <p:cNvSpPr/>
              <p:nvPr/>
            </p:nvSpPr>
            <p:spPr bwMode="auto">
              <a:xfrm>
                <a:off x="3161821" y="4225836"/>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8" name="Rectangle 587"/>
              <p:cNvSpPr/>
              <p:nvPr/>
            </p:nvSpPr>
            <p:spPr bwMode="auto">
              <a:xfrm>
                <a:off x="3161821" y="4362384"/>
                <a:ext cx="175073" cy="125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589" name="Group 588"/>
              <p:cNvGrpSpPr/>
              <p:nvPr/>
            </p:nvGrpSpPr>
            <p:grpSpPr>
              <a:xfrm>
                <a:off x="2371938" y="4049379"/>
                <a:ext cx="1010279" cy="546965"/>
                <a:chOff x="4407865" y="3370934"/>
                <a:chExt cx="4054491" cy="2195098"/>
              </a:xfrm>
            </p:grpSpPr>
            <p:sp>
              <p:nvSpPr>
                <p:cNvPr id="619" name="Freeform 618"/>
                <p:cNvSpPr>
                  <a:spLocks noChangeArrowheads="1"/>
                </p:cNvSpPr>
                <p:nvPr/>
              </p:nvSpPr>
              <p:spPr bwMode="auto">
                <a:xfrm>
                  <a:off x="4407865" y="3370934"/>
                  <a:ext cx="607480" cy="2001142"/>
                </a:xfrm>
                <a:custGeom>
                  <a:avLst/>
                  <a:gdLst>
                    <a:gd name="connsiteX0" fmla="*/ 109462 w 607480"/>
                    <a:gd name="connsiteY0" fmla="*/ 0 h 2001142"/>
                    <a:gd name="connsiteX1" fmla="*/ 393093 w 607480"/>
                    <a:gd name="connsiteY1" fmla="*/ 0 h 2001142"/>
                    <a:gd name="connsiteX2" fmla="*/ 607480 w 607480"/>
                    <a:gd name="connsiteY2" fmla="*/ 0 h 2001142"/>
                    <a:gd name="connsiteX3" fmla="*/ 607480 w 607480"/>
                    <a:gd name="connsiteY3" fmla="*/ 86041 h 2001142"/>
                    <a:gd name="connsiteX4" fmla="*/ 93967 w 607480"/>
                    <a:gd name="connsiteY4" fmla="*/ 86041 h 2001142"/>
                    <a:gd name="connsiteX5" fmla="*/ 93967 w 607480"/>
                    <a:gd name="connsiteY5" fmla="*/ 1837389 h 2001142"/>
                    <a:gd name="connsiteX6" fmla="*/ 607480 w 607480"/>
                    <a:gd name="connsiteY6" fmla="*/ 1837389 h 2001142"/>
                    <a:gd name="connsiteX7" fmla="*/ 607480 w 607480"/>
                    <a:gd name="connsiteY7" fmla="*/ 2001142 h 2001142"/>
                    <a:gd name="connsiteX8" fmla="*/ 537446 w 607480"/>
                    <a:gd name="connsiteY8" fmla="*/ 2001142 h 2001142"/>
                    <a:gd name="connsiteX9" fmla="*/ 109462 w 607480"/>
                    <a:gd name="connsiteY9" fmla="*/ 2001142 h 2001142"/>
                    <a:gd name="connsiteX10" fmla="*/ 0 w 607480"/>
                    <a:gd name="connsiteY10" fmla="*/ 1891113 h 2001142"/>
                    <a:gd name="connsiteX11" fmla="*/ 0 w 607480"/>
                    <a:gd name="connsiteY11" fmla="*/ 110028 h 2001142"/>
                    <a:gd name="connsiteX12" fmla="*/ 109462 w 607480"/>
                    <a:gd name="connsiteY12" fmla="*/ 0 h 20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480" h="2001142">
                      <a:moveTo>
                        <a:pt x="109462" y="0"/>
                      </a:moveTo>
                      <a:cubicBezTo>
                        <a:pt x="207023" y="0"/>
                        <a:pt x="301535" y="0"/>
                        <a:pt x="393093" y="0"/>
                      </a:cubicBezTo>
                      <a:lnTo>
                        <a:pt x="607480" y="0"/>
                      </a:lnTo>
                      <a:lnTo>
                        <a:pt x="607480" y="86041"/>
                      </a:lnTo>
                      <a:lnTo>
                        <a:pt x="93967" y="86041"/>
                      </a:lnTo>
                      <a:lnTo>
                        <a:pt x="93967" y="1837389"/>
                      </a:lnTo>
                      <a:lnTo>
                        <a:pt x="607480" y="1837389"/>
                      </a:lnTo>
                      <a:lnTo>
                        <a:pt x="607480" y="2001142"/>
                      </a:lnTo>
                      <a:lnTo>
                        <a:pt x="537446" y="2001142"/>
                      </a:lnTo>
                      <a:cubicBezTo>
                        <a:pt x="109462" y="2001142"/>
                        <a:pt x="109462" y="2001142"/>
                        <a:pt x="109462" y="2001142"/>
                      </a:cubicBezTo>
                      <a:cubicBezTo>
                        <a:pt x="50169" y="2001142"/>
                        <a:pt x="0" y="1950713"/>
                        <a:pt x="0" y="1891113"/>
                      </a:cubicBezTo>
                      <a:cubicBezTo>
                        <a:pt x="0" y="110028"/>
                        <a:pt x="0" y="110028"/>
                        <a:pt x="0" y="110028"/>
                      </a:cubicBezTo>
                      <a:cubicBezTo>
                        <a:pt x="0" y="50429"/>
                        <a:pt x="50169" y="0"/>
                        <a:pt x="109462" y="0"/>
                      </a:cubicBez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sp>
              <p:nvSpPr>
                <p:cNvPr id="620" name="Freeform 619"/>
                <p:cNvSpPr/>
                <p:nvPr/>
              </p:nvSpPr>
              <p:spPr bwMode="auto">
                <a:xfrm>
                  <a:off x="4963758" y="3370934"/>
                  <a:ext cx="2942705" cy="2195098"/>
                </a:xfrm>
                <a:custGeom>
                  <a:avLst/>
                  <a:gdLst>
                    <a:gd name="connsiteX0" fmla="*/ 0 w 2942705"/>
                    <a:gd name="connsiteY0" fmla="*/ 1837389 h 2195098"/>
                    <a:gd name="connsiteX1" fmla="*/ 2942705 w 2942705"/>
                    <a:gd name="connsiteY1" fmla="*/ 1837389 h 2195098"/>
                    <a:gd name="connsiteX2" fmla="*/ 2942705 w 2942705"/>
                    <a:gd name="connsiteY2" fmla="*/ 2001142 h 2195098"/>
                    <a:gd name="connsiteX3" fmla="*/ 2927058 w 2942705"/>
                    <a:gd name="connsiteY3" fmla="*/ 2001142 h 2195098"/>
                    <a:gd name="connsiteX4" fmla="*/ 2849616 w 2942705"/>
                    <a:gd name="connsiteY4" fmla="*/ 2001142 h 2195098"/>
                    <a:gd name="connsiteX5" fmla="*/ 2741538 w 2942705"/>
                    <a:gd name="connsiteY5" fmla="*/ 2001142 h 2195098"/>
                    <a:gd name="connsiteX6" fmla="*/ 2614695 w 2942705"/>
                    <a:gd name="connsiteY6" fmla="*/ 2001142 h 2195098"/>
                    <a:gd name="connsiteX7" fmla="*/ 2597719 w 2942705"/>
                    <a:gd name="connsiteY7" fmla="*/ 2001142 h 2195098"/>
                    <a:gd name="connsiteX8" fmla="*/ 2235158 w 2942705"/>
                    <a:gd name="connsiteY8" fmla="*/ 2001142 h 2195098"/>
                    <a:gd name="connsiteX9" fmla="*/ 1586055 w 2942705"/>
                    <a:gd name="connsiteY9" fmla="*/ 2001142 h 2195098"/>
                    <a:gd name="connsiteX10" fmla="*/ 1543216 w 2942705"/>
                    <a:gd name="connsiteY10" fmla="*/ 2001142 h 2195098"/>
                    <a:gd name="connsiteX11" fmla="*/ 1543216 w 2942705"/>
                    <a:gd name="connsiteY11" fmla="*/ 2142361 h 2195098"/>
                    <a:gd name="connsiteX12" fmla="*/ 2294949 w 2942705"/>
                    <a:gd name="connsiteY12" fmla="*/ 2142361 h 2195098"/>
                    <a:gd name="connsiteX13" fmla="*/ 2294949 w 2942705"/>
                    <a:gd name="connsiteY13" fmla="*/ 2195098 h 2195098"/>
                    <a:gd name="connsiteX14" fmla="*/ 639466 w 2942705"/>
                    <a:gd name="connsiteY14" fmla="*/ 2195098 h 2195098"/>
                    <a:gd name="connsiteX15" fmla="*/ 639466 w 2942705"/>
                    <a:gd name="connsiteY15" fmla="*/ 2142361 h 2195098"/>
                    <a:gd name="connsiteX16" fmla="*/ 1399495 w 2942705"/>
                    <a:gd name="connsiteY16" fmla="*/ 2142361 h 2195098"/>
                    <a:gd name="connsiteX17" fmla="*/ 1399495 w 2942705"/>
                    <a:gd name="connsiteY17" fmla="*/ 2001142 h 2195098"/>
                    <a:gd name="connsiteX18" fmla="*/ 1228585 w 2942705"/>
                    <a:gd name="connsiteY18" fmla="*/ 2001142 h 2195098"/>
                    <a:gd name="connsiteX19" fmla="*/ 21806 w 2942705"/>
                    <a:gd name="connsiteY19" fmla="*/ 2001142 h 2195098"/>
                    <a:gd name="connsiteX20" fmla="*/ 0 w 2942705"/>
                    <a:gd name="connsiteY20" fmla="*/ 2001142 h 2195098"/>
                    <a:gd name="connsiteX21" fmla="*/ 0 w 2942705"/>
                    <a:gd name="connsiteY21" fmla="*/ 0 h 2195098"/>
                    <a:gd name="connsiteX22" fmla="*/ 195145 w 2942705"/>
                    <a:gd name="connsiteY22" fmla="*/ 0 h 2195098"/>
                    <a:gd name="connsiteX23" fmla="*/ 942001 w 2942705"/>
                    <a:gd name="connsiteY23" fmla="*/ 0 h 2195098"/>
                    <a:gd name="connsiteX24" fmla="*/ 1219852 w 2942705"/>
                    <a:gd name="connsiteY24" fmla="*/ 0 h 2195098"/>
                    <a:gd name="connsiteX25" fmla="*/ 1223394 w 2942705"/>
                    <a:gd name="connsiteY25" fmla="*/ 0 h 2195098"/>
                    <a:gd name="connsiteX26" fmla="*/ 1248188 w 2942705"/>
                    <a:gd name="connsiteY26" fmla="*/ 0 h 2195098"/>
                    <a:gd name="connsiteX27" fmla="*/ 1315490 w 2942705"/>
                    <a:gd name="connsiteY27" fmla="*/ 0 h 2195098"/>
                    <a:gd name="connsiteX28" fmla="*/ 1358921 w 2942705"/>
                    <a:gd name="connsiteY28" fmla="*/ 0 h 2195098"/>
                    <a:gd name="connsiteX29" fmla="*/ 1371721 w 2942705"/>
                    <a:gd name="connsiteY29" fmla="*/ 0 h 2195098"/>
                    <a:gd name="connsiteX30" fmla="*/ 1446550 w 2942705"/>
                    <a:gd name="connsiteY30" fmla="*/ 0 h 2195098"/>
                    <a:gd name="connsiteX31" fmla="*/ 1542631 w 2942705"/>
                    <a:gd name="connsiteY31" fmla="*/ 0 h 2195098"/>
                    <a:gd name="connsiteX32" fmla="*/ 1662622 w 2942705"/>
                    <a:gd name="connsiteY32" fmla="*/ 0 h 2195098"/>
                    <a:gd name="connsiteX33" fmla="*/ 1716390 w 2942705"/>
                    <a:gd name="connsiteY33" fmla="*/ 0 h 2195098"/>
                    <a:gd name="connsiteX34" fmla="*/ 1809178 w 2942705"/>
                    <a:gd name="connsiteY34" fmla="*/ 0 h 2195098"/>
                    <a:gd name="connsiteX35" fmla="*/ 1984956 w 2942705"/>
                    <a:gd name="connsiteY35" fmla="*/ 0 h 2195098"/>
                    <a:gd name="connsiteX36" fmla="*/ 2018982 w 2942705"/>
                    <a:gd name="connsiteY36" fmla="*/ 0 h 2195098"/>
                    <a:gd name="connsiteX37" fmla="*/ 2192616 w 2942705"/>
                    <a:gd name="connsiteY37" fmla="*/ 0 h 2195098"/>
                    <a:gd name="connsiteX38" fmla="*/ 2271268 w 2942705"/>
                    <a:gd name="connsiteY38" fmla="*/ 0 h 2195098"/>
                    <a:gd name="connsiteX39" fmla="*/ 2434811 w 2942705"/>
                    <a:gd name="connsiteY39" fmla="*/ 0 h 2195098"/>
                    <a:gd name="connsiteX40" fmla="*/ 2477822 w 2942705"/>
                    <a:gd name="connsiteY40" fmla="*/ 0 h 2195098"/>
                    <a:gd name="connsiteX41" fmla="*/ 2643218 w 2942705"/>
                    <a:gd name="connsiteY41" fmla="*/ 0 h 2195098"/>
                    <a:gd name="connsiteX42" fmla="*/ 2714197 w 2942705"/>
                    <a:gd name="connsiteY42" fmla="*/ 0 h 2195098"/>
                    <a:gd name="connsiteX43" fmla="*/ 2772029 w 2942705"/>
                    <a:gd name="connsiteY43" fmla="*/ 0 h 2195098"/>
                    <a:gd name="connsiteX44" fmla="*/ 2930862 w 2942705"/>
                    <a:gd name="connsiteY44" fmla="*/ 0 h 2195098"/>
                    <a:gd name="connsiteX45" fmla="*/ 2942705 w 2942705"/>
                    <a:gd name="connsiteY45" fmla="*/ 0 h 2195098"/>
                    <a:gd name="connsiteX46" fmla="*/ 2942705 w 2942705"/>
                    <a:gd name="connsiteY46" fmla="*/ 86041 h 2195098"/>
                    <a:gd name="connsiteX47" fmla="*/ 0 w 2942705"/>
                    <a:gd name="connsiteY47" fmla="*/ 86041 h 219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942705" h="2195098">
                      <a:moveTo>
                        <a:pt x="0" y="1837389"/>
                      </a:moveTo>
                      <a:lnTo>
                        <a:pt x="2942705" y="1837389"/>
                      </a:lnTo>
                      <a:lnTo>
                        <a:pt x="2942705" y="2001142"/>
                      </a:lnTo>
                      <a:lnTo>
                        <a:pt x="2927058" y="2001142"/>
                      </a:lnTo>
                      <a:lnTo>
                        <a:pt x="2849616" y="2001142"/>
                      </a:lnTo>
                      <a:lnTo>
                        <a:pt x="2741538" y="2001142"/>
                      </a:lnTo>
                      <a:lnTo>
                        <a:pt x="2614695" y="2001142"/>
                      </a:lnTo>
                      <a:lnTo>
                        <a:pt x="2597719" y="2001142"/>
                      </a:lnTo>
                      <a:lnTo>
                        <a:pt x="2235158" y="2001142"/>
                      </a:lnTo>
                      <a:cubicBezTo>
                        <a:pt x="1994781" y="2001142"/>
                        <a:pt x="1779271" y="2001142"/>
                        <a:pt x="1586055" y="2001142"/>
                      </a:cubicBezTo>
                      <a:lnTo>
                        <a:pt x="1543216" y="2001142"/>
                      </a:lnTo>
                      <a:lnTo>
                        <a:pt x="1543216" y="2142361"/>
                      </a:lnTo>
                      <a:lnTo>
                        <a:pt x="2294949" y="2142361"/>
                      </a:lnTo>
                      <a:lnTo>
                        <a:pt x="2294949" y="2195098"/>
                      </a:lnTo>
                      <a:lnTo>
                        <a:pt x="639466" y="2195098"/>
                      </a:lnTo>
                      <a:lnTo>
                        <a:pt x="639466" y="2142361"/>
                      </a:lnTo>
                      <a:lnTo>
                        <a:pt x="1399495" y="2142361"/>
                      </a:lnTo>
                      <a:lnTo>
                        <a:pt x="1399495" y="2001142"/>
                      </a:lnTo>
                      <a:lnTo>
                        <a:pt x="1228585" y="2001142"/>
                      </a:lnTo>
                      <a:cubicBezTo>
                        <a:pt x="487733" y="2001142"/>
                        <a:pt x="163610" y="2001142"/>
                        <a:pt x="21806" y="2001142"/>
                      </a:cubicBezTo>
                      <a:lnTo>
                        <a:pt x="0" y="2001142"/>
                      </a:lnTo>
                      <a:close/>
                      <a:moveTo>
                        <a:pt x="0" y="0"/>
                      </a:moveTo>
                      <a:lnTo>
                        <a:pt x="195145" y="0"/>
                      </a:lnTo>
                      <a:cubicBezTo>
                        <a:pt x="469821" y="0"/>
                        <a:pt x="717916" y="0"/>
                        <a:pt x="942001" y="0"/>
                      </a:cubicBezTo>
                      <a:lnTo>
                        <a:pt x="1219852" y="0"/>
                      </a:lnTo>
                      <a:lnTo>
                        <a:pt x="1223394" y="0"/>
                      </a:lnTo>
                      <a:lnTo>
                        <a:pt x="1248188" y="0"/>
                      </a:lnTo>
                      <a:lnTo>
                        <a:pt x="1315490" y="0"/>
                      </a:lnTo>
                      <a:lnTo>
                        <a:pt x="1358921" y="0"/>
                      </a:lnTo>
                      <a:lnTo>
                        <a:pt x="1371721" y="0"/>
                      </a:lnTo>
                      <a:lnTo>
                        <a:pt x="1446550" y="0"/>
                      </a:lnTo>
                      <a:lnTo>
                        <a:pt x="1542631" y="0"/>
                      </a:lnTo>
                      <a:lnTo>
                        <a:pt x="1662622" y="0"/>
                      </a:lnTo>
                      <a:lnTo>
                        <a:pt x="1716390" y="0"/>
                      </a:lnTo>
                      <a:lnTo>
                        <a:pt x="1809178" y="0"/>
                      </a:lnTo>
                      <a:lnTo>
                        <a:pt x="1984956" y="0"/>
                      </a:lnTo>
                      <a:lnTo>
                        <a:pt x="2018982" y="0"/>
                      </a:lnTo>
                      <a:lnTo>
                        <a:pt x="2192616" y="0"/>
                      </a:lnTo>
                      <a:lnTo>
                        <a:pt x="2271268" y="0"/>
                      </a:lnTo>
                      <a:lnTo>
                        <a:pt x="2434811" y="0"/>
                      </a:lnTo>
                      <a:lnTo>
                        <a:pt x="2477822" y="0"/>
                      </a:lnTo>
                      <a:cubicBezTo>
                        <a:pt x="2539561" y="0"/>
                        <a:pt x="2594438" y="0"/>
                        <a:pt x="2643218" y="0"/>
                      </a:cubicBezTo>
                      <a:lnTo>
                        <a:pt x="2714197" y="0"/>
                      </a:lnTo>
                      <a:lnTo>
                        <a:pt x="2772029" y="0"/>
                      </a:lnTo>
                      <a:cubicBezTo>
                        <a:pt x="2842056" y="0"/>
                        <a:pt x="2893325" y="0"/>
                        <a:pt x="2930862" y="0"/>
                      </a:cubicBezTo>
                      <a:lnTo>
                        <a:pt x="2942705" y="0"/>
                      </a:lnTo>
                      <a:lnTo>
                        <a:pt x="2942705" y="86041"/>
                      </a:lnTo>
                      <a:lnTo>
                        <a:pt x="0" y="86041"/>
                      </a:ln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sp>
              <p:nvSpPr>
                <p:cNvPr id="621" name="Freeform 620"/>
                <p:cNvSpPr>
                  <a:spLocks noChangeArrowheads="1"/>
                </p:cNvSpPr>
                <p:nvPr/>
              </p:nvSpPr>
              <p:spPr bwMode="auto">
                <a:xfrm flipH="1">
                  <a:off x="7854876" y="3370934"/>
                  <a:ext cx="607480" cy="2001142"/>
                </a:xfrm>
                <a:custGeom>
                  <a:avLst/>
                  <a:gdLst>
                    <a:gd name="connsiteX0" fmla="*/ 109462 w 607480"/>
                    <a:gd name="connsiteY0" fmla="*/ 0 h 2001142"/>
                    <a:gd name="connsiteX1" fmla="*/ 393093 w 607480"/>
                    <a:gd name="connsiteY1" fmla="*/ 0 h 2001142"/>
                    <a:gd name="connsiteX2" fmla="*/ 607480 w 607480"/>
                    <a:gd name="connsiteY2" fmla="*/ 0 h 2001142"/>
                    <a:gd name="connsiteX3" fmla="*/ 607480 w 607480"/>
                    <a:gd name="connsiteY3" fmla="*/ 86041 h 2001142"/>
                    <a:gd name="connsiteX4" fmla="*/ 93967 w 607480"/>
                    <a:gd name="connsiteY4" fmla="*/ 86041 h 2001142"/>
                    <a:gd name="connsiteX5" fmla="*/ 93967 w 607480"/>
                    <a:gd name="connsiteY5" fmla="*/ 1837389 h 2001142"/>
                    <a:gd name="connsiteX6" fmla="*/ 607480 w 607480"/>
                    <a:gd name="connsiteY6" fmla="*/ 1837389 h 2001142"/>
                    <a:gd name="connsiteX7" fmla="*/ 607480 w 607480"/>
                    <a:gd name="connsiteY7" fmla="*/ 2001142 h 2001142"/>
                    <a:gd name="connsiteX8" fmla="*/ 537446 w 607480"/>
                    <a:gd name="connsiteY8" fmla="*/ 2001142 h 2001142"/>
                    <a:gd name="connsiteX9" fmla="*/ 109462 w 607480"/>
                    <a:gd name="connsiteY9" fmla="*/ 2001142 h 2001142"/>
                    <a:gd name="connsiteX10" fmla="*/ 0 w 607480"/>
                    <a:gd name="connsiteY10" fmla="*/ 1891113 h 2001142"/>
                    <a:gd name="connsiteX11" fmla="*/ 0 w 607480"/>
                    <a:gd name="connsiteY11" fmla="*/ 110028 h 2001142"/>
                    <a:gd name="connsiteX12" fmla="*/ 109462 w 607480"/>
                    <a:gd name="connsiteY12" fmla="*/ 0 h 20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480" h="2001142">
                      <a:moveTo>
                        <a:pt x="109462" y="0"/>
                      </a:moveTo>
                      <a:cubicBezTo>
                        <a:pt x="207023" y="0"/>
                        <a:pt x="301535" y="0"/>
                        <a:pt x="393093" y="0"/>
                      </a:cubicBezTo>
                      <a:lnTo>
                        <a:pt x="607480" y="0"/>
                      </a:lnTo>
                      <a:lnTo>
                        <a:pt x="607480" y="86041"/>
                      </a:lnTo>
                      <a:lnTo>
                        <a:pt x="93967" y="86041"/>
                      </a:lnTo>
                      <a:lnTo>
                        <a:pt x="93967" y="1837389"/>
                      </a:lnTo>
                      <a:lnTo>
                        <a:pt x="607480" y="1837389"/>
                      </a:lnTo>
                      <a:lnTo>
                        <a:pt x="607480" y="2001142"/>
                      </a:lnTo>
                      <a:lnTo>
                        <a:pt x="537446" y="2001142"/>
                      </a:lnTo>
                      <a:cubicBezTo>
                        <a:pt x="109462" y="2001142"/>
                        <a:pt x="109462" y="2001142"/>
                        <a:pt x="109462" y="2001142"/>
                      </a:cubicBezTo>
                      <a:cubicBezTo>
                        <a:pt x="50169" y="2001142"/>
                        <a:pt x="0" y="1950713"/>
                        <a:pt x="0" y="1891113"/>
                      </a:cubicBezTo>
                      <a:cubicBezTo>
                        <a:pt x="0" y="110028"/>
                        <a:pt x="0" y="110028"/>
                        <a:pt x="0" y="110028"/>
                      </a:cubicBezTo>
                      <a:cubicBezTo>
                        <a:pt x="0" y="50429"/>
                        <a:pt x="50169" y="0"/>
                        <a:pt x="109462" y="0"/>
                      </a:cubicBezTo>
                      <a:close/>
                    </a:path>
                  </a:pathLst>
                </a:custGeom>
                <a:solidFill>
                  <a:srgbClr val="FFFFFF">
                    <a:lumMod val="85000"/>
                  </a:srgbClr>
                </a:solidFill>
                <a:ln>
                  <a:noFill/>
                </a:ln>
              </p:spPr>
              <p:txBody>
                <a:bodyPr vert="horz" wrap="square" lIns="126792" tIns="63395" rIns="126792" bIns="63395" numCol="1" anchor="t" anchorCtr="0" compatLnSpc="1">
                  <a:prstTxWarp prst="textNoShape">
                    <a:avLst/>
                  </a:prstTxWarp>
                  <a:noAutofit/>
                </a:bodyPr>
                <a:lstStyle/>
                <a:p>
                  <a:pPr marL="0" marR="0" lvl="0" indent="0" algn="l" defTabSz="1267812" rtl="0" eaLnBrk="1" fontAlgn="auto" latinLnBrk="0" hangingPunct="1">
                    <a:lnSpc>
                      <a:spcPct val="100000"/>
                    </a:lnSpc>
                    <a:spcBef>
                      <a:spcPts val="0"/>
                    </a:spcBef>
                    <a:spcAft>
                      <a:spcPts val="0"/>
                    </a:spcAft>
                    <a:buClrTx/>
                    <a:buSzTx/>
                    <a:buFontTx/>
                    <a:buNone/>
                    <a:tabLst/>
                    <a:defRPr/>
                  </a:pPr>
                  <a:endParaRPr kumimoji="0" lang="en-US" sz="4393" b="0" i="0" u="none" strike="noStrike" kern="0" cap="none" spc="0" normalizeH="0" baseline="0" noProof="0">
                    <a:ln>
                      <a:noFill/>
                    </a:ln>
                    <a:solidFill>
                      <a:srgbClr val="505050"/>
                    </a:solidFill>
                    <a:effectLst/>
                    <a:uLnTx/>
                    <a:uFillTx/>
                    <a:latin typeface="Segoe UI Light"/>
                    <a:ea typeface="+mn-ea"/>
                    <a:cs typeface="+mn-cs"/>
                  </a:endParaRPr>
                </a:p>
              </p:txBody>
            </p:sp>
          </p:grpSp>
          <p:grpSp>
            <p:nvGrpSpPr>
              <p:cNvPr id="590" name="Group 589"/>
              <p:cNvGrpSpPr/>
              <p:nvPr/>
            </p:nvGrpSpPr>
            <p:grpSpPr>
              <a:xfrm>
                <a:off x="2707024" y="4111456"/>
                <a:ext cx="340105" cy="352789"/>
                <a:chOff x="1944688" y="2462213"/>
                <a:chExt cx="681038" cy="706438"/>
              </a:xfrm>
              <a:solidFill>
                <a:srgbClr val="505050">
                  <a:lumMod val="40000"/>
                  <a:lumOff val="60000"/>
                </a:srgbClr>
              </a:solidFill>
            </p:grpSpPr>
            <p:sp>
              <p:nvSpPr>
                <p:cNvPr id="617" name="Freeform 423"/>
                <p:cNvSpPr>
                  <a:spLocks/>
                </p:cNvSpPr>
                <p:nvPr/>
              </p:nvSpPr>
              <p:spPr bwMode="auto">
                <a:xfrm>
                  <a:off x="1944688" y="2932113"/>
                  <a:ext cx="681038" cy="236538"/>
                </a:xfrm>
                <a:custGeom>
                  <a:avLst/>
                  <a:gdLst>
                    <a:gd name="T0" fmla="*/ 744 w 1717"/>
                    <a:gd name="T1" fmla="*/ 597 h 598"/>
                    <a:gd name="T2" fmla="*/ 581 w 1717"/>
                    <a:gd name="T3" fmla="*/ 591 h 598"/>
                    <a:gd name="T4" fmla="*/ 428 w 1717"/>
                    <a:gd name="T5" fmla="*/ 581 h 598"/>
                    <a:gd name="T6" fmla="*/ 292 w 1717"/>
                    <a:gd name="T7" fmla="*/ 567 h 598"/>
                    <a:gd name="T8" fmla="*/ 179 w 1717"/>
                    <a:gd name="T9" fmla="*/ 550 h 598"/>
                    <a:gd name="T10" fmla="*/ 97 w 1717"/>
                    <a:gd name="T11" fmla="*/ 530 h 598"/>
                    <a:gd name="T12" fmla="*/ 57 w 1717"/>
                    <a:gd name="T13" fmla="*/ 516 h 598"/>
                    <a:gd name="T14" fmla="*/ 20 w 1717"/>
                    <a:gd name="T15" fmla="*/ 496 h 598"/>
                    <a:gd name="T16" fmla="*/ 5 w 1717"/>
                    <a:gd name="T17" fmla="*/ 481 h 598"/>
                    <a:gd name="T18" fmla="*/ 0 w 1717"/>
                    <a:gd name="T19" fmla="*/ 469 h 598"/>
                    <a:gd name="T20" fmla="*/ 1 w 1717"/>
                    <a:gd name="T21" fmla="*/ 457 h 598"/>
                    <a:gd name="T22" fmla="*/ 36 w 1717"/>
                    <a:gd name="T23" fmla="*/ 382 h 598"/>
                    <a:gd name="T24" fmla="*/ 83 w 1717"/>
                    <a:gd name="T25" fmla="*/ 314 h 598"/>
                    <a:gd name="T26" fmla="*/ 123 w 1717"/>
                    <a:gd name="T27" fmla="*/ 277 h 598"/>
                    <a:gd name="T28" fmla="*/ 170 w 1717"/>
                    <a:gd name="T29" fmla="*/ 246 h 598"/>
                    <a:gd name="T30" fmla="*/ 221 w 1717"/>
                    <a:gd name="T31" fmla="*/ 227 h 598"/>
                    <a:gd name="T32" fmla="*/ 257 w 1717"/>
                    <a:gd name="T33" fmla="*/ 217 h 598"/>
                    <a:gd name="T34" fmla="*/ 431 w 1717"/>
                    <a:gd name="T35" fmla="*/ 178 h 598"/>
                    <a:gd name="T36" fmla="*/ 512 w 1717"/>
                    <a:gd name="T37" fmla="*/ 151 h 598"/>
                    <a:gd name="T38" fmla="*/ 581 w 1717"/>
                    <a:gd name="T39" fmla="*/ 120 h 598"/>
                    <a:gd name="T40" fmla="*/ 595 w 1717"/>
                    <a:gd name="T41" fmla="*/ 110 h 598"/>
                    <a:gd name="T42" fmla="*/ 612 w 1717"/>
                    <a:gd name="T43" fmla="*/ 91 h 598"/>
                    <a:gd name="T44" fmla="*/ 618 w 1717"/>
                    <a:gd name="T45" fmla="*/ 67 h 598"/>
                    <a:gd name="T46" fmla="*/ 623 w 1717"/>
                    <a:gd name="T47" fmla="*/ 5 h 598"/>
                    <a:gd name="T48" fmla="*/ 681 w 1717"/>
                    <a:gd name="T49" fmla="*/ 45 h 598"/>
                    <a:gd name="T50" fmla="*/ 771 w 1717"/>
                    <a:gd name="T51" fmla="*/ 85 h 598"/>
                    <a:gd name="T52" fmla="*/ 859 w 1717"/>
                    <a:gd name="T53" fmla="*/ 97 h 598"/>
                    <a:gd name="T54" fmla="*/ 948 w 1717"/>
                    <a:gd name="T55" fmla="*/ 82 h 598"/>
                    <a:gd name="T56" fmla="*/ 1037 w 1717"/>
                    <a:gd name="T57" fmla="*/ 42 h 598"/>
                    <a:gd name="T58" fmla="*/ 1095 w 1717"/>
                    <a:gd name="T59" fmla="*/ 0 h 598"/>
                    <a:gd name="T60" fmla="*/ 1100 w 1717"/>
                    <a:gd name="T61" fmla="*/ 74 h 598"/>
                    <a:gd name="T62" fmla="*/ 1107 w 1717"/>
                    <a:gd name="T63" fmla="*/ 95 h 598"/>
                    <a:gd name="T64" fmla="*/ 1121 w 1717"/>
                    <a:gd name="T65" fmla="*/ 110 h 598"/>
                    <a:gd name="T66" fmla="*/ 1182 w 1717"/>
                    <a:gd name="T67" fmla="*/ 142 h 598"/>
                    <a:gd name="T68" fmla="*/ 1261 w 1717"/>
                    <a:gd name="T69" fmla="*/ 170 h 598"/>
                    <a:gd name="T70" fmla="*/ 1438 w 1717"/>
                    <a:gd name="T71" fmla="*/ 213 h 598"/>
                    <a:gd name="T72" fmla="*/ 1483 w 1717"/>
                    <a:gd name="T73" fmla="*/ 223 h 598"/>
                    <a:gd name="T74" fmla="*/ 1546 w 1717"/>
                    <a:gd name="T75" fmla="*/ 246 h 598"/>
                    <a:gd name="T76" fmla="*/ 1603 w 1717"/>
                    <a:gd name="T77" fmla="*/ 284 h 598"/>
                    <a:gd name="T78" fmla="*/ 1631 w 1717"/>
                    <a:gd name="T79" fmla="*/ 310 h 598"/>
                    <a:gd name="T80" fmla="*/ 1666 w 1717"/>
                    <a:gd name="T81" fmla="*/ 357 h 598"/>
                    <a:gd name="T82" fmla="*/ 1696 w 1717"/>
                    <a:gd name="T83" fmla="*/ 408 h 598"/>
                    <a:gd name="T84" fmla="*/ 1714 w 1717"/>
                    <a:gd name="T85" fmla="*/ 452 h 598"/>
                    <a:gd name="T86" fmla="*/ 1717 w 1717"/>
                    <a:gd name="T87" fmla="*/ 467 h 598"/>
                    <a:gd name="T88" fmla="*/ 1713 w 1717"/>
                    <a:gd name="T89" fmla="*/ 481 h 598"/>
                    <a:gd name="T90" fmla="*/ 1690 w 1717"/>
                    <a:gd name="T91" fmla="*/ 501 h 598"/>
                    <a:gd name="T92" fmla="*/ 1647 w 1717"/>
                    <a:gd name="T93" fmla="*/ 522 h 598"/>
                    <a:gd name="T94" fmla="*/ 1562 w 1717"/>
                    <a:gd name="T95" fmla="*/ 545 h 598"/>
                    <a:gd name="T96" fmla="*/ 1466 w 1717"/>
                    <a:gd name="T97" fmla="*/ 562 h 598"/>
                    <a:gd name="T98" fmla="*/ 1371 w 1717"/>
                    <a:gd name="T99" fmla="*/ 574 h 598"/>
                    <a:gd name="T100" fmla="*/ 1184 w 1717"/>
                    <a:gd name="T101" fmla="*/ 589 h 598"/>
                    <a:gd name="T102" fmla="*/ 976 w 1717"/>
                    <a:gd name="T103" fmla="*/ 597 h 598"/>
                    <a:gd name="T104" fmla="*/ 752 w 1717"/>
                    <a:gd name="T105"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17" h="598">
                      <a:moveTo>
                        <a:pt x="752" y="598"/>
                      </a:moveTo>
                      <a:lnTo>
                        <a:pt x="752" y="598"/>
                      </a:lnTo>
                      <a:lnTo>
                        <a:pt x="744" y="597"/>
                      </a:lnTo>
                      <a:lnTo>
                        <a:pt x="744" y="597"/>
                      </a:lnTo>
                      <a:lnTo>
                        <a:pt x="663" y="594"/>
                      </a:lnTo>
                      <a:lnTo>
                        <a:pt x="581" y="591"/>
                      </a:lnTo>
                      <a:lnTo>
                        <a:pt x="581" y="591"/>
                      </a:lnTo>
                      <a:lnTo>
                        <a:pt x="504" y="587"/>
                      </a:lnTo>
                      <a:lnTo>
                        <a:pt x="428" y="581"/>
                      </a:lnTo>
                      <a:lnTo>
                        <a:pt x="428" y="581"/>
                      </a:lnTo>
                      <a:lnTo>
                        <a:pt x="359" y="575"/>
                      </a:lnTo>
                      <a:lnTo>
                        <a:pt x="292" y="567"/>
                      </a:lnTo>
                      <a:lnTo>
                        <a:pt x="292" y="567"/>
                      </a:lnTo>
                      <a:lnTo>
                        <a:pt x="234" y="559"/>
                      </a:lnTo>
                      <a:lnTo>
                        <a:pt x="179" y="550"/>
                      </a:lnTo>
                      <a:lnTo>
                        <a:pt x="151" y="545"/>
                      </a:lnTo>
                      <a:lnTo>
                        <a:pt x="123" y="538"/>
                      </a:lnTo>
                      <a:lnTo>
                        <a:pt x="97" y="530"/>
                      </a:lnTo>
                      <a:lnTo>
                        <a:pt x="69" y="521"/>
                      </a:lnTo>
                      <a:lnTo>
                        <a:pt x="69" y="521"/>
                      </a:lnTo>
                      <a:lnTo>
                        <a:pt x="57" y="516"/>
                      </a:lnTo>
                      <a:lnTo>
                        <a:pt x="44" y="510"/>
                      </a:lnTo>
                      <a:lnTo>
                        <a:pt x="20" y="496"/>
                      </a:lnTo>
                      <a:lnTo>
                        <a:pt x="20" y="496"/>
                      </a:lnTo>
                      <a:lnTo>
                        <a:pt x="16" y="493"/>
                      </a:lnTo>
                      <a:lnTo>
                        <a:pt x="12" y="489"/>
                      </a:lnTo>
                      <a:lnTo>
                        <a:pt x="5" y="481"/>
                      </a:lnTo>
                      <a:lnTo>
                        <a:pt x="5" y="481"/>
                      </a:lnTo>
                      <a:lnTo>
                        <a:pt x="1" y="476"/>
                      </a:lnTo>
                      <a:lnTo>
                        <a:pt x="0" y="469"/>
                      </a:lnTo>
                      <a:lnTo>
                        <a:pt x="0" y="464"/>
                      </a:lnTo>
                      <a:lnTo>
                        <a:pt x="1" y="457"/>
                      </a:lnTo>
                      <a:lnTo>
                        <a:pt x="1" y="457"/>
                      </a:lnTo>
                      <a:lnTo>
                        <a:pt x="12" y="431"/>
                      </a:lnTo>
                      <a:lnTo>
                        <a:pt x="24" y="406"/>
                      </a:lnTo>
                      <a:lnTo>
                        <a:pt x="36" y="382"/>
                      </a:lnTo>
                      <a:lnTo>
                        <a:pt x="50" y="358"/>
                      </a:lnTo>
                      <a:lnTo>
                        <a:pt x="66" y="335"/>
                      </a:lnTo>
                      <a:lnTo>
                        <a:pt x="83" y="314"/>
                      </a:lnTo>
                      <a:lnTo>
                        <a:pt x="102" y="294"/>
                      </a:lnTo>
                      <a:lnTo>
                        <a:pt x="123" y="277"/>
                      </a:lnTo>
                      <a:lnTo>
                        <a:pt x="123" y="277"/>
                      </a:lnTo>
                      <a:lnTo>
                        <a:pt x="139" y="265"/>
                      </a:lnTo>
                      <a:lnTo>
                        <a:pt x="154" y="256"/>
                      </a:lnTo>
                      <a:lnTo>
                        <a:pt x="170" y="246"/>
                      </a:lnTo>
                      <a:lnTo>
                        <a:pt x="187" y="239"/>
                      </a:lnTo>
                      <a:lnTo>
                        <a:pt x="204" y="232"/>
                      </a:lnTo>
                      <a:lnTo>
                        <a:pt x="221" y="227"/>
                      </a:lnTo>
                      <a:lnTo>
                        <a:pt x="238" y="221"/>
                      </a:lnTo>
                      <a:lnTo>
                        <a:pt x="257" y="217"/>
                      </a:lnTo>
                      <a:lnTo>
                        <a:pt x="257" y="217"/>
                      </a:lnTo>
                      <a:lnTo>
                        <a:pt x="315" y="205"/>
                      </a:lnTo>
                      <a:lnTo>
                        <a:pt x="372" y="192"/>
                      </a:lnTo>
                      <a:lnTo>
                        <a:pt x="431" y="178"/>
                      </a:lnTo>
                      <a:lnTo>
                        <a:pt x="488" y="160"/>
                      </a:lnTo>
                      <a:lnTo>
                        <a:pt x="488" y="160"/>
                      </a:lnTo>
                      <a:lnTo>
                        <a:pt x="512" y="151"/>
                      </a:lnTo>
                      <a:lnTo>
                        <a:pt x="534" y="142"/>
                      </a:lnTo>
                      <a:lnTo>
                        <a:pt x="558" y="132"/>
                      </a:lnTo>
                      <a:lnTo>
                        <a:pt x="581" y="120"/>
                      </a:lnTo>
                      <a:lnTo>
                        <a:pt x="581" y="120"/>
                      </a:lnTo>
                      <a:lnTo>
                        <a:pt x="595" y="110"/>
                      </a:lnTo>
                      <a:lnTo>
                        <a:pt x="595" y="110"/>
                      </a:lnTo>
                      <a:lnTo>
                        <a:pt x="600" y="106"/>
                      </a:lnTo>
                      <a:lnTo>
                        <a:pt x="604" y="102"/>
                      </a:lnTo>
                      <a:lnTo>
                        <a:pt x="612" y="91"/>
                      </a:lnTo>
                      <a:lnTo>
                        <a:pt x="616" y="81"/>
                      </a:lnTo>
                      <a:lnTo>
                        <a:pt x="618" y="67"/>
                      </a:lnTo>
                      <a:lnTo>
                        <a:pt x="618" y="67"/>
                      </a:lnTo>
                      <a:lnTo>
                        <a:pt x="622" y="9"/>
                      </a:lnTo>
                      <a:lnTo>
                        <a:pt x="622" y="9"/>
                      </a:lnTo>
                      <a:lnTo>
                        <a:pt x="623" y="5"/>
                      </a:lnTo>
                      <a:lnTo>
                        <a:pt x="623" y="5"/>
                      </a:lnTo>
                      <a:lnTo>
                        <a:pt x="652" y="26"/>
                      </a:lnTo>
                      <a:lnTo>
                        <a:pt x="681" y="45"/>
                      </a:lnTo>
                      <a:lnTo>
                        <a:pt x="712" y="61"/>
                      </a:lnTo>
                      <a:lnTo>
                        <a:pt x="741" y="74"/>
                      </a:lnTo>
                      <a:lnTo>
                        <a:pt x="771" y="85"/>
                      </a:lnTo>
                      <a:lnTo>
                        <a:pt x="801" y="91"/>
                      </a:lnTo>
                      <a:lnTo>
                        <a:pt x="830" y="95"/>
                      </a:lnTo>
                      <a:lnTo>
                        <a:pt x="859" y="97"/>
                      </a:lnTo>
                      <a:lnTo>
                        <a:pt x="889" y="95"/>
                      </a:lnTo>
                      <a:lnTo>
                        <a:pt x="919" y="90"/>
                      </a:lnTo>
                      <a:lnTo>
                        <a:pt x="948" y="82"/>
                      </a:lnTo>
                      <a:lnTo>
                        <a:pt x="977" y="71"/>
                      </a:lnTo>
                      <a:lnTo>
                        <a:pt x="1007" y="58"/>
                      </a:lnTo>
                      <a:lnTo>
                        <a:pt x="1037" y="42"/>
                      </a:lnTo>
                      <a:lnTo>
                        <a:pt x="1066" y="22"/>
                      </a:lnTo>
                      <a:lnTo>
                        <a:pt x="1095" y="0"/>
                      </a:lnTo>
                      <a:lnTo>
                        <a:pt x="1095" y="0"/>
                      </a:lnTo>
                      <a:lnTo>
                        <a:pt x="1095" y="9"/>
                      </a:lnTo>
                      <a:lnTo>
                        <a:pt x="1095" y="9"/>
                      </a:lnTo>
                      <a:lnTo>
                        <a:pt x="1100" y="74"/>
                      </a:lnTo>
                      <a:lnTo>
                        <a:pt x="1100" y="74"/>
                      </a:lnTo>
                      <a:lnTo>
                        <a:pt x="1103" y="86"/>
                      </a:lnTo>
                      <a:lnTo>
                        <a:pt x="1107" y="95"/>
                      </a:lnTo>
                      <a:lnTo>
                        <a:pt x="1114" y="103"/>
                      </a:lnTo>
                      <a:lnTo>
                        <a:pt x="1121" y="110"/>
                      </a:lnTo>
                      <a:lnTo>
                        <a:pt x="1121" y="110"/>
                      </a:lnTo>
                      <a:lnTo>
                        <a:pt x="1141" y="123"/>
                      </a:lnTo>
                      <a:lnTo>
                        <a:pt x="1161" y="132"/>
                      </a:lnTo>
                      <a:lnTo>
                        <a:pt x="1182" y="142"/>
                      </a:lnTo>
                      <a:lnTo>
                        <a:pt x="1204" y="150"/>
                      </a:lnTo>
                      <a:lnTo>
                        <a:pt x="1204" y="150"/>
                      </a:lnTo>
                      <a:lnTo>
                        <a:pt x="1261" y="170"/>
                      </a:lnTo>
                      <a:lnTo>
                        <a:pt x="1320" y="187"/>
                      </a:lnTo>
                      <a:lnTo>
                        <a:pt x="1379" y="201"/>
                      </a:lnTo>
                      <a:lnTo>
                        <a:pt x="1438" y="213"/>
                      </a:lnTo>
                      <a:lnTo>
                        <a:pt x="1438" y="213"/>
                      </a:lnTo>
                      <a:lnTo>
                        <a:pt x="1461" y="217"/>
                      </a:lnTo>
                      <a:lnTo>
                        <a:pt x="1483" y="223"/>
                      </a:lnTo>
                      <a:lnTo>
                        <a:pt x="1505" y="229"/>
                      </a:lnTo>
                      <a:lnTo>
                        <a:pt x="1526" y="237"/>
                      </a:lnTo>
                      <a:lnTo>
                        <a:pt x="1546" y="246"/>
                      </a:lnTo>
                      <a:lnTo>
                        <a:pt x="1566" y="257"/>
                      </a:lnTo>
                      <a:lnTo>
                        <a:pt x="1584" y="269"/>
                      </a:lnTo>
                      <a:lnTo>
                        <a:pt x="1603" y="284"/>
                      </a:lnTo>
                      <a:lnTo>
                        <a:pt x="1603" y="284"/>
                      </a:lnTo>
                      <a:lnTo>
                        <a:pt x="1617" y="297"/>
                      </a:lnTo>
                      <a:lnTo>
                        <a:pt x="1631" y="310"/>
                      </a:lnTo>
                      <a:lnTo>
                        <a:pt x="1644" y="326"/>
                      </a:lnTo>
                      <a:lnTo>
                        <a:pt x="1656" y="341"/>
                      </a:lnTo>
                      <a:lnTo>
                        <a:pt x="1666" y="357"/>
                      </a:lnTo>
                      <a:lnTo>
                        <a:pt x="1677" y="374"/>
                      </a:lnTo>
                      <a:lnTo>
                        <a:pt x="1686" y="391"/>
                      </a:lnTo>
                      <a:lnTo>
                        <a:pt x="1696" y="408"/>
                      </a:lnTo>
                      <a:lnTo>
                        <a:pt x="1696" y="408"/>
                      </a:lnTo>
                      <a:lnTo>
                        <a:pt x="1705" y="429"/>
                      </a:lnTo>
                      <a:lnTo>
                        <a:pt x="1714" y="452"/>
                      </a:lnTo>
                      <a:lnTo>
                        <a:pt x="1714" y="452"/>
                      </a:lnTo>
                      <a:lnTo>
                        <a:pt x="1717" y="463"/>
                      </a:lnTo>
                      <a:lnTo>
                        <a:pt x="1717" y="467"/>
                      </a:lnTo>
                      <a:lnTo>
                        <a:pt x="1717" y="472"/>
                      </a:lnTo>
                      <a:lnTo>
                        <a:pt x="1715" y="476"/>
                      </a:lnTo>
                      <a:lnTo>
                        <a:pt x="1713" y="481"/>
                      </a:lnTo>
                      <a:lnTo>
                        <a:pt x="1706" y="488"/>
                      </a:lnTo>
                      <a:lnTo>
                        <a:pt x="1706" y="488"/>
                      </a:lnTo>
                      <a:lnTo>
                        <a:pt x="1690" y="501"/>
                      </a:lnTo>
                      <a:lnTo>
                        <a:pt x="1673" y="510"/>
                      </a:lnTo>
                      <a:lnTo>
                        <a:pt x="1673" y="510"/>
                      </a:lnTo>
                      <a:lnTo>
                        <a:pt x="1647" y="522"/>
                      </a:lnTo>
                      <a:lnTo>
                        <a:pt x="1619" y="532"/>
                      </a:lnTo>
                      <a:lnTo>
                        <a:pt x="1591" y="540"/>
                      </a:lnTo>
                      <a:lnTo>
                        <a:pt x="1562" y="545"/>
                      </a:lnTo>
                      <a:lnTo>
                        <a:pt x="1562" y="545"/>
                      </a:lnTo>
                      <a:lnTo>
                        <a:pt x="1514" y="554"/>
                      </a:lnTo>
                      <a:lnTo>
                        <a:pt x="1466" y="562"/>
                      </a:lnTo>
                      <a:lnTo>
                        <a:pt x="1418" y="569"/>
                      </a:lnTo>
                      <a:lnTo>
                        <a:pt x="1371" y="574"/>
                      </a:lnTo>
                      <a:lnTo>
                        <a:pt x="1371" y="574"/>
                      </a:lnTo>
                      <a:lnTo>
                        <a:pt x="1278" y="582"/>
                      </a:lnTo>
                      <a:lnTo>
                        <a:pt x="1184" y="589"/>
                      </a:lnTo>
                      <a:lnTo>
                        <a:pt x="1184" y="589"/>
                      </a:lnTo>
                      <a:lnTo>
                        <a:pt x="1080" y="593"/>
                      </a:lnTo>
                      <a:lnTo>
                        <a:pt x="976" y="597"/>
                      </a:lnTo>
                      <a:lnTo>
                        <a:pt x="976" y="597"/>
                      </a:lnTo>
                      <a:lnTo>
                        <a:pt x="965" y="598"/>
                      </a:lnTo>
                      <a:lnTo>
                        <a:pt x="965" y="598"/>
                      </a:lnTo>
                      <a:lnTo>
                        <a:pt x="752" y="598"/>
                      </a:lnTo>
                      <a:lnTo>
                        <a:pt x="752" y="5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18" name="Freeform 424"/>
                <p:cNvSpPr>
                  <a:spLocks/>
                </p:cNvSpPr>
                <p:nvPr/>
              </p:nvSpPr>
              <p:spPr bwMode="auto">
                <a:xfrm>
                  <a:off x="2103438" y="2462213"/>
                  <a:ext cx="361950" cy="474663"/>
                </a:xfrm>
                <a:custGeom>
                  <a:avLst/>
                  <a:gdLst>
                    <a:gd name="T0" fmla="*/ 877 w 912"/>
                    <a:gd name="T1" fmla="*/ 582 h 1197"/>
                    <a:gd name="T2" fmla="*/ 898 w 912"/>
                    <a:gd name="T3" fmla="*/ 586 h 1197"/>
                    <a:gd name="T4" fmla="*/ 906 w 912"/>
                    <a:gd name="T5" fmla="*/ 597 h 1197"/>
                    <a:gd name="T6" fmla="*/ 912 w 912"/>
                    <a:gd name="T7" fmla="*/ 630 h 1197"/>
                    <a:gd name="T8" fmla="*/ 900 w 912"/>
                    <a:gd name="T9" fmla="*/ 703 h 1197"/>
                    <a:gd name="T10" fmla="*/ 875 w 912"/>
                    <a:gd name="T11" fmla="*/ 772 h 1197"/>
                    <a:gd name="T12" fmla="*/ 852 w 912"/>
                    <a:gd name="T13" fmla="*/ 805 h 1197"/>
                    <a:gd name="T14" fmla="*/ 816 w 912"/>
                    <a:gd name="T15" fmla="*/ 823 h 1197"/>
                    <a:gd name="T16" fmla="*/ 810 w 912"/>
                    <a:gd name="T17" fmla="*/ 830 h 1197"/>
                    <a:gd name="T18" fmla="*/ 779 w 912"/>
                    <a:gd name="T19" fmla="*/ 935 h 1197"/>
                    <a:gd name="T20" fmla="*/ 702 w 912"/>
                    <a:gd name="T21" fmla="*/ 1057 h 1197"/>
                    <a:gd name="T22" fmla="*/ 637 w 912"/>
                    <a:gd name="T23" fmla="*/ 1123 h 1197"/>
                    <a:gd name="T24" fmla="*/ 576 w 912"/>
                    <a:gd name="T25" fmla="*/ 1164 h 1197"/>
                    <a:gd name="T26" fmla="*/ 530 w 912"/>
                    <a:gd name="T27" fmla="*/ 1185 h 1197"/>
                    <a:gd name="T28" fmla="*/ 470 w 912"/>
                    <a:gd name="T29" fmla="*/ 1197 h 1197"/>
                    <a:gd name="T30" fmla="*/ 412 w 912"/>
                    <a:gd name="T31" fmla="*/ 1193 h 1197"/>
                    <a:gd name="T32" fmla="*/ 354 w 912"/>
                    <a:gd name="T33" fmla="*/ 1175 h 1197"/>
                    <a:gd name="T34" fmla="*/ 304 w 912"/>
                    <a:gd name="T35" fmla="*/ 1148 h 1197"/>
                    <a:gd name="T36" fmla="*/ 234 w 912"/>
                    <a:gd name="T37" fmla="*/ 1089 h 1197"/>
                    <a:gd name="T38" fmla="*/ 189 w 912"/>
                    <a:gd name="T39" fmla="*/ 1034 h 1197"/>
                    <a:gd name="T40" fmla="*/ 139 w 912"/>
                    <a:gd name="T41" fmla="*/ 951 h 1197"/>
                    <a:gd name="T42" fmla="*/ 106 w 912"/>
                    <a:gd name="T43" fmla="*/ 859 h 1197"/>
                    <a:gd name="T44" fmla="*/ 88 w 912"/>
                    <a:gd name="T45" fmla="*/ 822 h 1197"/>
                    <a:gd name="T46" fmla="*/ 53 w 912"/>
                    <a:gd name="T47" fmla="*/ 798 h 1197"/>
                    <a:gd name="T48" fmla="*/ 27 w 912"/>
                    <a:gd name="T49" fmla="*/ 752 h 1197"/>
                    <a:gd name="T50" fmla="*/ 5 w 912"/>
                    <a:gd name="T51" fmla="*/ 679 h 1197"/>
                    <a:gd name="T52" fmla="*/ 0 w 912"/>
                    <a:gd name="T53" fmla="*/ 622 h 1197"/>
                    <a:gd name="T54" fmla="*/ 5 w 912"/>
                    <a:gd name="T55" fmla="*/ 595 h 1197"/>
                    <a:gd name="T56" fmla="*/ 19 w 912"/>
                    <a:gd name="T57" fmla="*/ 582 h 1197"/>
                    <a:gd name="T58" fmla="*/ 37 w 912"/>
                    <a:gd name="T59" fmla="*/ 583 h 1197"/>
                    <a:gd name="T60" fmla="*/ 34 w 912"/>
                    <a:gd name="T61" fmla="*/ 534 h 1197"/>
                    <a:gd name="T62" fmla="*/ 30 w 912"/>
                    <a:gd name="T63" fmla="*/ 395 h 1197"/>
                    <a:gd name="T64" fmla="*/ 42 w 912"/>
                    <a:gd name="T65" fmla="*/ 323 h 1197"/>
                    <a:gd name="T66" fmla="*/ 75 w 912"/>
                    <a:gd name="T67" fmla="*/ 233 h 1197"/>
                    <a:gd name="T68" fmla="*/ 126 w 912"/>
                    <a:gd name="T69" fmla="*/ 152 h 1197"/>
                    <a:gd name="T70" fmla="*/ 228 w 912"/>
                    <a:gd name="T71" fmla="*/ 60 h 1197"/>
                    <a:gd name="T72" fmla="*/ 311 w 912"/>
                    <a:gd name="T73" fmla="*/ 16 h 1197"/>
                    <a:gd name="T74" fmla="*/ 377 w 912"/>
                    <a:gd name="T75" fmla="*/ 3 h 1197"/>
                    <a:gd name="T76" fmla="*/ 454 w 912"/>
                    <a:gd name="T77" fmla="*/ 1 h 1197"/>
                    <a:gd name="T78" fmla="*/ 477 w 912"/>
                    <a:gd name="T79" fmla="*/ 0 h 1197"/>
                    <a:gd name="T80" fmla="*/ 604 w 912"/>
                    <a:gd name="T81" fmla="*/ 18 h 1197"/>
                    <a:gd name="T82" fmla="*/ 714 w 912"/>
                    <a:gd name="T83" fmla="*/ 82 h 1197"/>
                    <a:gd name="T84" fmla="*/ 761 w 912"/>
                    <a:gd name="T85" fmla="*/ 125 h 1197"/>
                    <a:gd name="T86" fmla="*/ 810 w 912"/>
                    <a:gd name="T87" fmla="*/ 187 h 1197"/>
                    <a:gd name="T88" fmla="*/ 845 w 912"/>
                    <a:gd name="T89" fmla="*/ 256 h 1197"/>
                    <a:gd name="T90" fmla="*/ 871 w 912"/>
                    <a:gd name="T91" fmla="*/ 333 h 1197"/>
                    <a:gd name="T92" fmla="*/ 880 w 912"/>
                    <a:gd name="T93" fmla="*/ 392 h 1197"/>
                    <a:gd name="T94" fmla="*/ 880 w 912"/>
                    <a:gd name="T95" fmla="*/ 514 h 1197"/>
                    <a:gd name="T96" fmla="*/ 871 w 912"/>
                    <a:gd name="T97" fmla="*/ 583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2" h="1197">
                      <a:moveTo>
                        <a:pt x="871" y="583"/>
                      </a:moveTo>
                      <a:lnTo>
                        <a:pt x="871" y="583"/>
                      </a:lnTo>
                      <a:lnTo>
                        <a:pt x="877" y="582"/>
                      </a:lnTo>
                      <a:lnTo>
                        <a:pt x="877" y="582"/>
                      </a:lnTo>
                      <a:lnTo>
                        <a:pt x="887" y="582"/>
                      </a:lnTo>
                      <a:lnTo>
                        <a:pt x="891" y="582"/>
                      </a:lnTo>
                      <a:lnTo>
                        <a:pt x="894" y="583"/>
                      </a:lnTo>
                      <a:lnTo>
                        <a:pt x="898" y="586"/>
                      </a:lnTo>
                      <a:lnTo>
                        <a:pt x="901" y="589"/>
                      </a:lnTo>
                      <a:lnTo>
                        <a:pt x="904" y="593"/>
                      </a:lnTo>
                      <a:lnTo>
                        <a:pt x="906" y="597"/>
                      </a:lnTo>
                      <a:lnTo>
                        <a:pt x="906" y="597"/>
                      </a:lnTo>
                      <a:lnTo>
                        <a:pt x="910" y="614"/>
                      </a:lnTo>
                      <a:lnTo>
                        <a:pt x="912" y="622"/>
                      </a:lnTo>
                      <a:lnTo>
                        <a:pt x="912" y="630"/>
                      </a:lnTo>
                      <a:lnTo>
                        <a:pt x="912" y="630"/>
                      </a:lnTo>
                      <a:lnTo>
                        <a:pt x="910" y="648"/>
                      </a:lnTo>
                      <a:lnTo>
                        <a:pt x="908" y="667"/>
                      </a:lnTo>
                      <a:lnTo>
                        <a:pt x="904" y="684"/>
                      </a:lnTo>
                      <a:lnTo>
                        <a:pt x="900" y="703"/>
                      </a:lnTo>
                      <a:lnTo>
                        <a:pt x="896" y="720"/>
                      </a:lnTo>
                      <a:lnTo>
                        <a:pt x="889" y="737"/>
                      </a:lnTo>
                      <a:lnTo>
                        <a:pt x="883" y="754"/>
                      </a:lnTo>
                      <a:lnTo>
                        <a:pt x="875" y="772"/>
                      </a:lnTo>
                      <a:lnTo>
                        <a:pt x="875" y="772"/>
                      </a:lnTo>
                      <a:lnTo>
                        <a:pt x="868" y="784"/>
                      </a:lnTo>
                      <a:lnTo>
                        <a:pt x="860" y="794"/>
                      </a:lnTo>
                      <a:lnTo>
                        <a:pt x="852" y="805"/>
                      </a:lnTo>
                      <a:lnTo>
                        <a:pt x="841" y="813"/>
                      </a:lnTo>
                      <a:lnTo>
                        <a:pt x="841" y="813"/>
                      </a:lnTo>
                      <a:lnTo>
                        <a:pt x="830" y="819"/>
                      </a:lnTo>
                      <a:lnTo>
                        <a:pt x="816" y="823"/>
                      </a:lnTo>
                      <a:lnTo>
                        <a:pt x="816" y="823"/>
                      </a:lnTo>
                      <a:lnTo>
                        <a:pt x="812" y="826"/>
                      </a:lnTo>
                      <a:lnTo>
                        <a:pt x="811" y="827"/>
                      </a:lnTo>
                      <a:lnTo>
                        <a:pt x="810" y="830"/>
                      </a:lnTo>
                      <a:lnTo>
                        <a:pt x="810" y="830"/>
                      </a:lnTo>
                      <a:lnTo>
                        <a:pt x="803" y="866"/>
                      </a:lnTo>
                      <a:lnTo>
                        <a:pt x="792" y="902"/>
                      </a:lnTo>
                      <a:lnTo>
                        <a:pt x="779" y="935"/>
                      </a:lnTo>
                      <a:lnTo>
                        <a:pt x="765" y="968"/>
                      </a:lnTo>
                      <a:lnTo>
                        <a:pt x="746" y="998"/>
                      </a:lnTo>
                      <a:lnTo>
                        <a:pt x="726" y="1029"/>
                      </a:lnTo>
                      <a:lnTo>
                        <a:pt x="702" y="1057"/>
                      </a:lnTo>
                      <a:lnTo>
                        <a:pt x="678" y="1085"/>
                      </a:lnTo>
                      <a:lnTo>
                        <a:pt x="678" y="1085"/>
                      </a:lnTo>
                      <a:lnTo>
                        <a:pt x="652" y="1111"/>
                      </a:lnTo>
                      <a:lnTo>
                        <a:pt x="637" y="1123"/>
                      </a:lnTo>
                      <a:lnTo>
                        <a:pt x="623" y="1134"/>
                      </a:lnTo>
                      <a:lnTo>
                        <a:pt x="608" y="1144"/>
                      </a:lnTo>
                      <a:lnTo>
                        <a:pt x="592" y="1155"/>
                      </a:lnTo>
                      <a:lnTo>
                        <a:pt x="576" y="1164"/>
                      </a:lnTo>
                      <a:lnTo>
                        <a:pt x="560" y="1174"/>
                      </a:lnTo>
                      <a:lnTo>
                        <a:pt x="560" y="1174"/>
                      </a:lnTo>
                      <a:lnTo>
                        <a:pt x="544" y="1180"/>
                      </a:lnTo>
                      <a:lnTo>
                        <a:pt x="530" y="1185"/>
                      </a:lnTo>
                      <a:lnTo>
                        <a:pt x="515" y="1189"/>
                      </a:lnTo>
                      <a:lnTo>
                        <a:pt x="499" y="1193"/>
                      </a:lnTo>
                      <a:lnTo>
                        <a:pt x="485" y="1196"/>
                      </a:lnTo>
                      <a:lnTo>
                        <a:pt x="470" y="1197"/>
                      </a:lnTo>
                      <a:lnTo>
                        <a:pt x="456" y="1197"/>
                      </a:lnTo>
                      <a:lnTo>
                        <a:pt x="441" y="1197"/>
                      </a:lnTo>
                      <a:lnTo>
                        <a:pt x="426" y="1196"/>
                      </a:lnTo>
                      <a:lnTo>
                        <a:pt x="412" y="1193"/>
                      </a:lnTo>
                      <a:lnTo>
                        <a:pt x="397" y="1191"/>
                      </a:lnTo>
                      <a:lnTo>
                        <a:pt x="383" y="1187"/>
                      </a:lnTo>
                      <a:lnTo>
                        <a:pt x="368" y="1181"/>
                      </a:lnTo>
                      <a:lnTo>
                        <a:pt x="354" y="1175"/>
                      </a:lnTo>
                      <a:lnTo>
                        <a:pt x="339" y="1168"/>
                      </a:lnTo>
                      <a:lnTo>
                        <a:pt x="324" y="1160"/>
                      </a:lnTo>
                      <a:lnTo>
                        <a:pt x="324" y="1160"/>
                      </a:lnTo>
                      <a:lnTo>
                        <a:pt x="304" y="1148"/>
                      </a:lnTo>
                      <a:lnTo>
                        <a:pt x="286" y="1135"/>
                      </a:lnTo>
                      <a:lnTo>
                        <a:pt x="267" y="1120"/>
                      </a:lnTo>
                      <a:lnTo>
                        <a:pt x="250" y="1105"/>
                      </a:lnTo>
                      <a:lnTo>
                        <a:pt x="234" y="1089"/>
                      </a:lnTo>
                      <a:lnTo>
                        <a:pt x="218" y="1071"/>
                      </a:lnTo>
                      <a:lnTo>
                        <a:pt x="204" y="1053"/>
                      </a:lnTo>
                      <a:lnTo>
                        <a:pt x="189" y="1034"/>
                      </a:lnTo>
                      <a:lnTo>
                        <a:pt x="189" y="1034"/>
                      </a:lnTo>
                      <a:lnTo>
                        <a:pt x="175" y="1014"/>
                      </a:lnTo>
                      <a:lnTo>
                        <a:pt x="161" y="993"/>
                      </a:lnTo>
                      <a:lnTo>
                        <a:pt x="149" y="972"/>
                      </a:lnTo>
                      <a:lnTo>
                        <a:pt x="139" y="951"/>
                      </a:lnTo>
                      <a:lnTo>
                        <a:pt x="128" y="928"/>
                      </a:lnTo>
                      <a:lnTo>
                        <a:pt x="120" y="906"/>
                      </a:lnTo>
                      <a:lnTo>
                        <a:pt x="112" y="883"/>
                      </a:lnTo>
                      <a:lnTo>
                        <a:pt x="106" y="859"/>
                      </a:lnTo>
                      <a:lnTo>
                        <a:pt x="106" y="859"/>
                      </a:lnTo>
                      <a:lnTo>
                        <a:pt x="99" y="825"/>
                      </a:lnTo>
                      <a:lnTo>
                        <a:pt x="99" y="825"/>
                      </a:lnTo>
                      <a:lnTo>
                        <a:pt x="88" y="822"/>
                      </a:lnTo>
                      <a:lnTo>
                        <a:pt x="78" y="818"/>
                      </a:lnTo>
                      <a:lnTo>
                        <a:pt x="68" y="813"/>
                      </a:lnTo>
                      <a:lnTo>
                        <a:pt x="61" y="806"/>
                      </a:lnTo>
                      <a:lnTo>
                        <a:pt x="53" y="798"/>
                      </a:lnTo>
                      <a:lnTo>
                        <a:pt x="46" y="789"/>
                      </a:lnTo>
                      <a:lnTo>
                        <a:pt x="35" y="769"/>
                      </a:lnTo>
                      <a:lnTo>
                        <a:pt x="35" y="769"/>
                      </a:lnTo>
                      <a:lnTo>
                        <a:pt x="27" y="752"/>
                      </a:lnTo>
                      <a:lnTo>
                        <a:pt x="21" y="735"/>
                      </a:lnTo>
                      <a:lnTo>
                        <a:pt x="14" y="716"/>
                      </a:lnTo>
                      <a:lnTo>
                        <a:pt x="9" y="697"/>
                      </a:lnTo>
                      <a:lnTo>
                        <a:pt x="5" y="679"/>
                      </a:lnTo>
                      <a:lnTo>
                        <a:pt x="2" y="660"/>
                      </a:lnTo>
                      <a:lnTo>
                        <a:pt x="1" y="642"/>
                      </a:lnTo>
                      <a:lnTo>
                        <a:pt x="0" y="622"/>
                      </a:lnTo>
                      <a:lnTo>
                        <a:pt x="0" y="622"/>
                      </a:lnTo>
                      <a:lnTo>
                        <a:pt x="1" y="611"/>
                      </a:lnTo>
                      <a:lnTo>
                        <a:pt x="4" y="602"/>
                      </a:lnTo>
                      <a:lnTo>
                        <a:pt x="4" y="602"/>
                      </a:lnTo>
                      <a:lnTo>
                        <a:pt x="5" y="595"/>
                      </a:lnTo>
                      <a:lnTo>
                        <a:pt x="8" y="591"/>
                      </a:lnTo>
                      <a:lnTo>
                        <a:pt x="11" y="587"/>
                      </a:lnTo>
                      <a:lnTo>
                        <a:pt x="15" y="585"/>
                      </a:lnTo>
                      <a:lnTo>
                        <a:pt x="19" y="582"/>
                      </a:lnTo>
                      <a:lnTo>
                        <a:pt x="25" y="582"/>
                      </a:lnTo>
                      <a:lnTo>
                        <a:pt x="30" y="582"/>
                      </a:lnTo>
                      <a:lnTo>
                        <a:pt x="37" y="583"/>
                      </a:lnTo>
                      <a:lnTo>
                        <a:pt x="37" y="583"/>
                      </a:lnTo>
                      <a:lnTo>
                        <a:pt x="41" y="583"/>
                      </a:lnTo>
                      <a:lnTo>
                        <a:pt x="41" y="583"/>
                      </a:lnTo>
                      <a:lnTo>
                        <a:pt x="34" y="534"/>
                      </a:lnTo>
                      <a:lnTo>
                        <a:pt x="34" y="534"/>
                      </a:lnTo>
                      <a:lnTo>
                        <a:pt x="30" y="500"/>
                      </a:lnTo>
                      <a:lnTo>
                        <a:pt x="29" y="465"/>
                      </a:lnTo>
                      <a:lnTo>
                        <a:pt x="29" y="430"/>
                      </a:lnTo>
                      <a:lnTo>
                        <a:pt x="30" y="395"/>
                      </a:lnTo>
                      <a:lnTo>
                        <a:pt x="30" y="395"/>
                      </a:lnTo>
                      <a:lnTo>
                        <a:pt x="34" y="371"/>
                      </a:lnTo>
                      <a:lnTo>
                        <a:pt x="38" y="347"/>
                      </a:lnTo>
                      <a:lnTo>
                        <a:pt x="42" y="323"/>
                      </a:lnTo>
                      <a:lnTo>
                        <a:pt x="49" y="301"/>
                      </a:lnTo>
                      <a:lnTo>
                        <a:pt x="57" y="278"/>
                      </a:lnTo>
                      <a:lnTo>
                        <a:pt x="65" y="256"/>
                      </a:lnTo>
                      <a:lnTo>
                        <a:pt x="75" y="233"/>
                      </a:lnTo>
                      <a:lnTo>
                        <a:pt x="86" y="212"/>
                      </a:lnTo>
                      <a:lnTo>
                        <a:pt x="86" y="212"/>
                      </a:lnTo>
                      <a:lnTo>
                        <a:pt x="104" y="182"/>
                      </a:lnTo>
                      <a:lnTo>
                        <a:pt x="126" y="152"/>
                      </a:lnTo>
                      <a:lnTo>
                        <a:pt x="148" y="126"/>
                      </a:lnTo>
                      <a:lnTo>
                        <a:pt x="173" y="102"/>
                      </a:lnTo>
                      <a:lnTo>
                        <a:pt x="200" y="79"/>
                      </a:lnTo>
                      <a:lnTo>
                        <a:pt x="228" y="60"/>
                      </a:lnTo>
                      <a:lnTo>
                        <a:pt x="258" y="41"/>
                      </a:lnTo>
                      <a:lnTo>
                        <a:pt x="290" y="25"/>
                      </a:lnTo>
                      <a:lnTo>
                        <a:pt x="290" y="25"/>
                      </a:lnTo>
                      <a:lnTo>
                        <a:pt x="311" y="16"/>
                      </a:lnTo>
                      <a:lnTo>
                        <a:pt x="332" y="11"/>
                      </a:lnTo>
                      <a:lnTo>
                        <a:pt x="355" y="7"/>
                      </a:lnTo>
                      <a:lnTo>
                        <a:pt x="377" y="3"/>
                      </a:lnTo>
                      <a:lnTo>
                        <a:pt x="377" y="3"/>
                      </a:lnTo>
                      <a:lnTo>
                        <a:pt x="396" y="1"/>
                      </a:lnTo>
                      <a:lnTo>
                        <a:pt x="416" y="0"/>
                      </a:lnTo>
                      <a:lnTo>
                        <a:pt x="434" y="0"/>
                      </a:lnTo>
                      <a:lnTo>
                        <a:pt x="454" y="1"/>
                      </a:lnTo>
                      <a:lnTo>
                        <a:pt x="454" y="1"/>
                      </a:lnTo>
                      <a:lnTo>
                        <a:pt x="466" y="1"/>
                      </a:lnTo>
                      <a:lnTo>
                        <a:pt x="477" y="0"/>
                      </a:lnTo>
                      <a:lnTo>
                        <a:pt x="477" y="0"/>
                      </a:lnTo>
                      <a:lnTo>
                        <a:pt x="510" y="0"/>
                      </a:lnTo>
                      <a:lnTo>
                        <a:pt x="543" y="4"/>
                      </a:lnTo>
                      <a:lnTo>
                        <a:pt x="574" y="11"/>
                      </a:lnTo>
                      <a:lnTo>
                        <a:pt x="604" y="18"/>
                      </a:lnTo>
                      <a:lnTo>
                        <a:pt x="633" y="30"/>
                      </a:lnTo>
                      <a:lnTo>
                        <a:pt x="661" y="45"/>
                      </a:lnTo>
                      <a:lnTo>
                        <a:pt x="689" y="62"/>
                      </a:lnTo>
                      <a:lnTo>
                        <a:pt x="714" y="82"/>
                      </a:lnTo>
                      <a:lnTo>
                        <a:pt x="714" y="82"/>
                      </a:lnTo>
                      <a:lnTo>
                        <a:pt x="730" y="95"/>
                      </a:lnTo>
                      <a:lnTo>
                        <a:pt x="746" y="110"/>
                      </a:lnTo>
                      <a:lnTo>
                        <a:pt x="761" y="125"/>
                      </a:lnTo>
                      <a:lnTo>
                        <a:pt x="774" y="139"/>
                      </a:lnTo>
                      <a:lnTo>
                        <a:pt x="786" y="154"/>
                      </a:lnTo>
                      <a:lnTo>
                        <a:pt x="798" y="170"/>
                      </a:lnTo>
                      <a:lnTo>
                        <a:pt x="810" y="187"/>
                      </a:lnTo>
                      <a:lnTo>
                        <a:pt x="820" y="203"/>
                      </a:lnTo>
                      <a:lnTo>
                        <a:pt x="830" y="220"/>
                      </a:lnTo>
                      <a:lnTo>
                        <a:pt x="837" y="237"/>
                      </a:lnTo>
                      <a:lnTo>
                        <a:pt x="845" y="256"/>
                      </a:lnTo>
                      <a:lnTo>
                        <a:pt x="853" y="274"/>
                      </a:lnTo>
                      <a:lnTo>
                        <a:pt x="860" y="293"/>
                      </a:lnTo>
                      <a:lnTo>
                        <a:pt x="865" y="313"/>
                      </a:lnTo>
                      <a:lnTo>
                        <a:pt x="871" y="333"/>
                      </a:lnTo>
                      <a:lnTo>
                        <a:pt x="875" y="353"/>
                      </a:lnTo>
                      <a:lnTo>
                        <a:pt x="875" y="353"/>
                      </a:lnTo>
                      <a:lnTo>
                        <a:pt x="877" y="373"/>
                      </a:lnTo>
                      <a:lnTo>
                        <a:pt x="880" y="392"/>
                      </a:lnTo>
                      <a:lnTo>
                        <a:pt x="883" y="434"/>
                      </a:lnTo>
                      <a:lnTo>
                        <a:pt x="883" y="473"/>
                      </a:lnTo>
                      <a:lnTo>
                        <a:pt x="880" y="514"/>
                      </a:lnTo>
                      <a:lnTo>
                        <a:pt x="880" y="514"/>
                      </a:lnTo>
                      <a:lnTo>
                        <a:pt x="876" y="546"/>
                      </a:lnTo>
                      <a:lnTo>
                        <a:pt x="871" y="578"/>
                      </a:lnTo>
                      <a:lnTo>
                        <a:pt x="871" y="578"/>
                      </a:lnTo>
                      <a:lnTo>
                        <a:pt x="871" y="583"/>
                      </a:lnTo>
                      <a:lnTo>
                        <a:pt x="871" y="583"/>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591" name="Freeform 5"/>
              <p:cNvSpPr>
                <a:spLocks noEditPoints="1"/>
              </p:cNvSpPr>
              <p:nvPr/>
            </p:nvSpPr>
            <p:spPr bwMode="auto">
              <a:xfrm>
                <a:off x="2444073" y="3408200"/>
                <a:ext cx="130441" cy="23502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2" name="Freeform 6"/>
              <p:cNvSpPr>
                <a:spLocks/>
              </p:cNvSpPr>
              <p:nvPr/>
            </p:nvSpPr>
            <p:spPr bwMode="auto">
              <a:xfrm>
                <a:off x="2184862" y="3790350"/>
                <a:ext cx="260582" cy="210414"/>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0072C6">
                  <a:lumMod val="20000"/>
                  <a:lumOff val="80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3" name="Freeform 6"/>
              <p:cNvSpPr>
                <a:spLocks/>
              </p:cNvSpPr>
              <p:nvPr/>
            </p:nvSpPr>
            <p:spPr bwMode="auto">
              <a:xfrm>
                <a:off x="2904723" y="3446736"/>
                <a:ext cx="202171" cy="163250"/>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4" name="Freeform 5"/>
              <p:cNvSpPr>
                <a:spLocks noEditPoints="1"/>
              </p:cNvSpPr>
              <p:nvPr/>
            </p:nvSpPr>
            <p:spPr bwMode="auto">
              <a:xfrm>
                <a:off x="2793864" y="3695717"/>
                <a:ext cx="130441" cy="23502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5" name="Freeform 5"/>
              <p:cNvSpPr>
                <a:spLocks noEditPoints="1"/>
              </p:cNvSpPr>
              <p:nvPr/>
            </p:nvSpPr>
            <p:spPr bwMode="auto">
              <a:xfrm>
                <a:off x="3352771" y="3532977"/>
                <a:ext cx="96323" cy="173552"/>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0072C6">
                  <a:lumMod val="20000"/>
                  <a:lumOff val="80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6" name="Up Arrow 595"/>
              <p:cNvSpPr/>
              <p:nvPr/>
            </p:nvSpPr>
            <p:spPr bwMode="auto">
              <a:xfrm>
                <a:off x="3062057" y="3914916"/>
                <a:ext cx="186919" cy="182469"/>
              </a:xfrm>
              <a:prstGeom prst="upArrow">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97" name="Up Arrow 596"/>
              <p:cNvSpPr/>
              <p:nvPr/>
            </p:nvSpPr>
            <p:spPr bwMode="auto">
              <a:xfrm rot="10800000">
                <a:off x="2504150" y="3914916"/>
                <a:ext cx="186919" cy="182469"/>
              </a:xfrm>
              <a:prstGeom prst="upArrow">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98" name="Freeform 5"/>
              <p:cNvSpPr>
                <a:spLocks noEditPoints="1"/>
              </p:cNvSpPr>
              <p:nvPr/>
            </p:nvSpPr>
            <p:spPr bwMode="auto">
              <a:xfrm>
                <a:off x="3187583" y="3687942"/>
                <a:ext cx="54986" cy="9907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599" name="Freeform 5"/>
              <p:cNvSpPr>
                <a:spLocks noEditPoints="1"/>
              </p:cNvSpPr>
              <p:nvPr/>
            </p:nvSpPr>
            <p:spPr bwMode="auto">
              <a:xfrm>
                <a:off x="2734555" y="3505368"/>
                <a:ext cx="54986" cy="9907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0072C6">
                  <a:lumMod val="20000"/>
                  <a:lumOff val="80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00" name="Freeform 5"/>
              <p:cNvSpPr>
                <a:spLocks noEditPoints="1"/>
              </p:cNvSpPr>
              <p:nvPr/>
            </p:nvSpPr>
            <p:spPr bwMode="auto">
              <a:xfrm>
                <a:off x="2594719" y="3692146"/>
                <a:ext cx="54986" cy="9907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01" name="Freeform 6"/>
              <p:cNvSpPr>
                <a:spLocks/>
              </p:cNvSpPr>
              <p:nvPr/>
            </p:nvSpPr>
            <p:spPr bwMode="auto">
              <a:xfrm>
                <a:off x="2803459" y="3283765"/>
                <a:ext cx="153204" cy="105039"/>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0072C6">
                  <a:lumMod val="20000"/>
                  <a:lumOff val="80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02" name="Freeform 6"/>
              <p:cNvSpPr>
                <a:spLocks/>
              </p:cNvSpPr>
              <p:nvPr/>
            </p:nvSpPr>
            <p:spPr bwMode="auto">
              <a:xfrm>
                <a:off x="2974665" y="3774726"/>
                <a:ext cx="153204" cy="105039"/>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0072C6">
                  <a:lumMod val="20000"/>
                  <a:lumOff val="80000"/>
                </a:srgbClr>
              </a:solidFill>
              <a:ln w="9525" cap="flat" cmpd="sng" algn="ctr">
                <a:noFill/>
                <a:prstDash val="solid"/>
                <a:headEnd type="none" w="med" len="med"/>
                <a:tailEnd type="none" w="med" len="med"/>
              </a:ln>
              <a:effectLst/>
              <a:ex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03" name="Freeform 6"/>
              <p:cNvSpPr>
                <a:spLocks/>
              </p:cNvSpPr>
              <p:nvPr/>
            </p:nvSpPr>
            <p:spPr bwMode="auto">
              <a:xfrm>
                <a:off x="3208244" y="3440199"/>
                <a:ext cx="103857" cy="71207"/>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FFFFFF">
                  <a:lumMod val="65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04" name="Rounded Rectangle 603"/>
              <p:cNvSpPr/>
              <p:nvPr/>
            </p:nvSpPr>
            <p:spPr bwMode="auto">
              <a:xfrm>
                <a:off x="2400658" y="4604121"/>
                <a:ext cx="325398" cy="232427"/>
              </a:xfrm>
              <a:prstGeom prst="round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05" name="Rounded Rectangle 604"/>
              <p:cNvSpPr/>
              <p:nvPr/>
            </p:nvSpPr>
            <p:spPr bwMode="auto">
              <a:xfrm>
                <a:off x="2420819" y="4599693"/>
                <a:ext cx="285074" cy="382951"/>
              </a:xfrm>
              <a:prstGeom prst="roundRect">
                <a:avLst>
                  <a:gd name="adj" fmla="val 17485"/>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06" name="Rounded Rectangle 605"/>
              <p:cNvSpPr/>
              <p:nvPr/>
            </p:nvSpPr>
            <p:spPr bwMode="auto">
              <a:xfrm>
                <a:off x="2420580" y="4885246"/>
                <a:ext cx="285553" cy="92971"/>
              </a:xfrm>
              <a:prstGeom prst="round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07" name="Freeform 606"/>
              <p:cNvSpPr/>
              <p:nvPr/>
            </p:nvSpPr>
            <p:spPr bwMode="auto">
              <a:xfrm>
                <a:off x="2459991" y="4997840"/>
                <a:ext cx="206733" cy="250432"/>
              </a:xfrm>
              <a:custGeom>
                <a:avLst/>
                <a:gdLst>
                  <a:gd name="connsiteX0" fmla="*/ 147192 w 275507"/>
                  <a:gd name="connsiteY0" fmla="*/ 0 h 333745"/>
                  <a:gd name="connsiteX1" fmla="*/ 275507 w 275507"/>
                  <a:gd name="connsiteY1" fmla="*/ 0 h 333745"/>
                  <a:gd name="connsiteX2" fmla="*/ 275507 w 275507"/>
                  <a:gd name="connsiteY2" fmla="*/ 225844 h 333745"/>
                  <a:gd name="connsiteX3" fmla="*/ 272591 w 275507"/>
                  <a:gd name="connsiteY3" fmla="*/ 281253 h 333745"/>
                  <a:gd name="connsiteX4" fmla="*/ 269675 w 275507"/>
                  <a:gd name="connsiteY4" fmla="*/ 298750 h 333745"/>
                  <a:gd name="connsiteX5" fmla="*/ 260926 w 275507"/>
                  <a:gd name="connsiteY5" fmla="*/ 313331 h 333745"/>
                  <a:gd name="connsiteX6" fmla="*/ 246345 w 275507"/>
                  <a:gd name="connsiteY6" fmla="*/ 324996 h 333745"/>
                  <a:gd name="connsiteX7" fmla="*/ 234680 w 275507"/>
                  <a:gd name="connsiteY7" fmla="*/ 330829 h 333745"/>
                  <a:gd name="connsiteX8" fmla="*/ 220098 w 275507"/>
                  <a:gd name="connsiteY8" fmla="*/ 333745 h 333745"/>
                  <a:gd name="connsiteX9" fmla="*/ 202601 w 275507"/>
                  <a:gd name="connsiteY9" fmla="*/ 333745 h 333745"/>
                  <a:gd name="connsiteX10" fmla="*/ 185103 w 275507"/>
                  <a:gd name="connsiteY10" fmla="*/ 327913 h 333745"/>
                  <a:gd name="connsiteX11" fmla="*/ 170522 w 275507"/>
                  <a:gd name="connsiteY11" fmla="*/ 319164 h 333745"/>
                  <a:gd name="connsiteX12" fmla="*/ 161773 w 275507"/>
                  <a:gd name="connsiteY12" fmla="*/ 313331 h 333745"/>
                  <a:gd name="connsiteX13" fmla="*/ 155941 w 275507"/>
                  <a:gd name="connsiteY13" fmla="*/ 304583 h 333745"/>
                  <a:gd name="connsiteX14" fmla="*/ 153025 w 275507"/>
                  <a:gd name="connsiteY14" fmla="*/ 295834 h 333745"/>
                  <a:gd name="connsiteX15" fmla="*/ 150108 w 275507"/>
                  <a:gd name="connsiteY15" fmla="*/ 287085 h 333745"/>
                  <a:gd name="connsiteX16" fmla="*/ 147192 w 275507"/>
                  <a:gd name="connsiteY16" fmla="*/ 231676 h 333745"/>
                  <a:gd name="connsiteX17" fmla="*/ 0 w 275507"/>
                  <a:gd name="connsiteY17" fmla="*/ 0 h 333745"/>
                  <a:gd name="connsiteX18" fmla="*/ 128315 w 275507"/>
                  <a:gd name="connsiteY18" fmla="*/ 0 h 333745"/>
                  <a:gd name="connsiteX19" fmla="*/ 128315 w 275507"/>
                  <a:gd name="connsiteY19" fmla="*/ 231676 h 333745"/>
                  <a:gd name="connsiteX20" fmla="*/ 125399 w 275507"/>
                  <a:gd name="connsiteY20" fmla="*/ 287085 h 333745"/>
                  <a:gd name="connsiteX21" fmla="*/ 122483 w 275507"/>
                  <a:gd name="connsiteY21" fmla="*/ 295834 h 333745"/>
                  <a:gd name="connsiteX22" fmla="*/ 119566 w 275507"/>
                  <a:gd name="connsiteY22" fmla="*/ 304583 h 333745"/>
                  <a:gd name="connsiteX23" fmla="*/ 113734 w 275507"/>
                  <a:gd name="connsiteY23" fmla="*/ 313331 h 333745"/>
                  <a:gd name="connsiteX24" fmla="*/ 104985 w 275507"/>
                  <a:gd name="connsiteY24" fmla="*/ 319164 h 333745"/>
                  <a:gd name="connsiteX25" fmla="*/ 90404 w 275507"/>
                  <a:gd name="connsiteY25" fmla="*/ 327913 h 333745"/>
                  <a:gd name="connsiteX26" fmla="*/ 72906 w 275507"/>
                  <a:gd name="connsiteY26" fmla="*/ 333745 h 333745"/>
                  <a:gd name="connsiteX27" fmla="*/ 55409 w 275507"/>
                  <a:gd name="connsiteY27" fmla="*/ 333745 h 333745"/>
                  <a:gd name="connsiteX28" fmla="*/ 40828 w 275507"/>
                  <a:gd name="connsiteY28" fmla="*/ 330829 h 333745"/>
                  <a:gd name="connsiteX29" fmla="*/ 29162 w 275507"/>
                  <a:gd name="connsiteY29" fmla="*/ 324996 h 333745"/>
                  <a:gd name="connsiteX30" fmla="*/ 14581 w 275507"/>
                  <a:gd name="connsiteY30" fmla="*/ 313331 h 333745"/>
                  <a:gd name="connsiteX31" fmla="*/ 5832 w 275507"/>
                  <a:gd name="connsiteY31" fmla="*/ 298750 h 333745"/>
                  <a:gd name="connsiteX32" fmla="*/ 2916 w 275507"/>
                  <a:gd name="connsiteY32" fmla="*/ 281253 h 333745"/>
                  <a:gd name="connsiteX33" fmla="*/ 0 w 275507"/>
                  <a:gd name="connsiteY33" fmla="*/ 225844 h 33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5507" h="333745">
                    <a:moveTo>
                      <a:pt x="147192" y="0"/>
                    </a:moveTo>
                    <a:lnTo>
                      <a:pt x="275507" y="0"/>
                    </a:lnTo>
                    <a:lnTo>
                      <a:pt x="275507" y="225844"/>
                    </a:lnTo>
                    <a:lnTo>
                      <a:pt x="272591" y="281253"/>
                    </a:lnTo>
                    <a:lnTo>
                      <a:pt x="269675" y="298750"/>
                    </a:lnTo>
                    <a:lnTo>
                      <a:pt x="260926" y="313331"/>
                    </a:lnTo>
                    <a:lnTo>
                      <a:pt x="246345" y="324996"/>
                    </a:lnTo>
                    <a:lnTo>
                      <a:pt x="234680" y="330829"/>
                    </a:lnTo>
                    <a:lnTo>
                      <a:pt x="220098" y="333745"/>
                    </a:lnTo>
                    <a:lnTo>
                      <a:pt x="202601" y="333745"/>
                    </a:lnTo>
                    <a:lnTo>
                      <a:pt x="185103" y="327913"/>
                    </a:lnTo>
                    <a:lnTo>
                      <a:pt x="170522" y="319164"/>
                    </a:lnTo>
                    <a:lnTo>
                      <a:pt x="161773" y="313331"/>
                    </a:lnTo>
                    <a:lnTo>
                      <a:pt x="155941" y="304583"/>
                    </a:lnTo>
                    <a:lnTo>
                      <a:pt x="153025" y="295834"/>
                    </a:lnTo>
                    <a:lnTo>
                      <a:pt x="150108" y="287085"/>
                    </a:lnTo>
                    <a:lnTo>
                      <a:pt x="147192" y="231676"/>
                    </a:lnTo>
                    <a:close/>
                    <a:moveTo>
                      <a:pt x="0" y="0"/>
                    </a:moveTo>
                    <a:lnTo>
                      <a:pt x="128315" y="0"/>
                    </a:lnTo>
                    <a:lnTo>
                      <a:pt x="128315" y="231676"/>
                    </a:lnTo>
                    <a:lnTo>
                      <a:pt x="125399" y="287085"/>
                    </a:lnTo>
                    <a:lnTo>
                      <a:pt x="122483" y="295834"/>
                    </a:lnTo>
                    <a:lnTo>
                      <a:pt x="119566" y="304583"/>
                    </a:lnTo>
                    <a:lnTo>
                      <a:pt x="113734" y="313331"/>
                    </a:lnTo>
                    <a:lnTo>
                      <a:pt x="104985" y="319164"/>
                    </a:lnTo>
                    <a:lnTo>
                      <a:pt x="90404" y="327913"/>
                    </a:lnTo>
                    <a:lnTo>
                      <a:pt x="72906" y="333745"/>
                    </a:lnTo>
                    <a:lnTo>
                      <a:pt x="55409" y="333745"/>
                    </a:lnTo>
                    <a:lnTo>
                      <a:pt x="40828" y="330829"/>
                    </a:lnTo>
                    <a:lnTo>
                      <a:pt x="29162" y="324996"/>
                    </a:lnTo>
                    <a:lnTo>
                      <a:pt x="14581" y="313331"/>
                    </a:lnTo>
                    <a:lnTo>
                      <a:pt x="5832" y="298750"/>
                    </a:lnTo>
                    <a:lnTo>
                      <a:pt x="2916" y="281253"/>
                    </a:lnTo>
                    <a:lnTo>
                      <a:pt x="0" y="225844"/>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08" name="Freeform 5"/>
              <p:cNvSpPr>
                <a:spLocks/>
              </p:cNvSpPr>
              <p:nvPr/>
            </p:nvSpPr>
            <p:spPr bwMode="auto">
              <a:xfrm>
                <a:off x="2418781" y="4576247"/>
                <a:ext cx="288235" cy="352635"/>
              </a:xfrm>
              <a:custGeom>
                <a:avLst/>
                <a:gdLst>
                  <a:gd name="T0" fmla="*/ 487 w 1061"/>
                  <a:gd name="T1" fmla="*/ 1152 h 1152"/>
                  <a:gd name="T2" fmla="*/ 304 w 1061"/>
                  <a:gd name="T3" fmla="*/ 1143 h 1152"/>
                  <a:gd name="T4" fmla="*/ 229 w 1061"/>
                  <a:gd name="T5" fmla="*/ 1138 h 1152"/>
                  <a:gd name="T6" fmla="*/ 146 w 1061"/>
                  <a:gd name="T7" fmla="*/ 1128 h 1152"/>
                  <a:gd name="T8" fmla="*/ 64 w 1061"/>
                  <a:gd name="T9" fmla="*/ 1113 h 1152"/>
                  <a:gd name="T10" fmla="*/ 49 w 1061"/>
                  <a:gd name="T11" fmla="*/ 1108 h 1152"/>
                  <a:gd name="T12" fmla="*/ 25 w 1061"/>
                  <a:gd name="T13" fmla="*/ 1098 h 1152"/>
                  <a:gd name="T14" fmla="*/ 18 w 1061"/>
                  <a:gd name="T15" fmla="*/ 1090 h 1152"/>
                  <a:gd name="T16" fmla="*/ 12 w 1061"/>
                  <a:gd name="T17" fmla="*/ 1081 h 1152"/>
                  <a:gd name="T18" fmla="*/ 4 w 1061"/>
                  <a:gd name="T19" fmla="*/ 1055 h 1152"/>
                  <a:gd name="T20" fmla="*/ 3 w 1061"/>
                  <a:gd name="T21" fmla="*/ 1039 h 1152"/>
                  <a:gd name="T22" fmla="*/ 0 w 1061"/>
                  <a:gd name="T23" fmla="*/ 956 h 1152"/>
                  <a:gd name="T24" fmla="*/ 2 w 1061"/>
                  <a:gd name="T25" fmla="*/ 873 h 1152"/>
                  <a:gd name="T26" fmla="*/ 5 w 1061"/>
                  <a:gd name="T27" fmla="*/ 816 h 1152"/>
                  <a:gd name="T28" fmla="*/ 20 w 1061"/>
                  <a:gd name="T29" fmla="*/ 644 h 1152"/>
                  <a:gd name="T30" fmla="*/ 33 w 1061"/>
                  <a:gd name="T31" fmla="*/ 521 h 1152"/>
                  <a:gd name="T32" fmla="*/ 48 w 1061"/>
                  <a:gd name="T33" fmla="*/ 398 h 1152"/>
                  <a:gd name="T34" fmla="*/ 85 w 1061"/>
                  <a:gd name="T35" fmla="*/ 130 h 1152"/>
                  <a:gd name="T36" fmla="*/ 88 w 1061"/>
                  <a:gd name="T37" fmla="*/ 116 h 1152"/>
                  <a:gd name="T38" fmla="*/ 89 w 1061"/>
                  <a:gd name="T39" fmla="*/ 103 h 1152"/>
                  <a:gd name="T40" fmla="*/ 90 w 1061"/>
                  <a:gd name="T41" fmla="*/ 94 h 1152"/>
                  <a:gd name="T42" fmla="*/ 95 w 1061"/>
                  <a:gd name="T43" fmla="*/ 83 h 1152"/>
                  <a:gd name="T44" fmla="*/ 102 w 1061"/>
                  <a:gd name="T45" fmla="*/ 75 h 1152"/>
                  <a:gd name="T46" fmla="*/ 117 w 1061"/>
                  <a:gd name="T47" fmla="*/ 67 h 1152"/>
                  <a:gd name="T48" fmla="*/ 143 w 1061"/>
                  <a:gd name="T49" fmla="*/ 57 h 1152"/>
                  <a:gd name="T50" fmla="*/ 194 w 1061"/>
                  <a:gd name="T51" fmla="*/ 41 h 1152"/>
                  <a:gd name="T52" fmla="*/ 248 w 1061"/>
                  <a:gd name="T53" fmla="*/ 29 h 1152"/>
                  <a:gd name="T54" fmla="*/ 301 w 1061"/>
                  <a:gd name="T55" fmla="*/ 18 h 1152"/>
                  <a:gd name="T56" fmla="*/ 328 w 1061"/>
                  <a:gd name="T57" fmla="*/ 14 h 1152"/>
                  <a:gd name="T58" fmla="*/ 401 w 1061"/>
                  <a:gd name="T59" fmla="*/ 6 h 1152"/>
                  <a:gd name="T60" fmla="*/ 473 w 1061"/>
                  <a:gd name="T61" fmla="*/ 1 h 1152"/>
                  <a:gd name="T62" fmla="*/ 546 w 1061"/>
                  <a:gd name="T63" fmla="*/ 0 h 1152"/>
                  <a:gd name="T64" fmla="*/ 619 w 1061"/>
                  <a:gd name="T65" fmla="*/ 3 h 1152"/>
                  <a:gd name="T66" fmla="*/ 661 w 1061"/>
                  <a:gd name="T67" fmla="*/ 6 h 1152"/>
                  <a:gd name="T68" fmla="*/ 745 w 1061"/>
                  <a:gd name="T69" fmla="*/ 15 h 1152"/>
                  <a:gd name="T70" fmla="*/ 829 w 1061"/>
                  <a:gd name="T71" fmla="*/ 32 h 1152"/>
                  <a:gd name="T72" fmla="*/ 910 w 1061"/>
                  <a:gd name="T73" fmla="*/ 55 h 1152"/>
                  <a:gd name="T74" fmla="*/ 950 w 1061"/>
                  <a:gd name="T75" fmla="*/ 70 h 1152"/>
                  <a:gd name="T76" fmla="*/ 964 w 1061"/>
                  <a:gd name="T77" fmla="*/ 79 h 1152"/>
                  <a:gd name="T78" fmla="*/ 968 w 1061"/>
                  <a:gd name="T79" fmla="*/ 85 h 1152"/>
                  <a:gd name="T80" fmla="*/ 970 w 1061"/>
                  <a:gd name="T81" fmla="*/ 95 h 1152"/>
                  <a:gd name="T82" fmla="*/ 997 w 1061"/>
                  <a:gd name="T83" fmla="*/ 291 h 1152"/>
                  <a:gd name="T84" fmla="*/ 1024 w 1061"/>
                  <a:gd name="T85" fmla="*/ 488 h 1152"/>
                  <a:gd name="T86" fmla="*/ 1037 w 1061"/>
                  <a:gd name="T87" fmla="*/ 601 h 1152"/>
                  <a:gd name="T88" fmla="*/ 1048 w 1061"/>
                  <a:gd name="T89" fmla="*/ 715 h 1152"/>
                  <a:gd name="T90" fmla="*/ 1056 w 1061"/>
                  <a:gd name="T91" fmla="*/ 829 h 1152"/>
                  <a:gd name="T92" fmla="*/ 1061 w 1061"/>
                  <a:gd name="T93" fmla="*/ 944 h 1152"/>
                  <a:gd name="T94" fmla="*/ 1060 w 1061"/>
                  <a:gd name="T95" fmla="*/ 972 h 1152"/>
                  <a:gd name="T96" fmla="*/ 1054 w 1061"/>
                  <a:gd name="T97" fmla="*/ 1053 h 1152"/>
                  <a:gd name="T98" fmla="*/ 1053 w 1061"/>
                  <a:gd name="T99" fmla="*/ 1063 h 1152"/>
                  <a:gd name="T100" fmla="*/ 1047 w 1061"/>
                  <a:gd name="T101" fmla="*/ 1082 h 1152"/>
                  <a:gd name="T102" fmla="*/ 1036 w 1061"/>
                  <a:gd name="T103" fmla="*/ 1096 h 1152"/>
                  <a:gd name="T104" fmla="*/ 1021 w 1061"/>
                  <a:gd name="T105" fmla="*/ 1105 h 1152"/>
                  <a:gd name="T106" fmla="*/ 1011 w 1061"/>
                  <a:gd name="T107" fmla="*/ 1108 h 1152"/>
                  <a:gd name="T108" fmla="*/ 933 w 1061"/>
                  <a:gd name="T109" fmla="*/ 1126 h 1152"/>
                  <a:gd name="T110" fmla="*/ 908 w 1061"/>
                  <a:gd name="T111" fmla="*/ 1130 h 1152"/>
                  <a:gd name="T112" fmla="*/ 812 w 1061"/>
                  <a:gd name="T113" fmla="*/ 1140 h 1152"/>
                  <a:gd name="T114" fmla="*/ 714 w 1061"/>
                  <a:gd name="T115" fmla="*/ 1146 h 1152"/>
                  <a:gd name="T116" fmla="*/ 606 w 1061"/>
                  <a:gd name="T117" fmla="*/ 1151 h 1152"/>
                  <a:gd name="T118" fmla="*/ 487 w 1061"/>
                  <a:gd name="T119"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1" h="1152">
                    <a:moveTo>
                      <a:pt x="487" y="1152"/>
                    </a:moveTo>
                    <a:lnTo>
                      <a:pt x="487" y="1152"/>
                    </a:lnTo>
                    <a:lnTo>
                      <a:pt x="374" y="1147"/>
                    </a:lnTo>
                    <a:lnTo>
                      <a:pt x="304" y="1143"/>
                    </a:lnTo>
                    <a:lnTo>
                      <a:pt x="229" y="1138"/>
                    </a:lnTo>
                    <a:lnTo>
                      <a:pt x="229" y="1138"/>
                    </a:lnTo>
                    <a:lnTo>
                      <a:pt x="188" y="1134"/>
                    </a:lnTo>
                    <a:lnTo>
                      <a:pt x="146" y="1128"/>
                    </a:lnTo>
                    <a:lnTo>
                      <a:pt x="105" y="1121"/>
                    </a:lnTo>
                    <a:lnTo>
                      <a:pt x="64" y="1113"/>
                    </a:lnTo>
                    <a:lnTo>
                      <a:pt x="64" y="1113"/>
                    </a:lnTo>
                    <a:lnTo>
                      <a:pt x="49" y="1108"/>
                    </a:lnTo>
                    <a:lnTo>
                      <a:pt x="35" y="1104"/>
                    </a:lnTo>
                    <a:lnTo>
                      <a:pt x="25" y="1098"/>
                    </a:lnTo>
                    <a:lnTo>
                      <a:pt x="21" y="1094"/>
                    </a:lnTo>
                    <a:lnTo>
                      <a:pt x="18" y="1090"/>
                    </a:lnTo>
                    <a:lnTo>
                      <a:pt x="15" y="1086"/>
                    </a:lnTo>
                    <a:lnTo>
                      <a:pt x="12" y="1081"/>
                    </a:lnTo>
                    <a:lnTo>
                      <a:pt x="8" y="1069"/>
                    </a:lnTo>
                    <a:lnTo>
                      <a:pt x="4" y="1055"/>
                    </a:lnTo>
                    <a:lnTo>
                      <a:pt x="3" y="1039"/>
                    </a:lnTo>
                    <a:lnTo>
                      <a:pt x="3" y="1039"/>
                    </a:lnTo>
                    <a:lnTo>
                      <a:pt x="1" y="997"/>
                    </a:lnTo>
                    <a:lnTo>
                      <a:pt x="0" y="956"/>
                    </a:lnTo>
                    <a:lnTo>
                      <a:pt x="0" y="914"/>
                    </a:lnTo>
                    <a:lnTo>
                      <a:pt x="2" y="873"/>
                    </a:lnTo>
                    <a:lnTo>
                      <a:pt x="2" y="873"/>
                    </a:lnTo>
                    <a:lnTo>
                      <a:pt x="5" y="816"/>
                    </a:lnTo>
                    <a:lnTo>
                      <a:pt x="10" y="758"/>
                    </a:lnTo>
                    <a:lnTo>
                      <a:pt x="20" y="644"/>
                    </a:lnTo>
                    <a:lnTo>
                      <a:pt x="20" y="644"/>
                    </a:lnTo>
                    <a:lnTo>
                      <a:pt x="33" y="521"/>
                    </a:lnTo>
                    <a:lnTo>
                      <a:pt x="48" y="398"/>
                    </a:lnTo>
                    <a:lnTo>
                      <a:pt x="48" y="398"/>
                    </a:lnTo>
                    <a:lnTo>
                      <a:pt x="66" y="265"/>
                    </a:lnTo>
                    <a:lnTo>
                      <a:pt x="85" y="130"/>
                    </a:lnTo>
                    <a:lnTo>
                      <a:pt x="85" y="130"/>
                    </a:lnTo>
                    <a:lnTo>
                      <a:pt x="88" y="116"/>
                    </a:lnTo>
                    <a:lnTo>
                      <a:pt x="89" y="110"/>
                    </a:lnTo>
                    <a:lnTo>
                      <a:pt x="89" y="103"/>
                    </a:lnTo>
                    <a:lnTo>
                      <a:pt x="89" y="103"/>
                    </a:lnTo>
                    <a:lnTo>
                      <a:pt x="90" y="94"/>
                    </a:lnTo>
                    <a:lnTo>
                      <a:pt x="92" y="88"/>
                    </a:lnTo>
                    <a:lnTo>
                      <a:pt x="95" y="83"/>
                    </a:lnTo>
                    <a:lnTo>
                      <a:pt x="98" y="79"/>
                    </a:lnTo>
                    <a:lnTo>
                      <a:pt x="102" y="75"/>
                    </a:lnTo>
                    <a:lnTo>
                      <a:pt x="106" y="72"/>
                    </a:lnTo>
                    <a:lnTo>
                      <a:pt x="117" y="67"/>
                    </a:lnTo>
                    <a:lnTo>
                      <a:pt x="117" y="67"/>
                    </a:lnTo>
                    <a:lnTo>
                      <a:pt x="143" y="57"/>
                    </a:lnTo>
                    <a:lnTo>
                      <a:pt x="169" y="49"/>
                    </a:lnTo>
                    <a:lnTo>
                      <a:pt x="194" y="41"/>
                    </a:lnTo>
                    <a:lnTo>
                      <a:pt x="221" y="35"/>
                    </a:lnTo>
                    <a:lnTo>
                      <a:pt x="248" y="29"/>
                    </a:lnTo>
                    <a:lnTo>
                      <a:pt x="274" y="23"/>
                    </a:lnTo>
                    <a:lnTo>
                      <a:pt x="301" y="18"/>
                    </a:lnTo>
                    <a:lnTo>
                      <a:pt x="328" y="14"/>
                    </a:lnTo>
                    <a:lnTo>
                      <a:pt x="328" y="14"/>
                    </a:lnTo>
                    <a:lnTo>
                      <a:pt x="364" y="9"/>
                    </a:lnTo>
                    <a:lnTo>
                      <a:pt x="401" y="6"/>
                    </a:lnTo>
                    <a:lnTo>
                      <a:pt x="437" y="3"/>
                    </a:lnTo>
                    <a:lnTo>
                      <a:pt x="473" y="1"/>
                    </a:lnTo>
                    <a:lnTo>
                      <a:pt x="509" y="0"/>
                    </a:lnTo>
                    <a:lnTo>
                      <a:pt x="546" y="0"/>
                    </a:lnTo>
                    <a:lnTo>
                      <a:pt x="582" y="1"/>
                    </a:lnTo>
                    <a:lnTo>
                      <a:pt x="619" y="3"/>
                    </a:lnTo>
                    <a:lnTo>
                      <a:pt x="619" y="3"/>
                    </a:lnTo>
                    <a:lnTo>
                      <a:pt x="661" y="6"/>
                    </a:lnTo>
                    <a:lnTo>
                      <a:pt x="703" y="10"/>
                    </a:lnTo>
                    <a:lnTo>
                      <a:pt x="745" y="15"/>
                    </a:lnTo>
                    <a:lnTo>
                      <a:pt x="788" y="23"/>
                    </a:lnTo>
                    <a:lnTo>
                      <a:pt x="829" y="32"/>
                    </a:lnTo>
                    <a:lnTo>
                      <a:pt x="870" y="42"/>
                    </a:lnTo>
                    <a:lnTo>
                      <a:pt x="910" y="55"/>
                    </a:lnTo>
                    <a:lnTo>
                      <a:pt x="950" y="70"/>
                    </a:lnTo>
                    <a:lnTo>
                      <a:pt x="950" y="70"/>
                    </a:lnTo>
                    <a:lnTo>
                      <a:pt x="958" y="74"/>
                    </a:lnTo>
                    <a:lnTo>
                      <a:pt x="964" y="79"/>
                    </a:lnTo>
                    <a:lnTo>
                      <a:pt x="966" y="82"/>
                    </a:lnTo>
                    <a:lnTo>
                      <a:pt x="968" y="85"/>
                    </a:lnTo>
                    <a:lnTo>
                      <a:pt x="969" y="89"/>
                    </a:lnTo>
                    <a:lnTo>
                      <a:pt x="970" y="95"/>
                    </a:lnTo>
                    <a:lnTo>
                      <a:pt x="970" y="95"/>
                    </a:lnTo>
                    <a:lnTo>
                      <a:pt x="997" y="291"/>
                    </a:lnTo>
                    <a:lnTo>
                      <a:pt x="1010" y="389"/>
                    </a:lnTo>
                    <a:lnTo>
                      <a:pt x="1024" y="488"/>
                    </a:lnTo>
                    <a:lnTo>
                      <a:pt x="1024" y="488"/>
                    </a:lnTo>
                    <a:lnTo>
                      <a:pt x="1037" y="601"/>
                    </a:lnTo>
                    <a:lnTo>
                      <a:pt x="1043" y="659"/>
                    </a:lnTo>
                    <a:lnTo>
                      <a:pt x="1048" y="715"/>
                    </a:lnTo>
                    <a:lnTo>
                      <a:pt x="1052" y="773"/>
                    </a:lnTo>
                    <a:lnTo>
                      <a:pt x="1056" y="829"/>
                    </a:lnTo>
                    <a:lnTo>
                      <a:pt x="1059" y="887"/>
                    </a:lnTo>
                    <a:lnTo>
                      <a:pt x="1061" y="944"/>
                    </a:lnTo>
                    <a:lnTo>
                      <a:pt x="1061" y="944"/>
                    </a:lnTo>
                    <a:lnTo>
                      <a:pt x="1060" y="972"/>
                    </a:lnTo>
                    <a:lnTo>
                      <a:pt x="1059" y="999"/>
                    </a:lnTo>
                    <a:lnTo>
                      <a:pt x="1054" y="1053"/>
                    </a:lnTo>
                    <a:lnTo>
                      <a:pt x="1054" y="1053"/>
                    </a:lnTo>
                    <a:lnTo>
                      <a:pt x="1053" y="1063"/>
                    </a:lnTo>
                    <a:lnTo>
                      <a:pt x="1050" y="1074"/>
                    </a:lnTo>
                    <a:lnTo>
                      <a:pt x="1047" y="1082"/>
                    </a:lnTo>
                    <a:lnTo>
                      <a:pt x="1042" y="1089"/>
                    </a:lnTo>
                    <a:lnTo>
                      <a:pt x="1036" y="1096"/>
                    </a:lnTo>
                    <a:lnTo>
                      <a:pt x="1029" y="1101"/>
                    </a:lnTo>
                    <a:lnTo>
                      <a:pt x="1021" y="1105"/>
                    </a:lnTo>
                    <a:lnTo>
                      <a:pt x="1011" y="1108"/>
                    </a:lnTo>
                    <a:lnTo>
                      <a:pt x="1011" y="1108"/>
                    </a:lnTo>
                    <a:lnTo>
                      <a:pt x="959" y="1121"/>
                    </a:lnTo>
                    <a:lnTo>
                      <a:pt x="933" y="1126"/>
                    </a:lnTo>
                    <a:lnTo>
                      <a:pt x="908" y="1130"/>
                    </a:lnTo>
                    <a:lnTo>
                      <a:pt x="908" y="1130"/>
                    </a:lnTo>
                    <a:lnTo>
                      <a:pt x="860" y="1136"/>
                    </a:lnTo>
                    <a:lnTo>
                      <a:pt x="812" y="1140"/>
                    </a:lnTo>
                    <a:lnTo>
                      <a:pt x="764" y="1144"/>
                    </a:lnTo>
                    <a:lnTo>
                      <a:pt x="714" y="1146"/>
                    </a:lnTo>
                    <a:lnTo>
                      <a:pt x="661" y="1149"/>
                    </a:lnTo>
                    <a:lnTo>
                      <a:pt x="606" y="1151"/>
                    </a:lnTo>
                    <a:lnTo>
                      <a:pt x="487" y="1152"/>
                    </a:lnTo>
                    <a:lnTo>
                      <a:pt x="487" y="1152"/>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09" name="Freeform 6"/>
              <p:cNvSpPr>
                <a:spLocks/>
              </p:cNvSpPr>
              <p:nvPr/>
            </p:nvSpPr>
            <p:spPr bwMode="auto">
              <a:xfrm>
                <a:off x="2353980" y="5092343"/>
                <a:ext cx="404367" cy="186725"/>
              </a:xfrm>
              <a:custGeom>
                <a:avLst/>
                <a:gdLst>
                  <a:gd name="T0" fmla="*/ 592 w 1321"/>
                  <a:gd name="T1" fmla="*/ 14 h 610"/>
                  <a:gd name="T2" fmla="*/ 592 w 1321"/>
                  <a:gd name="T3" fmla="*/ 105 h 610"/>
                  <a:gd name="T4" fmla="*/ 592 w 1321"/>
                  <a:gd name="T5" fmla="*/ 146 h 610"/>
                  <a:gd name="T6" fmla="*/ 588 w 1321"/>
                  <a:gd name="T7" fmla="*/ 165 h 610"/>
                  <a:gd name="T8" fmla="*/ 575 w 1321"/>
                  <a:gd name="T9" fmla="*/ 175 h 610"/>
                  <a:gd name="T10" fmla="*/ 455 w 1321"/>
                  <a:gd name="T11" fmla="*/ 227 h 610"/>
                  <a:gd name="T12" fmla="*/ 334 w 1321"/>
                  <a:gd name="T13" fmla="*/ 278 h 610"/>
                  <a:gd name="T14" fmla="*/ 200 w 1321"/>
                  <a:gd name="T15" fmla="*/ 341 h 610"/>
                  <a:gd name="T16" fmla="*/ 98 w 1321"/>
                  <a:gd name="T17" fmla="*/ 384 h 610"/>
                  <a:gd name="T18" fmla="*/ 55 w 1321"/>
                  <a:gd name="T19" fmla="*/ 400 h 610"/>
                  <a:gd name="T20" fmla="*/ 32 w 1321"/>
                  <a:gd name="T21" fmla="*/ 415 h 610"/>
                  <a:gd name="T22" fmla="*/ 16 w 1321"/>
                  <a:gd name="T23" fmla="*/ 438 h 610"/>
                  <a:gd name="T24" fmla="*/ 5 w 1321"/>
                  <a:gd name="T25" fmla="*/ 464 h 610"/>
                  <a:gd name="T26" fmla="*/ 0 w 1321"/>
                  <a:gd name="T27" fmla="*/ 495 h 610"/>
                  <a:gd name="T28" fmla="*/ 4 w 1321"/>
                  <a:gd name="T29" fmla="*/ 526 h 610"/>
                  <a:gd name="T30" fmla="*/ 10 w 1321"/>
                  <a:gd name="T31" fmla="*/ 546 h 610"/>
                  <a:gd name="T32" fmla="*/ 23 w 1321"/>
                  <a:gd name="T33" fmla="*/ 572 h 610"/>
                  <a:gd name="T34" fmla="*/ 43 w 1321"/>
                  <a:gd name="T35" fmla="*/ 593 h 610"/>
                  <a:gd name="T36" fmla="*/ 64 w 1321"/>
                  <a:gd name="T37" fmla="*/ 605 h 610"/>
                  <a:gd name="T38" fmla="*/ 89 w 1321"/>
                  <a:gd name="T39" fmla="*/ 610 h 610"/>
                  <a:gd name="T40" fmla="*/ 106 w 1321"/>
                  <a:gd name="T41" fmla="*/ 608 h 610"/>
                  <a:gd name="T42" fmla="*/ 132 w 1321"/>
                  <a:gd name="T43" fmla="*/ 598 h 610"/>
                  <a:gd name="T44" fmla="*/ 153 w 1321"/>
                  <a:gd name="T45" fmla="*/ 580 h 610"/>
                  <a:gd name="T46" fmla="*/ 169 w 1321"/>
                  <a:gd name="T47" fmla="*/ 558 h 610"/>
                  <a:gd name="T48" fmla="*/ 178 w 1321"/>
                  <a:gd name="T49" fmla="*/ 529 h 610"/>
                  <a:gd name="T50" fmla="*/ 181 w 1321"/>
                  <a:gd name="T51" fmla="*/ 498 h 610"/>
                  <a:gd name="T52" fmla="*/ 180 w 1321"/>
                  <a:gd name="T53" fmla="*/ 480 h 610"/>
                  <a:gd name="T54" fmla="*/ 230 w 1321"/>
                  <a:gd name="T55" fmla="*/ 460 h 610"/>
                  <a:gd name="T56" fmla="*/ 567 w 1321"/>
                  <a:gd name="T57" fmla="*/ 376 h 610"/>
                  <a:gd name="T58" fmla="*/ 673 w 1321"/>
                  <a:gd name="T59" fmla="*/ 348 h 610"/>
                  <a:gd name="T60" fmla="*/ 688 w 1321"/>
                  <a:gd name="T61" fmla="*/ 348 h 610"/>
                  <a:gd name="T62" fmla="*/ 749 w 1321"/>
                  <a:gd name="T63" fmla="*/ 364 h 610"/>
                  <a:gd name="T64" fmla="*/ 949 w 1321"/>
                  <a:gd name="T65" fmla="*/ 414 h 610"/>
                  <a:gd name="T66" fmla="*/ 1142 w 1321"/>
                  <a:gd name="T67" fmla="*/ 473 h 610"/>
                  <a:gd name="T68" fmla="*/ 1140 w 1321"/>
                  <a:gd name="T69" fmla="*/ 504 h 610"/>
                  <a:gd name="T70" fmla="*/ 1145 w 1321"/>
                  <a:gd name="T71" fmla="*/ 535 h 610"/>
                  <a:gd name="T72" fmla="*/ 1156 w 1321"/>
                  <a:gd name="T73" fmla="*/ 562 h 610"/>
                  <a:gd name="T74" fmla="*/ 1173 w 1321"/>
                  <a:gd name="T75" fmla="*/ 584 h 610"/>
                  <a:gd name="T76" fmla="*/ 1194 w 1321"/>
                  <a:gd name="T77" fmla="*/ 600 h 610"/>
                  <a:gd name="T78" fmla="*/ 1219 w 1321"/>
                  <a:gd name="T79" fmla="*/ 609 h 610"/>
                  <a:gd name="T80" fmla="*/ 1235 w 1321"/>
                  <a:gd name="T81" fmla="*/ 610 h 610"/>
                  <a:gd name="T82" fmla="*/ 1260 w 1321"/>
                  <a:gd name="T83" fmla="*/ 604 h 610"/>
                  <a:gd name="T84" fmla="*/ 1281 w 1321"/>
                  <a:gd name="T85" fmla="*/ 590 h 610"/>
                  <a:gd name="T86" fmla="*/ 1300 w 1321"/>
                  <a:gd name="T87" fmla="*/ 570 h 610"/>
                  <a:gd name="T88" fmla="*/ 1313 w 1321"/>
                  <a:gd name="T89" fmla="*/ 545 h 610"/>
                  <a:gd name="T90" fmla="*/ 1320 w 1321"/>
                  <a:gd name="T91" fmla="*/ 516 h 610"/>
                  <a:gd name="T92" fmla="*/ 1321 w 1321"/>
                  <a:gd name="T93" fmla="*/ 495 h 610"/>
                  <a:gd name="T94" fmla="*/ 1316 w 1321"/>
                  <a:gd name="T95" fmla="*/ 465 h 610"/>
                  <a:gd name="T96" fmla="*/ 1306 w 1321"/>
                  <a:gd name="T97" fmla="*/ 439 h 610"/>
                  <a:gd name="T98" fmla="*/ 1289 w 1321"/>
                  <a:gd name="T99" fmla="*/ 416 h 610"/>
                  <a:gd name="T100" fmla="*/ 1267 w 1321"/>
                  <a:gd name="T101" fmla="*/ 400 h 610"/>
                  <a:gd name="T102" fmla="*/ 1251 w 1321"/>
                  <a:gd name="T103" fmla="*/ 392 h 610"/>
                  <a:gd name="T104" fmla="*/ 1214 w 1321"/>
                  <a:gd name="T105" fmla="*/ 381 h 610"/>
                  <a:gd name="T106" fmla="*/ 1091 w 1321"/>
                  <a:gd name="T107" fmla="*/ 324 h 610"/>
                  <a:gd name="T108" fmla="*/ 959 w 1321"/>
                  <a:gd name="T109" fmla="*/ 256 h 610"/>
                  <a:gd name="T110" fmla="*/ 790 w 1321"/>
                  <a:gd name="T111" fmla="*/ 175 h 610"/>
                  <a:gd name="T112" fmla="*/ 779 w 1321"/>
                  <a:gd name="T113" fmla="*/ 168 h 610"/>
                  <a:gd name="T114" fmla="*/ 774 w 1321"/>
                  <a:gd name="T115" fmla="*/ 157 h 610"/>
                  <a:gd name="T116" fmla="*/ 773 w 1321"/>
                  <a:gd name="T117" fmla="*/ 105 h 610"/>
                  <a:gd name="T118" fmla="*/ 773 w 1321"/>
                  <a:gd name="T119" fmla="*/ 49 h 610"/>
                  <a:gd name="T120" fmla="*/ 773 w 1321"/>
                  <a:gd name="T121" fmla="*/ 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1" h="610">
                    <a:moveTo>
                      <a:pt x="591" y="0"/>
                    </a:moveTo>
                    <a:lnTo>
                      <a:pt x="591" y="0"/>
                    </a:lnTo>
                    <a:lnTo>
                      <a:pt x="592" y="14"/>
                    </a:lnTo>
                    <a:lnTo>
                      <a:pt x="592" y="14"/>
                    </a:lnTo>
                    <a:lnTo>
                      <a:pt x="592" y="105"/>
                    </a:lnTo>
                    <a:lnTo>
                      <a:pt x="592" y="105"/>
                    </a:lnTo>
                    <a:lnTo>
                      <a:pt x="592" y="105"/>
                    </a:lnTo>
                    <a:lnTo>
                      <a:pt x="592" y="146"/>
                    </a:lnTo>
                    <a:lnTo>
                      <a:pt x="592" y="146"/>
                    </a:lnTo>
                    <a:lnTo>
                      <a:pt x="591" y="157"/>
                    </a:lnTo>
                    <a:lnTo>
                      <a:pt x="590" y="161"/>
                    </a:lnTo>
                    <a:lnTo>
                      <a:pt x="588" y="165"/>
                    </a:lnTo>
                    <a:lnTo>
                      <a:pt x="585" y="168"/>
                    </a:lnTo>
                    <a:lnTo>
                      <a:pt x="582" y="171"/>
                    </a:lnTo>
                    <a:lnTo>
                      <a:pt x="575" y="175"/>
                    </a:lnTo>
                    <a:lnTo>
                      <a:pt x="575" y="175"/>
                    </a:lnTo>
                    <a:lnTo>
                      <a:pt x="502" y="207"/>
                    </a:lnTo>
                    <a:lnTo>
                      <a:pt x="455" y="227"/>
                    </a:lnTo>
                    <a:lnTo>
                      <a:pt x="407" y="248"/>
                    </a:lnTo>
                    <a:lnTo>
                      <a:pt x="334" y="278"/>
                    </a:lnTo>
                    <a:lnTo>
                      <a:pt x="334" y="278"/>
                    </a:lnTo>
                    <a:lnTo>
                      <a:pt x="301" y="294"/>
                    </a:lnTo>
                    <a:lnTo>
                      <a:pt x="267" y="310"/>
                    </a:lnTo>
                    <a:lnTo>
                      <a:pt x="200" y="341"/>
                    </a:lnTo>
                    <a:lnTo>
                      <a:pt x="166" y="356"/>
                    </a:lnTo>
                    <a:lnTo>
                      <a:pt x="132" y="371"/>
                    </a:lnTo>
                    <a:lnTo>
                      <a:pt x="98" y="384"/>
                    </a:lnTo>
                    <a:lnTo>
                      <a:pt x="63" y="397"/>
                    </a:lnTo>
                    <a:lnTo>
                      <a:pt x="63" y="397"/>
                    </a:lnTo>
                    <a:lnTo>
                      <a:pt x="55" y="400"/>
                    </a:lnTo>
                    <a:lnTo>
                      <a:pt x="47" y="404"/>
                    </a:lnTo>
                    <a:lnTo>
                      <a:pt x="39" y="409"/>
                    </a:lnTo>
                    <a:lnTo>
                      <a:pt x="32" y="415"/>
                    </a:lnTo>
                    <a:lnTo>
                      <a:pt x="26" y="421"/>
                    </a:lnTo>
                    <a:lnTo>
                      <a:pt x="21" y="429"/>
                    </a:lnTo>
                    <a:lnTo>
                      <a:pt x="16" y="438"/>
                    </a:lnTo>
                    <a:lnTo>
                      <a:pt x="12" y="446"/>
                    </a:lnTo>
                    <a:lnTo>
                      <a:pt x="8" y="455"/>
                    </a:lnTo>
                    <a:lnTo>
                      <a:pt x="5" y="464"/>
                    </a:lnTo>
                    <a:lnTo>
                      <a:pt x="2" y="475"/>
                    </a:lnTo>
                    <a:lnTo>
                      <a:pt x="1" y="485"/>
                    </a:lnTo>
                    <a:lnTo>
                      <a:pt x="0" y="495"/>
                    </a:lnTo>
                    <a:lnTo>
                      <a:pt x="0" y="505"/>
                    </a:lnTo>
                    <a:lnTo>
                      <a:pt x="1" y="516"/>
                    </a:lnTo>
                    <a:lnTo>
                      <a:pt x="4" y="526"/>
                    </a:lnTo>
                    <a:lnTo>
                      <a:pt x="4" y="526"/>
                    </a:lnTo>
                    <a:lnTo>
                      <a:pt x="6" y="536"/>
                    </a:lnTo>
                    <a:lnTo>
                      <a:pt x="10" y="546"/>
                    </a:lnTo>
                    <a:lnTo>
                      <a:pt x="14" y="556"/>
                    </a:lnTo>
                    <a:lnTo>
                      <a:pt x="18" y="564"/>
                    </a:lnTo>
                    <a:lnTo>
                      <a:pt x="23" y="572"/>
                    </a:lnTo>
                    <a:lnTo>
                      <a:pt x="29" y="579"/>
                    </a:lnTo>
                    <a:lnTo>
                      <a:pt x="35" y="586"/>
                    </a:lnTo>
                    <a:lnTo>
                      <a:pt x="43" y="593"/>
                    </a:lnTo>
                    <a:lnTo>
                      <a:pt x="50" y="598"/>
                    </a:lnTo>
                    <a:lnTo>
                      <a:pt x="57" y="602"/>
                    </a:lnTo>
                    <a:lnTo>
                      <a:pt x="64" y="605"/>
                    </a:lnTo>
                    <a:lnTo>
                      <a:pt x="72" y="608"/>
                    </a:lnTo>
                    <a:lnTo>
                      <a:pt x="80" y="609"/>
                    </a:lnTo>
                    <a:lnTo>
                      <a:pt x="89" y="610"/>
                    </a:lnTo>
                    <a:lnTo>
                      <a:pt x="97" y="610"/>
                    </a:lnTo>
                    <a:lnTo>
                      <a:pt x="106" y="608"/>
                    </a:lnTo>
                    <a:lnTo>
                      <a:pt x="106" y="608"/>
                    </a:lnTo>
                    <a:lnTo>
                      <a:pt x="115" y="606"/>
                    </a:lnTo>
                    <a:lnTo>
                      <a:pt x="124" y="602"/>
                    </a:lnTo>
                    <a:lnTo>
                      <a:pt x="132" y="598"/>
                    </a:lnTo>
                    <a:lnTo>
                      <a:pt x="139" y="593"/>
                    </a:lnTo>
                    <a:lnTo>
                      <a:pt x="146" y="586"/>
                    </a:lnTo>
                    <a:lnTo>
                      <a:pt x="153" y="580"/>
                    </a:lnTo>
                    <a:lnTo>
                      <a:pt x="158" y="573"/>
                    </a:lnTo>
                    <a:lnTo>
                      <a:pt x="164" y="566"/>
                    </a:lnTo>
                    <a:lnTo>
                      <a:pt x="169" y="558"/>
                    </a:lnTo>
                    <a:lnTo>
                      <a:pt x="173" y="548"/>
                    </a:lnTo>
                    <a:lnTo>
                      <a:pt x="176" y="539"/>
                    </a:lnTo>
                    <a:lnTo>
                      <a:pt x="178" y="529"/>
                    </a:lnTo>
                    <a:lnTo>
                      <a:pt x="180" y="520"/>
                    </a:lnTo>
                    <a:lnTo>
                      <a:pt x="181" y="508"/>
                    </a:lnTo>
                    <a:lnTo>
                      <a:pt x="181" y="498"/>
                    </a:lnTo>
                    <a:lnTo>
                      <a:pt x="180" y="487"/>
                    </a:lnTo>
                    <a:lnTo>
                      <a:pt x="180" y="487"/>
                    </a:lnTo>
                    <a:lnTo>
                      <a:pt x="180" y="480"/>
                    </a:lnTo>
                    <a:lnTo>
                      <a:pt x="180" y="473"/>
                    </a:lnTo>
                    <a:lnTo>
                      <a:pt x="180" y="473"/>
                    </a:lnTo>
                    <a:lnTo>
                      <a:pt x="230" y="460"/>
                    </a:lnTo>
                    <a:lnTo>
                      <a:pt x="291" y="444"/>
                    </a:lnTo>
                    <a:lnTo>
                      <a:pt x="429" y="410"/>
                    </a:lnTo>
                    <a:lnTo>
                      <a:pt x="567" y="376"/>
                    </a:lnTo>
                    <a:lnTo>
                      <a:pt x="625" y="362"/>
                    </a:lnTo>
                    <a:lnTo>
                      <a:pt x="673" y="348"/>
                    </a:lnTo>
                    <a:lnTo>
                      <a:pt x="673" y="348"/>
                    </a:lnTo>
                    <a:lnTo>
                      <a:pt x="678" y="347"/>
                    </a:lnTo>
                    <a:lnTo>
                      <a:pt x="683" y="347"/>
                    </a:lnTo>
                    <a:lnTo>
                      <a:pt x="688" y="348"/>
                    </a:lnTo>
                    <a:lnTo>
                      <a:pt x="694" y="349"/>
                    </a:lnTo>
                    <a:lnTo>
                      <a:pt x="694" y="349"/>
                    </a:lnTo>
                    <a:lnTo>
                      <a:pt x="749" y="364"/>
                    </a:lnTo>
                    <a:lnTo>
                      <a:pt x="813" y="379"/>
                    </a:lnTo>
                    <a:lnTo>
                      <a:pt x="882" y="397"/>
                    </a:lnTo>
                    <a:lnTo>
                      <a:pt x="949" y="414"/>
                    </a:lnTo>
                    <a:lnTo>
                      <a:pt x="949" y="414"/>
                    </a:lnTo>
                    <a:lnTo>
                      <a:pt x="1142" y="473"/>
                    </a:lnTo>
                    <a:lnTo>
                      <a:pt x="1142" y="473"/>
                    </a:lnTo>
                    <a:lnTo>
                      <a:pt x="1141" y="489"/>
                    </a:lnTo>
                    <a:lnTo>
                      <a:pt x="1140" y="504"/>
                    </a:lnTo>
                    <a:lnTo>
                      <a:pt x="1140" y="504"/>
                    </a:lnTo>
                    <a:lnTo>
                      <a:pt x="1141" y="516"/>
                    </a:lnTo>
                    <a:lnTo>
                      <a:pt x="1143" y="526"/>
                    </a:lnTo>
                    <a:lnTo>
                      <a:pt x="1145" y="535"/>
                    </a:lnTo>
                    <a:lnTo>
                      <a:pt x="1148" y="544"/>
                    </a:lnTo>
                    <a:lnTo>
                      <a:pt x="1152" y="554"/>
                    </a:lnTo>
                    <a:lnTo>
                      <a:pt x="1156" y="562"/>
                    </a:lnTo>
                    <a:lnTo>
                      <a:pt x="1161" y="570"/>
                    </a:lnTo>
                    <a:lnTo>
                      <a:pt x="1166" y="577"/>
                    </a:lnTo>
                    <a:lnTo>
                      <a:pt x="1173" y="584"/>
                    </a:lnTo>
                    <a:lnTo>
                      <a:pt x="1180" y="590"/>
                    </a:lnTo>
                    <a:lnTo>
                      <a:pt x="1187" y="596"/>
                    </a:lnTo>
                    <a:lnTo>
                      <a:pt x="1194" y="600"/>
                    </a:lnTo>
                    <a:lnTo>
                      <a:pt x="1201" y="604"/>
                    </a:lnTo>
                    <a:lnTo>
                      <a:pt x="1210" y="607"/>
                    </a:lnTo>
                    <a:lnTo>
                      <a:pt x="1219" y="609"/>
                    </a:lnTo>
                    <a:lnTo>
                      <a:pt x="1227" y="610"/>
                    </a:lnTo>
                    <a:lnTo>
                      <a:pt x="1227" y="610"/>
                    </a:lnTo>
                    <a:lnTo>
                      <a:pt x="1235" y="610"/>
                    </a:lnTo>
                    <a:lnTo>
                      <a:pt x="1243" y="609"/>
                    </a:lnTo>
                    <a:lnTo>
                      <a:pt x="1252" y="607"/>
                    </a:lnTo>
                    <a:lnTo>
                      <a:pt x="1260" y="604"/>
                    </a:lnTo>
                    <a:lnTo>
                      <a:pt x="1267" y="600"/>
                    </a:lnTo>
                    <a:lnTo>
                      <a:pt x="1274" y="596"/>
                    </a:lnTo>
                    <a:lnTo>
                      <a:pt x="1281" y="590"/>
                    </a:lnTo>
                    <a:lnTo>
                      <a:pt x="1288" y="584"/>
                    </a:lnTo>
                    <a:lnTo>
                      <a:pt x="1294" y="577"/>
                    </a:lnTo>
                    <a:lnTo>
                      <a:pt x="1300" y="570"/>
                    </a:lnTo>
                    <a:lnTo>
                      <a:pt x="1305" y="562"/>
                    </a:lnTo>
                    <a:lnTo>
                      <a:pt x="1309" y="554"/>
                    </a:lnTo>
                    <a:lnTo>
                      <a:pt x="1313" y="545"/>
                    </a:lnTo>
                    <a:lnTo>
                      <a:pt x="1316" y="536"/>
                    </a:lnTo>
                    <a:lnTo>
                      <a:pt x="1318" y="526"/>
                    </a:lnTo>
                    <a:lnTo>
                      <a:pt x="1320" y="516"/>
                    </a:lnTo>
                    <a:lnTo>
                      <a:pt x="1320" y="516"/>
                    </a:lnTo>
                    <a:lnTo>
                      <a:pt x="1321" y="505"/>
                    </a:lnTo>
                    <a:lnTo>
                      <a:pt x="1321" y="495"/>
                    </a:lnTo>
                    <a:lnTo>
                      <a:pt x="1320" y="485"/>
                    </a:lnTo>
                    <a:lnTo>
                      <a:pt x="1319" y="475"/>
                    </a:lnTo>
                    <a:lnTo>
                      <a:pt x="1316" y="465"/>
                    </a:lnTo>
                    <a:lnTo>
                      <a:pt x="1313" y="456"/>
                    </a:lnTo>
                    <a:lnTo>
                      <a:pt x="1310" y="447"/>
                    </a:lnTo>
                    <a:lnTo>
                      <a:pt x="1306" y="439"/>
                    </a:lnTo>
                    <a:lnTo>
                      <a:pt x="1301" y="430"/>
                    </a:lnTo>
                    <a:lnTo>
                      <a:pt x="1295" y="422"/>
                    </a:lnTo>
                    <a:lnTo>
                      <a:pt x="1289" y="416"/>
                    </a:lnTo>
                    <a:lnTo>
                      <a:pt x="1282" y="410"/>
                    </a:lnTo>
                    <a:lnTo>
                      <a:pt x="1275" y="404"/>
                    </a:lnTo>
                    <a:lnTo>
                      <a:pt x="1267" y="400"/>
                    </a:lnTo>
                    <a:lnTo>
                      <a:pt x="1260" y="395"/>
                    </a:lnTo>
                    <a:lnTo>
                      <a:pt x="1251" y="392"/>
                    </a:lnTo>
                    <a:lnTo>
                      <a:pt x="1251" y="392"/>
                    </a:lnTo>
                    <a:lnTo>
                      <a:pt x="1232" y="387"/>
                    </a:lnTo>
                    <a:lnTo>
                      <a:pt x="1223" y="385"/>
                    </a:lnTo>
                    <a:lnTo>
                      <a:pt x="1214" y="381"/>
                    </a:lnTo>
                    <a:lnTo>
                      <a:pt x="1214" y="381"/>
                    </a:lnTo>
                    <a:lnTo>
                      <a:pt x="1146" y="350"/>
                    </a:lnTo>
                    <a:lnTo>
                      <a:pt x="1091" y="324"/>
                    </a:lnTo>
                    <a:lnTo>
                      <a:pt x="1044" y="300"/>
                    </a:lnTo>
                    <a:lnTo>
                      <a:pt x="1002" y="278"/>
                    </a:lnTo>
                    <a:lnTo>
                      <a:pt x="959" y="256"/>
                    </a:lnTo>
                    <a:lnTo>
                      <a:pt x="912" y="232"/>
                    </a:lnTo>
                    <a:lnTo>
                      <a:pt x="857" y="206"/>
                    </a:lnTo>
                    <a:lnTo>
                      <a:pt x="790" y="175"/>
                    </a:lnTo>
                    <a:lnTo>
                      <a:pt x="790" y="175"/>
                    </a:lnTo>
                    <a:lnTo>
                      <a:pt x="783" y="171"/>
                    </a:lnTo>
                    <a:lnTo>
                      <a:pt x="779" y="168"/>
                    </a:lnTo>
                    <a:lnTo>
                      <a:pt x="776" y="165"/>
                    </a:lnTo>
                    <a:lnTo>
                      <a:pt x="775" y="161"/>
                    </a:lnTo>
                    <a:lnTo>
                      <a:pt x="774" y="157"/>
                    </a:lnTo>
                    <a:lnTo>
                      <a:pt x="773" y="146"/>
                    </a:lnTo>
                    <a:lnTo>
                      <a:pt x="773" y="146"/>
                    </a:lnTo>
                    <a:lnTo>
                      <a:pt x="773" y="105"/>
                    </a:lnTo>
                    <a:lnTo>
                      <a:pt x="773" y="105"/>
                    </a:lnTo>
                    <a:lnTo>
                      <a:pt x="773" y="105"/>
                    </a:lnTo>
                    <a:lnTo>
                      <a:pt x="773" y="49"/>
                    </a:lnTo>
                    <a:lnTo>
                      <a:pt x="773" y="49"/>
                    </a:lnTo>
                    <a:lnTo>
                      <a:pt x="773" y="20"/>
                    </a:lnTo>
                    <a:lnTo>
                      <a:pt x="773" y="20"/>
                    </a:lnTo>
                    <a:lnTo>
                      <a:pt x="774" y="0"/>
                    </a:lnTo>
                    <a:lnTo>
                      <a:pt x="591"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10" name="Freeform 8"/>
              <p:cNvSpPr>
                <a:spLocks/>
              </p:cNvSpPr>
              <p:nvPr/>
            </p:nvSpPr>
            <p:spPr bwMode="auto">
              <a:xfrm>
                <a:off x="2738450" y="4806133"/>
                <a:ext cx="134687" cy="185500"/>
              </a:xfrm>
              <a:custGeom>
                <a:avLst/>
                <a:gdLst>
                  <a:gd name="T0" fmla="*/ 0 w 440"/>
                  <a:gd name="T1" fmla="*/ 468 h 606"/>
                  <a:gd name="T2" fmla="*/ 22 w 440"/>
                  <a:gd name="T3" fmla="*/ 464 h 606"/>
                  <a:gd name="T4" fmla="*/ 37 w 440"/>
                  <a:gd name="T5" fmla="*/ 459 h 606"/>
                  <a:gd name="T6" fmla="*/ 63 w 440"/>
                  <a:gd name="T7" fmla="*/ 446 h 606"/>
                  <a:gd name="T8" fmla="*/ 87 w 440"/>
                  <a:gd name="T9" fmla="*/ 429 h 606"/>
                  <a:gd name="T10" fmla="*/ 107 w 440"/>
                  <a:gd name="T11" fmla="*/ 410 h 606"/>
                  <a:gd name="T12" fmla="*/ 125 w 440"/>
                  <a:gd name="T13" fmla="*/ 387 h 606"/>
                  <a:gd name="T14" fmla="*/ 138 w 440"/>
                  <a:gd name="T15" fmla="*/ 362 h 606"/>
                  <a:gd name="T16" fmla="*/ 147 w 440"/>
                  <a:gd name="T17" fmla="*/ 335 h 606"/>
                  <a:gd name="T18" fmla="*/ 153 w 440"/>
                  <a:gd name="T19" fmla="*/ 305 h 606"/>
                  <a:gd name="T20" fmla="*/ 154 w 440"/>
                  <a:gd name="T21" fmla="*/ 291 h 606"/>
                  <a:gd name="T22" fmla="*/ 154 w 440"/>
                  <a:gd name="T23" fmla="*/ 147 h 606"/>
                  <a:gd name="T24" fmla="*/ 154 w 440"/>
                  <a:gd name="T25" fmla="*/ 135 h 606"/>
                  <a:gd name="T26" fmla="*/ 72 w 440"/>
                  <a:gd name="T27" fmla="*/ 135 h 606"/>
                  <a:gd name="T28" fmla="*/ 61 w 440"/>
                  <a:gd name="T29" fmla="*/ 134 h 606"/>
                  <a:gd name="T30" fmla="*/ 44 w 440"/>
                  <a:gd name="T31" fmla="*/ 130 h 606"/>
                  <a:gd name="T32" fmla="*/ 28 w 440"/>
                  <a:gd name="T33" fmla="*/ 120 h 606"/>
                  <a:gd name="T34" fmla="*/ 17 w 440"/>
                  <a:gd name="T35" fmla="*/ 106 h 606"/>
                  <a:gd name="T36" fmla="*/ 12 w 440"/>
                  <a:gd name="T37" fmla="*/ 98 h 606"/>
                  <a:gd name="T38" fmla="*/ 6 w 440"/>
                  <a:gd name="T39" fmla="*/ 80 h 606"/>
                  <a:gd name="T40" fmla="*/ 4 w 440"/>
                  <a:gd name="T41" fmla="*/ 63 h 606"/>
                  <a:gd name="T42" fmla="*/ 8 w 440"/>
                  <a:gd name="T43" fmla="*/ 45 h 606"/>
                  <a:gd name="T44" fmla="*/ 17 w 440"/>
                  <a:gd name="T45" fmla="*/ 29 h 606"/>
                  <a:gd name="T46" fmla="*/ 21 w 440"/>
                  <a:gd name="T47" fmla="*/ 23 h 606"/>
                  <a:gd name="T48" fmla="*/ 34 w 440"/>
                  <a:gd name="T49" fmla="*/ 12 h 606"/>
                  <a:gd name="T50" fmla="*/ 47 w 440"/>
                  <a:gd name="T51" fmla="*/ 4 h 606"/>
                  <a:gd name="T52" fmla="*/ 62 w 440"/>
                  <a:gd name="T53" fmla="*/ 1 h 606"/>
                  <a:gd name="T54" fmla="*/ 71 w 440"/>
                  <a:gd name="T55" fmla="*/ 0 h 606"/>
                  <a:gd name="T56" fmla="*/ 373 w 440"/>
                  <a:gd name="T57" fmla="*/ 0 h 606"/>
                  <a:gd name="T58" fmla="*/ 387 w 440"/>
                  <a:gd name="T59" fmla="*/ 2 h 606"/>
                  <a:gd name="T60" fmla="*/ 399 w 440"/>
                  <a:gd name="T61" fmla="*/ 6 h 606"/>
                  <a:gd name="T62" fmla="*/ 410 w 440"/>
                  <a:gd name="T63" fmla="*/ 13 h 606"/>
                  <a:gd name="T64" fmla="*/ 429 w 440"/>
                  <a:gd name="T65" fmla="*/ 30 h 606"/>
                  <a:gd name="T66" fmla="*/ 437 w 440"/>
                  <a:gd name="T67" fmla="*/ 48 h 606"/>
                  <a:gd name="T68" fmla="*/ 440 w 440"/>
                  <a:gd name="T69" fmla="*/ 61 h 606"/>
                  <a:gd name="T70" fmla="*/ 440 w 440"/>
                  <a:gd name="T71" fmla="*/ 67 h 606"/>
                  <a:gd name="T72" fmla="*/ 439 w 440"/>
                  <a:gd name="T73" fmla="*/ 80 h 606"/>
                  <a:gd name="T74" fmla="*/ 435 w 440"/>
                  <a:gd name="T75" fmla="*/ 93 h 606"/>
                  <a:gd name="T76" fmla="*/ 420 w 440"/>
                  <a:gd name="T77" fmla="*/ 114 h 606"/>
                  <a:gd name="T78" fmla="*/ 406 w 440"/>
                  <a:gd name="T79" fmla="*/ 127 h 606"/>
                  <a:gd name="T80" fmla="*/ 394 w 440"/>
                  <a:gd name="T81" fmla="*/ 132 h 606"/>
                  <a:gd name="T82" fmla="*/ 381 w 440"/>
                  <a:gd name="T83" fmla="*/ 135 h 606"/>
                  <a:gd name="T84" fmla="*/ 374 w 440"/>
                  <a:gd name="T85" fmla="*/ 135 h 606"/>
                  <a:gd name="T86" fmla="*/ 288 w 440"/>
                  <a:gd name="T87" fmla="*/ 135 h 606"/>
                  <a:gd name="T88" fmla="*/ 288 w 440"/>
                  <a:gd name="T89" fmla="*/ 150 h 606"/>
                  <a:gd name="T90" fmla="*/ 289 w 440"/>
                  <a:gd name="T91" fmla="*/ 227 h 606"/>
                  <a:gd name="T92" fmla="*/ 288 w 440"/>
                  <a:gd name="T93" fmla="*/ 303 h 606"/>
                  <a:gd name="T94" fmla="*/ 286 w 440"/>
                  <a:gd name="T95" fmla="*/ 329 h 606"/>
                  <a:gd name="T96" fmla="*/ 276 w 440"/>
                  <a:gd name="T97" fmla="*/ 379 h 606"/>
                  <a:gd name="T98" fmla="*/ 257 w 440"/>
                  <a:gd name="T99" fmla="*/ 426 h 606"/>
                  <a:gd name="T100" fmla="*/ 233 w 440"/>
                  <a:gd name="T101" fmla="*/ 469 h 606"/>
                  <a:gd name="T102" fmla="*/ 201 w 440"/>
                  <a:gd name="T103" fmla="*/ 508 h 606"/>
                  <a:gd name="T104" fmla="*/ 163 w 440"/>
                  <a:gd name="T105" fmla="*/ 541 h 606"/>
                  <a:gd name="T106" fmla="*/ 121 w 440"/>
                  <a:gd name="T107" fmla="*/ 569 h 606"/>
                  <a:gd name="T108" fmla="*/ 74 w 440"/>
                  <a:gd name="T109" fmla="*/ 589 h 606"/>
                  <a:gd name="T110" fmla="*/ 49 w 440"/>
                  <a:gd name="T111" fmla="*/ 597 h 606"/>
                  <a:gd name="T112" fmla="*/ 0 w 440"/>
                  <a:gd name="T113"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606">
                    <a:moveTo>
                      <a:pt x="0" y="468"/>
                    </a:moveTo>
                    <a:lnTo>
                      <a:pt x="0" y="468"/>
                    </a:lnTo>
                    <a:lnTo>
                      <a:pt x="11" y="466"/>
                    </a:lnTo>
                    <a:lnTo>
                      <a:pt x="22" y="464"/>
                    </a:lnTo>
                    <a:lnTo>
                      <a:pt x="22" y="464"/>
                    </a:lnTo>
                    <a:lnTo>
                      <a:pt x="37" y="459"/>
                    </a:lnTo>
                    <a:lnTo>
                      <a:pt x="50" y="453"/>
                    </a:lnTo>
                    <a:lnTo>
                      <a:pt x="63" y="446"/>
                    </a:lnTo>
                    <a:lnTo>
                      <a:pt x="76" y="439"/>
                    </a:lnTo>
                    <a:lnTo>
                      <a:pt x="87" y="429"/>
                    </a:lnTo>
                    <a:lnTo>
                      <a:pt x="98" y="420"/>
                    </a:lnTo>
                    <a:lnTo>
                      <a:pt x="107" y="410"/>
                    </a:lnTo>
                    <a:lnTo>
                      <a:pt x="117" y="399"/>
                    </a:lnTo>
                    <a:lnTo>
                      <a:pt x="125" y="387"/>
                    </a:lnTo>
                    <a:lnTo>
                      <a:pt x="132" y="375"/>
                    </a:lnTo>
                    <a:lnTo>
                      <a:pt x="138" y="362"/>
                    </a:lnTo>
                    <a:lnTo>
                      <a:pt x="143" y="348"/>
                    </a:lnTo>
                    <a:lnTo>
                      <a:pt x="147" y="335"/>
                    </a:lnTo>
                    <a:lnTo>
                      <a:pt x="151" y="321"/>
                    </a:lnTo>
                    <a:lnTo>
                      <a:pt x="153" y="305"/>
                    </a:lnTo>
                    <a:lnTo>
                      <a:pt x="154" y="291"/>
                    </a:lnTo>
                    <a:lnTo>
                      <a:pt x="154" y="291"/>
                    </a:lnTo>
                    <a:lnTo>
                      <a:pt x="154" y="147"/>
                    </a:lnTo>
                    <a:lnTo>
                      <a:pt x="154" y="147"/>
                    </a:lnTo>
                    <a:lnTo>
                      <a:pt x="154" y="135"/>
                    </a:lnTo>
                    <a:lnTo>
                      <a:pt x="154" y="135"/>
                    </a:lnTo>
                    <a:lnTo>
                      <a:pt x="112" y="135"/>
                    </a:lnTo>
                    <a:lnTo>
                      <a:pt x="72" y="135"/>
                    </a:lnTo>
                    <a:lnTo>
                      <a:pt x="72" y="135"/>
                    </a:lnTo>
                    <a:lnTo>
                      <a:pt x="61" y="134"/>
                    </a:lnTo>
                    <a:lnTo>
                      <a:pt x="52" y="132"/>
                    </a:lnTo>
                    <a:lnTo>
                      <a:pt x="44" y="130"/>
                    </a:lnTo>
                    <a:lnTo>
                      <a:pt x="36" y="126"/>
                    </a:lnTo>
                    <a:lnTo>
                      <a:pt x="28" y="120"/>
                    </a:lnTo>
                    <a:lnTo>
                      <a:pt x="22" y="113"/>
                    </a:lnTo>
                    <a:lnTo>
                      <a:pt x="17" y="106"/>
                    </a:lnTo>
                    <a:lnTo>
                      <a:pt x="12" y="98"/>
                    </a:lnTo>
                    <a:lnTo>
                      <a:pt x="12" y="98"/>
                    </a:lnTo>
                    <a:lnTo>
                      <a:pt x="8" y="90"/>
                    </a:lnTo>
                    <a:lnTo>
                      <a:pt x="6" y="80"/>
                    </a:lnTo>
                    <a:lnTo>
                      <a:pt x="5" y="71"/>
                    </a:lnTo>
                    <a:lnTo>
                      <a:pt x="4" y="63"/>
                    </a:lnTo>
                    <a:lnTo>
                      <a:pt x="6" y="55"/>
                    </a:lnTo>
                    <a:lnTo>
                      <a:pt x="8" y="45"/>
                    </a:lnTo>
                    <a:lnTo>
                      <a:pt x="12" y="37"/>
                    </a:lnTo>
                    <a:lnTo>
                      <a:pt x="17" y="29"/>
                    </a:lnTo>
                    <a:lnTo>
                      <a:pt x="17" y="29"/>
                    </a:lnTo>
                    <a:lnTo>
                      <a:pt x="21" y="23"/>
                    </a:lnTo>
                    <a:lnTo>
                      <a:pt x="27" y="17"/>
                    </a:lnTo>
                    <a:lnTo>
                      <a:pt x="34" y="12"/>
                    </a:lnTo>
                    <a:lnTo>
                      <a:pt x="40" y="9"/>
                    </a:lnTo>
                    <a:lnTo>
                      <a:pt x="47" y="4"/>
                    </a:lnTo>
                    <a:lnTo>
                      <a:pt x="54" y="2"/>
                    </a:lnTo>
                    <a:lnTo>
                      <a:pt x="62" y="1"/>
                    </a:lnTo>
                    <a:lnTo>
                      <a:pt x="71" y="0"/>
                    </a:lnTo>
                    <a:lnTo>
                      <a:pt x="71" y="0"/>
                    </a:lnTo>
                    <a:lnTo>
                      <a:pt x="373" y="0"/>
                    </a:lnTo>
                    <a:lnTo>
                      <a:pt x="373" y="0"/>
                    </a:lnTo>
                    <a:lnTo>
                      <a:pt x="380" y="1"/>
                    </a:lnTo>
                    <a:lnTo>
                      <a:pt x="387" y="2"/>
                    </a:lnTo>
                    <a:lnTo>
                      <a:pt x="393" y="3"/>
                    </a:lnTo>
                    <a:lnTo>
                      <a:pt x="399" y="6"/>
                    </a:lnTo>
                    <a:lnTo>
                      <a:pt x="405" y="9"/>
                    </a:lnTo>
                    <a:lnTo>
                      <a:pt x="410" y="13"/>
                    </a:lnTo>
                    <a:lnTo>
                      <a:pt x="420" y="21"/>
                    </a:lnTo>
                    <a:lnTo>
                      <a:pt x="429" y="30"/>
                    </a:lnTo>
                    <a:lnTo>
                      <a:pt x="435" y="41"/>
                    </a:lnTo>
                    <a:lnTo>
                      <a:pt x="437" y="48"/>
                    </a:lnTo>
                    <a:lnTo>
                      <a:pt x="439" y="54"/>
                    </a:lnTo>
                    <a:lnTo>
                      <a:pt x="440" y="61"/>
                    </a:lnTo>
                    <a:lnTo>
                      <a:pt x="440" y="67"/>
                    </a:lnTo>
                    <a:lnTo>
                      <a:pt x="440" y="67"/>
                    </a:lnTo>
                    <a:lnTo>
                      <a:pt x="440" y="74"/>
                    </a:lnTo>
                    <a:lnTo>
                      <a:pt x="439" y="80"/>
                    </a:lnTo>
                    <a:lnTo>
                      <a:pt x="437" y="87"/>
                    </a:lnTo>
                    <a:lnTo>
                      <a:pt x="435" y="93"/>
                    </a:lnTo>
                    <a:lnTo>
                      <a:pt x="429" y="104"/>
                    </a:lnTo>
                    <a:lnTo>
                      <a:pt x="420" y="114"/>
                    </a:lnTo>
                    <a:lnTo>
                      <a:pt x="411" y="122"/>
                    </a:lnTo>
                    <a:lnTo>
                      <a:pt x="406" y="127"/>
                    </a:lnTo>
                    <a:lnTo>
                      <a:pt x="400" y="129"/>
                    </a:lnTo>
                    <a:lnTo>
                      <a:pt x="394" y="132"/>
                    </a:lnTo>
                    <a:lnTo>
                      <a:pt x="388" y="133"/>
                    </a:lnTo>
                    <a:lnTo>
                      <a:pt x="381" y="135"/>
                    </a:lnTo>
                    <a:lnTo>
                      <a:pt x="374" y="135"/>
                    </a:lnTo>
                    <a:lnTo>
                      <a:pt x="374" y="135"/>
                    </a:lnTo>
                    <a:lnTo>
                      <a:pt x="332" y="135"/>
                    </a:lnTo>
                    <a:lnTo>
                      <a:pt x="288" y="135"/>
                    </a:lnTo>
                    <a:lnTo>
                      <a:pt x="288" y="135"/>
                    </a:lnTo>
                    <a:lnTo>
                      <a:pt x="288" y="150"/>
                    </a:lnTo>
                    <a:lnTo>
                      <a:pt x="288" y="150"/>
                    </a:lnTo>
                    <a:lnTo>
                      <a:pt x="289" y="227"/>
                    </a:lnTo>
                    <a:lnTo>
                      <a:pt x="288" y="265"/>
                    </a:lnTo>
                    <a:lnTo>
                      <a:pt x="288" y="303"/>
                    </a:lnTo>
                    <a:lnTo>
                      <a:pt x="288" y="303"/>
                    </a:lnTo>
                    <a:lnTo>
                      <a:pt x="286" y="329"/>
                    </a:lnTo>
                    <a:lnTo>
                      <a:pt x="282" y="354"/>
                    </a:lnTo>
                    <a:lnTo>
                      <a:pt x="276" y="379"/>
                    </a:lnTo>
                    <a:lnTo>
                      <a:pt x="268" y="403"/>
                    </a:lnTo>
                    <a:lnTo>
                      <a:pt x="257" y="426"/>
                    </a:lnTo>
                    <a:lnTo>
                      <a:pt x="246" y="448"/>
                    </a:lnTo>
                    <a:lnTo>
                      <a:pt x="233" y="469"/>
                    </a:lnTo>
                    <a:lnTo>
                      <a:pt x="217" y="489"/>
                    </a:lnTo>
                    <a:lnTo>
                      <a:pt x="201" y="508"/>
                    </a:lnTo>
                    <a:lnTo>
                      <a:pt x="182" y="526"/>
                    </a:lnTo>
                    <a:lnTo>
                      <a:pt x="163" y="541"/>
                    </a:lnTo>
                    <a:lnTo>
                      <a:pt x="142" y="557"/>
                    </a:lnTo>
                    <a:lnTo>
                      <a:pt x="121" y="569"/>
                    </a:lnTo>
                    <a:lnTo>
                      <a:pt x="98" y="580"/>
                    </a:lnTo>
                    <a:lnTo>
                      <a:pt x="74" y="589"/>
                    </a:lnTo>
                    <a:lnTo>
                      <a:pt x="49" y="597"/>
                    </a:lnTo>
                    <a:lnTo>
                      <a:pt x="49" y="597"/>
                    </a:lnTo>
                    <a:lnTo>
                      <a:pt x="24" y="602"/>
                    </a:lnTo>
                    <a:lnTo>
                      <a:pt x="0" y="606"/>
                    </a:lnTo>
                    <a:lnTo>
                      <a:pt x="0" y="46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11" name="Freeform 10"/>
              <p:cNvSpPr>
                <a:spLocks/>
              </p:cNvSpPr>
              <p:nvPr/>
            </p:nvSpPr>
            <p:spPr bwMode="auto">
              <a:xfrm>
                <a:off x="2253577" y="4806133"/>
                <a:ext cx="134687" cy="185500"/>
              </a:xfrm>
              <a:custGeom>
                <a:avLst/>
                <a:gdLst>
                  <a:gd name="T0" fmla="*/ 440 w 440"/>
                  <a:gd name="T1" fmla="*/ 468 h 606"/>
                  <a:gd name="T2" fmla="*/ 418 w 440"/>
                  <a:gd name="T3" fmla="*/ 464 h 606"/>
                  <a:gd name="T4" fmla="*/ 403 w 440"/>
                  <a:gd name="T5" fmla="*/ 459 h 606"/>
                  <a:gd name="T6" fmla="*/ 377 w 440"/>
                  <a:gd name="T7" fmla="*/ 446 h 606"/>
                  <a:gd name="T8" fmla="*/ 353 w 440"/>
                  <a:gd name="T9" fmla="*/ 429 h 606"/>
                  <a:gd name="T10" fmla="*/ 333 w 440"/>
                  <a:gd name="T11" fmla="*/ 410 h 606"/>
                  <a:gd name="T12" fmla="*/ 315 w 440"/>
                  <a:gd name="T13" fmla="*/ 387 h 606"/>
                  <a:gd name="T14" fmla="*/ 302 w 440"/>
                  <a:gd name="T15" fmla="*/ 362 h 606"/>
                  <a:gd name="T16" fmla="*/ 293 w 440"/>
                  <a:gd name="T17" fmla="*/ 335 h 606"/>
                  <a:gd name="T18" fmla="*/ 287 w 440"/>
                  <a:gd name="T19" fmla="*/ 305 h 606"/>
                  <a:gd name="T20" fmla="*/ 286 w 440"/>
                  <a:gd name="T21" fmla="*/ 291 h 606"/>
                  <a:gd name="T22" fmla="*/ 286 w 440"/>
                  <a:gd name="T23" fmla="*/ 147 h 606"/>
                  <a:gd name="T24" fmla="*/ 286 w 440"/>
                  <a:gd name="T25" fmla="*/ 135 h 606"/>
                  <a:gd name="T26" fmla="*/ 368 w 440"/>
                  <a:gd name="T27" fmla="*/ 135 h 606"/>
                  <a:gd name="T28" fmla="*/ 379 w 440"/>
                  <a:gd name="T29" fmla="*/ 134 h 606"/>
                  <a:gd name="T30" fmla="*/ 396 w 440"/>
                  <a:gd name="T31" fmla="*/ 130 h 606"/>
                  <a:gd name="T32" fmla="*/ 412 w 440"/>
                  <a:gd name="T33" fmla="*/ 120 h 606"/>
                  <a:gd name="T34" fmla="*/ 423 w 440"/>
                  <a:gd name="T35" fmla="*/ 106 h 606"/>
                  <a:gd name="T36" fmla="*/ 428 w 440"/>
                  <a:gd name="T37" fmla="*/ 98 h 606"/>
                  <a:gd name="T38" fmla="*/ 434 w 440"/>
                  <a:gd name="T39" fmla="*/ 80 h 606"/>
                  <a:gd name="T40" fmla="*/ 435 w 440"/>
                  <a:gd name="T41" fmla="*/ 63 h 606"/>
                  <a:gd name="T42" fmla="*/ 432 w 440"/>
                  <a:gd name="T43" fmla="*/ 45 h 606"/>
                  <a:gd name="T44" fmla="*/ 423 w 440"/>
                  <a:gd name="T45" fmla="*/ 29 h 606"/>
                  <a:gd name="T46" fmla="*/ 418 w 440"/>
                  <a:gd name="T47" fmla="*/ 23 h 606"/>
                  <a:gd name="T48" fmla="*/ 406 w 440"/>
                  <a:gd name="T49" fmla="*/ 12 h 606"/>
                  <a:gd name="T50" fmla="*/ 393 w 440"/>
                  <a:gd name="T51" fmla="*/ 4 h 606"/>
                  <a:gd name="T52" fmla="*/ 378 w 440"/>
                  <a:gd name="T53" fmla="*/ 1 h 606"/>
                  <a:gd name="T54" fmla="*/ 369 w 440"/>
                  <a:gd name="T55" fmla="*/ 0 h 606"/>
                  <a:gd name="T56" fmla="*/ 67 w 440"/>
                  <a:gd name="T57" fmla="*/ 0 h 606"/>
                  <a:gd name="T58" fmla="*/ 53 w 440"/>
                  <a:gd name="T59" fmla="*/ 2 h 606"/>
                  <a:gd name="T60" fmla="*/ 41 w 440"/>
                  <a:gd name="T61" fmla="*/ 6 h 606"/>
                  <a:gd name="T62" fmla="*/ 30 w 440"/>
                  <a:gd name="T63" fmla="*/ 13 h 606"/>
                  <a:gd name="T64" fmla="*/ 11 w 440"/>
                  <a:gd name="T65" fmla="*/ 30 h 606"/>
                  <a:gd name="T66" fmla="*/ 3 w 440"/>
                  <a:gd name="T67" fmla="*/ 48 h 606"/>
                  <a:gd name="T68" fmla="*/ 0 w 440"/>
                  <a:gd name="T69" fmla="*/ 61 h 606"/>
                  <a:gd name="T70" fmla="*/ 0 w 440"/>
                  <a:gd name="T71" fmla="*/ 67 h 606"/>
                  <a:gd name="T72" fmla="*/ 1 w 440"/>
                  <a:gd name="T73" fmla="*/ 80 h 606"/>
                  <a:gd name="T74" fmla="*/ 5 w 440"/>
                  <a:gd name="T75" fmla="*/ 93 h 606"/>
                  <a:gd name="T76" fmla="*/ 20 w 440"/>
                  <a:gd name="T77" fmla="*/ 114 h 606"/>
                  <a:gd name="T78" fmla="*/ 34 w 440"/>
                  <a:gd name="T79" fmla="*/ 127 h 606"/>
                  <a:gd name="T80" fmla="*/ 46 w 440"/>
                  <a:gd name="T81" fmla="*/ 132 h 606"/>
                  <a:gd name="T82" fmla="*/ 59 w 440"/>
                  <a:gd name="T83" fmla="*/ 135 h 606"/>
                  <a:gd name="T84" fmla="*/ 66 w 440"/>
                  <a:gd name="T85" fmla="*/ 135 h 606"/>
                  <a:gd name="T86" fmla="*/ 152 w 440"/>
                  <a:gd name="T87" fmla="*/ 135 h 606"/>
                  <a:gd name="T88" fmla="*/ 152 w 440"/>
                  <a:gd name="T89" fmla="*/ 150 h 606"/>
                  <a:gd name="T90" fmla="*/ 151 w 440"/>
                  <a:gd name="T91" fmla="*/ 227 h 606"/>
                  <a:gd name="T92" fmla="*/ 152 w 440"/>
                  <a:gd name="T93" fmla="*/ 303 h 606"/>
                  <a:gd name="T94" fmla="*/ 154 w 440"/>
                  <a:gd name="T95" fmla="*/ 329 h 606"/>
                  <a:gd name="T96" fmla="*/ 164 w 440"/>
                  <a:gd name="T97" fmla="*/ 379 h 606"/>
                  <a:gd name="T98" fmla="*/ 183 w 440"/>
                  <a:gd name="T99" fmla="*/ 426 h 606"/>
                  <a:gd name="T100" fmla="*/ 207 w 440"/>
                  <a:gd name="T101" fmla="*/ 469 h 606"/>
                  <a:gd name="T102" fmla="*/ 239 w 440"/>
                  <a:gd name="T103" fmla="*/ 508 h 606"/>
                  <a:gd name="T104" fmla="*/ 277 w 440"/>
                  <a:gd name="T105" fmla="*/ 541 h 606"/>
                  <a:gd name="T106" fmla="*/ 319 w 440"/>
                  <a:gd name="T107" fmla="*/ 569 h 606"/>
                  <a:gd name="T108" fmla="*/ 366 w 440"/>
                  <a:gd name="T109" fmla="*/ 589 h 606"/>
                  <a:gd name="T110" fmla="*/ 391 w 440"/>
                  <a:gd name="T111" fmla="*/ 597 h 606"/>
                  <a:gd name="T112" fmla="*/ 440 w 440"/>
                  <a:gd name="T113"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606">
                    <a:moveTo>
                      <a:pt x="440" y="468"/>
                    </a:moveTo>
                    <a:lnTo>
                      <a:pt x="440" y="468"/>
                    </a:lnTo>
                    <a:lnTo>
                      <a:pt x="429" y="466"/>
                    </a:lnTo>
                    <a:lnTo>
                      <a:pt x="418" y="464"/>
                    </a:lnTo>
                    <a:lnTo>
                      <a:pt x="418" y="464"/>
                    </a:lnTo>
                    <a:lnTo>
                      <a:pt x="403" y="459"/>
                    </a:lnTo>
                    <a:lnTo>
                      <a:pt x="390" y="453"/>
                    </a:lnTo>
                    <a:lnTo>
                      <a:pt x="377" y="446"/>
                    </a:lnTo>
                    <a:lnTo>
                      <a:pt x="364" y="439"/>
                    </a:lnTo>
                    <a:lnTo>
                      <a:pt x="353" y="429"/>
                    </a:lnTo>
                    <a:lnTo>
                      <a:pt x="342" y="420"/>
                    </a:lnTo>
                    <a:lnTo>
                      <a:pt x="333" y="410"/>
                    </a:lnTo>
                    <a:lnTo>
                      <a:pt x="323" y="399"/>
                    </a:lnTo>
                    <a:lnTo>
                      <a:pt x="315" y="387"/>
                    </a:lnTo>
                    <a:lnTo>
                      <a:pt x="308" y="375"/>
                    </a:lnTo>
                    <a:lnTo>
                      <a:pt x="302" y="362"/>
                    </a:lnTo>
                    <a:lnTo>
                      <a:pt x="297" y="348"/>
                    </a:lnTo>
                    <a:lnTo>
                      <a:pt x="293" y="335"/>
                    </a:lnTo>
                    <a:lnTo>
                      <a:pt x="289" y="321"/>
                    </a:lnTo>
                    <a:lnTo>
                      <a:pt x="287" y="305"/>
                    </a:lnTo>
                    <a:lnTo>
                      <a:pt x="286" y="291"/>
                    </a:lnTo>
                    <a:lnTo>
                      <a:pt x="286" y="291"/>
                    </a:lnTo>
                    <a:lnTo>
                      <a:pt x="286" y="147"/>
                    </a:lnTo>
                    <a:lnTo>
                      <a:pt x="286" y="147"/>
                    </a:lnTo>
                    <a:lnTo>
                      <a:pt x="286" y="135"/>
                    </a:lnTo>
                    <a:lnTo>
                      <a:pt x="286" y="135"/>
                    </a:lnTo>
                    <a:lnTo>
                      <a:pt x="327" y="135"/>
                    </a:lnTo>
                    <a:lnTo>
                      <a:pt x="368" y="135"/>
                    </a:lnTo>
                    <a:lnTo>
                      <a:pt x="368" y="135"/>
                    </a:lnTo>
                    <a:lnTo>
                      <a:pt x="379" y="134"/>
                    </a:lnTo>
                    <a:lnTo>
                      <a:pt x="388" y="132"/>
                    </a:lnTo>
                    <a:lnTo>
                      <a:pt x="396" y="130"/>
                    </a:lnTo>
                    <a:lnTo>
                      <a:pt x="404" y="126"/>
                    </a:lnTo>
                    <a:lnTo>
                      <a:pt x="412" y="120"/>
                    </a:lnTo>
                    <a:lnTo>
                      <a:pt x="418" y="113"/>
                    </a:lnTo>
                    <a:lnTo>
                      <a:pt x="423" y="106"/>
                    </a:lnTo>
                    <a:lnTo>
                      <a:pt x="428" y="98"/>
                    </a:lnTo>
                    <a:lnTo>
                      <a:pt x="428" y="98"/>
                    </a:lnTo>
                    <a:lnTo>
                      <a:pt x="432" y="90"/>
                    </a:lnTo>
                    <a:lnTo>
                      <a:pt x="434" y="80"/>
                    </a:lnTo>
                    <a:lnTo>
                      <a:pt x="435" y="71"/>
                    </a:lnTo>
                    <a:lnTo>
                      <a:pt x="435" y="63"/>
                    </a:lnTo>
                    <a:lnTo>
                      <a:pt x="434" y="55"/>
                    </a:lnTo>
                    <a:lnTo>
                      <a:pt x="432" y="45"/>
                    </a:lnTo>
                    <a:lnTo>
                      <a:pt x="428" y="37"/>
                    </a:lnTo>
                    <a:lnTo>
                      <a:pt x="423" y="29"/>
                    </a:lnTo>
                    <a:lnTo>
                      <a:pt x="423" y="29"/>
                    </a:lnTo>
                    <a:lnTo>
                      <a:pt x="418" y="23"/>
                    </a:lnTo>
                    <a:lnTo>
                      <a:pt x="413" y="17"/>
                    </a:lnTo>
                    <a:lnTo>
                      <a:pt x="406" y="12"/>
                    </a:lnTo>
                    <a:lnTo>
                      <a:pt x="400" y="9"/>
                    </a:lnTo>
                    <a:lnTo>
                      <a:pt x="393" y="4"/>
                    </a:lnTo>
                    <a:lnTo>
                      <a:pt x="386" y="2"/>
                    </a:lnTo>
                    <a:lnTo>
                      <a:pt x="378" y="1"/>
                    </a:lnTo>
                    <a:lnTo>
                      <a:pt x="369" y="0"/>
                    </a:lnTo>
                    <a:lnTo>
                      <a:pt x="369" y="0"/>
                    </a:lnTo>
                    <a:lnTo>
                      <a:pt x="67" y="0"/>
                    </a:lnTo>
                    <a:lnTo>
                      <a:pt x="67" y="0"/>
                    </a:lnTo>
                    <a:lnTo>
                      <a:pt x="60" y="1"/>
                    </a:lnTo>
                    <a:lnTo>
                      <a:pt x="53" y="2"/>
                    </a:lnTo>
                    <a:lnTo>
                      <a:pt x="47" y="3"/>
                    </a:lnTo>
                    <a:lnTo>
                      <a:pt x="41" y="6"/>
                    </a:lnTo>
                    <a:lnTo>
                      <a:pt x="35" y="9"/>
                    </a:lnTo>
                    <a:lnTo>
                      <a:pt x="30" y="13"/>
                    </a:lnTo>
                    <a:lnTo>
                      <a:pt x="20" y="21"/>
                    </a:lnTo>
                    <a:lnTo>
                      <a:pt x="11" y="30"/>
                    </a:lnTo>
                    <a:lnTo>
                      <a:pt x="5" y="41"/>
                    </a:lnTo>
                    <a:lnTo>
                      <a:pt x="3" y="48"/>
                    </a:lnTo>
                    <a:lnTo>
                      <a:pt x="1" y="54"/>
                    </a:lnTo>
                    <a:lnTo>
                      <a:pt x="0" y="61"/>
                    </a:lnTo>
                    <a:lnTo>
                      <a:pt x="0" y="67"/>
                    </a:lnTo>
                    <a:lnTo>
                      <a:pt x="0" y="67"/>
                    </a:lnTo>
                    <a:lnTo>
                      <a:pt x="0" y="74"/>
                    </a:lnTo>
                    <a:lnTo>
                      <a:pt x="1" y="80"/>
                    </a:lnTo>
                    <a:lnTo>
                      <a:pt x="3" y="87"/>
                    </a:lnTo>
                    <a:lnTo>
                      <a:pt x="5" y="93"/>
                    </a:lnTo>
                    <a:lnTo>
                      <a:pt x="11" y="104"/>
                    </a:lnTo>
                    <a:lnTo>
                      <a:pt x="20" y="114"/>
                    </a:lnTo>
                    <a:lnTo>
                      <a:pt x="29" y="122"/>
                    </a:lnTo>
                    <a:lnTo>
                      <a:pt x="34" y="127"/>
                    </a:lnTo>
                    <a:lnTo>
                      <a:pt x="40" y="129"/>
                    </a:lnTo>
                    <a:lnTo>
                      <a:pt x="46" y="132"/>
                    </a:lnTo>
                    <a:lnTo>
                      <a:pt x="52" y="133"/>
                    </a:lnTo>
                    <a:lnTo>
                      <a:pt x="59" y="135"/>
                    </a:lnTo>
                    <a:lnTo>
                      <a:pt x="66" y="135"/>
                    </a:lnTo>
                    <a:lnTo>
                      <a:pt x="66" y="135"/>
                    </a:lnTo>
                    <a:lnTo>
                      <a:pt x="108" y="135"/>
                    </a:lnTo>
                    <a:lnTo>
                      <a:pt x="152" y="135"/>
                    </a:lnTo>
                    <a:lnTo>
                      <a:pt x="152" y="135"/>
                    </a:lnTo>
                    <a:lnTo>
                      <a:pt x="152" y="150"/>
                    </a:lnTo>
                    <a:lnTo>
                      <a:pt x="152" y="150"/>
                    </a:lnTo>
                    <a:lnTo>
                      <a:pt x="151" y="227"/>
                    </a:lnTo>
                    <a:lnTo>
                      <a:pt x="152" y="265"/>
                    </a:lnTo>
                    <a:lnTo>
                      <a:pt x="152" y="303"/>
                    </a:lnTo>
                    <a:lnTo>
                      <a:pt x="152" y="303"/>
                    </a:lnTo>
                    <a:lnTo>
                      <a:pt x="154" y="329"/>
                    </a:lnTo>
                    <a:lnTo>
                      <a:pt x="158" y="354"/>
                    </a:lnTo>
                    <a:lnTo>
                      <a:pt x="164" y="379"/>
                    </a:lnTo>
                    <a:lnTo>
                      <a:pt x="172" y="403"/>
                    </a:lnTo>
                    <a:lnTo>
                      <a:pt x="183" y="426"/>
                    </a:lnTo>
                    <a:lnTo>
                      <a:pt x="194" y="448"/>
                    </a:lnTo>
                    <a:lnTo>
                      <a:pt x="207" y="469"/>
                    </a:lnTo>
                    <a:lnTo>
                      <a:pt x="223" y="489"/>
                    </a:lnTo>
                    <a:lnTo>
                      <a:pt x="239" y="508"/>
                    </a:lnTo>
                    <a:lnTo>
                      <a:pt x="258" y="526"/>
                    </a:lnTo>
                    <a:lnTo>
                      <a:pt x="277" y="541"/>
                    </a:lnTo>
                    <a:lnTo>
                      <a:pt x="298" y="557"/>
                    </a:lnTo>
                    <a:lnTo>
                      <a:pt x="319" y="569"/>
                    </a:lnTo>
                    <a:lnTo>
                      <a:pt x="342" y="580"/>
                    </a:lnTo>
                    <a:lnTo>
                      <a:pt x="366" y="589"/>
                    </a:lnTo>
                    <a:lnTo>
                      <a:pt x="391" y="597"/>
                    </a:lnTo>
                    <a:lnTo>
                      <a:pt x="391" y="597"/>
                    </a:lnTo>
                    <a:lnTo>
                      <a:pt x="416" y="602"/>
                    </a:lnTo>
                    <a:lnTo>
                      <a:pt x="440" y="606"/>
                    </a:lnTo>
                    <a:lnTo>
                      <a:pt x="440" y="46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12" name="Freeform 12"/>
              <p:cNvSpPr>
                <a:spLocks/>
              </p:cNvSpPr>
              <p:nvPr/>
            </p:nvSpPr>
            <p:spPr bwMode="auto">
              <a:xfrm>
                <a:off x="2452240" y="5037550"/>
                <a:ext cx="221315" cy="54793"/>
              </a:xfrm>
              <a:custGeom>
                <a:avLst/>
                <a:gdLst>
                  <a:gd name="T0" fmla="*/ 453 w 723"/>
                  <a:gd name="T1" fmla="*/ 179 h 179"/>
                  <a:gd name="T2" fmla="*/ 473 w 723"/>
                  <a:gd name="T3" fmla="*/ 179 h 179"/>
                  <a:gd name="T4" fmla="*/ 664 w 723"/>
                  <a:gd name="T5" fmla="*/ 179 h 179"/>
                  <a:gd name="T6" fmla="*/ 677 w 723"/>
                  <a:gd name="T7" fmla="*/ 177 h 179"/>
                  <a:gd name="T8" fmla="*/ 688 w 723"/>
                  <a:gd name="T9" fmla="*/ 174 h 179"/>
                  <a:gd name="T10" fmla="*/ 699 w 723"/>
                  <a:gd name="T11" fmla="*/ 168 h 179"/>
                  <a:gd name="T12" fmla="*/ 707 w 723"/>
                  <a:gd name="T13" fmla="*/ 160 h 179"/>
                  <a:gd name="T14" fmla="*/ 714 w 723"/>
                  <a:gd name="T15" fmla="*/ 150 h 179"/>
                  <a:gd name="T16" fmla="*/ 722 w 723"/>
                  <a:gd name="T17" fmla="*/ 123 h 179"/>
                  <a:gd name="T18" fmla="*/ 723 w 723"/>
                  <a:gd name="T19" fmla="*/ 107 h 179"/>
                  <a:gd name="T20" fmla="*/ 723 w 723"/>
                  <a:gd name="T21" fmla="*/ 68 h 179"/>
                  <a:gd name="T22" fmla="*/ 722 w 723"/>
                  <a:gd name="T23" fmla="*/ 54 h 179"/>
                  <a:gd name="T24" fmla="*/ 713 w 723"/>
                  <a:gd name="T25" fmla="*/ 28 h 179"/>
                  <a:gd name="T26" fmla="*/ 699 w 723"/>
                  <a:gd name="T27" fmla="*/ 11 h 179"/>
                  <a:gd name="T28" fmla="*/ 688 w 723"/>
                  <a:gd name="T29" fmla="*/ 5 h 179"/>
                  <a:gd name="T30" fmla="*/ 678 w 723"/>
                  <a:gd name="T31" fmla="*/ 1 h 179"/>
                  <a:gd name="T32" fmla="*/ 666 w 723"/>
                  <a:gd name="T33" fmla="*/ 0 h 179"/>
                  <a:gd name="T34" fmla="*/ 56 w 723"/>
                  <a:gd name="T35" fmla="*/ 0 h 179"/>
                  <a:gd name="T36" fmla="*/ 50 w 723"/>
                  <a:gd name="T37" fmla="*/ 0 h 179"/>
                  <a:gd name="T38" fmla="*/ 39 w 723"/>
                  <a:gd name="T39" fmla="*/ 3 h 179"/>
                  <a:gd name="T40" fmla="*/ 28 w 723"/>
                  <a:gd name="T41" fmla="*/ 8 h 179"/>
                  <a:gd name="T42" fmla="*/ 16 w 723"/>
                  <a:gd name="T43" fmla="*/ 19 h 179"/>
                  <a:gd name="T44" fmla="*/ 4 w 723"/>
                  <a:gd name="T45" fmla="*/ 41 h 179"/>
                  <a:gd name="T46" fmla="*/ 0 w 723"/>
                  <a:gd name="T47" fmla="*/ 68 h 179"/>
                  <a:gd name="T48" fmla="*/ 0 w 723"/>
                  <a:gd name="T49" fmla="*/ 103 h 179"/>
                  <a:gd name="T50" fmla="*/ 1 w 723"/>
                  <a:gd name="T51" fmla="*/ 121 h 179"/>
                  <a:gd name="T52" fmla="*/ 6 w 723"/>
                  <a:gd name="T53" fmla="*/ 142 h 179"/>
                  <a:gd name="T54" fmla="*/ 12 w 723"/>
                  <a:gd name="T55" fmla="*/ 155 h 179"/>
                  <a:gd name="T56" fmla="*/ 20 w 723"/>
                  <a:gd name="T57" fmla="*/ 164 h 179"/>
                  <a:gd name="T58" fmla="*/ 29 w 723"/>
                  <a:gd name="T59" fmla="*/ 171 h 179"/>
                  <a:gd name="T60" fmla="*/ 42 w 723"/>
                  <a:gd name="T61" fmla="*/ 176 h 179"/>
                  <a:gd name="T62" fmla="*/ 55 w 723"/>
                  <a:gd name="T63" fmla="*/ 178 h 179"/>
                  <a:gd name="T64" fmla="*/ 62 w 723"/>
                  <a:gd name="T65" fmla="*/ 179 h 179"/>
                  <a:gd name="T66" fmla="*/ 252 w 723"/>
                  <a:gd name="T67" fmla="*/ 179 h 179"/>
                  <a:gd name="T68" fmla="*/ 453 w 723"/>
                  <a:gd name="T6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179">
                    <a:moveTo>
                      <a:pt x="453" y="179"/>
                    </a:moveTo>
                    <a:lnTo>
                      <a:pt x="453" y="179"/>
                    </a:lnTo>
                    <a:lnTo>
                      <a:pt x="473" y="179"/>
                    </a:lnTo>
                    <a:lnTo>
                      <a:pt x="473" y="179"/>
                    </a:lnTo>
                    <a:lnTo>
                      <a:pt x="664" y="179"/>
                    </a:lnTo>
                    <a:lnTo>
                      <a:pt x="664" y="179"/>
                    </a:lnTo>
                    <a:lnTo>
                      <a:pt x="670" y="178"/>
                    </a:lnTo>
                    <a:lnTo>
                      <a:pt x="677" y="177"/>
                    </a:lnTo>
                    <a:lnTo>
                      <a:pt x="682" y="176"/>
                    </a:lnTo>
                    <a:lnTo>
                      <a:pt x="688" y="174"/>
                    </a:lnTo>
                    <a:lnTo>
                      <a:pt x="693" y="171"/>
                    </a:lnTo>
                    <a:lnTo>
                      <a:pt x="699" y="168"/>
                    </a:lnTo>
                    <a:lnTo>
                      <a:pt x="703" y="164"/>
                    </a:lnTo>
                    <a:lnTo>
                      <a:pt x="707" y="160"/>
                    </a:lnTo>
                    <a:lnTo>
                      <a:pt x="711" y="155"/>
                    </a:lnTo>
                    <a:lnTo>
                      <a:pt x="714" y="150"/>
                    </a:lnTo>
                    <a:lnTo>
                      <a:pt x="719" y="137"/>
                    </a:lnTo>
                    <a:lnTo>
                      <a:pt x="722" y="123"/>
                    </a:lnTo>
                    <a:lnTo>
                      <a:pt x="723" y="107"/>
                    </a:lnTo>
                    <a:lnTo>
                      <a:pt x="723" y="107"/>
                    </a:lnTo>
                    <a:lnTo>
                      <a:pt x="723" y="88"/>
                    </a:lnTo>
                    <a:lnTo>
                      <a:pt x="723" y="68"/>
                    </a:lnTo>
                    <a:lnTo>
                      <a:pt x="723" y="68"/>
                    </a:lnTo>
                    <a:lnTo>
                      <a:pt x="722" y="54"/>
                    </a:lnTo>
                    <a:lnTo>
                      <a:pt x="718" y="41"/>
                    </a:lnTo>
                    <a:lnTo>
                      <a:pt x="713" y="28"/>
                    </a:lnTo>
                    <a:lnTo>
                      <a:pt x="707" y="19"/>
                    </a:lnTo>
                    <a:lnTo>
                      <a:pt x="699" y="11"/>
                    </a:lnTo>
                    <a:lnTo>
                      <a:pt x="693" y="8"/>
                    </a:lnTo>
                    <a:lnTo>
                      <a:pt x="688" y="5"/>
                    </a:lnTo>
                    <a:lnTo>
                      <a:pt x="683" y="3"/>
                    </a:lnTo>
                    <a:lnTo>
                      <a:pt x="678" y="1"/>
                    </a:lnTo>
                    <a:lnTo>
                      <a:pt x="672" y="0"/>
                    </a:lnTo>
                    <a:lnTo>
                      <a:pt x="666" y="0"/>
                    </a:lnTo>
                    <a:lnTo>
                      <a:pt x="666" y="0"/>
                    </a:lnTo>
                    <a:lnTo>
                      <a:pt x="56" y="0"/>
                    </a:lnTo>
                    <a:lnTo>
                      <a:pt x="56" y="0"/>
                    </a:lnTo>
                    <a:lnTo>
                      <a:pt x="50" y="0"/>
                    </a:lnTo>
                    <a:lnTo>
                      <a:pt x="45" y="1"/>
                    </a:lnTo>
                    <a:lnTo>
                      <a:pt x="39" y="3"/>
                    </a:lnTo>
                    <a:lnTo>
                      <a:pt x="34" y="5"/>
                    </a:lnTo>
                    <a:lnTo>
                      <a:pt x="28" y="8"/>
                    </a:lnTo>
                    <a:lnTo>
                      <a:pt x="24" y="11"/>
                    </a:lnTo>
                    <a:lnTo>
                      <a:pt x="16" y="19"/>
                    </a:lnTo>
                    <a:lnTo>
                      <a:pt x="9" y="28"/>
                    </a:lnTo>
                    <a:lnTo>
                      <a:pt x="4" y="41"/>
                    </a:lnTo>
                    <a:lnTo>
                      <a:pt x="1" y="54"/>
                    </a:lnTo>
                    <a:lnTo>
                      <a:pt x="0" y="68"/>
                    </a:lnTo>
                    <a:lnTo>
                      <a:pt x="0" y="68"/>
                    </a:lnTo>
                    <a:lnTo>
                      <a:pt x="0" y="103"/>
                    </a:lnTo>
                    <a:lnTo>
                      <a:pt x="0" y="103"/>
                    </a:lnTo>
                    <a:lnTo>
                      <a:pt x="1" y="121"/>
                    </a:lnTo>
                    <a:lnTo>
                      <a:pt x="4" y="135"/>
                    </a:lnTo>
                    <a:lnTo>
                      <a:pt x="6" y="142"/>
                    </a:lnTo>
                    <a:lnTo>
                      <a:pt x="9" y="149"/>
                    </a:lnTo>
                    <a:lnTo>
                      <a:pt x="12" y="155"/>
                    </a:lnTo>
                    <a:lnTo>
                      <a:pt x="16" y="160"/>
                    </a:lnTo>
                    <a:lnTo>
                      <a:pt x="20" y="164"/>
                    </a:lnTo>
                    <a:lnTo>
                      <a:pt x="24" y="168"/>
                    </a:lnTo>
                    <a:lnTo>
                      <a:pt x="29" y="171"/>
                    </a:lnTo>
                    <a:lnTo>
                      <a:pt x="36" y="174"/>
                    </a:lnTo>
                    <a:lnTo>
                      <a:pt x="42" y="176"/>
                    </a:lnTo>
                    <a:lnTo>
                      <a:pt x="48" y="178"/>
                    </a:lnTo>
                    <a:lnTo>
                      <a:pt x="55" y="178"/>
                    </a:lnTo>
                    <a:lnTo>
                      <a:pt x="62" y="179"/>
                    </a:lnTo>
                    <a:lnTo>
                      <a:pt x="62" y="179"/>
                    </a:lnTo>
                    <a:lnTo>
                      <a:pt x="252" y="179"/>
                    </a:lnTo>
                    <a:lnTo>
                      <a:pt x="252" y="179"/>
                    </a:lnTo>
                    <a:lnTo>
                      <a:pt x="270" y="179"/>
                    </a:lnTo>
                    <a:lnTo>
                      <a:pt x="453" y="179"/>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13" name="Freeform 14"/>
              <p:cNvSpPr>
                <a:spLocks/>
              </p:cNvSpPr>
              <p:nvPr/>
            </p:nvSpPr>
            <p:spPr bwMode="auto">
              <a:xfrm>
                <a:off x="2378162" y="4928882"/>
                <a:ext cx="369165" cy="89996"/>
              </a:xfrm>
              <a:custGeom>
                <a:avLst/>
                <a:gdLst>
                  <a:gd name="T0" fmla="*/ 603 w 1206"/>
                  <a:gd name="T1" fmla="*/ 294 h 294"/>
                  <a:gd name="T2" fmla="*/ 114 w 1206"/>
                  <a:gd name="T3" fmla="*/ 294 h 294"/>
                  <a:gd name="T4" fmla="*/ 89 w 1206"/>
                  <a:gd name="T5" fmla="*/ 292 h 294"/>
                  <a:gd name="T6" fmla="*/ 66 w 1206"/>
                  <a:gd name="T7" fmla="*/ 285 h 294"/>
                  <a:gd name="T8" fmla="*/ 47 w 1206"/>
                  <a:gd name="T9" fmla="*/ 273 h 294"/>
                  <a:gd name="T10" fmla="*/ 30 w 1206"/>
                  <a:gd name="T11" fmla="*/ 255 h 294"/>
                  <a:gd name="T12" fmla="*/ 17 w 1206"/>
                  <a:gd name="T13" fmla="*/ 235 h 294"/>
                  <a:gd name="T14" fmla="*/ 8 w 1206"/>
                  <a:gd name="T15" fmla="*/ 210 h 294"/>
                  <a:gd name="T16" fmla="*/ 1 w 1206"/>
                  <a:gd name="T17" fmla="*/ 181 h 294"/>
                  <a:gd name="T18" fmla="*/ 0 w 1206"/>
                  <a:gd name="T19" fmla="*/ 148 h 294"/>
                  <a:gd name="T20" fmla="*/ 0 w 1206"/>
                  <a:gd name="T21" fmla="*/ 109 h 294"/>
                  <a:gd name="T22" fmla="*/ 3 w 1206"/>
                  <a:gd name="T23" fmla="*/ 71 h 294"/>
                  <a:gd name="T24" fmla="*/ 5 w 1206"/>
                  <a:gd name="T25" fmla="*/ 61 h 294"/>
                  <a:gd name="T26" fmla="*/ 10 w 1206"/>
                  <a:gd name="T27" fmla="*/ 45 h 294"/>
                  <a:gd name="T28" fmla="*/ 17 w 1206"/>
                  <a:gd name="T29" fmla="*/ 30 h 294"/>
                  <a:gd name="T30" fmla="*/ 26 w 1206"/>
                  <a:gd name="T31" fmla="*/ 18 h 294"/>
                  <a:gd name="T32" fmla="*/ 37 w 1206"/>
                  <a:gd name="T33" fmla="*/ 9 h 294"/>
                  <a:gd name="T34" fmla="*/ 50 w 1206"/>
                  <a:gd name="T35" fmla="*/ 3 h 294"/>
                  <a:gd name="T36" fmla="*/ 63 w 1206"/>
                  <a:gd name="T37" fmla="*/ 1 h 294"/>
                  <a:gd name="T38" fmla="*/ 78 w 1206"/>
                  <a:gd name="T39" fmla="*/ 1 h 294"/>
                  <a:gd name="T40" fmla="*/ 86 w 1206"/>
                  <a:gd name="T41" fmla="*/ 3 h 294"/>
                  <a:gd name="T42" fmla="*/ 174 w 1206"/>
                  <a:gd name="T43" fmla="*/ 27 h 294"/>
                  <a:gd name="T44" fmla="*/ 240 w 1206"/>
                  <a:gd name="T45" fmla="*/ 44 h 294"/>
                  <a:gd name="T46" fmla="*/ 262 w 1206"/>
                  <a:gd name="T47" fmla="*/ 47 h 294"/>
                  <a:gd name="T48" fmla="*/ 395 w 1206"/>
                  <a:gd name="T49" fmla="*/ 63 h 294"/>
                  <a:gd name="T50" fmla="*/ 494 w 1206"/>
                  <a:gd name="T51" fmla="*/ 71 h 294"/>
                  <a:gd name="T52" fmla="*/ 527 w 1206"/>
                  <a:gd name="T53" fmla="*/ 72 h 294"/>
                  <a:gd name="T54" fmla="*/ 672 w 1206"/>
                  <a:gd name="T55" fmla="*/ 72 h 294"/>
                  <a:gd name="T56" fmla="*/ 815 w 1206"/>
                  <a:gd name="T57" fmla="*/ 64 h 294"/>
                  <a:gd name="T58" fmla="*/ 853 w 1206"/>
                  <a:gd name="T59" fmla="*/ 61 h 294"/>
                  <a:gd name="T60" fmla="*/ 927 w 1206"/>
                  <a:gd name="T61" fmla="*/ 52 h 294"/>
                  <a:gd name="T62" fmla="*/ 1001 w 1206"/>
                  <a:gd name="T63" fmla="*/ 38 h 294"/>
                  <a:gd name="T64" fmla="*/ 1074 w 1206"/>
                  <a:gd name="T65" fmla="*/ 18 h 294"/>
                  <a:gd name="T66" fmla="*/ 1111 w 1206"/>
                  <a:gd name="T67" fmla="*/ 5 h 294"/>
                  <a:gd name="T68" fmla="*/ 1128 w 1206"/>
                  <a:gd name="T69" fmla="*/ 1 h 294"/>
                  <a:gd name="T70" fmla="*/ 1145 w 1206"/>
                  <a:gd name="T71" fmla="*/ 1 h 294"/>
                  <a:gd name="T72" fmla="*/ 1160 w 1206"/>
                  <a:gd name="T73" fmla="*/ 5 h 294"/>
                  <a:gd name="T74" fmla="*/ 1174 w 1206"/>
                  <a:gd name="T75" fmla="*/ 12 h 294"/>
                  <a:gd name="T76" fmla="*/ 1185 w 1206"/>
                  <a:gd name="T77" fmla="*/ 24 h 294"/>
                  <a:gd name="T78" fmla="*/ 1194 w 1206"/>
                  <a:gd name="T79" fmla="*/ 40 h 294"/>
                  <a:gd name="T80" fmla="*/ 1200 w 1206"/>
                  <a:gd name="T81" fmla="*/ 59 h 294"/>
                  <a:gd name="T82" fmla="*/ 1204 w 1206"/>
                  <a:gd name="T83" fmla="*/ 81 h 294"/>
                  <a:gd name="T84" fmla="*/ 1206 w 1206"/>
                  <a:gd name="T85" fmla="*/ 105 h 294"/>
                  <a:gd name="T86" fmla="*/ 1206 w 1206"/>
                  <a:gd name="T87" fmla="*/ 155 h 294"/>
                  <a:gd name="T88" fmla="*/ 1204 w 1206"/>
                  <a:gd name="T89" fmla="*/ 179 h 294"/>
                  <a:gd name="T90" fmla="*/ 1199 w 1206"/>
                  <a:gd name="T91" fmla="*/ 205 h 294"/>
                  <a:gd name="T92" fmla="*/ 1192 w 1206"/>
                  <a:gd name="T93" fmla="*/ 227 h 294"/>
                  <a:gd name="T94" fmla="*/ 1182 w 1206"/>
                  <a:gd name="T95" fmla="*/ 247 h 294"/>
                  <a:gd name="T96" fmla="*/ 1168 w 1206"/>
                  <a:gd name="T97" fmla="*/ 263 h 294"/>
                  <a:gd name="T98" fmla="*/ 1154 w 1206"/>
                  <a:gd name="T99" fmla="*/ 277 h 294"/>
                  <a:gd name="T100" fmla="*/ 1137 w 1206"/>
                  <a:gd name="T101" fmla="*/ 286 h 294"/>
                  <a:gd name="T102" fmla="*/ 1117 w 1206"/>
                  <a:gd name="T103" fmla="*/ 292 h 294"/>
                  <a:gd name="T104" fmla="*/ 1097 w 1206"/>
                  <a:gd name="T105" fmla="*/ 294 h 294"/>
                  <a:gd name="T106" fmla="*/ 603 w 1206"/>
                  <a:gd name="T10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6" h="294">
                    <a:moveTo>
                      <a:pt x="603" y="294"/>
                    </a:moveTo>
                    <a:lnTo>
                      <a:pt x="603" y="294"/>
                    </a:lnTo>
                    <a:lnTo>
                      <a:pt x="114" y="294"/>
                    </a:lnTo>
                    <a:lnTo>
                      <a:pt x="114" y="294"/>
                    </a:lnTo>
                    <a:lnTo>
                      <a:pt x="101" y="294"/>
                    </a:lnTo>
                    <a:lnTo>
                      <a:pt x="89" y="292"/>
                    </a:lnTo>
                    <a:lnTo>
                      <a:pt x="77" y="289"/>
                    </a:lnTo>
                    <a:lnTo>
                      <a:pt x="66" y="285"/>
                    </a:lnTo>
                    <a:lnTo>
                      <a:pt x="56" y="279"/>
                    </a:lnTo>
                    <a:lnTo>
                      <a:pt x="47" y="273"/>
                    </a:lnTo>
                    <a:lnTo>
                      <a:pt x="38" y="264"/>
                    </a:lnTo>
                    <a:lnTo>
                      <a:pt x="30" y="255"/>
                    </a:lnTo>
                    <a:lnTo>
                      <a:pt x="23" y="246"/>
                    </a:lnTo>
                    <a:lnTo>
                      <a:pt x="17" y="235"/>
                    </a:lnTo>
                    <a:lnTo>
                      <a:pt x="12" y="222"/>
                    </a:lnTo>
                    <a:lnTo>
                      <a:pt x="8" y="210"/>
                    </a:lnTo>
                    <a:lnTo>
                      <a:pt x="5" y="196"/>
                    </a:lnTo>
                    <a:lnTo>
                      <a:pt x="1" y="181"/>
                    </a:lnTo>
                    <a:lnTo>
                      <a:pt x="0" y="165"/>
                    </a:lnTo>
                    <a:lnTo>
                      <a:pt x="0" y="148"/>
                    </a:lnTo>
                    <a:lnTo>
                      <a:pt x="0" y="148"/>
                    </a:lnTo>
                    <a:lnTo>
                      <a:pt x="0" y="109"/>
                    </a:lnTo>
                    <a:lnTo>
                      <a:pt x="1" y="90"/>
                    </a:lnTo>
                    <a:lnTo>
                      <a:pt x="3" y="71"/>
                    </a:lnTo>
                    <a:lnTo>
                      <a:pt x="3" y="71"/>
                    </a:lnTo>
                    <a:lnTo>
                      <a:pt x="5" y="61"/>
                    </a:lnTo>
                    <a:lnTo>
                      <a:pt x="7" y="53"/>
                    </a:lnTo>
                    <a:lnTo>
                      <a:pt x="10" y="45"/>
                    </a:lnTo>
                    <a:lnTo>
                      <a:pt x="13" y="38"/>
                    </a:lnTo>
                    <a:lnTo>
                      <a:pt x="17" y="30"/>
                    </a:lnTo>
                    <a:lnTo>
                      <a:pt x="22" y="24"/>
                    </a:lnTo>
                    <a:lnTo>
                      <a:pt x="26" y="18"/>
                    </a:lnTo>
                    <a:lnTo>
                      <a:pt x="31" y="13"/>
                    </a:lnTo>
                    <a:lnTo>
                      <a:pt x="37" y="9"/>
                    </a:lnTo>
                    <a:lnTo>
                      <a:pt x="44" y="6"/>
                    </a:lnTo>
                    <a:lnTo>
                      <a:pt x="50" y="3"/>
                    </a:lnTo>
                    <a:lnTo>
                      <a:pt x="57" y="2"/>
                    </a:lnTo>
                    <a:lnTo>
                      <a:pt x="63" y="1"/>
                    </a:lnTo>
                    <a:lnTo>
                      <a:pt x="70" y="0"/>
                    </a:lnTo>
                    <a:lnTo>
                      <a:pt x="78" y="1"/>
                    </a:lnTo>
                    <a:lnTo>
                      <a:pt x="86" y="3"/>
                    </a:lnTo>
                    <a:lnTo>
                      <a:pt x="86" y="3"/>
                    </a:lnTo>
                    <a:lnTo>
                      <a:pt x="130" y="15"/>
                    </a:lnTo>
                    <a:lnTo>
                      <a:pt x="174" y="27"/>
                    </a:lnTo>
                    <a:lnTo>
                      <a:pt x="218" y="39"/>
                    </a:lnTo>
                    <a:lnTo>
                      <a:pt x="240" y="44"/>
                    </a:lnTo>
                    <a:lnTo>
                      <a:pt x="262" y="47"/>
                    </a:lnTo>
                    <a:lnTo>
                      <a:pt x="262" y="47"/>
                    </a:lnTo>
                    <a:lnTo>
                      <a:pt x="328" y="56"/>
                    </a:lnTo>
                    <a:lnTo>
                      <a:pt x="395" y="63"/>
                    </a:lnTo>
                    <a:lnTo>
                      <a:pt x="460" y="69"/>
                    </a:lnTo>
                    <a:lnTo>
                      <a:pt x="494" y="71"/>
                    </a:lnTo>
                    <a:lnTo>
                      <a:pt x="527" y="72"/>
                    </a:lnTo>
                    <a:lnTo>
                      <a:pt x="527" y="72"/>
                    </a:lnTo>
                    <a:lnTo>
                      <a:pt x="599" y="73"/>
                    </a:lnTo>
                    <a:lnTo>
                      <a:pt x="672" y="72"/>
                    </a:lnTo>
                    <a:lnTo>
                      <a:pt x="744" y="69"/>
                    </a:lnTo>
                    <a:lnTo>
                      <a:pt x="815" y="64"/>
                    </a:lnTo>
                    <a:lnTo>
                      <a:pt x="815" y="64"/>
                    </a:lnTo>
                    <a:lnTo>
                      <a:pt x="853" y="61"/>
                    </a:lnTo>
                    <a:lnTo>
                      <a:pt x="890" y="57"/>
                    </a:lnTo>
                    <a:lnTo>
                      <a:pt x="927" y="52"/>
                    </a:lnTo>
                    <a:lnTo>
                      <a:pt x="964" y="46"/>
                    </a:lnTo>
                    <a:lnTo>
                      <a:pt x="1001" y="38"/>
                    </a:lnTo>
                    <a:lnTo>
                      <a:pt x="1038" y="28"/>
                    </a:lnTo>
                    <a:lnTo>
                      <a:pt x="1074" y="18"/>
                    </a:lnTo>
                    <a:lnTo>
                      <a:pt x="1111" y="5"/>
                    </a:lnTo>
                    <a:lnTo>
                      <a:pt x="1111" y="5"/>
                    </a:lnTo>
                    <a:lnTo>
                      <a:pt x="1120" y="3"/>
                    </a:lnTo>
                    <a:lnTo>
                      <a:pt x="1128" y="1"/>
                    </a:lnTo>
                    <a:lnTo>
                      <a:pt x="1137" y="0"/>
                    </a:lnTo>
                    <a:lnTo>
                      <a:pt x="1145" y="1"/>
                    </a:lnTo>
                    <a:lnTo>
                      <a:pt x="1153" y="2"/>
                    </a:lnTo>
                    <a:lnTo>
                      <a:pt x="1160" y="5"/>
                    </a:lnTo>
                    <a:lnTo>
                      <a:pt x="1167" y="8"/>
                    </a:lnTo>
                    <a:lnTo>
                      <a:pt x="1174" y="12"/>
                    </a:lnTo>
                    <a:lnTo>
                      <a:pt x="1180" y="18"/>
                    </a:lnTo>
                    <a:lnTo>
                      <a:pt x="1185" y="24"/>
                    </a:lnTo>
                    <a:lnTo>
                      <a:pt x="1190" y="31"/>
                    </a:lnTo>
                    <a:lnTo>
                      <a:pt x="1194" y="40"/>
                    </a:lnTo>
                    <a:lnTo>
                      <a:pt x="1197" y="49"/>
                    </a:lnTo>
                    <a:lnTo>
                      <a:pt x="1200" y="59"/>
                    </a:lnTo>
                    <a:lnTo>
                      <a:pt x="1202" y="69"/>
                    </a:lnTo>
                    <a:lnTo>
                      <a:pt x="1204" y="81"/>
                    </a:lnTo>
                    <a:lnTo>
                      <a:pt x="1204" y="81"/>
                    </a:lnTo>
                    <a:lnTo>
                      <a:pt x="1206" y="105"/>
                    </a:lnTo>
                    <a:lnTo>
                      <a:pt x="1206" y="130"/>
                    </a:lnTo>
                    <a:lnTo>
                      <a:pt x="1206" y="155"/>
                    </a:lnTo>
                    <a:lnTo>
                      <a:pt x="1204" y="179"/>
                    </a:lnTo>
                    <a:lnTo>
                      <a:pt x="1204" y="179"/>
                    </a:lnTo>
                    <a:lnTo>
                      <a:pt x="1202" y="193"/>
                    </a:lnTo>
                    <a:lnTo>
                      <a:pt x="1199" y="205"/>
                    </a:lnTo>
                    <a:lnTo>
                      <a:pt x="1196" y="216"/>
                    </a:lnTo>
                    <a:lnTo>
                      <a:pt x="1192" y="227"/>
                    </a:lnTo>
                    <a:lnTo>
                      <a:pt x="1187" y="238"/>
                    </a:lnTo>
                    <a:lnTo>
                      <a:pt x="1182" y="247"/>
                    </a:lnTo>
                    <a:lnTo>
                      <a:pt x="1176" y="255"/>
                    </a:lnTo>
                    <a:lnTo>
                      <a:pt x="1168" y="263"/>
                    </a:lnTo>
                    <a:lnTo>
                      <a:pt x="1161" y="271"/>
                    </a:lnTo>
                    <a:lnTo>
                      <a:pt x="1154" y="277"/>
                    </a:lnTo>
                    <a:lnTo>
                      <a:pt x="1145" y="282"/>
                    </a:lnTo>
                    <a:lnTo>
                      <a:pt x="1137" y="286"/>
                    </a:lnTo>
                    <a:lnTo>
                      <a:pt x="1127" y="290"/>
                    </a:lnTo>
                    <a:lnTo>
                      <a:pt x="1117" y="292"/>
                    </a:lnTo>
                    <a:lnTo>
                      <a:pt x="1107" y="294"/>
                    </a:lnTo>
                    <a:lnTo>
                      <a:pt x="1097" y="294"/>
                    </a:lnTo>
                    <a:lnTo>
                      <a:pt x="1097" y="294"/>
                    </a:lnTo>
                    <a:lnTo>
                      <a:pt x="603" y="294"/>
                    </a:lnTo>
                    <a:lnTo>
                      <a:pt x="603" y="294"/>
                    </a:lnTo>
                    <a:close/>
                  </a:path>
                </a:pathLst>
              </a:custGeom>
              <a:solidFill>
                <a:schemeClr val="bg1"/>
              </a:solidFill>
              <a:ln w="9525">
                <a:solidFill>
                  <a:schemeClr val="bg1">
                    <a:lumMod val="6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614" name="Oval 613"/>
              <p:cNvSpPr/>
              <p:nvPr/>
            </p:nvSpPr>
            <p:spPr bwMode="auto">
              <a:xfrm>
                <a:off x="2474813" y="4376121"/>
                <a:ext cx="177087" cy="177087"/>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15" name="Freeform 5"/>
              <p:cNvSpPr>
                <a:spLocks noEditPoints="1"/>
              </p:cNvSpPr>
              <p:nvPr/>
            </p:nvSpPr>
            <p:spPr bwMode="auto">
              <a:xfrm>
                <a:off x="3114049" y="3620658"/>
                <a:ext cx="54986" cy="99070"/>
              </a:xfrm>
              <a:custGeom>
                <a:avLst/>
                <a:gdLst>
                  <a:gd name="T0" fmla="*/ 448 w 2745"/>
                  <a:gd name="T1" fmla="*/ 4916 h 4941"/>
                  <a:gd name="T2" fmla="*/ 448 w 2745"/>
                  <a:gd name="T3" fmla="*/ 2524 h 4941"/>
                  <a:gd name="T4" fmla="*/ 0 w 2745"/>
                  <a:gd name="T5" fmla="*/ 1243 h 4941"/>
                  <a:gd name="T6" fmla="*/ 445 w 2745"/>
                  <a:gd name="T7" fmla="*/ 1173 h 4941"/>
                  <a:gd name="T8" fmla="*/ 449 w 2745"/>
                  <a:gd name="T9" fmla="*/ 1065 h 4941"/>
                  <a:gd name="T10" fmla="*/ 470 w 2745"/>
                  <a:gd name="T11" fmla="*/ 906 h 4941"/>
                  <a:gd name="T12" fmla="*/ 511 w 2745"/>
                  <a:gd name="T13" fmla="*/ 752 h 4941"/>
                  <a:gd name="T14" fmla="*/ 574 w 2745"/>
                  <a:gd name="T15" fmla="*/ 605 h 4941"/>
                  <a:gd name="T16" fmla="*/ 636 w 2745"/>
                  <a:gd name="T17" fmla="*/ 500 h 4941"/>
                  <a:gd name="T18" fmla="*/ 737 w 2745"/>
                  <a:gd name="T19" fmla="*/ 373 h 4941"/>
                  <a:gd name="T20" fmla="*/ 853 w 2745"/>
                  <a:gd name="T21" fmla="*/ 267 h 4941"/>
                  <a:gd name="T22" fmla="*/ 986 w 2745"/>
                  <a:gd name="T23" fmla="*/ 181 h 4941"/>
                  <a:gd name="T24" fmla="*/ 1132 w 2745"/>
                  <a:gd name="T25" fmla="*/ 112 h 4941"/>
                  <a:gd name="T26" fmla="*/ 1294 w 2745"/>
                  <a:gd name="T27" fmla="*/ 59 h 4941"/>
                  <a:gd name="T28" fmla="*/ 1519 w 2745"/>
                  <a:gd name="T29" fmla="*/ 18 h 4941"/>
                  <a:gd name="T30" fmla="*/ 1670 w 2745"/>
                  <a:gd name="T31" fmla="*/ 7 h 4941"/>
                  <a:gd name="T32" fmla="*/ 1783 w 2745"/>
                  <a:gd name="T33" fmla="*/ 0 h 4941"/>
                  <a:gd name="T34" fmla="*/ 1905 w 2745"/>
                  <a:gd name="T35" fmla="*/ 12 h 4941"/>
                  <a:gd name="T36" fmla="*/ 2120 w 2745"/>
                  <a:gd name="T37" fmla="*/ 42 h 4941"/>
                  <a:gd name="T38" fmla="*/ 2402 w 2745"/>
                  <a:gd name="T39" fmla="*/ 106 h 4941"/>
                  <a:gd name="T40" fmla="*/ 2601 w 2745"/>
                  <a:gd name="T41" fmla="*/ 170 h 4941"/>
                  <a:gd name="T42" fmla="*/ 2737 w 2745"/>
                  <a:gd name="T43" fmla="*/ 219 h 4941"/>
                  <a:gd name="T44" fmla="*/ 2745 w 2745"/>
                  <a:gd name="T45" fmla="*/ 230 h 4941"/>
                  <a:gd name="T46" fmla="*/ 2624 w 2745"/>
                  <a:gd name="T47" fmla="*/ 801 h 4941"/>
                  <a:gd name="T48" fmla="*/ 2503 w 2745"/>
                  <a:gd name="T49" fmla="*/ 1391 h 4941"/>
                  <a:gd name="T50" fmla="*/ 2503 w 2745"/>
                  <a:gd name="T51" fmla="*/ 2523 h 4941"/>
                  <a:gd name="T52" fmla="*/ 1887 w 2745"/>
                  <a:gd name="T53" fmla="*/ 2554 h 4941"/>
                  <a:gd name="T54" fmla="*/ 1886 w 2745"/>
                  <a:gd name="T55" fmla="*/ 4941 h 4941"/>
                  <a:gd name="T56" fmla="*/ 808 w 2745"/>
                  <a:gd name="T57" fmla="*/ 2156 h 4941"/>
                  <a:gd name="T58" fmla="*/ 1529 w 2745"/>
                  <a:gd name="T59" fmla="*/ 4584 h 4941"/>
                  <a:gd name="T60" fmla="*/ 2136 w 2745"/>
                  <a:gd name="T61" fmla="*/ 2156 h 4941"/>
                  <a:gd name="T62" fmla="*/ 1832 w 2745"/>
                  <a:gd name="T63" fmla="*/ 1610 h 4941"/>
                  <a:gd name="T64" fmla="*/ 1525 w 2745"/>
                  <a:gd name="T65" fmla="*/ 1558 h 4941"/>
                  <a:gd name="T66" fmla="*/ 1520 w 2745"/>
                  <a:gd name="T67" fmla="*/ 1419 h 4941"/>
                  <a:gd name="T68" fmla="*/ 1531 w 2745"/>
                  <a:gd name="T69" fmla="*/ 1240 h 4941"/>
                  <a:gd name="T70" fmla="*/ 1550 w 2745"/>
                  <a:gd name="T71" fmla="*/ 1127 h 4941"/>
                  <a:gd name="T72" fmla="*/ 1585 w 2745"/>
                  <a:gd name="T73" fmla="*/ 1044 h 4941"/>
                  <a:gd name="T74" fmla="*/ 1640 w 2745"/>
                  <a:gd name="T75" fmla="*/ 980 h 4941"/>
                  <a:gd name="T76" fmla="*/ 1714 w 2745"/>
                  <a:gd name="T77" fmla="*/ 936 h 4941"/>
                  <a:gd name="T78" fmla="*/ 1783 w 2745"/>
                  <a:gd name="T79" fmla="*/ 918 h 4941"/>
                  <a:gd name="T80" fmla="*/ 1940 w 2745"/>
                  <a:gd name="T81" fmla="*/ 905 h 4941"/>
                  <a:gd name="T82" fmla="*/ 2099 w 2745"/>
                  <a:gd name="T83" fmla="*/ 913 h 4941"/>
                  <a:gd name="T84" fmla="*/ 2244 w 2745"/>
                  <a:gd name="T85" fmla="*/ 929 h 4941"/>
                  <a:gd name="T86" fmla="*/ 2330 w 2745"/>
                  <a:gd name="T87" fmla="*/ 459 h 4941"/>
                  <a:gd name="T88" fmla="*/ 2154 w 2745"/>
                  <a:gd name="T89" fmla="*/ 417 h 4941"/>
                  <a:gd name="T90" fmla="*/ 1922 w 2745"/>
                  <a:gd name="T91" fmla="*/ 375 h 4941"/>
                  <a:gd name="T92" fmla="*/ 1801 w 2745"/>
                  <a:gd name="T93" fmla="*/ 364 h 4941"/>
                  <a:gd name="T94" fmla="*/ 1681 w 2745"/>
                  <a:gd name="T95" fmla="*/ 363 h 4941"/>
                  <a:gd name="T96" fmla="*/ 1562 w 2745"/>
                  <a:gd name="T97" fmla="*/ 372 h 4941"/>
                  <a:gd name="T98" fmla="*/ 1443 w 2745"/>
                  <a:gd name="T99" fmla="*/ 393 h 4941"/>
                  <a:gd name="T100" fmla="*/ 1357 w 2745"/>
                  <a:gd name="T101" fmla="*/ 415 h 4941"/>
                  <a:gd name="T102" fmla="*/ 1254 w 2745"/>
                  <a:gd name="T103" fmla="*/ 455 h 4941"/>
                  <a:gd name="T104" fmla="*/ 1157 w 2745"/>
                  <a:gd name="T105" fmla="*/ 509 h 4941"/>
                  <a:gd name="T106" fmla="*/ 1071 w 2745"/>
                  <a:gd name="T107" fmla="*/ 577 h 4941"/>
                  <a:gd name="T108" fmla="*/ 994 w 2745"/>
                  <a:gd name="T109" fmla="*/ 659 h 4941"/>
                  <a:gd name="T110" fmla="*/ 930 w 2745"/>
                  <a:gd name="T111" fmla="*/ 751 h 4941"/>
                  <a:gd name="T112" fmla="*/ 881 w 2745"/>
                  <a:gd name="T113" fmla="*/ 855 h 4941"/>
                  <a:gd name="T114" fmla="*/ 849 w 2745"/>
                  <a:gd name="T115" fmla="*/ 969 h 4941"/>
                  <a:gd name="T116" fmla="*/ 836 w 2745"/>
                  <a:gd name="T117" fmla="*/ 1060 h 4941"/>
                  <a:gd name="T118" fmla="*/ 806 w 2745"/>
                  <a:gd name="T119" fmla="*/ 1401 h 4941"/>
                  <a:gd name="T120" fmla="*/ 799 w 2745"/>
                  <a:gd name="T121" fmla="*/ 1505 h 4941"/>
                  <a:gd name="T122" fmla="*/ 809 w 2745"/>
                  <a:gd name="T123" fmla="*/ 1611 h 4941"/>
                  <a:gd name="T124" fmla="*/ 359 w 2745"/>
                  <a:gd name="T125" fmla="*/ 2156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5" h="4941">
                    <a:moveTo>
                      <a:pt x="445" y="4941"/>
                    </a:moveTo>
                    <a:lnTo>
                      <a:pt x="445" y="4941"/>
                    </a:lnTo>
                    <a:lnTo>
                      <a:pt x="448" y="4928"/>
                    </a:lnTo>
                    <a:lnTo>
                      <a:pt x="448" y="4916"/>
                    </a:lnTo>
                    <a:lnTo>
                      <a:pt x="448" y="4916"/>
                    </a:lnTo>
                    <a:lnTo>
                      <a:pt x="448" y="2551"/>
                    </a:lnTo>
                    <a:lnTo>
                      <a:pt x="448" y="2551"/>
                    </a:lnTo>
                    <a:lnTo>
                      <a:pt x="448" y="2524"/>
                    </a:lnTo>
                    <a:lnTo>
                      <a:pt x="448" y="2524"/>
                    </a:lnTo>
                    <a:lnTo>
                      <a:pt x="0" y="2524"/>
                    </a:lnTo>
                    <a:lnTo>
                      <a:pt x="0" y="2524"/>
                    </a:lnTo>
                    <a:lnTo>
                      <a:pt x="0" y="1243"/>
                    </a:lnTo>
                    <a:lnTo>
                      <a:pt x="0" y="1243"/>
                    </a:lnTo>
                    <a:lnTo>
                      <a:pt x="446" y="1243"/>
                    </a:lnTo>
                    <a:lnTo>
                      <a:pt x="446" y="1243"/>
                    </a:lnTo>
                    <a:lnTo>
                      <a:pt x="445" y="1173"/>
                    </a:lnTo>
                    <a:lnTo>
                      <a:pt x="445" y="1139"/>
                    </a:lnTo>
                    <a:lnTo>
                      <a:pt x="446" y="1105"/>
                    </a:lnTo>
                    <a:lnTo>
                      <a:pt x="446" y="1105"/>
                    </a:lnTo>
                    <a:lnTo>
                      <a:pt x="449" y="1065"/>
                    </a:lnTo>
                    <a:lnTo>
                      <a:pt x="453" y="1025"/>
                    </a:lnTo>
                    <a:lnTo>
                      <a:pt x="458" y="985"/>
                    </a:lnTo>
                    <a:lnTo>
                      <a:pt x="463" y="945"/>
                    </a:lnTo>
                    <a:lnTo>
                      <a:pt x="470" y="906"/>
                    </a:lnTo>
                    <a:lnTo>
                      <a:pt x="478" y="866"/>
                    </a:lnTo>
                    <a:lnTo>
                      <a:pt x="489" y="827"/>
                    </a:lnTo>
                    <a:lnTo>
                      <a:pt x="499" y="789"/>
                    </a:lnTo>
                    <a:lnTo>
                      <a:pt x="511" y="752"/>
                    </a:lnTo>
                    <a:lnTo>
                      <a:pt x="525" y="714"/>
                    </a:lnTo>
                    <a:lnTo>
                      <a:pt x="540" y="678"/>
                    </a:lnTo>
                    <a:lnTo>
                      <a:pt x="557" y="641"/>
                    </a:lnTo>
                    <a:lnTo>
                      <a:pt x="574" y="605"/>
                    </a:lnTo>
                    <a:lnTo>
                      <a:pt x="593" y="570"/>
                    </a:lnTo>
                    <a:lnTo>
                      <a:pt x="614" y="534"/>
                    </a:lnTo>
                    <a:lnTo>
                      <a:pt x="636" y="500"/>
                    </a:lnTo>
                    <a:lnTo>
                      <a:pt x="636" y="500"/>
                    </a:lnTo>
                    <a:lnTo>
                      <a:pt x="659" y="466"/>
                    </a:lnTo>
                    <a:lnTo>
                      <a:pt x="684" y="434"/>
                    </a:lnTo>
                    <a:lnTo>
                      <a:pt x="710" y="403"/>
                    </a:lnTo>
                    <a:lnTo>
                      <a:pt x="737" y="373"/>
                    </a:lnTo>
                    <a:lnTo>
                      <a:pt x="764" y="345"/>
                    </a:lnTo>
                    <a:lnTo>
                      <a:pt x="793" y="318"/>
                    </a:lnTo>
                    <a:lnTo>
                      <a:pt x="822" y="292"/>
                    </a:lnTo>
                    <a:lnTo>
                      <a:pt x="853" y="267"/>
                    </a:lnTo>
                    <a:lnTo>
                      <a:pt x="885" y="244"/>
                    </a:lnTo>
                    <a:lnTo>
                      <a:pt x="918" y="221"/>
                    </a:lnTo>
                    <a:lnTo>
                      <a:pt x="951" y="200"/>
                    </a:lnTo>
                    <a:lnTo>
                      <a:pt x="986" y="181"/>
                    </a:lnTo>
                    <a:lnTo>
                      <a:pt x="1021" y="161"/>
                    </a:lnTo>
                    <a:lnTo>
                      <a:pt x="1057" y="144"/>
                    </a:lnTo>
                    <a:lnTo>
                      <a:pt x="1094" y="127"/>
                    </a:lnTo>
                    <a:lnTo>
                      <a:pt x="1132" y="112"/>
                    </a:lnTo>
                    <a:lnTo>
                      <a:pt x="1132" y="112"/>
                    </a:lnTo>
                    <a:lnTo>
                      <a:pt x="1185" y="92"/>
                    </a:lnTo>
                    <a:lnTo>
                      <a:pt x="1240" y="75"/>
                    </a:lnTo>
                    <a:lnTo>
                      <a:pt x="1294" y="59"/>
                    </a:lnTo>
                    <a:lnTo>
                      <a:pt x="1350" y="46"/>
                    </a:lnTo>
                    <a:lnTo>
                      <a:pt x="1406" y="35"/>
                    </a:lnTo>
                    <a:lnTo>
                      <a:pt x="1463" y="25"/>
                    </a:lnTo>
                    <a:lnTo>
                      <a:pt x="1519" y="18"/>
                    </a:lnTo>
                    <a:lnTo>
                      <a:pt x="1576" y="12"/>
                    </a:lnTo>
                    <a:lnTo>
                      <a:pt x="1576" y="12"/>
                    </a:lnTo>
                    <a:lnTo>
                      <a:pt x="1623" y="9"/>
                    </a:lnTo>
                    <a:lnTo>
                      <a:pt x="1670" y="7"/>
                    </a:lnTo>
                    <a:lnTo>
                      <a:pt x="1763" y="3"/>
                    </a:lnTo>
                    <a:lnTo>
                      <a:pt x="1763" y="3"/>
                    </a:lnTo>
                    <a:lnTo>
                      <a:pt x="1774" y="1"/>
                    </a:lnTo>
                    <a:lnTo>
                      <a:pt x="1783" y="0"/>
                    </a:lnTo>
                    <a:lnTo>
                      <a:pt x="1783" y="0"/>
                    </a:lnTo>
                    <a:lnTo>
                      <a:pt x="1799" y="0"/>
                    </a:lnTo>
                    <a:lnTo>
                      <a:pt x="1799" y="0"/>
                    </a:lnTo>
                    <a:lnTo>
                      <a:pt x="1905" y="12"/>
                    </a:lnTo>
                    <a:lnTo>
                      <a:pt x="1905" y="12"/>
                    </a:lnTo>
                    <a:lnTo>
                      <a:pt x="1977" y="20"/>
                    </a:lnTo>
                    <a:lnTo>
                      <a:pt x="2049" y="31"/>
                    </a:lnTo>
                    <a:lnTo>
                      <a:pt x="2120" y="42"/>
                    </a:lnTo>
                    <a:lnTo>
                      <a:pt x="2191" y="55"/>
                    </a:lnTo>
                    <a:lnTo>
                      <a:pt x="2262" y="71"/>
                    </a:lnTo>
                    <a:lnTo>
                      <a:pt x="2332" y="87"/>
                    </a:lnTo>
                    <a:lnTo>
                      <a:pt x="2402" y="106"/>
                    </a:lnTo>
                    <a:lnTo>
                      <a:pt x="2472" y="126"/>
                    </a:lnTo>
                    <a:lnTo>
                      <a:pt x="2472" y="126"/>
                    </a:lnTo>
                    <a:lnTo>
                      <a:pt x="2537" y="147"/>
                    </a:lnTo>
                    <a:lnTo>
                      <a:pt x="2601" y="170"/>
                    </a:lnTo>
                    <a:lnTo>
                      <a:pt x="2665" y="192"/>
                    </a:lnTo>
                    <a:lnTo>
                      <a:pt x="2729" y="216"/>
                    </a:lnTo>
                    <a:lnTo>
                      <a:pt x="2729" y="216"/>
                    </a:lnTo>
                    <a:lnTo>
                      <a:pt x="2737" y="219"/>
                    </a:lnTo>
                    <a:lnTo>
                      <a:pt x="2741" y="221"/>
                    </a:lnTo>
                    <a:lnTo>
                      <a:pt x="2743" y="224"/>
                    </a:lnTo>
                    <a:lnTo>
                      <a:pt x="2744" y="227"/>
                    </a:lnTo>
                    <a:lnTo>
                      <a:pt x="2745" y="230"/>
                    </a:lnTo>
                    <a:lnTo>
                      <a:pt x="2745" y="235"/>
                    </a:lnTo>
                    <a:lnTo>
                      <a:pt x="2744" y="241"/>
                    </a:lnTo>
                    <a:lnTo>
                      <a:pt x="2744" y="241"/>
                    </a:lnTo>
                    <a:lnTo>
                      <a:pt x="2624" y="801"/>
                    </a:lnTo>
                    <a:lnTo>
                      <a:pt x="2506" y="1361"/>
                    </a:lnTo>
                    <a:lnTo>
                      <a:pt x="2506" y="1361"/>
                    </a:lnTo>
                    <a:lnTo>
                      <a:pt x="2504" y="1376"/>
                    </a:lnTo>
                    <a:lnTo>
                      <a:pt x="2503" y="1391"/>
                    </a:lnTo>
                    <a:lnTo>
                      <a:pt x="2503" y="1391"/>
                    </a:lnTo>
                    <a:lnTo>
                      <a:pt x="2503" y="2495"/>
                    </a:lnTo>
                    <a:lnTo>
                      <a:pt x="2503" y="2495"/>
                    </a:lnTo>
                    <a:lnTo>
                      <a:pt x="2503" y="2523"/>
                    </a:lnTo>
                    <a:lnTo>
                      <a:pt x="2503" y="2523"/>
                    </a:lnTo>
                    <a:lnTo>
                      <a:pt x="1887" y="2523"/>
                    </a:lnTo>
                    <a:lnTo>
                      <a:pt x="1887" y="2523"/>
                    </a:lnTo>
                    <a:lnTo>
                      <a:pt x="1887" y="2554"/>
                    </a:lnTo>
                    <a:lnTo>
                      <a:pt x="1887" y="2554"/>
                    </a:lnTo>
                    <a:lnTo>
                      <a:pt x="1887" y="4912"/>
                    </a:lnTo>
                    <a:lnTo>
                      <a:pt x="1887" y="4912"/>
                    </a:lnTo>
                    <a:lnTo>
                      <a:pt x="1886" y="4941"/>
                    </a:lnTo>
                    <a:lnTo>
                      <a:pt x="1886" y="4941"/>
                    </a:lnTo>
                    <a:lnTo>
                      <a:pt x="445" y="4941"/>
                    </a:lnTo>
                    <a:lnTo>
                      <a:pt x="445" y="4941"/>
                    </a:lnTo>
                    <a:close/>
                    <a:moveTo>
                      <a:pt x="808" y="2156"/>
                    </a:moveTo>
                    <a:lnTo>
                      <a:pt x="808" y="2156"/>
                    </a:lnTo>
                    <a:lnTo>
                      <a:pt x="808" y="4584"/>
                    </a:lnTo>
                    <a:lnTo>
                      <a:pt x="808" y="4584"/>
                    </a:lnTo>
                    <a:lnTo>
                      <a:pt x="1529" y="4584"/>
                    </a:lnTo>
                    <a:lnTo>
                      <a:pt x="1529" y="4584"/>
                    </a:lnTo>
                    <a:lnTo>
                      <a:pt x="1529" y="2156"/>
                    </a:lnTo>
                    <a:lnTo>
                      <a:pt x="1529" y="2156"/>
                    </a:lnTo>
                    <a:lnTo>
                      <a:pt x="2136" y="2156"/>
                    </a:lnTo>
                    <a:lnTo>
                      <a:pt x="2136" y="2156"/>
                    </a:lnTo>
                    <a:lnTo>
                      <a:pt x="2136" y="1610"/>
                    </a:lnTo>
                    <a:lnTo>
                      <a:pt x="2136" y="1610"/>
                    </a:lnTo>
                    <a:lnTo>
                      <a:pt x="1832" y="1610"/>
                    </a:lnTo>
                    <a:lnTo>
                      <a:pt x="1832" y="1610"/>
                    </a:lnTo>
                    <a:lnTo>
                      <a:pt x="1529" y="1610"/>
                    </a:lnTo>
                    <a:lnTo>
                      <a:pt x="1529" y="1610"/>
                    </a:lnTo>
                    <a:lnTo>
                      <a:pt x="1525" y="1558"/>
                    </a:lnTo>
                    <a:lnTo>
                      <a:pt x="1523" y="1509"/>
                    </a:lnTo>
                    <a:lnTo>
                      <a:pt x="1523" y="1509"/>
                    </a:lnTo>
                    <a:lnTo>
                      <a:pt x="1520" y="1465"/>
                    </a:lnTo>
                    <a:lnTo>
                      <a:pt x="1520" y="1419"/>
                    </a:lnTo>
                    <a:lnTo>
                      <a:pt x="1520" y="1374"/>
                    </a:lnTo>
                    <a:lnTo>
                      <a:pt x="1523" y="1330"/>
                    </a:lnTo>
                    <a:lnTo>
                      <a:pt x="1526" y="1284"/>
                    </a:lnTo>
                    <a:lnTo>
                      <a:pt x="1531" y="1240"/>
                    </a:lnTo>
                    <a:lnTo>
                      <a:pt x="1537" y="1196"/>
                    </a:lnTo>
                    <a:lnTo>
                      <a:pt x="1545" y="1151"/>
                    </a:lnTo>
                    <a:lnTo>
                      <a:pt x="1545" y="1151"/>
                    </a:lnTo>
                    <a:lnTo>
                      <a:pt x="1550" y="1127"/>
                    </a:lnTo>
                    <a:lnTo>
                      <a:pt x="1558" y="1104"/>
                    </a:lnTo>
                    <a:lnTo>
                      <a:pt x="1566" y="1083"/>
                    </a:lnTo>
                    <a:lnTo>
                      <a:pt x="1575" y="1062"/>
                    </a:lnTo>
                    <a:lnTo>
                      <a:pt x="1585" y="1044"/>
                    </a:lnTo>
                    <a:lnTo>
                      <a:pt x="1598" y="1026"/>
                    </a:lnTo>
                    <a:lnTo>
                      <a:pt x="1610" y="1010"/>
                    </a:lnTo>
                    <a:lnTo>
                      <a:pt x="1624" y="994"/>
                    </a:lnTo>
                    <a:lnTo>
                      <a:pt x="1640" y="980"/>
                    </a:lnTo>
                    <a:lnTo>
                      <a:pt x="1657" y="967"/>
                    </a:lnTo>
                    <a:lnTo>
                      <a:pt x="1675" y="956"/>
                    </a:lnTo>
                    <a:lnTo>
                      <a:pt x="1694" y="946"/>
                    </a:lnTo>
                    <a:lnTo>
                      <a:pt x="1714" y="936"/>
                    </a:lnTo>
                    <a:lnTo>
                      <a:pt x="1735" y="929"/>
                    </a:lnTo>
                    <a:lnTo>
                      <a:pt x="1758" y="923"/>
                    </a:lnTo>
                    <a:lnTo>
                      <a:pt x="1783" y="918"/>
                    </a:lnTo>
                    <a:lnTo>
                      <a:pt x="1783" y="918"/>
                    </a:lnTo>
                    <a:lnTo>
                      <a:pt x="1822" y="912"/>
                    </a:lnTo>
                    <a:lnTo>
                      <a:pt x="1861" y="908"/>
                    </a:lnTo>
                    <a:lnTo>
                      <a:pt x="1901" y="905"/>
                    </a:lnTo>
                    <a:lnTo>
                      <a:pt x="1940" y="905"/>
                    </a:lnTo>
                    <a:lnTo>
                      <a:pt x="1979" y="905"/>
                    </a:lnTo>
                    <a:lnTo>
                      <a:pt x="2019" y="907"/>
                    </a:lnTo>
                    <a:lnTo>
                      <a:pt x="2059" y="910"/>
                    </a:lnTo>
                    <a:lnTo>
                      <a:pt x="2099" y="913"/>
                    </a:lnTo>
                    <a:lnTo>
                      <a:pt x="2099" y="913"/>
                    </a:lnTo>
                    <a:lnTo>
                      <a:pt x="2135" y="916"/>
                    </a:lnTo>
                    <a:lnTo>
                      <a:pt x="2171" y="920"/>
                    </a:lnTo>
                    <a:lnTo>
                      <a:pt x="2244" y="929"/>
                    </a:lnTo>
                    <a:lnTo>
                      <a:pt x="2244" y="929"/>
                    </a:lnTo>
                    <a:lnTo>
                      <a:pt x="2334" y="461"/>
                    </a:lnTo>
                    <a:lnTo>
                      <a:pt x="2334" y="461"/>
                    </a:lnTo>
                    <a:lnTo>
                      <a:pt x="2330" y="459"/>
                    </a:lnTo>
                    <a:lnTo>
                      <a:pt x="2327" y="457"/>
                    </a:lnTo>
                    <a:lnTo>
                      <a:pt x="2327" y="457"/>
                    </a:lnTo>
                    <a:lnTo>
                      <a:pt x="2212" y="430"/>
                    </a:lnTo>
                    <a:lnTo>
                      <a:pt x="2154" y="417"/>
                    </a:lnTo>
                    <a:lnTo>
                      <a:pt x="2097" y="404"/>
                    </a:lnTo>
                    <a:lnTo>
                      <a:pt x="2038" y="394"/>
                    </a:lnTo>
                    <a:lnTo>
                      <a:pt x="1980" y="384"/>
                    </a:lnTo>
                    <a:lnTo>
                      <a:pt x="1922" y="375"/>
                    </a:lnTo>
                    <a:lnTo>
                      <a:pt x="1862" y="369"/>
                    </a:lnTo>
                    <a:lnTo>
                      <a:pt x="1862" y="369"/>
                    </a:lnTo>
                    <a:lnTo>
                      <a:pt x="1832" y="366"/>
                    </a:lnTo>
                    <a:lnTo>
                      <a:pt x="1801" y="364"/>
                    </a:lnTo>
                    <a:lnTo>
                      <a:pt x="1771" y="363"/>
                    </a:lnTo>
                    <a:lnTo>
                      <a:pt x="1742" y="362"/>
                    </a:lnTo>
                    <a:lnTo>
                      <a:pt x="1711" y="362"/>
                    </a:lnTo>
                    <a:lnTo>
                      <a:pt x="1681" y="363"/>
                    </a:lnTo>
                    <a:lnTo>
                      <a:pt x="1651" y="364"/>
                    </a:lnTo>
                    <a:lnTo>
                      <a:pt x="1621" y="366"/>
                    </a:lnTo>
                    <a:lnTo>
                      <a:pt x="1591" y="369"/>
                    </a:lnTo>
                    <a:lnTo>
                      <a:pt x="1562" y="372"/>
                    </a:lnTo>
                    <a:lnTo>
                      <a:pt x="1532" y="376"/>
                    </a:lnTo>
                    <a:lnTo>
                      <a:pt x="1502" y="382"/>
                    </a:lnTo>
                    <a:lnTo>
                      <a:pt x="1472" y="387"/>
                    </a:lnTo>
                    <a:lnTo>
                      <a:pt x="1443" y="393"/>
                    </a:lnTo>
                    <a:lnTo>
                      <a:pt x="1413" y="399"/>
                    </a:lnTo>
                    <a:lnTo>
                      <a:pt x="1384" y="407"/>
                    </a:lnTo>
                    <a:lnTo>
                      <a:pt x="1384" y="407"/>
                    </a:lnTo>
                    <a:lnTo>
                      <a:pt x="1357" y="415"/>
                    </a:lnTo>
                    <a:lnTo>
                      <a:pt x="1331" y="423"/>
                    </a:lnTo>
                    <a:lnTo>
                      <a:pt x="1304" y="433"/>
                    </a:lnTo>
                    <a:lnTo>
                      <a:pt x="1279" y="443"/>
                    </a:lnTo>
                    <a:lnTo>
                      <a:pt x="1254" y="455"/>
                    </a:lnTo>
                    <a:lnTo>
                      <a:pt x="1229" y="467"/>
                    </a:lnTo>
                    <a:lnTo>
                      <a:pt x="1205" y="480"/>
                    </a:lnTo>
                    <a:lnTo>
                      <a:pt x="1181" y="494"/>
                    </a:lnTo>
                    <a:lnTo>
                      <a:pt x="1157" y="509"/>
                    </a:lnTo>
                    <a:lnTo>
                      <a:pt x="1135" y="525"/>
                    </a:lnTo>
                    <a:lnTo>
                      <a:pt x="1113" y="541"/>
                    </a:lnTo>
                    <a:lnTo>
                      <a:pt x="1091" y="559"/>
                    </a:lnTo>
                    <a:lnTo>
                      <a:pt x="1071" y="577"/>
                    </a:lnTo>
                    <a:lnTo>
                      <a:pt x="1050" y="597"/>
                    </a:lnTo>
                    <a:lnTo>
                      <a:pt x="1031" y="616"/>
                    </a:lnTo>
                    <a:lnTo>
                      <a:pt x="1012" y="637"/>
                    </a:lnTo>
                    <a:lnTo>
                      <a:pt x="994" y="659"/>
                    </a:lnTo>
                    <a:lnTo>
                      <a:pt x="976" y="680"/>
                    </a:lnTo>
                    <a:lnTo>
                      <a:pt x="960" y="704"/>
                    </a:lnTo>
                    <a:lnTo>
                      <a:pt x="944" y="726"/>
                    </a:lnTo>
                    <a:lnTo>
                      <a:pt x="930" y="751"/>
                    </a:lnTo>
                    <a:lnTo>
                      <a:pt x="917" y="776"/>
                    </a:lnTo>
                    <a:lnTo>
                      <a:pt x="903" y="802"/>
                    </a:lnTo>
                    <a:lnTo>
                      <a:pt x="892" y="828"/>
                    </a:lnTo>
                    <a:lnTo>
                      <a:pt x="881" y="855"/>
                    </a:lnTo>
                    <a:lnTo>
                      <a:pt x="871" y="883"/>
                    </a:lnTo>
                    <a:lnTo>
                      <a:pt x="863" y="911"/>
                    </a:lnTo>
                    <a:lnTo>
                      <a:pt x="855" y="940"/>
                    </a:lnTo>
                    <a:lnTo>
                      <a:pt x="849" y="969"/>
                    </a:lnTo>
                    <a:lnTo>
                      <a:pt x="844" y="999"/>
                    </a:lnTo>
                    <a:lnTo>
                      <a:pt x="839" y="1029"/>
                    </a:lnTo>
                    <a:lnTo>
                      <a:pt x="836" y="1060"/>
                    </a:lnTo>
                    <a:lnTo>
                      <a:pt x="836" y="1060"/>
                    </a:lnTo>
                    <a:lnTo>
                      <a:pt x="829" y="1145"/>
                    </a:lnTo>
                    <a:lnTo>
                      <a:pt x="821" y="1230"/>
                    </a:lnTo>
                    <a:lnTo>
                      <a:pt x="813" y="1315"/>
                    </a:lnTo>
                    <a:lnTo>
                      <a:pt x="806" y="1401"/>
                    </a:lnTo>
                    <a:lnTo>
                      <a:pt x="806" y="1401"/>
                    </a:lnTo>
                    <a:lnTo>
                      <a:pt x="801" y="1452"/>
                    </a:lnTo>
                    <a:lnTo>
                      <a:pt x="800" y="1478"/>
                    </a:lnTo>
                    <a:lnTo>
                      <a:pt x="799" y="1505"/>
                    </a:lnTo>
                    <a:lnTo>
                      <a:pt x="799" y="1530"/>
                    </a:lnTo>
                    <a:lnTo>
                      <a:pt x="800" y="1557"/>
                    </a:lnTo>
                    <a:lnTo>
                      <a:pt x="803" y="1584"/>
                    </a:lnTo>
                    <a:lnTo>
                      <a:pt x="809" y="1611"/>
                    </a:lnTo>
                    <a:lnTo>
                      <a:pt x="809" y="1611"/>
                    </a:lnTo>
                    <a:lnTo>
                      <a:pt x="359" y="1611"/>
                    </a:lnTo>
                    <a:lnTo>
                      <a:pt x="359" y="1611"/>
                    </a:lnTo>
                    <a:lnTo>
                      <a:pt x="359" y="2156"/>
                    </a:lnTo>
                    <a:lnTo>
                      <a:pt x="359" y="2156"/>
                    </a:lnTo>
                    <a:lnTo>
                      <a:pt x="808" y="2156"/>
                    </a:lnTo>
                    <a:lnTo>
                      <a:pt x="808" y="2156"/>
                    </a:lnTo>
                    <a:close/>
                  </a:path>
                </a:pathLst>
              </a:custGeom>
              <a:solidFill>
                <a:srgbClr val="0072C6">
                  <a:lumMod val="20000"/>
                  <a:lumOff val="80000"/>
                </a:srgbClr>
              </a:solid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616" name="Freeform 6"/>
              <p:cNvSpPr>
                <a:spLocks/>
              </p:cNvSpPr>
              <p:nvPr/>
            </p:nvSpPr>
            <p:spPr bwMode="auto">
              <a:xfrm>
                <a:off x="3354159" y="3890016"/>
                <a:ext cx="153204" cy="105039"/>
              </a:xfrm>
              <a:custGeom>
                <a:avLst/>
                <a:gdLst>
                  <a:gd name="T0" fmla="*/ 1089 w 4380"/>
                  <a:gd name="T1" fmla="*/ 2730 h 3539"/>
                  <a:gd name="T2" fmla="*/ 827 w 4380"/>
                  <a:gd name="T3" fmla="*/ 2602 h 3539"/>
                  <a:gd name="T4" fmla="*/ 631 w 4380"/>
                  <a:gd name="T5" fmla="*/ 2416 h 3539"/>
                  <a:gd name="T6" fmla="*/ 510 w 4380"/>
                  <a:gd name="T7" fmla="*/ 2202 h 3539"/>
                  <a:gd name="T8" fmla="*/ 665 w 4380"/>
                  <a:gd name="T9" fmla="*/ 2163 h 3539"/>
                  <a:gd name="T10" fmla="*/ 861 w 4380"/>
                  <a:gd name="T11" fmla="*/ 2138 h 3539"/>
                  <a:gd name="T12" fmla="*/ 667 w 4380"/>
                  <a:gd name="T13" fmla="*/ 2054 h 3539"/>
                  <a:gd name="T14" fmla="*/ 425 w 4380"/>
                  <a:gd name="T15" fmla="*/ 1875 h 3539"/>
                  <a:gd name="T16" fmla="*/ 267 w 4380"/>
                  <a:gd name="T17" fmla="*/ 1653 h 3539"/>
                  <a:gd name="T18" fmla="*/ 181 w 4380"/>
                  <a:gd name="T19" fmla="*/ 1363 h 3539"/>
                  <a:gd name="T20" fmla="*/ 338 w 4380"/>
                  <a:gd name="T21" fmla="*/ 1315 h 3539"/>
                  <a:gd name="T22" fmla="*/ 573 w 4380"/>
                  <a:gd name="T23" fmla="*/ 1354 h 3539"/>
                  <a:gd name="T24" fmla="*/ 359 w 4380"/>
                  <a:gd name="T25" fmla="*/ 1148 h 3539"/>
                  <a:gd name="T26" fmla="*/ 262 w 4380"/>
                  <a:gd name="T27" fmla="*/ 985 h 3539"/>
                  <a:gd name="T28" fmla="*/ 201 w 4380"/>
                  <a:gd name="T29" fmla="*/ 800 h 3539"/>
                  <a:gd name="T30" fmla="*/ 181 w 4380"/>
                  <a:gd name="T31" fmla="*/ 594 h 3539"/>
                  <a:gd name="T32" fmla="*/ 229 w 4380"/>
                  <a:gd name="T33" fmla="*/ 324 h 3539"/>
                  <a:gd name="T34" fmla="*/ 395 w 4380"/>
                  <a:gd name="T35" fmla="*/ 269 h 3539"/>
                  <a:gd name="T36" fmla="*/ 797 w 4380"/>
                  <a:gd name="T37" fmla="*/ 624 h 3539"/>
                  <a:gd name="T38" fmla="*/ 1248 w 4380"/>
                  <a:gd name="T39" fmla="*/ 881 h 3539"/>
                  <a:gd name="T40" fmla="*/ 1748 w 4380"/>
                  <a:gd name="T41" fmla="*/ 1042 h 3539"/>
                  <a:gd name="T42" fmla="*/ 2149 w 4380"/>
                  <a:gd name="T43" fmla="*/ 1056 h 3539"/>
                  <a:gd name="T44" fmla="*/ 2135 w 4380"/>
                  <a:gd name="T45" fmla="*/ 854 h 3539"/>
                  <a:gd name="T46" fmla="*/ 2166 w 4380"/>
                  <a:gd name="T47" fmla="*/ 650 h 3539"/>
                  <a:gd name="T48" fmla="*/ 2246 w 4380"/>
                  <a:gd name="T49" fmla="*/ 461 h 3539"/>
                  <a:gd name="T50" fmla="*/ 2371 w 4380"/>
                  <a:gd name="T51" fmla="*/ 290 h 3539"/>
                  <a:gd name="T52" fmla="*/ 2546 w 4380"/>
                  <a:gd name="T53" fmla="*/ 141 h 3539"/>
                  <a:gd name="T54" fmla="*/ 2796 w 4380"/>
                  <a:gd name="T55" fmla="*/ 30 h 3539"/>
                  <a:gd name="T56" fmla="*/ 3010 w 4380"/>
                  <a:gd name="T57" fmla="*/ 1 h 3539"/>
                  <a:gd name="T58" fmla="*/ 3221 w 4380"/>
                  <a:gd name="T59" fmla="*/ 18 h 3539"/>
                  <a:gd name="T60" fmla="*/ 3415 w 4380"/>
                  <a:gd name="T61" fmla="*/ 82 h 3539"/>
                  <a:gd name="T62" fmla="*/ 3593 w 4380"/>
                  <a:gd name="T63" fmla="*/ 195 h 3539"/>
                  <a:gd name="T64" fmla="*/ 3700 w 4380"/>
                  <a:gd name="T65" fmla="*/ 279 h 3539"/>
                  <a:gd name="T66" fmla="*/ 3917 w 4380"/>
                  <a:gd name="T67" fmla="*/ 221 h 3539"/>
                  <a:gd name="T68" fmla="*/ 4181 w 4380"/>
                  <a:gd name="T69" fmla="*/ 109 h 3539"/>
                  <a:gd name="T70" fmla="*/ 4216 w 4380"/>
                  <a:gd name="T71" fmla="*/ 179 h 3539"/>
                  <a:gd name="T72" fmla="*/ 4034 w 4380"/>
                  <a:gd name="T73" fmla="*/ 432 h 3539"/>
                  <a:gd name="T74" fmla="*/ 3981 w 4380"/>
                  <a:gd name="T75" fmla="*/ 542 h 3539"/>
                  <a:gd name="T76" fmla="*/ 4231 w 4380"/>
                  <a:gd name="T77" fmla="*/ 478 h 3539"/>
                  <a:gd name="T78" fmla="*/ 4346 w 4380"/>
                  <a:gd name="T79" fmla="*/ 472 h 3539"/>
                  <a:gd name="T80" fmla="*/ 4150 w 4380"/>
                  <a:gd name="T81" fmla="*/ 700 h 3539"/>
                  <a:gd name="T82" fmla="*/ 3949 w 4380"/>
                  <a:gd name="T83" fmla="*/ 871 h 3539"/>
                  <a:gd name="T84" fmla="*/ 3936 w 4380"/>
                  <a:gd name="T85" fmla="*/ 942 h 3539"/>
                  <a:gd name="T86" fmla="*/ 3921 w 4380"/>
                  <a:gd name="T87" fmla="*/ 1260 h 3539"/>
                  <a:gd name="T88" fmla="*/ 3824 w 4380"/>
                  <a:gd name="T89" fmla="*/ 1737 h 3539"/>
                  <a:gd name="T90" fmla="*/ 3637 w 4380"/>
                  <a:gd name="T91" fmla="*/ 2185 h 3539"/>
                  <a:gd name="T92" fmla="*/ 3437 w 4380"/>
                  <a:gd name="T93" fmla="*/ 2511 h 3539"/>
                  <a:gd name="T94" fmla="*/ 3162 w 4380"/>
                  <a:gd name="T95" fmla="*/ 2834 h 3539"/>
                  <a:gd name="T96" fmla="*/ 2836 w 4380"/>
                  <a:gd name="T97" fmla="*/ 3103 h 3539"/>
                  <a:gd name="T98" fmla="*/ 2457 w 4380"/>
                  <a:gd name="T99" fmla="*/ 3316 h 3539"/>
                  <a:gd name="T100" fmla="*/ 1989 w 4380"/>
                  <a:gd name="T101" fmla="*/ 3472 h 3539"/>
                  <a:gd name="T102" fmla="*/ 1484 w 4380"/>
                  <a:gd name="T103" fmla="*/ 3537 h 3539"/>
                  <a:gd name="T104" fmla="*/ 1098 w 4380"/>
                  <a:gd name="T105" fmla="*/ 3524 h 3539"/>
                  <a:gd name="T106" fmla="*/ 772 w 4380"/>
                  <a:gd name="T107" fmla="*/ 3467 h 3539"/>
                  <a:gd name="T108" fmla="*/ 459 w 4380"/>
                  <a:gd name="T109" fmla="*/ 3370 h 3539"/>
                  <a:gd name="T110" fmla="*/ 158 w 4380"/>
                  <a:gd name="T111" fmla="*/ 3231 h 3539"/>
                  <a:gd name="T112" fmla="*/ 45 w 4380"/>
                  <a:gd name="T113" fmla="*/ 3142 h 3539"/>
                  <a:gd name="T114" fmla="*/ 399 w 4380"/>
                  <a:gd name="T115" fmla="*/ 3141 h 3539"/>
                  <a:gd name="T116" fmla="*/ 700 w 4380"/>
                  <a:gd name="T117" fmla="*/ 3083 h 3539"/>
                  <a:gd name="T118" fmla="*/ 1027 w 4380"/>
                  <a:gd name="T119" fmla="*/ 2957 h 3539"/>
                  <a:gd name="T120" fmla="*/ 1328 w 4380"/>
                  <a:gd name="T121" fmla="*/ 2768 h 3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0" h="3539">
                    <a:moveTo>
                      <a:pt x="1328" y="2768"/>
                    </a:moveTo>
                    <a:lnTo>
                      <a:pt x="1328" y="2768"/>
                    </a:lnTo>
                    <a:lnTo>
                      <a:pt x="1286" y="2766"/>
                    </a:lnTo>
                    <a:lnTo>
                      <a:pt x="1245" y="2762"/>
                    </a:lnTo>
                    <a:lnTo>
                      <a:pt x="1204" y="2757"/>
                    </a:lnTo>
                    <a:lnTo>
                      <a:pt x="1165" y="2750"/>
                    </a:lnTo>
                    <a:lnTo>
                      <a:pt x="1126" y="2740"/>
                    </a:lnTo>
                    <a:lnTo>
                      <a:pt x="1089" y="2730"/>
                    </a:lnTo>
                    <a:lnTo>
                      <a:pt x="1053" y="2719"/>
                    </a:lnTo>
                    <a:lnTo>
                      <a:pt x="1017" y="2705"/>
                    </a:lnTo>
                    <a:lnTo>
                      <a:pt x="983" y="2691"/>
                    </a:lnTo>
                    <a:lnTo>
                      <a:pt x="949" y="2675"/>
                    </a:lnTo>
                    <a:lnTo>
                      <a:pt x="917" y="2659"/>
                    </a:lnTo>
                    <a:lnTo>
                      <a:pt x="887" y="2641"/>
                    </a:lnTo>
                    <a:lnTo>
                      <a:pt x="856" y="2623"/>
                    </a:lnTo>
                    <a:lnTo>
                      <a:pt x="827" y="2602"/>
                    </a:lnTo>
                    <a:lnTo>
                      <a:pt x="798" y="2582"/>
                    </a:lnTo>
                    <a:lnTo>
                      <a:pt x="771" y="2560"/>
                    </a:lnTo>
                    <a:lnTo>
                      <a:pt x="746" y="2538"/>
                    </a:lnTo>
                    <a:lnTo>
                      <a:pt x="721" y="2515"/>
                    </a:lnTo>
                    <a:lnTo>
                      <a:pt x="696" y="2491"/>
                    </a:lnTo>
                    <a:lnTo>
                      <a:pt x="674" y="2466"/>
                    </a:lnTo>
                    <a:lnTo>
                      <a:pt x="652" y="2442"/>
                    </a:lnTo>
                    <a:lnTo>
                      <a:pt x="631" y="2416"/>
                    </a:lnTo>
                    <a:lnTo>
                      <a:pt x="613" y="2390"/>
                    </a:lnTo>
                    <a:lnTo>
                      <a:pt x="594" y="2365"/>
                    </a:lnTo>
                    <a:lnTo>
                      <a:pt x="577" y="2338"/>
                    </a:lnTo>
                    <a:lnTo>
                      <a:pt x="561" y="2311"/>
                    </a:lnTo>
                    <a:lnTo>
                      <a:pt x="547" y="2283"/>
                    </a:lnTo>
                    <a:lnTo>
                      <a:pt x="534" y="2256"/>
                    </a:lnTo>
                    <a:lnTo>
                      <a:pt x="521" y="2230"/>
                    </a:lnTo>
                    <a:lnTo>
                      <a:pt x="510" y="2202"/>
                    </a:lnTo>
                    <a:lnTo>
                      <a:pt x="500" y="2175"/>
                    </a:lnTo>
                    <a:lnTo>
                      <a:pt x="491" y="2147"/>
                    </a:lnTo>
                    <a:lnTo>
                      <a:pt x="491" y="2147"/>
                    </a:lnTo>
                    <a:lnTo>
                      <a:pt x="541" y="2155"/>
                    </a:lnTo>
                    <a:lnTo>
                      <a:pt x="590" y="2160"/>
                    </a:lnTo>
                    <a:lnTo>
                      <a:pt x="616" y="2162"/>
                    </a:lnTo>
                    <a:lnTo>
                      <a:pt x="641" y="2162"/>
                    </a:lnTo>
                    <a:lnTo>
                      <a:pt x="665" y="2163"/>
                    </a:lnTo>
                    <a:lnTo>
                      <a:pt x="690" y="2162"/>
                    </a:lnTo>
                    <a:lnTo>
                      <a:pt x="714" y="2161"/>
                    </a:lnTo>
                    <a:lnTo>
                      <a:pt x="738" y="2159"/>
                    </a:lnTo>
                    <a:lnTo>
                      <a:pt x="763" y="2157"/>
                    </a:lnTo>
                    <a:lnTo>
                      <a:pt x="788" y="2152"/>
                    </a:lnTo>
                    <a:lnTo>
                      <a:pt x="812" y="2148"/>
                    </a:lnTo>
                    <a:lnTo>
                      <a:pt x="836" y="2144"/>
                    </a:lnTo>
                    <a:lnTo>
                      <a:pt x="861" y="2138"/>
                    </a:lnTo>
                    <a:lnTo>
                      <a:pt x="886" y="2132"/>
                    </a:lnTo>
                    <a:lnTo>
                      <a:pt x="886" y="2132"/>
                    </a:lnTo>
                    <a:lnTo>
                      <a:pt x="847" y="2123"/>
                    </a:lnTo>
                    <a:lnTo>
                      <a:pt x="809" y="2111"/>
                    </a:lnTo>
                    <a:lnTo>
                      <a:pt x="772" y="2099"/>
                    </a:lnTo>
                    <a:lnTo>
                      <a:pt x="737" y="2086"/>
                    </a:lnTo>
                    <a:lnTo>
                      <a:pt x="701" y="2070"/>
                    </a:lnTo>
                    <a:lnTo>
                      <a:pt x="667" y="2054"/>
                    </a:lnTo>
                    <a:lnTo>
                      <a:pt x="634" y="2036"/>
                    </a:lnTo>
                    <a:lnTo>
                      <a:pt x="602" y="2018"/>
                    </a:lnTo>
                    <a:lnTo>
                      <a:pt x="570" y="1997"/>
                    </a:lnTo>
                    <a:lnTo>
                      <a:pt x="539" y="1975"/>
                    </a:lnTo>
                    <a:lnTo>
                      <a:pt x="509" y="1952"/>
                    </a:lnTo>
                    <a:lnTo>
                      <a:pt x="480" y="1928"/>
                    </a:lnTo>
                    <a:lnTo>
                      <a:pt x="452" y="1901"/>
                    </a:lnTo>
                    <a:lnTo>
                      <a:pt x="425" y="1875"/>
                    </a:lnTo>
                    <a:lnTo>
                      <a:pt x="398" y="1846"/>
                    </a:lnTo>
                    <a:lnTo>
                      <a:pt x="373" y="1816"/>
                    </a:lnTo>
                    <a:lnTo>
                      <a:pt x="373" y="1816"/>
                    </a:lnTo>
                    <a:lnTo>
                      <a:pt x="349" y="1784"/>
                    </a:lnTo>
                    <a:lnTo>
                      <a:pt x="326" y="1752"/>
                    </a:lnTo>
                    <a:lnTo>
                      <a:pt x="305" y="1720"/>
                    </a:lnTo>
                    <a:lnTo>
                      <a:pt x="286" y="1687"/>
                    </a:lnTo>
                    <a:lnTo>
                      <a:pt x="267" y="1653"/>
                    </a:lnTo>
                    <a:lnTo>
                      <a:pt x="251" y="1619"/>
                    </a:lnTo>
                    <a:lnTo>
                      <a:pt x="236" y="1584"/>
                    </a:lnTo>
                    <a:lnTo>
                      <a:pt x="223" y="1549"/>
                    </a:lnTo>
                    <a:lnTo>
                      <a:pt x="212" y="1513"/>
                    </a:lnTo>
                    <a:lnTo>
                      <a:pt x="201" y="1476"/>
                    </a:lnTo>
                    <a:lnTo>
                      <a:pt x="193" y="1439"/>
                    </a:lnTo>
                    <a:lnTo>
                      <a:pt x="186" y="1402"/>
                    </a:lnTo>
                    <a:lnTo>
                      <a:pt x="181" y="1363"/>
                    </a:lnTo>
                    <a:lnTo>
                      <a:pt x="177" y="1324"/>
                    </a:lnTo>
                    <a:lnTo>
                      <a:pt x="175" y="1285"/>
                    </a:lnTo>
                    <a:lnTo>
                      <a:pt x="174" y="1245"/>
                    </a:lnTo>
                    <a:lnTo>
                      <a:pt x="174" y="1245"/>
                    </a:lnTo>
                    <a:lnTo>
                      <a:pt x="214" y="1265"/>
                    </a:lnTo>
                    <a:lnTo>
                      <a:pt x="255" y="1284"/>
                    </a:lnTo>
                    <a:lnTo>
                      <a:pt x="296" y="1300"/>
                    </a:lnTo>
                    <a:lnTo>
                      <a:pt x="338" y="1315"/>
                    </a:lnTo>
                    <a:lnTo>
                      <a:pt x="380" y="1327"/>
                    </a:lnTo>
                    <a:lnTo>
                      <a:pt x="423" y="1336"/>
                    </a:lnTo>
                    <a:lnTo>
                      <a:pt x="466" y="1344"/>
                    </a:lnTo>
                    <a:lnTo>
                      <a:pt x="509" y="1351"/>
                    </a:lnTo>
                    <a:lnTo>
                      <a:pt x="509" y="1351"/>
                    </a:lnTo>
                    <a:lnTo>
                      <a:pt x="541" y="1354"/>
                    </a:lnTo>
                    <a:lnTo>
                      <a:pt x="573" y="1354"/>
                    </a:lnTo>
                    <a:lnTo>
                      <a:pt x="573" y="1354"/>
                    </a:lnTo>
                    <a:lnTo>
                      <a:pt x="532" y="1323"/>
                    </a:lnTo>
                    <a:lnTo>
                      <a:pt x="493" y="1291"/>
                    </a:lnTo>
                    <a:lnTo>
                      <a:pt x="457" y="1257"/>
                    </a:lnTo>
                    <a:lnTo>
                      <a:pt x="422" y="1222"/>
                    </a:lnTo>
                    <a:lnTo>
                      <a:pt x="405" y="1203"/>
                    </a:lnTo>
                    <a:lnTo>
                      <a:pt x="390" y="1186"/>
                    </a:lnTo>
                    <a:lnTo>
                      <a:pt x="374" y="1167"/>
                    </a:lnTo>
                    <a:lnTo>
                      <a:pt x="359" y="1148"/>
                    </a:lnTo>
                    <a:lnTo>
                      <a:pt x="345" y="1129"/>
                    </a:lnTo>
                    <a:lnTo>
                      <a:pt x="331" y="1110"/>
                    </a:lnTo>
                    <a:lnTo>
                      <a:pt x="319" y="1089"/>
                    </a:lnTo>
                    <a:lnTo>
                      <a:pt x="306" y="1069"/>
                    </a:lnTo>
                    <a:lnTo>
                      <a:pt x="294" y="1048"/>
                    </a:lnTo>
                    <a:lnTo>
                      <a:pt x="283" y="1027"/>
                    </a:lnTo>
                    <a:lnTo>
                      <a:pt x="272" y="1007"/>
                    </a:lnTo>
                    <a:lnTo>
                      <a:pt x="262" y="985"/>
                    </a:lnTo>
                    <a:lnTo>
                      <a:pt x="252" y="963"/>
                    </a:lnTo>
                    <a:lnTo>
                      <a:pt x="244" y="941"/>
                    </a:lnTo>
                    <a:lnTo>
                      <a:pt x="234" y="918"/>
                    </a:lnTo>
                    <a:lnTo>
                      <a:pt x="227" y="895"/>
                    </a:lnTo>
                    <a:lnTo>
                      <a:pt x="220" y="872"/>
                    </a:lnTo>
                    <a:lnTo>
                      <a:pt x="213" y="848"/>
                    </a:lnTo>
                    <a:lnTo>
                      <a:pt x="207" y="825"/>
                    </a:lnTo>
                    <a:lnTo>
                      <a:pt x="201" y="800"/>
                    </a:lnTo>
                    <a:lnTo>
                      <a:pt x="196" y="775"/>
                    </a:lnTo>
                    <a:lnTo>
                      <a:pt x="192" y="751"/>
                    </a:lnTo>
                    <a:lnTo>
                      <a:pt x="189" y="725"/>
                    </a:lnTo>
                    <a:lnTo>
                      <a:pt x="186" y="699"/>
                    </a:lnTo>
                    <a:lnTo>
                      <a:pt x="186" y="699"/>
                    </a:lnTo>
                    <a:lnTo>
                      <a:pt x="183" y="664"/>
                    </a:lnTo>
                    <a:lnTo>
                      <a:pt x="181" y="629"/>
                    </a:lnTo>
                    <a:lnTo>
                      <a:pt x="181" y="594"/>
                    </a:lnTo>
                    <a:lnTo>
                      <a:pt x="182" y="559"/>
                    </a:lnTo>
                    <a:lnTo>
                      <a:pt x="185" y="525"/>
                    </a:lnTo>
                    <a:lnTo>
                      <a:pt x="189" y="491"/>
                    </a:lnTo>
                    <a:lnTo>
                      <a:pt x="194" y="457"/>
                    </a:lnTo>
                    <a:lnTo>
                      <a:pt x="200" y="423"/>
                    </a:lnTo>
                    <a:lnTo>
                      <a:pt x="209" y="390"/>
                    </a:lnTo>
                    <a:lnTo>
                      <a:pt x="218" y="357"/>
                    </a:lnTo>
                    <a:lnTo>
                      <a:pt x="229" y="324"/>
                    </a:lnTo>
                    <a:lnTo>
                      <a:pt x="240" y="292"/>
                    </a:lnTo>
                    <a:lnTo>
                      <a:pt x="254" y="260"/>
                    </a:lnTo>
                    <a:lnTo>
                      <a:pt x="269" y="228"/>
                    </a:lnTo>
                    <a:lnTo>
                      <a:pt x="285" y="197"/>
                    </a:lnTo>
                    <a:lnTo>
                      <a:pt x="302" y="165"/>
                    </a:lnTo>
                    <a:lnTo>
                      <a:pt x="302" y="165"/>
                    </a:lnTo>
                    <a:lnTo>
                      <a:pt x="349" y="217"/>
                    </a:lnTo>
                    <a:lnTo>
                      <a:pt x="395" y="269"/>
                    </a:lnTo>
                    <a:lnTo>
                      <a:pt x="443" y="318"/>
                    </a:lnTo>
                    <a:lnTo>
                      <a:pt x="491" y="367"/>
                    </a:lnTo>
                    <a:lnTo>
                      <a:pt x="540" y="413"/>
                    </a:lnTo>
                    <a:lnTo>
                      <a:pt x="590" y="458"/>
                    </a:lnTo>
                    <a:lnTo>
                      <a:pt x="641" y="502"/>
                    </a:lnTo>
                    <a:lnTo>
                      <a:pt x="692" y="545"/>
                    </a:lnTo>
                    <a:lnTo>
                      <a:pt x="745" y="585"/>
                    </a:lnTo>
                    <a:lnTo>
                      <a:pt x="797" y="624"/>
                    </a:lnTo>
                    <a:lnTo>
                      <a:pt x="851" y="661"/>
                    </a:lnTo>
                    <a:lnTo>
                      <a:pt x="905" y="697"/>
                    </a:lnTo>
                    <a:lnTo>
                      <a:pt x="961" y="732"/>
                    </a:lnTo>
                    <a:lnTo>
                      <a:pt x="1016" y="765"/>
                    </a:lnTo>
                    <a:lnTo>
                      <a:pt x="1073" y="796"/>
                    </a:lnTo>
                    <a:lnTo>
                      <a:pt x="1130" y="827"/>
                    </a:lnTo>
                    <a:lnTo>
                      <a:pt x="1189" y="854"/>
                    </a:lnTo>
                    <a:lnTo>
                      <a:pt x="1248" y="881"/>
                    </a:lnTo>
                    <a:lnTo>
                      <a:pt x="1307" y="907"/>
                    </a:lnTo>
                    <a:lnTo>
                      <a:pt x="1368" y="931"/>
                    </a:lnTo>
                    <a:lnTo>
                      <a:pt x="1430" y="953"/>
                    </a:lnTo>
                    <a:lnTo>
                      <a:pt x="1491" y="974"/>
                    </a:lnTo>
                    <a:lnTo>
                      <a:pt x="1554" y="993"/>
                    </a:lnTo>
                    <a:lnTo>
                      <a:pt x="1618" y="1011"/>
                    </a:lnTo>
                    <a:lnTo>
                      <a:pt x="1683" y="1027"/>
                    </a:lnTo>
                    <a:lnTo>
                      <a:pt x="1748" y="1042"/>
                    </a:lnTo>
                    <a:lnTo>
                      <a:pt x="1813" y="1055"/>
                    </a:lnTo>
                    <a:lnTo>
                      <a:pt x="1880" y="1067"/>
                    </a:lnTo>
                    <a:lnTo>
                      <a:pt x="1948" y="1077"/>
                    </a:lnTo>
                    <a:lnTo>
                      <a:pt x="2017" y="1085"/>
                    </a:lnTo>
                    <a:lnTo>
                      <a:pt x="2086" y="1092"/>
                    </a:lnTo>
                    <a:lnTo>
                      <a:pt x="2156" y="1098"/>
                    </a:lnTo>
                    <a:lnTo>
                      <a:pt x="2156" y="1098"/>
                    </a:lnTo>
                    <a:lnTo>
                      <a:pt x="2149" y="1056"/>
                    </a:lnTo>
                    <a:lnTo>
                      <a:pt x="2143" y="1018"/>
                    </a:lnTo>
                    <a:lnTo>
                      <a:pt x="2143" y="1018"/>
                    </a:lnTo>
                    <a:lnTo>
                      <a:pt x="2140" y="990"/>
                    </a:lnTo>
                    <a:lnTo>
                      <a:pt x="2137" y="963"/>
                    </a:lnTo>
                    <a:lnTo>
                      <a:pt x="2135" y="935"/>
                    </a:lnTo>
                    <a:lnTo>
                      <a:pt x="2135" y="908"/>
                    </a:lnTo>
                    <a:lnTo>
                      <a:pt x="2134" y="881"/>
                    </a:lnTo>
                    <a:lnTo>
                      <a:pt x="2135" y="854"/>
                    </a:lnTo>
                    <a:lnTo>
                      <a:pt x="2136" y="828"/>
                    </a:lnTo>
                    <a:lnTo>
                      <a:pt x="2139" y="801"/>
                    </a:lnTo>
                    <a:lnTo>
                      <a:pt x="2142" y="775"/>
                    </a:lnTo>
                    <a:lnTo>
                      <a:pt x="2146" y="750"/>
                    </a:lnTo>
                    <a:lnTo>
                      <a:pt x="2150" y="725"/>
                    </a:lnTo>
                    <a:lnTo>
                      <a:pt x="2155" y="699"/>
                    </a:lnTo>
                    <a:lnTo>
                      <a:pt x="2160" y="674"/>
                    </a:lnTo>
                    <a:lnTo>
                      <a:pt x="2166" y="650"/>
                    </a:lnTo>
                    <a:lnTo>
                      <a:pt x="2173" y="625"/>
                    </a:lnTo>
                    <a:lnTo>
                      <a:pt x="2182" y="601"/>
                    </a:lnTo>
                    <a:lnTo>
                      <a:pt x="2191" y="578"/>
                    </a:lnTo>
                    <a:lnTo>
                      <a:pt x="2200" y="554"/>
                    </a:lnTo>
                    <a:lnTo>
                      <a:pt x="2211" y="530"/>
                    </a:lnTo>
                    <a:lnTo>
                      <a:pt x="2221" y="507"/>
                    </a:lnTo>
                    <a:lnTo>
                      <a:pt x="2233" y="484"/>
                    </a:lnTo>
                    <a:lnTo>
                      <a:pt x="2246" y="461"/>
                    </a:lnTo>
                    <a:lnTo>
                      <a:pt x="2258" y="440"/>
                    </a:lnTo>
                    <a:lnTo>
                      <a:pt x="2272" y="417"/>
                    </a:lnTo>
                    <a:lnTo>
                      <a:pt x="2287" y="395"/>
                    </a:lnTo>
                    <a:lnTo>
                      <a:pt x="2302" y="374"/>
                    </a:lnTo>
                    <a:lnTo>
                      <a:pt x="2319" y="352"/>
                    </a:lnTo>
                    <a:lnTo>
                      <a:pt x="2335" y="332"/>
                    </a:lnTo>
                    <a:lnTo>
                      <a:pt x="2352" y="311"/>
                    </a:lnTo>
                    <a:lnTo>
                      <a:pt x="2371" y="290"/>
                    </a:lnTo>
                    <a:lnTo>
                      <a:pt x="2391" y="270"/>
                    </a:lnTo>
                    <a:lnTo>
                      <a:pt x="2410" y="250"/>
                    </a:lnTo>
                    <a:lnTo>
                      <a:pt x="2410" y="250"/>
                    </a:lnTo>
                    <a:lnTo>
                      <a:pt x="2436" y="226"/>
                    </a:lnTo>
                    <a:lnTo>
                      <a:pt x="2463" y="203"/>
                    </a:lnTo>
                    <a:lnTo>
                      <a:pt x="2489" y="181"/>
                    </a:lnTo>
                    <a:lnTo>
                      <a:pt x="2517" y="160"/>
                    </a:lnTo>
                    <a:lnTo>
                      <a:pt x="2546" y="141"/>
                    </a:lnTo>
                    <a:lnTo>
                      <a:pt x="2575" y="123"/>
                    </a:lnTo>
                    <a:lnTo>
                      <a:pt x="2605" y="105"/>
                    </a:lnTo>
                    <a:lnTo>
                      <a:pt x="2635" y="90"/>
                    </a:lnTo>
                    <a:lnTo>
                      <a:pt x="2666" y="75"/>
                    </a:lnTo>
                    <a:lnTo>
                      <a:pt x="2698" y="62"/>
                    </a:lnTo>
                    <a:lnTo>
                      <a:pt x="2730" y="51"/>
                    </a:lnTo>
                    <a:lnTo>
                      <a:pt x="2763" y="39"/>
                    </a:lnTo>
                    <a:lnTo>
                      <a:pt x="2796" y="30"/>
                    </a:lnTo>
                    <a:lnTo>
                      <a:pt x="2830" y="23"/>
                    </a:lnTo>
                    <a:lnTo>
                      <a:pt x="2865" y="16"/>
                    </a:lnTo>
                    <a:lnTo>
                      <a:pt x="2900" y="10"/>
                    </a:lnTo>
                    <a:lnTo>
                      <a:pt x="2900" y="10"/>
                    </a:lnTo>
                    <a:lnTo>
                      <a:pt x="2928" y="6"/>
                    </a:lnTo>
                    <a:lnTo>
                      <a:pt x="2955" y="4"/>
                    </a:lnTo>
                    <a:lnTo>
                      <a:pt x="2983" y="2"/>
                    </a:lnTo>
                    <a:lnTo>
                      <a:pt x="3010" y="1"/>
                    </a:lnTo>
                    <a:lnTo>
                      <a:pt x="3038" y="0"/>
                    </a:lnTo>
                    <a:lnTo>
                      <a:pt x="3064" y="1"/>
                    </a:lnTo>
                    <a:lnTo>
                      <a:pt x="3091" y="2"/>
                    </a:lnTo>
                    <a:lnTo>
                      <a:pt x="3117" y="3"/>
                    </a:lnTo>
                    <a:lnTo>
                      <a:pt x="3144" y="6"/>
                    </a:lnTo>
                    <a:lnTo>
                      <a:pt x="3169" y="9"/>
                    </a:lnTo>
                    <a:lnTo>
                      <a:pt x="3195" y="14"/>
                    </a:lnTo>
                    <a:lnTo>
                      <a:pt x="3221" y="18"/>
                    </a:lnTo>
                    <a:lnTo>
                      <a:pt x="3245" y="24"/>
                    </a:lnTo>
                    <a:lnTo>
                      <a:pt x="3270" y="30"/>
                    </a:lnTo>
                    <a:lnTo>
                      <a:pt x="3295" y="37"/>
                    </a:lnTo>
                    <a:lnTo>
                      <a:pt x="3320" y="44"/>
                    </a:lnTo>
                    <a:lnTo>
                      <a:pt x="3344" y="53"/>
                    </a:lnTo>
                    <a:lnTo>
                      <a:pt x="3368" y="62"/>
                    </a:lnTo>
                    <a:lnTo>
                      <a:pt x="3392" y="72"/>
                    </a:lnTo>
                    <a:lnTo>
                      <a:pt x="3415" y="82"/>
                    </a:lnTo>
                    <a:lnTo>
                      <a:pt x="3438" y="94"/>
                    </a:lnTo>
                    <a:lnTo>
                      <a:pt x="3461" y="106"/>
                    </a:lnTo>
                    <a:lnTo>
                      <a:pt x="3484" y="120"/>
                    </a:lnTo>
                    <a:lnTo>
                      <a:pt x="3506" y="133"/>
                    </a:lnTo>
                    <a:lnTo>
                      <a:pt x="3528" y="147"/>
                    </a:lnTo>
                    <a:lnTo>
                      <a:pt x="3550" y="163"/>
                    </a:lnTo>
                    <a:lnTo>
                      <a:pt x="3573" y="178"/>
                    </a:lnTo>
                    <a:lnTo>
                      <a:pt x="3593" y="195"/>
                    </a:lnTo>
                    <a:lnTo>
                      <a:pt x="3615" y="212"/>
                    </a:lnTo>
                    <a:lnTo>
                      <a:pt x="3635" y="231"/>
                    </a:lnTo>
                    <a:lnTo>
                      <a:pt x="3657" y="249"/>
                    </a:lnTo>
                    <a:lnTo>
                      <a:pt x="3676" y="269"/>
                    </a:lnTo>
                    <a:lnTo>
                      <a:pt x="3676" y="269"/>
                    </a:lnTo>
                    <a:lnTo>
                      <a:pt x="3685" y="275"/>
                    </a:lnTo>
                    <a:lnTo>
                      <a:pt x="3692" y="278"/>
                    </a:lnTo>
                    <a:lnTo>
                      <a:pt x="3700" y="279"/>
                    </a:lnTo>
                    <a:lnTo>
                      <a:pt x="3709" y="278"/>
                    </a:lnTo>
                    <a:lnTo>
                      <a:pt x="3709" y="278"/>
                    </a:lnTo>
                    <a:lnTo>
                      <a:pt x="3744" y="271"/>
                    </a:lnTo>
                    <a:lnTo>
                      <a:pt x="3779" y="262"/>
                    </a:lnTo>
                    <a:lnTo>
                      <a:pt x="3814" y="253"/>
                    </a:lnTo>
                    <a:lnTo>
                      <a:pt x="3849" y="243"/>
                    </a:lnTo>
                    <a:lnTo>
                      <a:pt x="3883" y="233"/>
                    </a:lnTo>
                    <a:lnTo>
                      <a:pt x="3917" y="221"/>
                    </a:lnTo>
                    <a:lnTo>
                      <a:pt x="3951" y="210"/>
                    </a:lnTo>
                    <a:lnTo>
                      <a:pt x="3985" y="198"/>
                    </a:lnTo>
                    <a:lnTo>
                      <a:pt x="4018" y="184"/>
                    </a:lnTo>
                    <a:lnTo>
                      <a:pt x="4051" y="171"/>
                    </a:lnTo>
                    <a:lnTo>
                      <a:pt x="4084" y="157"/>
                    </a:lnTo>
                    <a:lnTo>
                      <a:pt x="4117" y="142"/>
                    </a:lnTo>
                    <a:lnTo>
                      <a:pt x="4149" y="126"/>
                    </a:lnTo>
                    <a:lnTo>
                      <a:pt x="4181" y="109"/>
                    </a:lnTo>
                    <a:lnTo>
                      <a:pt x="4212" y="93"/>
                    </a:lnTo>
                    <a:lnTo>
                      <a:pt x="4244" y="75"/>
                    </a:lnTo>
                    <a:lnTo>
                      <a:pt x="4244" y="75"/>
                    </a:lnTo>
                    <a:lnTo>
                      <a:pt x="4262" y="66"/>
                    </a:lnTo>
                    <a:lnTo>
                      <a:pt x="4262" y="66"/>
                    </a:lnTo>
                    <a:lnTo>
                      <a:pt x="4247" y="105"/>
                    </a:lnTo>
                    <a:lnTo>
                      <a:pt x="4232" y="143"/>
                    </a:lnTo>
                    <a:lnTo>
                      <a:pt x="4216" y="179"/>
                    </a:lnTo>
                    <a:lnTo>
                      <a:pt x="4197" y="215"/>
                    </a:lnTo>
                    <a:lnTo>
                      <a:pt x="4179" y="249"/>
                    </a:lnTo>
                    <a:lnTo>
                      <a:pt x="4157" y="282"/>
                    </a:lnTo>
                    <a:lnTo>
                      <a:pt x="4135" y="314"/>
                    </a:lnTo>
                    <a:lnTo>
                      <a:pt x="4113" y="345"/>
                    </a:lnTo>
                    <a:lnTo>
                      <a:pt x="4088" y="376"/>
                    </a:lnTo>
                    <a:lnTo>
                      <a:pt x="4062" y="405"/>
                    </a:lnTo>
                    <a:lnTo>
                      <a:pt x="4034" y="432"/>
                    </a:lnTo>
                    <a:lnTo>
                      <a:pt x="4007" y="459"/>
                    </a:lnTo>
                    <a:lnTo>
                      <a:pt x="3977" y="485"/>
                    </a:lnTo>
                    <a:lnTo>
                      <a:pt x="3946" y="511"/>
                    </a:lnTo>
                    <a:lnTo>
                      <a:pt x="3913" y="534"/>
                    </a:lnTo>
                    <a:lnTo>
                      <a:pt x="3880" y="558"/>
                    </a:lnTo>
                    <a:lnTo>
                      <a:pt x="3880" y="558"/>
                    </a:lnTo>
                    <a:lnTo>
                      <a:pt x="3931" y="550"/>
                    </a:lnTo>
                    <a:lnTo>
                      <a:pt x="3981" y="542"/>
                    </a:lnTo>
                    <a:lnTo>
                      <a:pt x="3981" y="542"/>
                    </a:lnTo>
                    <a:lnTo>
                      <a:pt x="4031" y="531"/>
                    </a:lnTo>
                    <a:lnTo>
                      <a:pt x="4081" y="520"/>
                    </a:lnTo>
                    <a:lnTo>
                      <a:pt x="4081" y="520"/>
                    </a:lnTo>
                    <a:lnTo>
                      <a:pt x="4132" y="508"/>
                    </a:lnTo>
                    <a:lnTo>
                      <a:pt x="4182" y="493"/>
                    </a:lnTo>
                    <a:lnTo>
                      <a:pt x="4182" y="493"/>
                    </a:lnTo>
                    <a:lnTo>
                      <a:pt x="4231" y="478"/>
                    </a:lnTo>
                    <a:lnTo>
                      <a:pt x="4279" y="460"/>
                    </a:lnTo>
                    <a:lnTo>
                      <a:pt x="4279" y="460"/>
                    </a:lnTo>
                    <a:lnTo>
                      <a:pt x="4329" y="442"/>
                    </a:lnTo>
                    <a:lnTo>
                      <a:pt x="4380" y="420"/>
                    </a:lnTo>
                    <a:lnTo>
                      <a:pt x="4380" y="420"/>
                    </a:lnTo>
                    <a:lnTo>
                      <a:pt x="4368" y="441"/>
                    </a:lnTo>
                    <a:lnTo>
                      <a:pt x="4368" y="441"/>
                    </a:lnTo>
                    <a:lnTo>
                      <a:pt x="4346" y="472"/>
                    </a:lnTo>
                    <a:lnTo>
                      <a:pt x="4324" y="502"/>
                    </a:lnTo>
                    <a:lnTo>
                      <a:pt x="4300" y="532"/>
                    </a:lnTo>
                    <a:lnTo>
                      <a:pt x="4276" y="561"/>
                    </a:lnTo>
                    <a:lnTo>
                      <a:pt x="4253" y="590"/>
                    </a:lnTo>
                    <a:lnTo>
                      <a:pt x="4228" y="619"/>
                    </a:lnTo>
                    <a:lnTo>
                      <a:pt x="4202" y="647"/>
                    </a:lnTo>
                    <a:lnTo>
                      <a:pt x="4176" y="673"/>
                    </a:lnTo>
                    <a:lnTo>
                      <a:pt x="4150" y="700"/>
                    </a:lnTo>
                    <a:lnTo>
                      <a:pt x="4123" y="726"/>
                    </a:lnTo>
                    <a:lnTo>
                      <a:pt x="4095" y="752"/>
                    </a:lnTo>
                    <a:lnTo>
                      <a:pt x="4067" y="776"/>
                    </a:lnTo>
                    <a:lnTo>
                      <a:pt x="4039" y="801"/>
                    </a:lnTo>
                    <a:lnTo>
                      <a:pt x="4009" y="825"/>
                    </a:lnTo>
                    <a:lnTo>
                      <a:pt x="3979" y="848"/>
                    </a:lnTo>
                    <a:lnTo>
                      <a:pt x="3949" y="871"/>
                    </a:lnTo>
                    <a:lnTo>
                      <a:pt x="3949" y="871"/>
                    </a:lnTo>
                    <a:lnTo>
                      <a:pt x="3943" y="876"/>
                    </a:lnTo>
                    <a:lnTo>
                      <a:pt x="3938" y="881"/>
                    </a:lnTo>
                    <a:lnTo>
                      <a:pt x="3936" y="884"/>
                    </a:lnTo>
                    <a:lnTo>
                      <a:pt x="3935" y="887"/>
                    </a:lnTo>
                    <a:lnTo>
                      <a:pt x="3934" y="892"/>
                    </a:lnTo>
                    <a:lnTo>
                      <a:pt x="3934" y="897"/>
                    </a:lnTo>
                    <a:lnTo>
                      <a:pt x="3934" y="897"/>
                    </a:lnTo>
                    <a:lnTo>
                      <a:pt x="3936" y="942"/>
                    </a:lnTo>
                    <a:lnTo>
                      <a:pt x="3937" y="988"/>
                    </a:lnTo>
                    <a:lnTo>
                      <a:pt x="3937" y="1034"/>
                    </a:lnTo>
                    <a:lnTo>
                      <a:pt x="3936" y="1079"/>
                    </a:lnTo>
                    <a:lnTo>
                      <a:pt x="3933" y="1124"/>
                    </a:lnTo>
                    <a:lnTo>
                      <a:pt x="3930" y="1169"/>
                    </a:lnTo>
                    <a:lnTo>
                      <a:pt x="3926" y="1215"/>
                    </a:lnTo>
                    <a:lnTo>
                      <a:pt x="3921" y="1260"/>
                    </a:lnTo>
                    <a:lnTo>
                      <a:pt x="3921" y="1260"/>
                    </a:lnTo>
                    <a:lnTo>
                      <a:pt x="3914" y="1322"/>
                    </a:lnTo>
                    <a:lnTo>
                      <a:pt x="3905" y="1382"/>
                    </a:lnTo>
                    <a:lnTo>
                      <a:pt x="3895" y="1442"/>
                    </a:lnTo>
                    <a:lnTo>
                      <a:pt x="3883" y="1502"/>
                    </a:lnTo>
                    <a:lnTo>
                      <a:pt x="3870" y="1561"/>
                    </a:lnTo>
                    <a:lnTo>
                      <a:pt x="3857" y="1620"/>
                    </a:lnTo>
                    <a:lnTo>
                      <a:pt x="3840" y="1678"/>
                    </a:lnTo>
                    <a:lnTo>
                      <a:pt x="3824" y="1737"/>
                    </a:lnTo>
                    <a:lnTo>
                      <a:pt x="3805" y="1794"/>
                    </a:lnTo>
                    <a:lnTo>
                      <a:pt x="3785" y="1851"/>
                    </a:lnTo>
                    <a:lnTo>
                      <a:pt x="3764" y="1908"/>
                    </a:lnTo>
                    <a:lnTo>
                      <a:pt x="3741" y="1964"/>
                    </a:lnTo>
                    <a:lnTo>
                      <a:pt x="3718" y="2020"/>
                    </a:lnTo>
                    <a:lnTo>
                      <a:pt x="3692" y="2075"/>
                    </a:lnTo>
                    <a:lnTo>
                      <a:pt x="3665" y="2131"/>
                    </a:lnTo>
                    <a:lnTo>
                      <a:pt x="3637" y="2185"/>
                    </a:lnTo>
                    <a:lnTo>
                      <a:pt x="3637" y="2185"/>
                    </a:lnTo>
                    <a:lnTo>
                      <a:pt x="3612" y="2234"/>
                    </a:lnTo>
                    <a:lnTo>
                      <a:pt x="3584" y="2282"/>
                    </a:lnTo>
                    <a:lnTo>
                      <a:pt x="3556" y="2330"/>
                    </a:lnTo>
                    <a:lnTo>
                      <a:pt x="3527" y="2376"/>
                    </a:lnTo>
                    <a:lnTo>
                      <a:pt x="3499" y="2422"/>
                    </a:lnTo>
                    <a:lnTo>
                      <a:pt x="3468" y="2466"/>
                    </a:lnTo>
                    <a:lnTo>
                      <a:pt x="3437" y="2511"/>
                    </a:lnTo>
                    <a:lnTo>
                      <a:pt x="3405" y="2554"/>
                    </a:lnTo>
                    <a:lnTo>
                      <a:pt x="3373" y="2596"/>
                    </a:lnTo>
                    <a:lnTo>
                      <a:pt x="3340" y="2638"/>
                    </a:lnTo>
                    <a:lnTo>
                      <a:pt x="3306" y="2678"/>
                    </a:lnTo>
                    <a:lnTo>
                      <a:pt x="3271" y="2719"/>
                    </a:lnTo>
                    <a:lnTo>
                      <a:pt x="3235" y="2758"/>
                    </a:lnTo>
                    <a:lnTo>
                      <a:pt x="3199" y="2796"/>
                    </a:lnTo>
                    <a:lnTo>
                      <a:pt x="3162" y="2834"/>
                    </a:lnTo>
                    <a:lnTo>
                      <a:pt x="3124" y="2870"/>
                    </a:lnTo>
                    <a:lnTo>
                      <a:pt x="3085" y="2906"/>
                    </a:lnTo>
                    <a:lnTo>
                      <a:pt x="3046" y="2941"/>
                    </a:lnTo>
                    <a:lnTo>
                      <a:pt x="3005" y="2975"/>
                    </a:lnTo>
                    <a:lnTo>
                      <a:pt x="2964" y="3008"/>
                    </a:lnTo>
                    <a:lnTo>
                      <a:pt x="2921" y="3041"/>
                    </a:lnTo>
                    <a:lnTo>
                      <a:pt x="2879" y="3072"/>
                    </a:lnTo>
                    <a:lnTo>
                      <a:pt x="2836" y="3103"/>
                    </a:lnTo>
                    <a:lnTo>
                      <a:pt x="2791" y="3132"/>
                    </a:lnTo>
                    <a:lnTo>
                      <a:pt x="2745" y="3161"/>
                    </a:lnTo>
                    <a:lnTo>
                      <a:pt x="2700" y="3189"/>
                    </a:lnTo>
                    <a:lnTo>
                      <a:pt x="2653" y="3216"/>
                    </a:lnTo>
                    <a:lnTo>
                      <a:pt x="2606" y="3243"/>
                    </a:lnTo>
                    <a:lnTo>
                      <a:pt x="2557" y="3267"/>
                    </a:lnTo>
                    <a:lnTo>
                      <a:pt x="2508" y="3292"/>
                    </a:lnTo>
                    <a:lnTo>
                      <a:pt x="2457" y="3316"/>
                    </a:lnTo>
                    <a:lnTo>
                      <a:pt x="2406" y="3338"/>
                    </a:lnTo>
                    <a:lnTo>
                      <a:pt x="2406" y="3338"/>
                    </a:lnTo>
                    <a:lnTo>
                      <a:pt x="2338" y="3366"/>
                    </a:lnTo>
                    <a:lnTo>
                      <a:pt x="2270" y="3391"/>
                    </a:lnTo>
                    <a:lnTo>
                      <a:pt x="2201" y="3414"/>
                    </a:lnTo>
                    <a:lnTo>
                      <a:pt x="2131" y="3436"/>
                    </a:lnTo>
                    <a:lnTo>
                      <a:pt x="2060" y="3455"/>
                    </a:lnTo>
                    <a:lnTo>
                      <a:pt x="1989" y="3472"/>
                    </a:lnTo>
                    <a:lnTo>
                      <a:pt x="1918" y="3487"/>
                    </a:lnTo>
                    <a:lnTo>
                      <a:pt x="1846" y="3500"/>
                    </a:lnTo>
                    <a:lnTo>
                      <a:pt x="1846" y="3500"/>
                    </a:lnTo>
                    <a:lnTo>
                      <a:pt x="1774" y="3511"/>
                    </a:lnTo>
                    <a:lnTo>
                      <a:pt x="1702" y="3520"/>
                    </a:lnTo>
                    <a:lnTo>
                      <a:pt x="1629" y="3529"/>
                    </a:lnTo>
                    <a:lnTo>
                      <a:pt x="1557" y="3534"/>
                    </a:lnTo>
                    <a:lnTo>
                      <a:pt x="1484" y="3537"/>
                    </a:lnTo>
                    <a:lnTo>
                      <a:pt x="1412" y="3539"/>
                    </a:lnTo>
                    <a:lnTo>
                      <a:pt x="1339" y="3538"/>
                    </a:lnTo>
                    <a:lnTo>
                      <a:pt x="1266" y="3536"/>
                    </a:lnTo>
                    <a:lnTo>
                      <a:pt x="1266" y="3536"/>
                    </a:lnTo>
                    <a:lnTo>
                      <a:pt x="1224" y="3534"/>
                    </a:lnTo>
                    <a:lnTo>
                      <a:pt x="1182" y="3531"/>
                    </a:lnTo>
                    <a:lnTo>
                      <a:pt x="1141" y="3528"/>
                    </a:lnTo>
                    <a:lnTo>
                      <a:pt x="1098" y="3524"/>
                    </a:lnTo>
                    <a:lnTo>
                      <a:pt x="1057" y="3518"/>
                    </a:lnTo>
                    <a:lnTo>
                      <a:pt x="1016" y="3513"/>
                    </a:lnTo>
                    <a:lnTo>
                      <a:pt x="975" y="3507"/>
                    </a:lnTo>
                    <a:lnTo>
                      <a:pt x="934" y="3501"/>
                    </a:lnTo>
                    <a:lnTo>
                      <a:pt x="893" y="3494"/>
                    </a:lnTo>
                    <a:lnTo>
                      <a:pt x="853" y="3485"/>
                    </a:lnTo>
                    <a:lnTo>
                      <a:pt x="812" y="3476"/>
                    </a:lnTo>
                    <a:lnTo>
                      <a:pt x="772" y="3467"/>
                    </a:lnTo>
                    <a:lnTo>
                      <a:pt x="732" y="3458"/>
                    </a:lnTo>
                    <a:lnTo>
                      <a:pt x="693" y="3446"/>
                    </a:lnTo>
                    <a:lnTo>
                      <a:pt x="653" y="3436"/>
                    </a:lnTo>
                    <a:lnTo>
                      <a:pt x="614" y="3424"/>
                    </a:lnTo>
                    <a:lnTo>
                      <a:pt x="575" y="3411"/>
                    </a:lnTo>
                    <a:lnTo>
                      <a:pt x="536" y="3398"/>
                    </a:lnTo>
                    <a:lnTo>
                      <a:pt x="498" y="3385"/>
                    </a:lnTo>
                    <a:lnTo>
                      <a:pt x="459" y="3370"/>
                    </a:lnTo>
                    <a:lnTo>
                      <a:pt x="421" y="3355"/>
                    </a:lnTo>
                    <a:lnTo>
                      <a:pt x="382" y="3339"/>
                    </a:lnTo>
                    <a:lnTo>
                      <a:pt x="344" y="3323"/>
                    </a:lnTo>
                    <a:lnTo>
                      <a:pt x="306" y="3305"/>
                    </a:lnTo>
                    <a:lnTo>
                      <a:pt x="269" y="3288"/>
                    </a:lnTo>
                    <a:lnTo>
                      <a:pt x="232" y="3269"/>
                    </a:lnTo>
                    <a:lnTo>
                      <a:pt x="195" y="3251"/>
                    </a:lnTo>
                    <a:lnTo>
                      <a:pt x="158" y="3231"/>
                    </a:lnTo>
                    <a:lnTo>
                      <a:pt x="121" y="3211"/>
                    </a:lnTo>
                    <a:lnTo>
                      <a:pt x="85" y="3190"/>
                    </a:lnTo>
                    <a:lnTo>
                      <a:pt x="48" y="3168"/>
                    </a:lnTo>
                    <a:lnTo>
                      <a:pt x="12" y="3147"/>
                    </a:lnTo>
                    <a:lnTo>
                      <a:pt x="12" y="3147"/>
                    </a:lnTo>
                    <a:lnTo>
                      <a:pt x="0" y="3138"/>
                    </a:lnTo>
                    <a:lnTo>
                      <a:pt x="0" y="3138"/>
                    </a:lnTo>
                    <a:lnTo>
                      <a:pt x="45" y="3142"/>
                    </a:lnTo>
                    <a:lnTo>
                      <a:pt x="89" y="3146"/>
                    </a:lnTo>
                    <a:lnTo>
                      <a:pt x="135" y="3148"/>
                    </a:lnTo>
                    <a:lnTo>
                      <a:pt x="179" y="3149"/>
                    </a:lnTo>
                    <a:lnTo>
                      <a:pt x="223" y="3150"/>
                    </a:lnTo>
                    <a:lnTo>
                      <a:pt x="267" y="3149"/>
                    </a:lnTo>
                    <a:lnTo>
                      <a:pt x="311" y="3147"/>
                    </a:lnTo>
                    <a:lnTo>
                      <a:pt x="355" y="3144"/>
                    </a:lnTo>
                    <a:lnTo>
                      <a:pt x="399" y="3141"/>
                    </a:lnTo>
                    <a:lnTo>
                      <a:pt x="442" y="3136"/>
                    </a:lnTo>
                    <a:lnTo>
                      <a:pt x="485" y="3129"/>
                    </a:lnTo>
                    <a:lnTo>
                      <a:pt x="529" y="3122"/>
                    </a:lnTo>
                    <a:lnTo>
                      <a:pt x="572" y="3114"/>
                    </a:lnTo>
                    <a:lnTo>
                      <a:pt x="615" y="3105"/>
                    </a:lnTo>
                    <a:lnTo>
                      <a:pt x="657" y="3094"/>
                    </a:lnTo>
                    <a:lnTo>
                      <a:pt x="700" y="3083"/>
                    </a:lnTo>
                    <a:lnTo>
                      <a:pt x="700" y="3083"/>
                    </a:lnTo>
                    <a:lnTo>
                      <a:pt x="743" y="3072"/>
                    </a:lnTo>
                    <a:lnTo>
                      <a:pt x="785" y="3058"/>
                    </a:lnTo>
                    <a:lnTo>
                      <a:pt x="827" y="3044"/>
                    </a:lnTo>
                    <a:lnTo>
                      <a:pt x="868" y="3028"/>
                    </a:lnTo>
                    <a:lnTo>
                      <a:pt x="908" y="3012"/>
                    </a:lnTo>
                    <a:lnTo>
                      <a:pt x="949" y="2996"/>
                    </a:lnTo>
                    <a:lnTo>
                      <a:pt x="988" y="2977"/>
                    </a:lnTo>
                    <a:lnTo>
                      <a:pt x="1027" y="2957"/>
                    </a:lnTo>
                    <a:lnTo>
                      <a:pt x="1067" y="2938"/>
                    </a:lnTo>
                    <a:lnTo>
                      <a:pt x="1106" y="2916"/>
                    </a:lnTo>
                    <a:lnTo>
                      <a:pt x="1144" y="2895"/>
                    </a:lnTo>
                    <a:lnTo>
                      <a:pt x="1181" y="2871"/>
                    </a:lnTo>
                    <a:lnTo>
                      <a:pt x="1219" y="2847"/>
                    </a:lnTo>
                    <a:lnTo>
                      <a:pt x="1255" y="2822"/>
                    </a:lnTo>
                    <a:lnTo>
                      <a:pt x="1292" y="2796"/>
                    </a:lnTo>
                    <a:lnTo>
                      <a:pt x="1328" y="2768"/>
                    </a:lnTo>
                    <a:lnTo>
                      <a:pt x="1328" y="2768"/>
                    </a:lnTo>
                    <a:close/>
                  </a:path>
                </a:pathLst>
              </a:custGeom>
              <a:solidFill>
                <a:srgbClr val="0072C6">
                  <a:lumMod val="20000"/>
                  <a:lumOff val="80000"/>
                </a:srgbClr>
              </a:solidFill>
              <a:ln w="9525" cap="flat" cmpd="sng" algn="ctr">
                <a:noFill/>
                <a:prstDash val="solid"/>
                <a:headEnd type="none" w="med" len="med"/>
                <a:tailEnd type="none" w="med" len="med"/>
              </a:ln>
              <a:effectLst/>
              <a:ex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sp>
        <p:nvSpPr>
          <p:cNvPr id="819" name="Rectangle 818"/>
          <p:cNvSpPr/>
          <p:nvPr/>
        </p:nvSpPr>
        <p:spPr bwMode="auto">
          <a:xfrm>
            <a:off x="9166151" y="1691825"/>
            <a:ext cx="2797810" cy="3318325"/>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86521" bIns="9326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lumMod val="50000"/>
                  </a:srgbClr>
                </a:solidFill>
                <a:effectLst/>
                <a:uLnTx/>
                <a:uFillTx/>
                <a:latin typeface="Segoe UI Semibold" panose="020B0702040204020203" pitchFamily="34" charset="0"/>
                <a:ea typeface="Segoe UI" pitchFamily="34" charset="0"/>
                <a:cs typeface="Segoe UI Semibold" panose="020B0702040204020203" pitchFamily="34" charset="0"/>
              </a:rPr>
              <a:t>Enable development of innovative and differentiated business models</a:t>
            </a:r>
          </a:p>
        </p:txBody>
      </p:sp>
      <p:sp>
        <p:nvSpPr>
          <p:cNvPr id="541" name="TextBox 540"/>
          <p:cNvSpPr txBox="1"/>
          <p:nvPr/>
        </p:nvSpPr>
        <p:spPr>
          <a:xfrm>
            <a:off x="9159828" y="4192568"/>
            <a:ext cx="2790646" cy="755092"/>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ts val="0"/>
              </a:spcBef>
              <a:spcAft>
                <a:spcPts val="612"/>
              </a:spcAft>
              <a:buClrTx/>
              <a:buSzTx/>
              <a:buFontTx/>
              <a:buNone/>
              <a:tabLst/>
              <a:defRPr/>
            </a:pPr>
            <a:r>
              <a:rPr kumimoji="0" lang="en-US" sz="1071" b="0" i="0" u="none" strike="noStrike" kern="0" cap="none" spc="0" normalizeH="0" baseline="0" noProof="0">
                <a:ln>
                  <a:noFill/>
                </a:ln>
                <a:solidFill>
                  <a:sysClr val="windowText" lastClr="000000"/>
                </a:solidFill>
                <a:effectLst/>
                <a:uLnTx/>
                <a:uFillTx/>
                <a:latin typeface="Segoe UI Light"/>
                <a:ea typeface="+mn-ea"/>
                <a:cs typeface="+mn-cs"/>
              </a:rPr>
              <a:t>Identify trends and potential growth opportunities using customer sentiment and product usage data.</a:t>
            </a:r>
          </a:p>
        </p:txBody>
      </p:sp>
      <p:grpSp>
        <p:nvGrpSpPr>
          <p:cNvPr id="764" name="Group 763"/>
          <p:cNvGrpSpPr/>
          <p:nvPr/>
        </p:nvGrpSpPr>
        <p:grpSpPr>
          <a:xfrm>
            <a:off x="9230822" y="2590103"/>
            <a:ext cx="2591433" cy="1456668"/>
            <a:chOff x="3404522" y="1840544"/>
            <a:chExt cx="2540851" cy="1428236"/>
          </a:xfrm>
        </p:grpSpPr>
        <p:sp>
          <p:nvSpPr>
            <p:cNvPr id="765" name="Trapezoid 764"/>
            <p:cNvSpPr/>
            <p:nvPr/>
          </p:nvSpPr>
          <p:spPr bwMode="auto">
            <a:xfrm>
              <a:off x="3404522" y="2774501"/>
              <a:ext cx="2319306" cy="490653"/>
            </a:xfrm>
            <a:prstGeom prst="trapezoid">
              <a:avLst>
                <a:gd name="adj" fmla="val 117990"/>
              </a:avLst>
            </a:prstGeom>
            <a:solidFill>
              <a:srgbClr val="505050">
                <a:lumMod val="40000"/>
                <a:lumOff val="60000"/>
              </a:srgbClr>
            </a:solidFill>
            <a:ln w="4">
              <a:noFill/>
              <a:prstDash val="solid"/>
              <a:round/>
              <a:headEnd/>
              <a:tailEnd/>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766" name="Group 765"/>
            <p:cNvGrpSpPr/>
            <p:nvPr/>
          </p:nvGrpSpPr>
          <p:grpSpPr>
            <a:xfrm>
              <a:off x="3979406" y="2922920"/>
              <a:ext cx="1169538" cy="187829"/>
              <a:chOff x="1769350" y="1538167"/>
              <a:chExt cx="1821693" cy="292564"/>
            </a:xfrm>
          </p:grpSpPr>
          <p:sp>
            <p:nvSpPr>
              <p:cNvPr id="827" name="Rectangle 826"/>
              <p:cNvSpPr/>
              <p:nvPr/>
            </p:nvSpPr>
            <p:spPr bwMode="auto">
              <a:xfrm>
                <a:off x="1769350" y="1785012"/>
                <a:ext cx="1819656" cy="45719"/>
              </a:xfrm>
              <a:prstGeom prst="rect">
                <a:avLst/>
              </a:pr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828" name="Trapezoid 827"/>
              <p:cNvSpPr/>
              <p:nvPr/>
            </p:nvSpPr>
            <p:spPr bwMode="auto">
              <a:xfrm>
                <a:off x="1769351" y="1538167"/>
                <a:ext cx="1821692" cy="247064"/>
              </a:xfrm>
              <a:prstGeom prst="trapezoid">
                <a:avLst>
                  <a:gd name="adj" fmla="val 82583"/>
                </a:avLst>
              </a:prstGeom>
              <a:solidFill>
                <a:srgbClr val="FFFFFF">
                  <a:lumMod val="85000"/>
                </a:srgbClr>
              </a:solidFill>
              <a:ln w="4">
                <a:noFill/>
                <a:prstDash val="solid"/>
                <a:round/>
                <a:headEnd/>
                <a:tailEnd/>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29" name="Trapezoid 828"/>
              <p:cNvSpPr/>
              <p:nvPr/>
            </p:nvSpPr>
            <p:spPr bwMode="auto">
              <a:xfrm>
                <a:off x="2242427" y="1706021"/>
                <a:ext cx="875540" cy="45719"/>
              </a:xfrm>
              <a:prstGeom prst="trapezoid">
                <a:avLst>
                  <a:gd name="adj" fmla="val 82583"/>
                </a:avLst>
              </a:prstGeom>
              <a:solidFill>
                <a:srgbClr val="FFFFFF"/>
              </a:solidFill>
              <a:ln w="4">
                <a:noFill/>
                <a:prstDash val="solid"/>
                <a:round/>
                <a:headEnd/>
                <a:tailEnd/>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30" name="Trapezoid 829"/>
              <p:cNvSpPr/>
              <p:nvPr/>
            </p:nvSpPr>
            <p:spPr bwMode="auto">
              <a:xfrm>
                <a:off x="1994397" y="1561778"/>
                <a:ext cx="1371600" cy="45719"/>
              </a:xfrm>
              <a:prstGeom prst="trapezoid">
                <a:avLst>
                  <a:gd name="adj" fmla="val 82583"/>
                </a:avLst>
              </a:prstGeom>
              <a:solidFill>
                <a:srgbClr val="FFFFFF"/>
              </a:solidFill>
              <a:ln w="4">
                <a:noFill/>
                <a:prstDash val="solid"/>
                <a:round/>
                <a:headEnd/>
                <a:tailEnd/>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31" name="Trapezoid 830"/>
              <p:cNvSpPr/>
              <p:nvPr/>
            </p:nvSpPr>
            <p:spPr bwMode="auto">
              <a:xfrm>
                <a:off x="1994397" y="1633900"/>
                <a:ext cx="1371600" cy="45719"/>
              </a:xfrm>
              <a:prstGeom prst="trapezoid">
                <a:avLst>
                  <a:gd name="adj" fmla="val 82583"/>
                </a:avLst>
              </a:prstGeom>
              <a:solidFill>
                <a:srgbClr val="FFFFFF"/>
              </a:solidFill>
              <a:ln w="4">
                <a:noFill/>
                <a:prstDash val="solid"/>
                <a:round/>
                <a:headEnd/>
                <a:tailEnd/>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832" name="Group 831"/>
              <p:cNvGrpSpPr/>
              <p:nvPr/>
            </p:nvGrpSpPr>
            <p:grpSpPr>
              <a:xfrm>
                <a:off x="2048766" y="1546680"/>
                <a:ext cx="1256210" cy="182880"/>
                <a:chOff x="2048766" y="1234719"/>
                <a:chExt cx="1256210" cy="243413"/>
              </a:xfrm>
              <a:solidFill>
                <a:srgbClr val="FFFFFF">
                  <a:lumMod val="85000"/>
                </a:srgbClr>
              </a:solidFill>
            </p:grpSpPr>
            <p:sp>
              <p:nvSpPr>
                <p:cNvPr id="833" name="Rectangle 832"/>
                <p:cNvSpPr/>
                <p:nvPr/>
              </p:nvSpPr>
              <p:spPr bwMode="auto">
                <a:xfrm rot="1800000">
                  <a:off x="2048766" y="1234719"/>
                  <a:ext cx="18288" cy="24341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27" name="Rectangle 926"/>
                <p:cNvSpPr/>
                <p:nvPr/>
              </p:nvSpPr>
              <p:spPr bwMode="auto">
                <a:xfrm rot="1200000">
                  <a:off x="215493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28" name="Rectangle 927"/>
                <p:cNvSpPr/>
                <p:nvPr/>
              </p:nvSpPr>
              <p:spPr bwMode="auto">
                <a:xfrm rot="1200000">
                  <a:off x="224924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34" name="Rectangle 933"/>
                <p:cNvSpPr/>
                <p:nvPr/>
              </p:nvSpPr>
              <p:spPr bwMode="auto">
                <a:xfrm rot="900000">
                  <a:off x="234355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73" name="Rectangle 972"/>
                <p:cNvSpPr/>
                <p:nvPr/>
              </p:nvSpPr>
              <p:spPr bwMode="auto">
                <a:xfrm rot="900000">
                  <a:off x="2437871"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07" name="Rectangle 1006"/>
                <p:cNvSpPr/>
                <p:nvPr/>
              </p:nvSpPr>
              <p:spPr bwMode="auto">
                <a:xfrm rot="600000">
                  <a:off x="2532184"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08" name="Rectangle 1007"/>
                <p:cNvSpPr/>
                <p:nvPr/>
              </p:nvSpPr>
              <p:spPr bwMode="auto">
                <a:xfrm rot="600000">
                  <a:off x="2626497"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09" name="Rectangle 1008"/>
                <p:cNvSpPr/>
                <p:nvPr/>
              </p:nvSpPr>
              <p:spPr bwMode="auto">
                <a:xfrm>
                  <a:off x="2720810"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10" name="Rectangle 1009"/>
                <p:cNvSpPr/>
                <p:nvPr/>
              </p:nvSpPr>
              <p:spPr bwMode="auto">
                <a:xfrm rot="21000000">
                  <a:off x="2815123"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11" name="Rectangle 1010"/>
                <p:cNvSpPr/>
                <p:nvPr/>
              </p:nvSpPr>
              <p:spPr bwMode="auto">
                <a:xfrm rot="21000000">
                  <a:off x="2909436"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12" name="Rectangle 1011"/>
                <p:cNvSpPr/>
                <p:nvPr/>
              </p:nvSpPr>
              <p:spPr bwMode="auto">
                <a:xfrm rot="20400000">
                  <a:off x="3286688"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47" name="Rectangle 1346"/>
                <p:cNvSpPr/>
                <p:nvPr/>
              </p:nvSpPr>
              <p:spPr bwMode="auto">
                <a:xfrm rot="20700000">
                  <a:off x="3003749"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48" name="Rectangle 1347"/>
                <p:cNvSpPr/>
                <p:nvPr/>
              </p:nvSpPr>
              <p:spPr bwMode="auto">
                <a:xfrm rot="20700000">
                  <a:off x="3098062"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49" name="Rectangle 1348"/>
                <p:cNvSpPr/>
                <p:nvPr/>
              </p:nvSpPr>
              <p:spPr bwMode="auto">
                <a:xfrm rot="20400000">
                  <a:off x="3192375" y="1238948"/>
                  <a:ext cx="18288" cy="18030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nvGrpSpPr>
            <p:cNvPr id="767" name="Group 766"/>
            <p:cNvGrpSpPr/>
            <p:nvPr/>
          </p:nvGrpSpPr>
          <p:grpSpPr>
            <a:xfrm>
              <a:off x="3936823" y="3058023"/>
              <a:ext cx="1243412" cy="210757"/>
              <a:chOff x="1710918" y="3369113"/>
              <a:chExt cx="1002980" cy="170003"/>
            </a:xfrm>
          </p:grpSpPr>
          <p:sp>
            <p:nvSpPr>
              <p:cNvPr id="825" name="Freeform 824"/>
              <p:cNvSpPr>
                <a:spLocks/>
              </p:cNvSpPr>
              <p:nvPr/>
            </p:nvSpPr>
            <p:spPr bwMode="auto">
              <a:xfrm flipH="1">
                <a:off x="1710918" y="3369113"/>
                <a:ext cx="364188" cy="170003"/>
              </a:xfrm>
              <a:custGeom>
                <a:avLst/>
                <a:gdLst>
                  <a:gd name="connsiteX0" fmla="*/ 65919 w 225756"/>
                  <a:gd name="connsiteY0" fmla="*/ 0 h 105383"/>
                  <a:gd name="connsiteX1" fmla="*/ 61694 w 225756"/>
                  <a:gd name="connsiteY1" fmla="*/ 0 h 105383"/>
                  <a:gd name="connsiteX2" fmla="*/ 57468 w 225756"/>
                  <a:gd name="connsiteY2" fmla="*/ 422 h 105383"/>
                  <a:gd name="connsiteX3" fmla="*/ 53454 w 225756"/>
                  <a:gd name="connsiteY3" fmla="*/ 1055 h 105383"/>
                  <a:gd name="connsiteX4" fmla="*/ 49440 w 225756"/>
                  <a:gd name="connsiteY4" fmla="*/ 1899 h 105383"/>
                  <a:gd name="connsiteX5" fmla="*/ 45425 w 225756"/>
                  <a:gd name="connsiteY5" fmla="*/ 2954 h 105383"/>
                  <a:gd name="connsiteX6" fmla="*/ 41411 w 225756"/>
                  <a:gd name="connsiteY6" fmla="*/ 4220 h 105383"/>
                  <a:gd name="connsiteX7" fmla="*/ 37397 w 225756"/>
                  <a:gd name="connsiteY7" fmla="*/ 5908 h 105383"/>
                  <a:gd name="connsiteX8" fmla="*/ 33594 w 225756"/>
                  <a:gd name="connsiteY8" fmla="*/ 7596 h 105383"/>
                  <a:gd name="connsiteX9" fmla="*/ 29791 w 225756"/>
                  <a:gd name="connsiteY9" fmla="*/ 9706 h 105383"/>
                  <a:gd name="connsiteX10" fmla="*/ 26410 w 225756"/>
                  <a:gd name="connsiteY10" fmla="*/ 11816 h 105383"/>
                  <a:gd name="connsiteX11" fmla="*/ 23030 w 225756"/>
                  <a:gd name="connsiteY11" fmla="*/ 14137 h 105383"/>
                  <a:gd name="connsiteX12" fmla="*/ 19649 w 225756"/>
                  <a:gd name="connsiteY12" fmla="*/ 16669 h 105383"/>
                  <a:gd name="connsiteX13" fmla="*/ 16480 w 225756"/>
                  <a:gd name="connsiteY13" fmla="*/ 19201 h 105383"/>
                  <a:gd name="connsiteX14" fmla="*/ 13733 w 225756"/>
                  <a:gd name="connsiteY14" fmla="*/ 22155 h 105383"/>
                  <a:gd name="connsiteX15" fmla="*/ 11198 w 225756"/>
                  <a:gd name="connsiteY15" fmla="*/ 25320 h 105383"/>
                  <a:gd name="connsiteX16" fmla="*/ 8874 w 225756"/>
                  <a:gd name="connsiteY16" fmla="*/ 28484 h 105383"/>
                  <a:gd name="connsiteX17" fmla="*/ 6761 w 225756"/>
                  <a:gd name="connsiteY17" fmla="*/ 31860 h 105383"/>
                  <a:gd name="connsiteX18" fmla="*/ 4860 w 225756"/>
                  <a:gd name="connsiteY18" fmla="*/ 35236 h 105383"/>
                  <a:gd name="connsiteX19" fmla="*/ 3381 w 225756"/>
                  <a:gd name="connsiteY19" fmla="*/ 39034 h 105383"/>
                  <a:gd name="connsiteX20" fmla="*/ 1902 w 225756"/>
                  <a:gd name="connsiteY20" fmla="*/ 42832 h 105383"/>
                  <a:gd name="connsiteX21" fmla="*/ 845 w 225756"/>
                  <a:gd name="connsiteY21" fmla="*/ 46630 h 105383"/>
                  <a:gd name="connsiteX22" fmla="*/ 211 w 225756"/>
                  <a:gd name="connsiteY22" fmla="*/ 50639 h 105383"/>
                  <a:gd name="connsiteX23" fmla="*/ 0 w 225756"/>
                  <a:gd name="connsiteY23" fmla="*/ 54859 h 105383"/>
                  <a:gd name="connsiteX24" fmla="*/ 211 w 225756"/>
                  <a:gd name="connsiteY24" fmla="*/ 58868 h 105383"/>
                  <a:gd name="connsiteX25" fmla="*/ 0 w 225756"/>
                  <a:gd name="connsiteY25" fmla="*/ 62666 h 105383"/>
                  <a:gd name="connsiteX26" fmla="*/ 0 w 225756"/>
                  <a:gd name="connsiteY26" fmla="*/ 66042 h 105383"/>
                  <a:gd name="connsiteX27" fmla="*/ 211 w 225756"/>
                  <a:gd name="connsiteY27" fmla="*/ 69207 h 105383"/>
                  <a:gd name="connsiteX28" fmla="*/ 634 w 225756"/>
                  <a:gd name="connsiteY28" fmla="*/ 72583 h 105383"/>
                  <a:gd name="connsiteX29" fmla="*/ 1268 w 225756"/>
                  <a:gd name="connsiteY29" fmla="*/ 75748 h 105383"/>
                  <a:gd name="connsiteX30" fmla="*/ 2113 w 225756"/>
                  <a:gd name="connsiteY30" fmla="*/ 78701 h 105383"/>
                  <a:gd name="connsiteX31" fmla="*/ 3169 w 225756"/>
                  <a:gd name="connsiteY31" fmla="*/ 82077 h 105383"/>
                  <a:gd name="connsiteX32" fmla="*/ 4226 w 225756"/>
                  <a:gd name="connsiteY32" fmla="*/ 85031 h 105383"/>
                  <a:gd name="connsiteX33" fmla="*/ 5493 w 225756"/>
                  <a:gd name="connsiteY33" fmla="*/ 87985 h 105383"/>
                  <a:gd name="connsiteX34" fmla="*/ 6972 w 225756"/>
                  <a:gd name="connsiteY34" fmla="*/ 90728 h 105383"/>
                  <a:gd name="connsiteX35" fmla="*/ 8451 w 225756"/>
                  <a:gd name="connsiteY35" fmla="*/ 93682 h 105383"/>
                  <a:gd name="connsiteX36" fmla="*/ 10142 w 225756"/>
                  <a:gd name="connsiteY36" fmla="*/ 96425 h 105383"/>
                  <a:gd name="connsiteX37" fmla="*/ 13733 w 225756"/>
                  <a:gd name="connsiteY37" fmla="*/ 101911 h 105383"/>
                  <a:gd name="connsiteX38" fmla="*/ 16376 w 225756"/>
                  <a:gd name="connsiteY38" fmla="*/ 105383 h 105383"/>
                  <a:gd name="connsiteX39" fmla="*/ 225756 w 225756"/>
                  <a:gd name="connsiteY39" fmla="*/ 105383 h 105383"/>
                  <a:gd name="connsiteX40" fmla="*/ 223535 w 225756"/>
                  <a:gd name="connsiteY40" fmla="*/ 103599 h 105383"/>
                  <a:gd name="connsiteX41" fmla="*/ 203040 w 225756"/>
                  <a:gd name="connsiteY41" fmla="*/ 86930 h 105383"/>
                  <a:gd name="connsiteX42" fmla="*/ 182546 w 225756"/>
                  <a:gd name="connsiteY42" fmla="*/ 70262 h 105383"/>
                  <a:gd name="connsiteX43" fmla="*/ 172405 w 225756"/>
                  <a:gd name="connsiteY43" fmla="*/ 62244 h 105383"/>
                  <a:gd name="connsiteX44" fmla="*/ 161841 w 225756"/>
                  <a:gd name="connsiteY44" fmla="*/ 54015 h 105383"/>
                  <a:gd name="connsiteX45" fmla="*/ 151277 w 225756"/>
                  <a:gd name="connsiteY45" fmla="*/ 46208 h 105383"/>
                  <a:gd name="connsiteX46" fmla="*/ 140713 w 225756"/>
                  <a:gd name="connsiteY46" fmla="*/ 38401 h 105383"/>
                  <a:gd name="connsiteX47" fmla="*/ 129937 w 225756"/>
                  <a:gd name="connsiteY47" fmla="*/ 30805 h 105383"/>
                  <a:gd name="connsiteX48" fmla="*/ 119162 w 225756"/>
                  <a:gd name="connsiteY48" fmla="*/ 23421 h 105383"/>
                  <a:gd name="connsiteX49" fmla="*/ 107964 w 225756"/>
                  <a:gd name="connsiteY49" fmla="*/ 16247 h 105383"/>
                  <a:gd name="connsiteX50" fmla="*/ 96766 w 225756"/>
                  <a:gd name="connsiteY50" fmla="*/ 9495 h 105383"/>
                  <a:gd name="connsiteX51" fmla="*/ 93175 w 225756"/>
                  <a:gd name="connsiteY51" fmla="*/ 7174 h 105383"/>
                  <a:gd name="connsiteX52" fmla="*/ 89583 w 225756"/>
                  <a:gd name="connsiteY52" fmla="*/ 5275 h 105383"/>
                  <a:gd name="connsiteX53" fmla="*/ 85780 w 225756"/>
                  <a:gd name="connsiteY53" fmla="*/ 3587 h 105383"/>
                  <a:gd name="connsiteX54" fmla="*/ 81977 w 225756"/>
                  <a:gd name="connsiteY54" fmla="*/ 2321 h 105383"/>
                  <a:gd name="connsiteX55" fmla="*/ 78174 w 225756"/>
                  <a:gd name="connsiteY55" fmla="*/ 1266 h 105383"/>
                  <a:gd name="connsiteX56" fmla="*/ 73948 w 225756"/>
                  <a:gd name="connsiteY56" fmla="*/ 633 h 105383"/>
                  <a:gd name="connsiteX57" fmla="*/ 69934 w 225756"/>
                  <a:gd name="connsiteY57" fmla="*/ 211 h 1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5756" h="105383">
                    <a:moveTo>
                      <a:pt x="65919" y="0"/>
                    </a:moveTo>
                    <a:lnTo>
                      <a:pt x="61694" y="0"/>
                    </a:lnTo>
                    <a:lnTo>
                      <a:pt x="57468" y="422"/>
                    </a:lnTo>
                    <a:lnTo>
                      <a:pt x="53454" y="1055"/>
                    </a:lnTo>
                    <a:lnTo>
                      <a:pt x="49440" y="1899"/>
                    </a:lnTo>
                    <a:lnTo>
                      <a:pt x="45425" y="2954"/>
                    </a:lnTo>
                    <a:lnTo>
                      <a:pt x="41411" y="4220"/>
                    </a:lnTo>
                    <a:lnTo>
                      <a:pt x="37397" y="5908"/>
                    </a:lnTo>
                    <a:lnTo>
                      <a:pt x="33594" y="7596"/>
                    </a:lnTo>
                    <a:lnTo>
                      <a:pt x="29791" y="9706"/>
                    </a:lnTo>
                    <a:lnTo>
                      <a:pt x="26410" y="11816"/>
                    </a:lnTo>
                    <a:lnTo>
                      <a:pt x="23030" y="14137"/>
                    </a:lnTo>
                    <a:lnTo>
                      <a:pt x="19649" y="16669"/>
                    </a:lnTo>
                    <a:lnTo>
                      <a:pt x="16480" y="19201"/>
                    </a:lnTo>
                    <a:lnTo>
                      <a:pt x="13733" y="22155"/>
                    </a:lnTo>
                    <a:lnTo>
                      <a:pt x="11198" y="25320"/>
                    </a:lnTo>
                    <a:lnTo>
                      <a:pt x="8874" y="28484"/>
                    </a:lnTo>
                    <a:lnTo>
                      <a:pt x="6761" y="31860"/>
                    </a:lnTo>
                    <a:lnTo>
                      <a:pt x="4860" y="35236"/>
                    </a:lnTo>
                    <a:lnTo>
                      <a:pt x="3381" y="39034"/>
                    </a:lnTo>
                    <a:lnTo>
                      <a:pt x="1902" y="42832"/>
                    </a:lnTo>
                    <a:lnTo>
                      <a:pt x="845" y="46630"/>
                    </a:lnTo>
                    <a:lnTo>
                      <a:pt x="211" y="50639"/>
                    </a:lnTo>
                    <a:lnTo>
                      <a:pt x="0" y="54859"/>
                    </a:lnTo>
                    <a:lnTo>
                      <a:pt x="211" y="58868"/>
                    </a:lnTo>
                    <a:lnTo>
                      <a:pt x="0" y="62666"/>
                    </a:lnTo>
                    <a:lnTo>
                      <a:pt x="0" y="66042"/>
                    </a:lnTo>
                    <a:lnTo>
                      <a:pt x="211" y="69207"/>
                    </a:lnTo>
                    <a:lnTo>
                      <a:pt x="634" y="72583"/>
                    </a:lnTo>
                    <a:lnTo>
                      <a:pt x="1268" y="75748"/>
                    </a:lnTo>
                    <a:lnTo>
                      <a:pt x="2113" y="78701"/>
                    </a:lnTo>
                    <a:lnTo>
                      <a:pt x="3169" y="82077"/>
                    </a:lnTo>
                    <a:lnTo>
                      <a:pt x="4226" y="85031"/>
                    </a:lnTo>
                    <a:lnTo>
                      <a:pt x="5493" y="87985"/>
                    </a:lnTo>
                    <a:lnTo>
                      <a:pt x="6972" y="90728"/>
                    </a:lnTo>
                    <a:lnTo>
                      <a:pt x="8451" y="93682"/>
                    </a:lnTo>
                    <a:lnTo>
                      <a:pt x="10142" y="96425"/>
                    </a:lnTo>
                    <a:lnTo>
                      <a:pt x="13733" y="101911"/>
                    </a:lnTo>
                    <a:lnTo>
                      <a:pt x="16376" y="105383"/>
                    </a:lnTo>
                    <a:lnTo>
                      <a:pt x="225756" y="105383"/>
                    </a:lnTo>
                    <a:lnTo>
                      <a:pt x="223535" y="103599"/>
                    </a:lnTo>
                    <a:lnTo>
                      <a:pt x="203040" y="86930"/>
                    </a:lnTo>
                    <a:lnTo>
                      <a:pt x="182546" y="70262"/>
                    </a:lnTo>
                    <a:lnTo>
                      <a:pt x="172405" y="62244"/>
                    </a:lnTo>
                    <a:lnTo>
                      <a:pt x="161841" y="54015"/>
                    </a:lnTo>
                    <a:lnTo>
                      <a:pt x="151277" y="46208"/>
                    </a:lnTo>
                    <a:lnTo>
                      <a:pt x="140713" y="38401"/>
                    </a:lnTo>
                    <a:lnTo>
                      <a:pt x="129937" y="30805"/>
                    </a:lnTo>
                    <a:lnTo>
                      <a:pt x="119162" y="23421"/>
                    </a:lnTo>
                    <a:lnTo>
                      <a:pt x="107964" y="16247"/>
                    </a:lnTo>
                    <a:lnTo>
                      <a:pt x="96766" y="9495"/>
                    </a:lnTo>
                    <a:lnTo>
                      <a:pt x="93175" y="7174"/>
                    </a:lnTo>
                    <a:lnTo>
                      <a:pt x="89583" y="5275"/>
                    </a:lnTo>
                    <a:lnTo>
                      <a:pt x="85780" y="3587"/>
                    </a:lnTo>
                    <a:lnTo>
                      <a:pt x="81977" y="2321"/>
                    </a:lnTo>
                    <a:lnTo>
                      <a:pt x="78174" y="1266"/>
                    </a:lnTo>
                    <a:lnTo>
                      <a:pt x="73948" y="633"/>
                    </a:lnTo>
                    <a:lnTo>
                      <a:pt x="69934" y="211"/>
                    </a:lnTo>
                    <a:close/>
                  </a:path>
                </a:pathLst>
              </a:custGeom>
              <a:solidFill>
                <a:srgbClr val="FFFFFF"/>
              </a:solidFill>
              <a:ln w="4">
                <a:noFill/>
                <a:prstDash val="solid"/>
                <a:round/>
                <a:headEnd/>
                <a:tailEnd/>
              </a:ln>
              <a:extLst/>
            </p:spPr>
            <p:txBody>
              <a:bodyPr vert="horz" wrap="square" lIns="93250" tIns="46625" rIns="93250" bIns="46625"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26" name="Freeform 825"/>
              <p:cNvSpPr>
                <a:spLocks/>
              </p:cNvSpPr>
              <p:nvPr/>
            </p:nvSpPr>
            <p:spPr bwMode="auto">
              <a:xfrm>
                <a:off x="2349710" y="3369113"/>
                <a:ext cx="364188" cy="170003"/>
              </a:xfrm>
              <a:custGeom>
                <a:avLst/>
                <a:gdLst>
                  <a:gd name="connsiteX0" fmla="*/ 65919 w 225756"/>
                  <a:gd name="connsiteY0" fmla="*/ 0 h 105383"/>
                  <a:gd name="connsiteX1" fmla="*/ 61694 w 225756"/>
                  <a:gd name="connsiteY1" fmla="*/ 0 h 105383"/>
                  <a:gd name="connsiteX2" fmla="*/ 57468 w 225756"/>
                  <a:gd name="connsiteY2" fmla="*/ 422 h 105383"/>
                  <a:gd name="connsiteX3" fmla="*/ 53454 w 225756"/>
                  <a:gd name="connsiteY3" fmla="*/ 1055 h 105383"/>
                  <a:gd name="connsiteX4" fmla="*/ 49440 w 225756"/>
                  <a:gd name="connsiteY4" fmla="*/ 1899 h 105383"/>
                  <a:gd name="connsiteX5" fmla="*/ 45425 w 225756"/>
                  <a:gd name="connsiteY5" fmla="*/ 2954 h 105383"/>
                  <a:gd name="connsiteX6" fmla="*/ 41411 w 225756"/>
                  <a:gd name="connsiteY6" fmla="*/ 4220 h 105383"/>
                  <a:gd name="connsiteX7" fmla="*/ 37397 w 225756"/>
                  <a:gd name="connsiteY7" fmla="*/ 5908 h 105383"/>
                  <a:gd name="connsiteX8" fmla="*/ 33594 w 225756"/>
                  <a:gd name="connsiteY8" fmla="*/ 7596 h 105383"/>
                  <a:gd name="connsiteX9" fmla="*/ 29791 w 225756"/>
                  <a:gd name="connsiteY9" fmla="*/ 9706 h 105383"/>
                  <a:gd name="connsiteX10" fmla="*/ 26410 w 225756"/>
                  <a:gd name="connsiteY10" fmla="*/ 11816 h 105383"/>
                  <a:gd name="connsiteX11" fmla="*/ 23030 w 225756"/>
                  <a:gd name="connsiteY11" fmla="*/ 14137 h 105383"/>
                  <a:gd name="connsiteX12" fmla="*/ 19649 w 225756"/>
                  <a:gd name="connsiteY12" fmla="*/ 16669 h 105383"/>
                  <a:gd name="connsiteX13" fmla="*/ 16480 w 225756"/>
                  <a:gd name="connsiteY13" fmla="*/ 19201 h 105383"/>
                  <a:gd name="connsiteX14" fmla="*/ 13733 w 225756"/>
                  <a:gd name="connsiteY14" fmla="*/ 22155 h 105383"/>
                  <a:gd name="connsiteX15" fmla="*/ 11198 w 225756"/>
                  <a:gd name="connsiteY15" fmla="*/ 25320 h 105383"/>
                  <a:gd name="connsiteX16" fmla="*/ 8874 w 225756"/>
                  <a:gd name="connsiteY16" fmla="*/ 28484 h 105383"/>
                  <a:gd name="connsiteX17" fmla="*/ 6761 w 225756"/>
                  <a:gd name="connsiteY17" fmla="*/ 31860 h 105383"/>
                  <a:gd name="connsiteX18" fmla="*/ 4860 w 225756"/>
                  <a:gd name="connsiteY18" fmla="*/ 35236 h 105383"/>
                  <a:gd name="connsiteX19" fmla="*/ 3381 w 225756"/>
                  <a:gd name="connsiteY19" fmla="*/ 39034 h 105383"/>
                  <a:gd name="connsiteX20" fmla="*/ 1902 w 225756"/>
                  <a:gd name="connsiteY20" fmla="*/ 42832 h 105383"/>
                  <a:gd name="connsiteX21" fmla="*/ 845 w 225756"/>
                  <a:gd name="connsiteY21" fmla="*/ 46630 h 105383"/>
                  <a:gd name="connsiteX22" fmla="*/ 211 w 225756"/>
                  <a:gd name="connsiteY22" fmla="*/ 50639 h 105383"/>
                  <a:gd name="connsiteX23" fmla="*/ 0 w 225756"/>
                  <a:gd name="connsiteY23" fmla="*/ 54859 h 105383"/>
                  <a:gd name="connsiteX24" fmla="*/ 211 w 225756"/>
                  <a:gd name="connsiteY24" fmla="*/ 58868 h 105383"/>
                  <a:gd name="connsiteX25" fmla="*/ 0 w 225756"/>
                  <a:gd name="connsiteY25" fmla="*/ 62666 h 105383"/>
                  <a:gd name="connsiteX26" fmla="*/ 0 w 225756"/>
                  <a:gd name="connsiteY26" fmla="*/ 66042 h 105383"/>
                  <a:gd name="connsiteX27" fmla="*/ 211 w 225756"/>
                  <a:gd name="connsiteY27" fmla="*/ 69207 h 105383"/>
                  <a:gd name="connsiteX28" fmla="*/ 634 w 225756"/>
                  <a:gd name="connsiteY28" fmla="*/ 72583 h 105383"/>
                  <a:gd name="connsiteX29" fmla="*/ 1268 w 225756"/>
                  <a:gd name="connsiteY29" fmla="*/ 75748 h 105383"/>
                  <a:gd name="connsiteX30" fmla="*/ 2113 w 225756"/>
                  <a:gd name="connsiteY30" fmla="*/ 78701 h 105383"/>
                  <a:gd name="connsiteX31" fmla="*/ 3169 w 225756"/>
                  <a:gd name="connsiteY31" fmla="*/ 82077 h 105383"/>
                  <a:gd name="connsiteX32" fmla="*/ 4226 w 225756"/>
                  <a:gd name="connsiteY32" fmla="*/ 85031 h 105383"/>
                  <a:gd name="connsiteX33" fmla="*/ 5493 w 225756"/>
                  <a:gd name="connsiteY33" fmla="*/ 87985 h 105383"/>
                  <a:gd name="connsiteX34" fmla="*/ 6972 w 225756"/>
                  <a:gd name="connsiteY34" fmla="*/ 90728 h 105383"/>
                  <a:gd name="connsiteX35" fmla="*/ 8451 w 225756"/>
                  <a:gd name="connsiteY35" fmla="*/ 93682 h 105383"/>
                  <a:gd name="connsiteX36" fmla="*/ 10142 w 225756"/>
                  <a:gd name="connsiteY36" fmla="*/ 96425 h 105383"/>
                  <a:gd name="connsiteX37" fmla="*/ 13733 w 225756"/>
                  <a:gd name="connsiteY37" fmla="*/ 101911 h 105383"/>
                  <a:gd name="connsiteX38" fmla="*/ 16376 w 225756"/>
                  <a:gd name="connsiteY38" fmla="*/ 105383 h 105383"/>
                  <a:gd name="connsiteX39" fmla="*/ 225756 w 225756"/>
                  <a:gd name="connsiteY39" fmla="*/ 105383 h 105383"/>
                  <a:gd name="connsiteX40" fmla="*/ 223535 w 225756"/>
                  <a:gd name="connsiteY40" fmla="*/ 103599 h 105383"/>
                  <a:gd name="connsiteX41" fmla="*/ 203040 w 225756"/>
                  <a:gd name="connsiteY41" fmla="*/ 86930 h 105383"/>
                  <a:gd name="connsiteX42" fmla="*/ 182546 w 225756"/>
                  <a:gd name="connsiteY42" fmla="*/ 70262 h 105383"/>
                  <a:gd name="connsiteX43" fmla="*/ 172405 w 225756"/>
                  <a:gd name="connsiteY43" fmla="*/ 62244 h 105383"/>
                  <a:gd name="connsiteX44" fmla="*/ 161841 w 225756"/>
                  <a:gd name="connsiteY44" fmla="*/ 54015 h 105383"/>
                  <a:gd name="connsiteX45" fmla="*/ 151277 w 225756"/>
                  <a:gd name="connsiteY45" fmla="*/ 46208 h 105383"/>
                  <a:gd name="connsiteX46" fmla="*/ 140713 w 225756"/>
                  <a:gd name="connsiteY46" fmla="*/ 38401 h 105383"/>
                  <a:gd name="connsiteX47" fmla="*/ 129937 w 225756"/>
                  <a:gd name="connsiteY47" fmla="*/ 30805 h 105383"/>
                  <a:gd name="connsiteX48" fmla="*/ 119162 w 225756"/>
                  <a:gd name="connsiteY48" fmla="*/ 23421 h 105383"/>
                  <a:gd name="connsiteX49" fmla="*/ 107964 w 225756"/>
                  <a:gd name="connsiteY49" fmla="*/ 16247 h 105383"/>
                  <a:gd name="connsiteX50" fmla="*/ 96766 w 225756"/>
                  <a:gd name="connsiteY50" fmla="*/ 9495 h 105383"/>
                  <a:gd name="connsiteX51" fmla="*/ 93175 w 225756"/>
                  <a:gd name="connsiteY51" fmla="*/ 7174 h 105383"/>
                  <a:gd name="connsiteX52" fmla="*/ 89583 w 225756"/>
                  <a:gd name="connsiteY52" fmla="*/ 5275 h 105383"/>
                  <a:gd name="connsiteX53" fmla="*/ 85780 w 225756"/>
                  <a:gd name="connsiteY53" fmla="*/ 3587 h 105383"/>
                  <a:gd name="connsiteX54" fmla="*/ 81977 w 225756"/>
                  <a:gd name="connsiteY54" fmla="*/ 2321 h 105383"/>
                  <a:gd name="connsiteX55" fmla="*/ 78174 w 225756"/>
                  <a:gd name="connsiteY55" fmla="*/ 1266 h 105383"/>
                  <a:gd name="connsiteX56" fmla="*/ 73948 w 225756"/>
                  <a:gd name="connsiteY56" fmla="*/ 633 h 105383"/>
                  <a:gd name="connsiteX57" fmla="*/ 69934 w 225756"/>
                  <a:gd name="connsiteY57" fmla="*/ 211 h 10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5756" h="105383">
                    <a:moveTo>
                      <a:pt x="65919" y="0"/>
                    </a:moveTo>
                    <a:lnTo>
                      <a:pt x="61694" y="0"/>
                    </a:lnTo>
                    <a:lnTo>
                      <a:pt x="57468" y="422"/>
                    </a:lnTo>
                    <a:lnTo>
                      <a:pt x="53454" y="1055"/>
                    </a:lnTo>
                    <a:lnTo>
                      <a:pt x="49440" y="1899"/>
                    </a:lnTo>
                    <a:lnTo>
                      <a:pt x="45425" y="2954"/>
                    </a:lnTo>
                    <a:lnTo>
                      <a:pt x="41411" y="4220"/>
                    </a:lnTo>
                    <a:lnTo>
                      <a:pt x="37397" y="5908"/>
                    </a:lnTo>
                    <a:lnTo>
                      <a:pt x="33594" y="7596"/>
                    </a:lnTo>
                    <a:lnTo>
                      <a:pt x="29791" y="9706"/>
                    </a:lnTo>
                    <a:lnTo>
                      <a:pt x="26410" y="11816"/>
                    </a:lnTo>
                    <a:lnTo>
                      <a:pt x="23030" y="14137"/>
                    </a:lnTo>
                    <a:lnTo>
                      <a:pt x="19649" y="16669"/>
                    </a:lnTo>
                    <a:lnTo>
                      <a:pt x="16480" y="19201"/>
                    </a:lnTo>
                    <a:lnTo>
                      <a:pt x="13733" y="22155"/>
                    </a:lnTo>
                    <a:lnTo>
                      <a:pt x="11198" y="25320"/>
                    </a:lnTo>
                    <a:lnTo>
                      <a:pt x="8874" y="28484"/>
                    </a:lnTo>
                    <a:lnTo>
                      <a:pt x="6761" y="31860"/>
                    </a:lnTo>
                    <a:lnTo>
                      <a:pt x="4860" y="35236"/>
                    </a:lnTo>
                    <a:lnTo>
                      <a:pt x="3381" y="39034"/>
                    </a:lnTo>
                    <a:lnTo>
                      <a:pt x="1902" y="42832"/>
                    </a:lnTo>
                    <a:lnTo>
                      <a:pt x="845" y="46630"/>
                    </a:lnTo>
                    <a:lnTo>
                      <a:pt x="211" y="50639"/>
                    </a:lnTo>
                    <a:lnTo>
                      <a:pt x="0" y="54859"/>
                    </a:lnTo>
                    <a:lnTo>
                      <a:pt x="211" y="58868"/>
                    </a:lnTo>
                    <a:lnTo>
                      <a:pt x="0" y="62666"/>
                    </a:lnTo>
                    <a:lnTo>
                      <a:pt x="0" y="66042"/>
                    </a:lnTo>
                    <a:lnTo>
                      <a:pt x="211" y="69207"/>
                    </a:lnTo>
                    <a:lnTo>
                      <a:pt x="634" y="72583"/>
                    </a:lnTo>
                    <a:lnTo>
                      <a:pt x="1268" y="75748"/>
                    </a:lnTo>
                    <a:lnTo>
                      <a:pt x="2113" y="78701"/>
                    </a:lnTo>
                    <a:lnTo>
                      <a:pt x="3169" y="82077"/>
                    </a:lnTo>
                    <a:lnTo>
                      <a:pt x="4226" y="85031"/>
                    </a:lnTo>
                    <a:lnTo>
                      <a:pt x="5493" y="87985"/>
                    </a:lnTo>
                    <a:lnTo>
                      <a:pt x="6972" y="90728"/>
                    </a:lnTo>
                    <a:lnTo>
                      <a:pt x="8451" y="93682"/>
                    </a:lnTo>
                    <a:lnTo>
                      <a:pt x="10142" y="96425"/>
                    </a:lnTo>
                    <a:lnTo>
                      <a:pt x="13733" y="101911"/>
                    </a:lnTo>
                    <a:lnTo>
                      <a:pt x="16376" y="105383"/>
                    </a:lnTo>
                    <a:lnTo>
                      <a:pt x="225756" y="105383"/>
                    </a:lnTo>
                    <a:lnTo>
                      <a:pt x="223535" y="103599"/>
                    </a:lnTo>
                    <a:lnTo>
                      <a:pt x="203040" y="86930"/>
                    </a:lnTo>
                    <a:lnTo>
                      <a:pt x="182546" y="70262"/>
                    </a:lnTo>
                    <a:lnTo>
                      <a:pt x="172405" y="62244"/>
                    </a:lnTo>
                    <a:lnTo>
                      <a:pt x="161841" y="54015"/>
                    </a:lnTo>
                    <a:lnTo>
                      <a:pt x="151277" y="46208"/>
                    </a:lnTo>
                    <a:lnTo>
                      <a:pt x="140713" y="38401"/>
                    </a:lnTo>
                    <a:lnTo>
                      <a:pt x="129937" y="30805"/>
                    </a:lnTo>
                    <a:lnTo>
                      <a:pt x="119162" y="23421"/>
                    </a:lnTo>
                    <a:lnTo>
                      <a:pt x="107964" y="16247"/>
                    </a:lnTo>
                    <a:lnTo>
                      <a:pt x="96766" y="9495"/>
                    </a:lnTo>
                    <a:lnTo>
                      <a:pt x="93175" y="7174"/>
                    </a:lnTo>
                    <a:lnTo>
                      <a:pt x="89583" y="5275"/>
                    </a:lnTo>
                    <a:lnTo>
                      <a:pt x="85780" y="3587"/>
                    </a:lnTo>
                    <a:lnTo>
                      <a:pt x="81977" y="2321"/>
                    </a:lnTo>
                    <a:lnTo>
                      <a:pt x="78174" y="1266"/>
                    </a:lnTo>
                    <a:lnTo>
                      <a:pt x="73948" y="633"/>
                    </a:lnTo>
                    <a:lnTo>
                      <a:pt x="69934" y="211"/>
                    </a:lnTo>
                    <a:close/>
                  </a:path>
                </a:pathLst>
              </a:custGeom>
              <a:solidFill>
                <a:srgbClr val="FFFFFF"/>
              </a:solidFill>
              <a:ln w="4">
                <a:noFill/>
                <a:prstDash val="solid"/>
                <a:round/>
                <a:headEnd/>
                <a:tailEnd/>
              </a:ln>
              <a:extLst/>
            </p:spPr>
            <p:txBody>
              <a:bodyPr vert="horz" wrap="square" lIns="93250" tIns="46625" rIns="93250" bIns="46625"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sp>
          <p:nvSpPr>
            <p:cNvPr id="768" name="Freeform 38"/>
            <p:cNvSpPr>
              <a:spLocks noEditPoints="1"/>
            </p:cNvSpPr>
            <p:nvPr/>
          </p:nvSpPr>
          <p:spPr bwMode="auto">
            <a:xfrm>
              <a:off x="3588250" y="2948511"/>
              <a:ext cx="279745" cy="241571"/>
            </a:xfrm>
            <a:custGeom>
              <a:avLst/>
              <a:gdLst>
                <a:gd name="T0" fmla="*/ 366 w 437"/>
                <a:gd name="T1" fmla="*/ 72 h 377"/>
                <a:gd name="T2" fmla="*/ 312 w 437"/>
                <a:gd name="T3" fmla="*/ 72 h 377"/>
                <a:gd name="T4" fmla="*/ 312 w 437"/>
                <a:gd name="T5" fmla="*/ 13 h 377"/>
                <a:gd name="T6" fmla="*/ 299 w 437"/>
                <a:gd name="T7" fmla="*/ 0 h 377"/>
                <a:gd name="T8" fmla="*/ 13 w 437"/>
                <a:gd name="T9" fmla="*/ 0 h 377"/>
                <a:gd name="T10" fmla="*/ 0 w 437"/>
                <a:gd name="T11" fmla="*/ 13 h 377"/>
                <a:gd name="T12" fmla="*/ 0 w 437"/>
                <a:gd name="T13" fmla="*/ 347 h 377"/>
                <a:gd name="T14" fmla="*/ 13 w 437"/>
                <a:gd name="T15" fmla="*/ 360 h 377"/>
                <a:gd name="T16" fmla="*/ 28 w 437"/>
                <a:gd name="T17" fmla="*/ 360 h 377"/>
                <a:gd name="T18" fmla="*/ 28 w 437"/>
                <a:gd name="T19" fmla="*/ 377 h 377"/>
                <a:gd name="T20" fmla="*/ 287 w 437"/>
                <a:gd name="T21" fmla="*/ 377 h 377"/>
                <a:gd name="T22" fmla="*/ 287 w 437"/>
                <a:gd name="T23" fmla="*/ 360 h 377"/>
                <a:gd name="T24" fmla="*/ 299 w 437"/>
                <a:gd name="T25" fmla="*/ 360 h 377"/>
                <a:gd name="T26" fmla="*/ 312 w 437"/>
                <a:gd name="T27" fmla="*/ 347 h 377"/>
                <a:gd name="T28" fmla="*/ 312 w 437"/>
                <a:gd name="T29" fmla="*/ 281 h 377"/>
                <a:gd name="T30" fmla="*/ 366 w 437"/>
                <a:gd name="T31" fmla="*/ 281 h 377"/>
                <a:gd name="T32" fmla="*/ 437 w 437"/>
                <a:gd name="T33" fmla="*/ 210 h 377"/>
                <a:gd name="T34" fmla="*/ 437 w 437"/>
                <a:gd name="T35" fmla="*/ 143 h 377"/>
                <a:gd name="T36" fmla="*/ 366 w 437"/>
                <a:gd name="T37" fmla="*/ 72 h 377"/>
                <a:gd name="T38" fmla="*/ 401 w 437"/>
                <a:gd name="T39" fmla="*/ 210 h 377"/>
                <a:gd name="T40" fmla="*/ 366 w 437"/>
                <a:gd name="T41" fmla="*/ 246 h 377"/>
                <a:gd name="T42" fmla="*/ 312 w 437"/>
                <a:gd name="T43" fmla="*/ 246 h 377"/>
                <a:gd name="T44" fmla="*/ 312 w 437"/>
                <a:gd name="T45" fmla="*/ 107 h 377"/>
                <a:gd name="T46" fmla="*/ 366 w 437"/>
                <a:gd name="T47" fmla="*/ 107 h 377"/>
                <a:gd name="T48" fmla="*/ 401 w 437"/>
                <a:gd name="T49" fmla="*/ 143 h 377"/>
                <a:gd name="T50" fmla="*/ 401 w 437"/>
                <a:gd name="T51" fmla="*/ 21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7" h="377">
                  <a:moveTo>
                    <a:pt x="366" y="72"/>
                  </a:moveTo>
                  <a:cubicBezTo>
                    <a:pt x="312" y="72"/>
                    <a:pt x="312" y="72"/>
                    <a:pt x="312" y="72"/>
                  </a:cubicBezTo>
                  <a:cubicBezTo>
                    <a:pt x="312" y="13"/>
                    <a:pt x="312" y="13"/>
                    <a:pt x="312" y="13"/>
                  </a:cubicBezTo>
                  <a:cubicBezTo>
                    <a:pt x="312" y="6"/>
                    <a:pt x="306" y="0"/>
                    <a:pt x="299" y="0"/>
                  </a:cubicBezTo>
                  <a:cubicBezTo>
                    <a:pt x="13" y="0"/>
                    <a:pt x="13" y="0"/>
                    <a:pt x="13" y="0"/>
                  </a:cubicBezTo>
                  <a:cubicBezTo>
                    <a:pt x="6" y="0"/>
                    <a:pt x="0" y="6"/>
                    <a:pt x="0" y="13"/>
                  </a:cubicBezTo>
                  <a:cubicBezTo>
                    <a:pt x="0" y="347"/>
                    <a:pt x="0" y="347"/>
                    <a:pt x="0" y="347"/>
                  </a:cubicBezTo>
                  <a:cubicBezTo>
                    <a:pt x="0" y="354"/>
                    <a:pt x="6" y="360"/>
                    <a:pt x="13" y="360"/>
                  </a:cubicBezTo>
                  <a:cubicBezTo>
                    <a:pt x="28" y="360"/>
                    <a:pt x="28" y="360"/>
                    <a:pt x="28" y="360"/>
                  </a:cubicBezTo>
                  <a:cubicBezTo>
                    <a:pt x="28" y="377"/>
                    <a:pt x="28" y="377"/>
                    <a:pt x="28" y="377"/>
                  </a:cubicBezTo>
                  <a:cubicBezTo>
                    <a:pt x="287" y="377"/>
                    <a:pt x="287" y="377"/>
                    <a:pt x="287" y="377"/>
                  </a:cubicBezTo>
                  <a:cubicBezTo>
                    <a:pt x="287" y="360"/>
                    <a:pt x="287" y="360"/>
                    <a:pt x="287" y="360"/>
                  </a:cubicBezTo>
                  <a:cubicBezTo>
                    <a:pt x="299" y="360"/>
                    <a:pt x="299" y="360"/>
                    <a:pt x="299" y="360"/>
                  </a:cubicBezTo>
                  <a:cubicBezTo>
                    <a:pt x="306" y="360"/>
                    <a:pt x="312" y="354"/>
                    <a:pt x="312" y="347"/>
                  </a:cubicBezTo>
                  <a:cubicBezTo>
                    <a:pt x="312" y="281"/>
                    <a:pt x="312" y="281"/>
                    <a:pt x="312" y="281"/>
                  </a:cubicBezTo>
                  <a:cubicBezTo>
                    <a:pt x="366" y="281"/>
                    <a:pt x="366" y="281"/>
                    <a:pt x="366" y="281"/>
                  </a:cubicBezTo>
                  <a:cubicBezTo>
                    <a:pt x="405" y="281"/>
                    <a:pt x="437" y="249"/>
                    <a:pt x="437" y="210"/>
                  </a:cubicBezTo>
                  <a:cubicBezTo>
                    <a:pt x="437" y="143"/>
                    <a:pt x="437" y="143"/>
                    <a:pt x="437" y="143"/>
                  </a:cubicBezTo>
                  <a:cubicBezTo>
                    <a:pt x="437" y="104"/>
                    <a:pt x="405" y="72"/>
                    <a:pt x="366" y="72"/>
                  </a:cubicBezTo>
                  <a:close/>
                  <a:moveTo>
                    <a:pt x="401" y="210"/>
                  </a:moveTo>
                  <a:cubicBezTo>
                    <a:pt x="401" y="230"/>
                    <a:pt x="385" y="246"/>
                    <a:pt x="366" y="246"/>
                  </a:cubicBezTo>
                  <a:cubicBezTo>
                    <a:pt x="312" y="246"/>
                    <a:pt x="312" y="246"/>
                    <a:pt x="312" y="246"/>
                  </a:cubicBezTo>
                  <a:cubicBezTo>
                    <a:pt x="312" y="107"/>
                    <a:pt x="312" y="107"/>
                    <a:pt x="312" y="107"/>
                  </a:cubicBezTo>
                  <a:cubicBezTo>
                    <a:pt x="366" y="107"/>
                    <a:pt x="366" y="107"/>
                    <a:pt x="366" y="107"/>
                  </a:cubicBezTo>
                  <a:cubicBezTo>
                    <a:pt x="385" y="107"/>
                    <a:pt x="401" y="123"/>
                    <a:pt x="401" y="143"/>
                  </a:cubicBezTo>
                  <a:lnTo>
                    <a:pt x="401" y="210"/>
                  </a:lnTo>
                  <a:close/>
                </a:path>
              </a:pathLst>
            </a:custGeom>
            <a:solidFill>
              <a:srgbClr val="FFFFFF">
                <a:lumMod val="85000"/>
              </a:srgbClr>
            </a:solidFill>
            <a:ln>
              <a:noFill/>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769" name="Rectangle 768"/>
            <p:cNvSpPr/>
            <p:nvPr/>
          </p:nvSpPr>
          <p:spPr bwMode="auto">
            <a:xfrm>
              <a:off x="4992668" y="2755001"/>
              <a:ext cx="194123" cy="4571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0" name="Freeform 7"/>
            <p:cNvSpPr>
              <a:spLocks noChangeAspect="1" noEditPoints="1"/>
            </p:cNvSpPr>
            <p:nvPr/>
          </p:nvSpPr>
          <p:spPr bwMode="auto">
            <a:xfrm>
              <a:off x="3798329" y="1918749"/>
              <a:ext cx="1531692" cy="96800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lumMod val="85000"/>
              </a:srgbClr>
            </a:solidFill>
            <a:ln w="25400" cap="flat" cmpd="sng" algn="ctr">
              <a:noFill/>
              <a:prstDash val="solid"/>
              <a:headEnd type="none" w="med" len="med"/>
              <a:tailEnd type="none" w="med" len="med"/>
            </a:ln>
            <a:effectLst/>
          </p:spPr>
          <p:txBody>
            <a:bodyPr vert="horz" wrap="square" lIns="124306" tIns="62153" rIns="124306" bIns="62153" numCol="1" rtlCol="0" anchor="ctr" anchorCtr="0" compatLnSpc="1">
              <a:prstTxWarp prst="textNoShape">
                <a:avLst/>
              </a:prstTxWarp>
            </a:bodyPr>
            <a:lstStyle/>
            <a:p>
              <a:pPr marL="0" marR="0" lvl="0" indent="0" algn="l" defTabSz="1118883"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184" normalizeH="0" baseline="0" noProof="0">
                <a:ln>
                  <a:noFill/>
                </a:ln>
                <a:solidFill>
                  <a:srgbClr val="D83B01"/>
                </a:solidFill>
                <a:effectLst/>
                <a:uLnTx/>
                <a:uFillTx/>
                <a:latin typeface="Segoe Light" pitchFamily="34" charset="0"/>
                <a:ea typeface="+mn-ea"/>
                <a:cs typeface="+mn-cs"/>
              </a:endParaRPr>
            </a:p>
          </p:txBody>
        </p:sp>
        <p:sp>
          <p:nvSpPr>
            <p:cNvPr id="771" name="Freeform 18"/>
            <p:cNvSpPr>
              <a:spLocks noEditPoints="1"/>
            </p:cNvSpPr>
            <p:nvPr/>
          </p:nvSpPr>
          <p:spPr bwMode="auto">
            <a:xfrm>
              <a:off x="4107981" y="2308725"/>
              <a:ext cx="914332" cy="337089"/>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0078D7">
                <a:lumMod val="20000"/>
                <a:lumOff val="80000"/>
              </a:srgbClr>
            </a:solidFill>
            <a:ln>
              <a:noFill/>
            </a:ln>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772" name="Group 771"/>
            <p:cNvGrpSpPr/>
            <p:nvPr/>
          </p:nvGrpSpPr>
          <p:grpSpPr>
            <a:xfrm>
              <a:off x="3927941" y="2173169"/>
              <a:ext cx="1269936" cy="520962"/>
              <a:chOff x="1021562" y="5270780"/>
              <a:chExt cx="707940" cy="502520"/>
            </a:xfrm>
          </p:grpSpPr>
          <p:grpSp>
            <p:nvGrpSpPr>
              <p:cNvPr id="809" name="Group 808"/>
              <p:cNvGrpSpPr/>
              <p:nvPr/>
            </p:nvGrpSpPr>
            <p:grpSpPr>
              <a:xfrm>
                <a:off x="1021562" y="5336835"/>
                <a:ext cx="707940" cy="389505"/>
                <a:chOff x="1021562" y="5336835"/>
                <a:chExt cx="707940" cy="389505"/>
              </a:xfrm>
            </p:grpSpPr>
            <p:cxnSp>
              <p:nvCxnSpPr>
                <p:cNvPr id="817" name="Straight Connector 816"/>
                <p:cNvCxnSpPr/>
                <p:nvPr/>
              </p:nvCxnSpPr>
              <p:spPr>
                <a:xfrm>
                  <a:off x="1021562" y="5726340"/>
                  <a:ext cx="707940" cy="0"/>
                </a:xfrm>
                <a:prstGeom prst="line">
                  <a:avLst/>
                </a:prstGeom>
                <a:noFill/>
                <a:ln w="3175" cap="flat" cmpd="sng" algn="ctr">
                  <a:solidFill>
                    <a:srgbClr val="FFFFFF">
                      <a:lumMod val="85000"/>
                    </a:srgbClr>
                  </a:solidFill>
                  <a:prstDash val="solid"/>
                </a:ln>
                <a:effectLst/>
              </p:spPr>
            </p:cxnSp>
            <p:cxnSp>
              <p:nvCxnSpPr>
                <p:cNvPr id="822" name="Straight Connector 821"/>
                <p:cNvCxnSpPr/>
                <p:nvPr/>
              </p:nvCxnSpPr>
              <p:spPr>
                <a:xfrm>
                  <a:off x="1021562" y="5596506"/>
                  <a:ext cx="707940" cy="0"/>
                </a:xfrm>
                <a:prstGeom prst="line">
                  <a:avLst/>
                </a:prstGeom>
                <a:noFill/>
                <a:ln w="3175" cap="flat" cmpd="sng" algn="ctr">
                  <a:solidFill>
                    <a:srgbClr val="FFFFFF">
                      <a:lumMod val="85000"/>
                    </a:srgbClr>
                  </a:solidFill>
                  <a:prstDash val="solid"/>
                </a:ln>
                <a:effectLst/>
              </p:spPr>
            </p:cxnSp>
            <p:cxnSp>
              <p:nvCxnSpPr>
                <p:cNvPr id="823" name="Straight Connector 822"/>
                <p:cNvCxnSpPr/>
                <p:nvPr/>
              </p:nvCxnSpPr>
              <p:spPr>
                <a:xfrm>
                  <a:off x="1021562" y="5466671"/>
                  <a:ext cx="707940" cy="0"/>
                </a:xfrm>
                <a:prstGeom prst="line">
                  <a:avLst/>
                </a:prstGeom>
                <a:noFill/>
                <a:ln w="3175" cap="flat" cmpd="sng" algn="ctr">
                  <a:solidFill>
                    <a:srgbClr val="FFFFFF">
                      <a:lumMod val="85000"/>
                    </a:srgbClr>
                  </a:solidFill>
                  <a:prstDash val="solid"/>
                </a:ln>
                <a:effectLst/>
              </p:spPr>
            </p:cxnSp>
            <p:cxnSp>
              <p:nvCxnSpPr>
                <p:cNvPr id="824" name="Straight Connector 823"/>
                <p:cNvCxnSpPr/>
                <p:nvPr/>
              </p:nvCxnSpPr>
              <p:spPr>
                <a:xfrm>
                  <a:off x="1021562" y="5336835"/>
                  <a:ext cx="707940" cy="0"/>
                </a:xfrm>
                <a:prstGeom prst="line">
                  <a:avLst/>
                </a:prstGeom>
                <a:noFill/>
                <a:ln w="3175" cap="flat" cmpd="sng" algn="ctr">
                  <a:solidFill>
                    <a:srgbClr val="FFFFFF">
                      <a:lumMod val="85000"/>
                    </a:srgbClr>
                  </a:solidFill>
                  <a:prstDash val="solid"/>
                </a:ln>
                <a:effectLst/>
              </p:spPr>
            </p:cxnSp>
          </p:grpSp>
          <p:grpSp>
            <p:nvGrpSpPr>
              <p:cNvPr id="810" name="Group 809"/>
              <p:cNvGrpSpPr/>
              <p:nvPr/>
            </p:nvGrpSpPr>
            <p:grpSpPr>
              <a:xfrm>
                <a:off x="1179248" y="5270780"/>
                <a:ext cx="475237" cy="502520"/>
                <a:chOff x="1179248" y="5270780"/>
                <a:chExt cx="475237" cy="502520"/>
              </a:xfrm>
            </p:grpSpPr>
            <p:cxnSp>
              <p:nvCxnSpPr>
                <p:cNvPr id="811" name="Straight Connector 810"/>
                <p:cNvCxnSpPr/>
                <p:nvPr/>
              </p:nvCxnSpPr>
              <p:spPr>
                <a:xfrm rot="5400000">
                  <a:off x="927988" y="5522040"/>
                  <a:ext cx="502520" cy="0"/>
                </a:xfrm>
                <a:prstGeom prst="line">
                  <a:avLst/>
                </a:prstGeom>
                <a:noFill/>
                <a:ln w="3175" cap="flat" cmpd="sng" algn="ctr">
                  <a:solidFill>
                    <a:srgbClr val="FFFFFF">
                      <a:lumMod val="85000"/>
                    </a:srgbClr>
                  </a:solidFill>
                  <a:prstDash val="solid"/>
                </a:ln>
                <a:effectLst/>
              </p:spPr>
            </p:cxnSp>
            <p:cxnSp>
              <p:nvCxnSpPr>
                <p:cNvPr id="812" name="Straight Connector 811"/>
                <p:cNvCxnSpPr/>
                <p:nvPr/>
              </p:nvCxnSpPr>
              <p:spPr>
                <a:xfrm rot="5400000">
                  <a:off x="1086399" y="5522040"/>
                  <a:ext cx="502520" cy="0"/>
                </a:xfrm>
                <a:prstGeom prst="line">
                  <a:avLst/>
                </a:prstGeom>
                <a:noFill/>
                <a:ln w="3175" cap="flat" cmpd="sng" algn="ctr">
                  <a:solidFill>
                    <a:srgbClr val="FFFFFF">
                      <a:lumMod val="85000"/>
                    </a:srgbClr>
                  </a:solidFill>
                  <a:prstDash val="solid"/>
                </a:ln>
                <a:effectLst/>
              </p:spPr>
            </p:cxnSp>
            <p:cxnSp>
              <p:nvCxnSpPr>
                <p:cNvPr id="813" name="Straight Connector 812"/>
                <p:cNvCxnSpPr/>
                <p:nvPr/>
              </p:nvCxnSpPr>
              <p:spPr>
                <a:xfrm rot="5400000">
                  <a:off x="1244812" y="5522040"/>
                  <a:ext cx="502520" cy="0"/>
                </a:xfrm>
                <a:prstGeom prst="line">
                  <a:avLst/>
                </a:prstGeom>
                <a:noFill/>
                <a:ln w="3175" cap="flat" cmpd="sng" algn="ctr">
                  <a:solidFill>
                    <a:srgbClr val="FFFFFF">
                      <a:lumMod val="85000"/>
                    </a:srgbClr>
                  </a:solidFill>
                  <a:prstDash val="solid"/>
                </a:ln>
                <a:effectLst/>
              </p:spPr>
            </p:cxnSp>
            <p:cxnSp>
              <p:nvCxnSpPr>
                <p:cNvPr id="816" name="Straight Connector 815"/>
                <p:cNvCxnSpPr/>
                <p:nvPr/>
              </p:nvCxnSpPr>
              <p:spPr>
                <a:xfrm rot="5400000">
                  <a:off x="1403225" y="5522040"/>
                  <a:ext cx="502520" cy="0"/>
                </a:xfrm>
                <a:prstGeom prst="line">
                  <a:avLst/>
                </a:prstGeom>
                <a:noFill/>
                <a:ln w="3175" cap="flat" cmpd="sng" algn="ctr">
                  <a:solidFill>
                    <a:srgbClr val="FFFFFF">
                      <a:lumMod val="85000"/>
                    </a:srgbClr>
                  </a:solidFill>
                  <a:prstDash val="solid"/>
                </a:ln>
                <a:effectLst/>
              </p:spPr>
            </p:cxnSp>
          </p:grpSp>
        </p:grpSp>
        <p:grpSp>
          <p:nvGrpSpPr>
            <p:cNvPr id="773" name="Group 772"/>
            <p:cNvGrpSpPr>
              <a:grpSpLocks noChangeAspect="1"/>
            </p:cNvGrpSpPr>
            <p:nvPr/>
          </p:nvGrpSpPr>
          <p:grpSpPr>
            <a:xfrm>
              <a:off x="4019389" y="2150275"/>
              <a:ext cx="153433" cy="27828"/>
              <a:chOff x="-5999163" y="3978275"/>
              <a:chExt cx="4422775" cy="1133475"/>
            </a:xfrm>
            <a:solidFill>
              <a:srgbClr val="FFFFFF"/>
            </a:solidFill>
          </p:grpSpPr>
          <p:sp>
            <p:nvSpPr>
              <p:cNvPr id="807" name="Freeform 806"/>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08"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cxnSp>
          <p:nvCxnSpPr>
            <p:cNvPr id="774" name="Elbow Connector 773"/>
            <p:cNvCxnSpPr>
              <a:endCxn id="771" idx="3"/>
            </p:cNvCxnSpPr>
            <p:nvPr/>
          </p:nvCxnSpPr>
          <p:spPr>
            <a:xfrm rot="16200000" flipH="1">
              <a:off x="4024570" y="2234747"/>
              <a:ext cx="266325" cy="123147"/>
            </a:xfrm>
            <a:prstGeom prst="bentConnector4">
              <a:avLst>
                <a:gd name="adj1" fmla="val 27329"/>
                <a:gd name="adj2" fmla="val -81684"/>
              </a:avLst>
            </a:prstGeom>
            <a:noFill/>
            <a:ln w="9525" cap="flat" cmpd="sng" algn="ctr">
              <a:solidFill>
                <a:srgbClr val="D2D2D2"/>
              </a:solidFill>
              <a:prstDash val="solid"/>
            </a:ln>
            <a:effectLst/>
          </p:spPr>
        </p:cxnSp>
        <p:cxnSp>
          <p:nvCxnSpPr>
            <p:cNvPr id="775" name="Elbow Connector 774"/>
            <p:cNvCxnSpPr/>
            <p:nvPr/>
          </p:nvCxnSpPr>
          <p:spPr>
            <a:xfrm rot="16200000" flipH="1">
              <a:off x="4374589" y="2205207"/>
              <a:ext cx="188874" cy="124803"/>
            </a:xfrm>
            <a:prstGeom prst="bentConnector3">
              <a:avLst>
                <a:gd name="adj1" fmla="val 50000"/>
              </a:avLst>
            </a:prstGeom>
            <a:noFill/>
            <a:ln w="9525" cap="flat" cmpd="sng" algn="ctr">
              <a:solidFill>
                <a:srgbClr val="D2D2D2"/>
              </a:solidFill>
              <a:prstDash val="solid"/>
            </a:ln>
            <a:effectLst/>
          </p:spPr>
        </p:cxnSp>
        <p:grpSp>
          <p:nvGrpSpPr>
            <p:cNvPr id="776" name="Group 775"/>
            <p:cNvGrpSpPr>
              <a:grpSpLocks noChangeAspect="1"/>
            </p:cNvGrpSpPr>
            <p:nvPr/>
          </p:nvGrpSpPr>
          <p:grpSpPr>
            <a:xfrm>
              <a:off x="4345912" y="2150275"/>
              <a:ext cx="153433" cy="27828"/>
              <a:chOff x="-5999163" y="3978275"/>
              <a:chExt cx="4422775" cy="1133475"/>
            </a:xfrm>
            <a:solidFill>
              <a:srgbClr val="FFFFFF"/>
            </a:solidFill>
          </p:grpSpPr>
          <p:sp>
            <p:nvSpPr>
              <p:cNvPr id="805" name="Freeform 804"/>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06"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cxnSp>
          <p:nvCxnSpPr>
            <p:cNvPr id="777" name="Elbow Connector 776"/>
            <p:cNvCxnSpPr/>
            <p:nvPr/>
          </p:nvCxnSpPr>
          <p:spPr>
            <a:xfrm rot="5400000">
              <a:off x="4673014" y="2179085"/>
              <a:ext cx="269461" cy="274588"/>
            </a:xfrm>
            <a:prstGeom prst="bentConnector3">
              <a:avLst>
                <a:gd name="adj1" fmla="val 31496"/>
              </a:avLst>
            </a:prstGeom>
            <a:noFill/>
            <a:ln w="9525" cap="flat" cmpd="sng" algn="ctr">
              <a:solidFill>
                <a:srgbClr val="0078D7"/>
              </a:solidFill>
              <a:prstDash val="solid"/>
            </a:ln>
            <a:effectLst/>
          </p:spPr>
        </p:cxnSp>
        <p:grpSp>
          <p:nvGrpSpPr>
            <p:cNvPr id="778" name="Group 777"/>
            <p:cNvGrpSpPr>
              <a:grpSpLocks noChangeAspect="1"/>
            </p:cNvGrpSpPr>
            <p:nvPr/>
          </p:nvGrpSpPr>
          <p:grpSpPr>
            <a:xfrm>
              <a:off x="4879882" y="2150275"/>
              <a:ext cx="153433" cy="27828"/>
              <a:chOff x="-5999163" y="3978275"/>
              <a:chExt cx="4422775" cy="1133475"/>
            </a:xfrm>
            <a:solidFill>
              <a:srgbClr val="FFFFFF"/>
            </a:solidFill>
          </p:grpSpPr>
          <p:sp>
            <p:nvSpPr>
              <p:cNvPr id="803" name="Freeform 802"/>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sp>
            <p:nvSpPr>
              <p:cNvPr id="804"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0" tIns="46625" rIns="93250" bIns="4662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19" b="0" i="0" u="none" strike="noStrike" kern="0" cap="none" spc="0" normalizeH="0" baseline="0" noProof="0">
                  <a:ln>
                    <a:noFill/>
                  </a:ln>
                  <a:solidFill>
                    <a:srgbClr val="505050"/>
                  </a:solidFill>
                  <a:effectLst/>
                  <a:uLnTx/>
                  <a:uFillTx/>
                  <a:latin typeface="Segoe UI Light"/>
                  <a:ea typeface="+mn-ea"/>
                  <a:cs typeface="+mn-cs"/>
                </a:endParaRPr>
              </a:p>
            </p:txBody>
          </p:sp>
        </p:grpSp>
        <p:sp>
          <p:nvSpPr>
            <p:cNvPr id="779" name="Rectangle 778"/>
            <p:cNvSpPr/>
            <p:nvPr/>
          </p:nvSpPr>
          <p:spPr bwMode="auto">
            <a:xfrm>
              <a:off x="3970517" y="2510849"/>
              <a:ext cx="291282" cy="158954"/>
            </a:xfrm>
            <a:prstGeom prst="rect">
              <a:avLst/>
            </a:prstGeom>
            <a:solidFill>
              <a:srgbClr val="FFFFFF">
                <a:lumMod val="95000"/>
              </a:srgbClr>
            </a:solidFill>
            <a:ln w="9525" cap="flat" cmpd="sng" algn="ctr">
              <a:solidFill>
                <a:srgbClr val="D2D2D2"/>
              </a:solidFill>
              <a:prstDash val="solid"/>
              <a:headEnd type="none" w="med" len="med"/>
              <a:tailEnd type="none" w="med" len="med"/>
            </a:ln>
            <a:effectLst/>
          </p:spPr>
          <p:txBody>
            <a:bodyPr rot="0" spcFirstLastPara="0" vertOverflow="overflow" horzOverflow="overflow" vert="horz" wrap="square" lIns="93250" tIns="46625" rIns="46625" bIns="93250" numCol="1" spcCol="0" rtlCol="0" fromWordArt="0" anchor="b" anchorCtr="0" forceAA="0" compatLnSpc="1">
              <a:prstTxWarp prst="textNoShape">
                <a:avLst/>
              </a:prstTxWarp>
              <a:noAutofit/>
            </a:bodyPr>
            <a:lstStyle/>
            <a:p>
              <a:pPr marL="0" marR="0" lvl="0" indent="0" algn="ctr" defTabSz="932266" rtl="0" eaLnBrk="1" fontAlgn="base" latinLnBrk="0" hangingPunct="1">
                <a:lnSpc>
                  <a:spcPct val="100000"/>
                </a:lnSpc>
                <a:spcBef>
                  <a:spcPct val="0"/>
                </a:spcBef>
                <a:spcAft>
                  <a:spcPct val="0"/>
                </a:spcAft>
                <a:buClrTx/>
                <a:buSzTx/>
                <a:buFontTx/>
                <a:buNone/>
                <a:tabLst/>
                <a:defRPr/>
              </a:pPr>
              <a:endParaRPr kumimoji="0" lang="en-US" sz="4896" b="0" i="0" u="none" strike="noStrike" kern="0" cap="none" spc="-102" normalizeH="0" baseline="0" noProof="0">
                <a:ln w="3175">
                  <a:noFill/>
                </a:ln>
                <a:gradFill flip="none" rotWithShape="1">
                  <a:gsLst>
                    <a:gs pos="0">
                      <a:srgbClr val="505050">
                        <a:lumMod val="65000"/>
                        <a:lumOff val="35000"/>
                      </a:srgbClr>
                    </a:gs>
                    <a:gs pos="86000">
                      <a:srgbClr val="505050">
                        <a:lumMod val="65000"/>
                        <a:lumOff val="35000"/>
                      </a:srgbClr>
                    </a:gs>
                  </a:gsLst>
                  <a:lin ang="5400000" scaled="0"/>
                  <a:tileRect/>
                </a:gradFill>
                <a:effectLst/>
                <a:uLnTx/>
                <a:uFillTx/>
                <a:latin typeface="Segoe UI Light"/>
                <a:ea typeface="+mn-ea"/>
                <a:cs typeface="Arial" charset="0"/>
              </a:endParaRPr>
            </a:p>
          </p:txBody>
        </p:sp>
        <p:sp>
          <p:nvSpPr>
            <p:cNvPr id="780" name="Rectangle 779"/>
            <p:cNvSpPr/>
            <p:nvPr/>
          </p:nvSpPr>
          <p:spPr bwMode="auto">
            <a:xfrm>
              <a:off x="4413413" y="2510849"/>
              <a:ext cx="291282" cy="158954"/>
            </a:xfrm>
            <a:prstGeom prst="rect">
              <a:avLst/>
            </a:prstGeom>
            <a:solidFill>
              <a:srgbClr val="FFFFFF">
                <a:lumMod val="95000"/>
              </a:srgbClr>
            </a:solidFill>
            <a:ln w="9525" cap="flat" cmpd="sng" algn="ctr">
              <a:solidFill>
                <a:srgbClr val="D2D2D2"/>
              </a:solidFill>
              <a:prstDash val="solid"/>
              <a:headEnd type="none" w="med" len="med"/>
              <a:tailEnd type="none" w="med" len="med"/>
            </a:ln>
            <a:effectLst/>
          </p:spPr>
          <p:txBody>
            <a:bodyPr rot="0" spcFirstLastPara="0" vertOverflow="overflow" horzOverflow="overflow" vert="horz" wrap="square" lIns="93250" tIns="46625" rIns="46625" bIns="93250" numCol="1" spcCol="0" rtlCol="0" fromWordArt="0" anchor="b" anchorCtr="0" forceAA="0" compatLnSpc="1">
              <a:prstTxWarp prst="textNoShape">
                <a:avLst/>
              </a:prstTxWarp>
              <a:noAutofit/>
            </a:bodyPr>
            <a:lstStyle/>
            <a:p>
              <a:pPr marL="0" marR="0" lvl="0" indent="0" algn="ctr" defTabSz="932266" rtl="0" eaLnBrk="1" fontAlgn="base" latinLnBrk="0" hangingPunct="1">
                <a:lnSpc>
                  <a:spcPct val="100000"/>
                </a:lnSpc>
                <a:spcBef>
                  <a:spcPct val="0"/>
                </a:spcBef>
                <a:spcAft>
                  <a:spcPct val="0"/>
                </a:spcAft>
                <a:buClrTx/>
                <a:buSzTx/>
                <a:buFontTx/>
                <a:buNone/>
                <a:tabLst/>
                <a:defRPr/>
              </a:pPr>
              <a:endParaRPr kumimoji="0" lang="en-US" sz="4896" b="0" i="0" u="none" strike="noStrike" kern="0" cap="none" spc="-102" normalizeH="0" baseline="0" noProof="0">
                <a:ln w="3175">
                  <a:noFill/>
                </a:ln>
                <a:gradFill flip="none" rotWithShape="1">
                  <a:gsLst>
                    <a:gs pos="0">
                      <a:srgbClr val="505050">
                        <a:lumMod val="65000"/>
                        <a:lumOff val="35000"/>
                      </a:srgbClr>
                    </a:gs>
                    <a:gs pos="86000">
                      <a:srgbClr val="505050">
                        <a:lumMod val="65000"/>
                        <a:lumOff val="35000"/>
                      </a:srgbClr>
                    </a:gs>
                  </a:gsLst>
                  <a:lin ang="5400000" scaled="0"/>
                  <a:tileRect/>
                </a:gradFill>
                <a:effectLst/>
                <a:uLnTx/>
                <a:uFillTx/>
                <a:latin typeface="Segoe UI Light"/>
                <a:ea typeface="+mn-ea"/>
                <a:cs typeface="Arial" charset="0"/>
              </a:endParaRPr>
            </a:p>
          </p:txBody>
        </p:sp>
        <p:sp>
          <p:nvSpPr>
            <p:cNvPr id="781" name="Freeform 131"/>
            <p:cNvSpPr>
              <a:spLocks noChangeAspect="1" noEditPoints="1"/>
            </p:cNvSpPr>
            <p:nvPr/>
          </p:nvSpPr>
          <p:spPr bwMode="black">
            <a:xfrm>
              <a:off x="4010327" y="2539280"/>
              <a:ext cx="213043" cy="106635"/>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D2D2D2"/>
            </a:solidFill>
            <a:ln>
              <a:noFill/>
            </a:ln>
            <a:extLst/>
          </p:spPr>
          <p:txBody>
            <a:bodyPr vert="horz" wrap="square" lIns="93231" tIns="46615" rIns="93231" bIns="4661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srgbClr val="000000"/>
                </a:solidFill>
                <a:effectLst/>
                <a:uLnTx/>
                <a:uFillTx/>
                <a:latin typeface="Segoe UI Light"/>
                <a:ea typeface="+mn-ea"/>
                <a:cs typeface="+mn-cs"/>
              </a:endParaRPr>
            </a:p>
          </p:txBody>
        </p:sp>
        <p:sp>
          <p:nvSpPr>
            <p:cNvPr id="782" name="Freeform 131"/>
            <p:cNvSpPr>
              <a:spLocks noChangeAspect="1" noEditPoints="1"/>
            </p:cNvSpPr>
            <p:nvPr/>
          </p:nvSpPr>
          <p:spPr bwMode="black">
            <a:xfrm>
              <a:off x="4444459" y="2539280"/>
              <a:ext cx="213043" cy="106635"/>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D2D2D2"/>
            </a:solidFill>
            <a:ln>
              <a:noFill/>
            </a:ln>
            <a:extLst/>
          </p:spPr>
          <p:txBody>
            <a:bodyPr vert="horz" wrap="square" lIns="93231" tIns="46615" rIns="93231" bIns="4661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783" name="Group 782"/>
            <p:cNvGrpSpPr/>
            <p:nvPr/>
          </p:nvGrpSpPr>
          <p:grpSpPr>
            <a:xfrm>
              <a:off x="4862198" y="2510849"/>
              <a:ext cx="291282" cy="158954"/>
              <a:chOff x="2381836" y="3128345"/>
              <a:chExt cx="157864" cy="86147"/>
            </a:xfrm>
          </p:grpSpPr>
          <p:sp>
            <p:nvSpPr>
              <p:cNvPr id="801" name="Rectangle 800"/>
              <p:cNvSpPr/>
              <p:nvPr/>
            </p:nvSpPr>
            <p:spPr bwMode="auto">
              <a:xfrm>
                <a:off x="2381836" y="3128345"/>
                <a:ext cx="157864" cy="86147"/>
              </a:xfrm>
              <a:prstGeom prst="rect">
                <a:avLst/>
              </a:prstGeom>
              <a:solidFill>
                <a:srgbClr val="0078D7">
                  <a:lumMod val="20000"/>
                  <a:lumOff val="80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93250" tIns="46625" rIns="46625" bIns="93250" numCol="1" spcCol="0" rtlCol="0" fromWordArt="0" anchor="b" anchorCtr="0" forceAA="0" compatLnSpc="1">
                <a:prstTxWarp prst="textNoShape">
                  <a:avLst/>
                </a:prstTxWarp>
                <a:noAutofit/>
              </a:bodyPr>
              <a:lstStyle/>
              <a:p>
                <a:pPr marL="0" marR="0" lvl="0" indent="0" algn="ctr" defTabSz="932266" rtl="0" eaLnBrk="1" fontAlgn="base" latinLnBrk="0" hangingPunct="1">
                  <a:lnSpc>
                    <a:spcPct val="100000"/>
                  </a:lnSpc>
                  <a:spcBef>
                    <a:spcPct val="0"/>
                  </a:spcBef>
                  <a:spcAft>
                    <a:spcPct val="0"/>
                  </a:spcAft>
                  <a:buClrTx/>
                  <a:buSzTx/>
                  <a:buFontTx/>
                  <a:buNone/>
                  <a:tabLst/>
                  <a:defRPr/>
                </a:pPr>
                <a:endParaRPr kumimoji="0" lang="en-US" sz="4896" b="0" i="0" u="none" strike="noStrike" kern="0" cap="none" spc="-102" normalizeH="0" baseline="0" noProof="0">
                  <a:ln w="3175">
                    <a:noFill/>
                  </a:ln>
                  <a:gradFill flip="none" rotWithShape="1">
                    <a:gsLst>
                      <a:gs pos="0">
                        <a:srgbClr val="505050">
                          <a:lumMod val="65000"/>
                          <a:lumOff val="35000"/>
                        </a:srgbClr>
                      </a:gs>
                      <a:gs pos="86000">
                        <a:srgbClr val="505050">
                          <a:lumMod val="65000"/>
                          <a:lumOff val="35000"/>
                        </a:srgbClr>
                      </a:gs>
                    </a:gsLst>
                    <a:lin ang="5400000" scaled="0"/>
                    <a:tileRect/>
                  </a:gradFill>
                  <a:effectLst/>
                  <a:uLnTx/>
                  <a:uFillTx/>
                  <a:latin typeface="Segoe UI Light"/>
                  <a:ea typeface="+mn-ea"/>
                  <a:cs typeface="Arial" charset="0"/>
                </a:endParaRPr>
              </a:p>
            </p:txBody>
          </p:sp>
          <p:sp>
            <p:nvSpPr>
              <p:cNvPr id="802" name="Freeform 131"/>
              <p:cNvSpPr>
                <a:spLocks noChangeAspect="1" noEditPoints="1"/>
              </p:cNvSpPr>
              <p:nvPr/>
            </p:nvSpPr>
            <p:spPr bwMode="black">
              <a:xfrm>
                <a:off x="2400368" y="3143754"/>
                <a:ext cx="115462" cy="57792"/>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0078D7"/>
              </a:solidFill>
              <a:ln>
                <a:noFill/>
              </a:ln>
              <a:extLst/>
            </p:spPr>
            <p:txBody>
              <a:bodyPr vert="horz" wrap="square" lIns="93231" tIns="46615" rIns="93231" bIns="46615"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srgbClr val="000000"/>
                  </a:solidFill>
                  <a:effectLst/>
                  <a:uLnTx/>
                  <a:uFillTx/>
                  <a:latin typeface="Segoe UI Light"/>
                  <a:ea typeface="+mn-ea"/>
                  <a:cs typeface="+mn-cs"/>
                </a:endParaRPr>
              </a:p>
            </p:txBody>
          </p:sp>
        </p:grpSp>
        <p:cxnSp>
          <p:nvCxnSpPr>
            <p:cNvPr id="784" name="Elbow Connector 198"/>
            <p:cNvCxnSpPr/>
            <p:nvPr/>
          </p:nvCxnSpPr>
          <p:spPr>
            <a:xfrm flipH="1">
              <a:off x="5042791" y="2108624"/>
              <a:ext cx="390825" cy="0"/>
            </a:xfrm>
            <a:prstGeom prst="straightConnector1">
              <a:avLst/>
            </a:prstGeom>
            <a:noFill/>
            <a:ln w="19050" cap="flat" cmpd="sng" algn="ctr">
              <a:solidFill>
                <a:srgbClr val="0072C6"/>
              </a:solidFill>
              <a:prstDash val="sysDot"/>
            </a:ln>
            <a:effectLst/>
          </p:spPr>
        </p:cxnSp>
        <p:sp>
          <p:nvSpPr>
            <p:cNvPr id="785" name="Oval 784"/>
            <p:cNvSpPr/>
            <p:nvPr/>
          </p:nvSpPr>
          <p:spPr bwMode="auto">
            <a:xfrm>
              <a:off x="3995936" y="2006523"/>
              <a:ext cx="198720" cy="198720"/>
            </a:xfrm>
            <a:prstGeom prst="ellipse">
              <a:avLst/>
            </a:prstGeom>
            <a:solidFill>
              <a:srgbClr val="FFFFFF"/>
            </a:solidFill>
            <a:ln w="6350" cap="flat" cmpd="sng" algn="ctr">
              <a:solidFill>
                <a:srgbClr val="D2D2D2"/>
              </a:solid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86" name="Oval 785"/>
            <p:cNvSpPr/>
            <p:nvPr/>
          </p:nvSpPr>
          <p:spPr bwMode="auto">
            <a:xfrm>
              <a:off x="4308884" y="2006523"/>
              <a:ext cx="198720" cy="198720"/>
            </a:xfrm>
            <a:prstGeom prst="ellipse">
              <a:avLst/>
            </a:prstGeom>
            <a:solidFill>
              <a:srgbClr val="FFFFFF"/>
            </a:solidFill>
            <a:ln w="6350" cap="flat" cmpd="sng" algn="ctr">
              <a:solidFill>
                <a:srgbClr val="D2D2D2"/>
              </a:solid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87" name="Oval 786"/>
            <p:cNvSpPr/>
            <p:nvPr/>
          </p:nvSpPr>
          <p:spPr bwMode="auto">
            <a:xfrm>
              <a:off x="4844071" y="2006523"/>
              <a:ext cx="198720" cy="198720"/>
            </a:xfrm>
            <a:prstGeom prst="ellipse">
              <a:avLst/>
            </a:prstGeom>
            <a:solidFill>
              <a:srgbClr val="FFFFFF"/>
            </a:solidFill>
            <a:ln w="6350" cap="flat" cmpd="sng" algn="ctr">
              <a:solidFill>
                <a:srgbClr val="0078D7"/>
              </a:solid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88" name="Group 16"/>
            <p:cNvGrpSpPr>
              <a:grpSpLocks noChangeAspect="1"/>
            </p:cNvGrpSpPr>
            <p:nvPr/>
          </p:nvGrpSpPr>
          <p:grpSpPr bwMode="auto">
            <a:xfrm>
              <a:off x="4922719" y="2335747"/>
              <a:ext cx="176785" cy="185452"/>
              <a:chOff x="3405" y="1300"/>
              <a:chExt cx="204" cy="214"/>
            </a:xfrm>
            <a:solidFill>
              <a:srgbClr val="0072C6"/>
            </a:solidFill>
          </p:grpSpPr>
          <p:sp>
            <p:nvSpPr>
              <p:cNvPr id="796" name="Oval 17"/>
              <p:cNvSpPr>
                <a:spLocks noChangeArrowheads="1"/>
              </p:cNvSpPr>
              <p:nvPr/>
            </p:nvSpPr>
            <p:spPr bwMode="auto">
              <a:xfrm>
                <a:off x="3468" y="1407"/>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797" name="Freeform 18"/>
              <p:cNvSpPr>
                <a:spLocks noEditPoints="1"/>
              </p:cNvSpPr>
              <p:nvPr/>
            </p:nvSpPr>
            <p:spPr bwMode="auto">
              <a:xfrm>
                <a:off x="3439" y="1378"/>
                <a:ext cx="137" cy="136"/>
              </a:xfrm>
              <a:custGeom>
                <a:avLst/>
                <a:gdLst>
                  <a:gd name="T0" fmla="*/ 154 w 168"/>
                  <a:gd name="T1" fmla="*/ 96 h 168"/>
                  <a:gd name="T2" fmla="*/ 168 w 168"/>
                  <a:gd name="T3" fmla="*/ 84 h 168"/>
                  <a:gd name="T4" fmla="*/ 154 w 168"/>
                  <a:gd name="T5" fmla="*/ 73 h 168"/>
                  <a:gd name="T6" fmla="*/ 164 w 168"/>
                  <a:gd name="T7" fmla="*/ 58 h 168"/>
                  <a:gd name="T8" fmla="*/ 148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3 w 168"/>
                  <a:gd name="T25" fmla="*/ 14 h 168"/>
                  <a:gd name="T26" fmla="*/ 58 w 168"/>
                  <a:gd name="T27" fmla="*/ 4 h 168"/>
                  <a:gd name="T28" fmla="*/ 51 w 168"/>
                  <a:gd name="T29" fmla="*/ 21 h 168"/>
                  <a:gd name="T30" fmla="*/ 35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5 w 168"/>
                  <a:gd name="T55" fmla="*/ 152 h 168"/>
                  <a:gd name="T56" fmla="*/ 51 w 168"/>
                  <a:gd name="T57" fmla="*/ 148 h 168"/>
                  <a:gd name="T58" fmla="*/ 58 w 168"/>
                  <a:gd name="T59" fmla="*/ 164 h 168"/>
                  <a:gd name="T60" fmla="*/ 73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8 w 168"/>
                  <a:gd name="T77" fmla="*/ 117 h 168"/>
                  <a:gd name="T78" fmla="*/ 164 w 168"/>
                  <a:gd name="T79" fmla="*/ 110 h 168"/>
                  <a:gd name="T80" fmla="*/ 154 w 168"/>
                  <a:gd name="T81" fmla="*/ 96 h 168"/>
                  <a:gd name="T82" fmla="*/ 85 w 168"/>
                  <a:gd name="T83" fmla="*/ 148 h 168"/>
                  <a:gd name="T84" fmla="*/ 23 w 168"/>
                  <a:gd name="T85" fmla="*/ 86 h 168"/>
                  <a:gd name="T86" fmla="*/ 85 w 168"/>
                  <a:gd name="T87" fmla="*/ 24 h 168"/>
                  <a:gd name="T88" fmla="*/ 147 w 168"/>
                  <a:gd name="T89" fmla="*/ 86 h 168"/>
                  <a:gd name="T90" fmla="*/ 85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4" y="58"/>
                      <a:pt x="164" y="58"/>
                      <a:pt x="164" y="58"/>
                    </a:cubicBezTo>
                    <a:cubicBezTo>
                      <a:pt x="148" y="52"/>
                      <a:pt x="148" y="52"/>
                      <a:pt x="148"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3" y="14"/>
                      <a:pt x="73" y="14"/>
                      <a:pt x="73" y="14"/>
                    </a:cubicBezTo>
                    <a:cubicBezTo>
                      <a:pt x="58" y="4"/>
                      <a:pt x="58" y="4"/>
                      <a:pt x="58" y="4"/>
                    </a:cubicBezTo>
                    <a:cubicBezTo>
                      <a:pt x="51" y="21"/>
                      <a:pt x="51" y="21"/>
                      <a:pt x="51" y="21"/>
                    </a:cubicBezTo>
                    <a:cubicBezTo>
                      <a:pt x="35" y="16"/>
                      <a:pt x="35" y="16"/>
                      <a:pt x="35"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5" y="152"/>
                      <a:pt x="35" y="152"/>
                      <a:pt x="35" y="152"/>
                    </a:cubicBezTo>
                    <a:cubicBezTo>
                      <a:pt x="51" y="148"/>
                      <a:pt x="51" y="148"/>
                      <a:pt x="51" y="148"/>
                    </a:cubicBezTo>
                    <a:cubicBezTo>
                      <a:pt x="58" y="164"/>
                      <a:pt x="58" y="164"/>
                      <a:pt x="58" y="164"/>
                    </a:cubicBezTo>
                    <a:cubicBezTo>
                      <a:pt x="73" y="155"/>
                      <a:pt x="73" y="155"/>
                      <a:pt x="73"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8" y="117"/>
                      <a:pt x="148" y="117"/>
                      <a:pt x="148" y="117"/>
                    </a:cubicBezTo>
                    <a:cubicBezTo>
                      <a:pt x="164" y="110"/>
                      <a:pt x="164" y="110"/>
                      <a:pt x="164" y="110"/>
                    </a:cubicBezTo>
                    <a:lnTo>
                      <a:pt x="154" y="96"/>
                    </a:lnTo>
                    <a:close/>
                    <a:moveTo>
                      <a:pt x="85" y="148"/>
                    </a:moveTo>
                    <a:cubicBezTo>
                      <a:pt x="50" y="148"/>
                      <a:pt x="23" y="120"/>
                      <a:pt x="23" y="86"/>
                    </a:cubicBezTo>
                    <a:cubicBezTo>
                      <a:pt x="23" y="51"/>
                      <a:pt x="50" y="24"/>
                      <a:pt x="85" y="24"/>
                    </a:cubicBezTo>
                    <a:cubicBezTo>
                      <a:pt x="119" y="24"/>
                      <a:pt x="147" y="51"/>
                      <a:pt x="147" y="86"/>
                    </a:cubicBezTo>
                    <a:cubicBezTo>
                      <a:pt x="147" y="120"/>
                      <a:pt x="119" y="148"/>
                      <a:pt x="85"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798" name="Freeform 19"/>
              <p:cNvSpPr>
                <a:spLocks/>
              </p:cNvSpPr>
              <p:nvPr/>
            </p:nvSpPr>
            <p:spPr bwMode="auto">
              <a:xfrm>
                <a:off x="3405" y="1300"/>
                <a:ext cx="204" cy="96"/>
              </a:xfrm>
              <a:custGeom>
                <a:avLst/>
                <a:gdLst>
                  <a:gd name="T0" fmla="*/ 0 w 204"/>
                  <a:gd name="T1" fmla="*/ 0 h 96"/>
                  <a:gd name="T2" fmla="*/ 0 w 204"/>
                  <a:gd name="T3" fmla="*/ 58 h 96"/>
                  <a:gd name="T4" fmla="*/ 102 w 204"/>
                  <a:gd name="T5" fmla="*/ 96 h 96"/>
                  <a:gd name="T6" fmla="*/ 204 w 204"/>
                  <a:gd name="T7" fmla="*/ 58 h 96"/>
                  <a:gd name="T8" fmla="*/ 204 w 204"/>
                  <a:gd name="T9" fmla="*/ 0 h 96"/>
                  <a:gd name="T10" fmla="*/ 0 w 204"/>
                  <a:gd name="T11" fmla="*/ 0 h 96"/>
                </a:gdLst>
                <a:ahLst/>
                <a:cxnLst>
                  <a:cxn ang="0">
                    <a:pos x="T0" y="T1"/>
                  </a:cxn>
                  <a:cxn ang="0">
                    <a:pos x="T2" y="T3"/>
                  </a:cxn>
                  <a:cxn ang="0">
                    <a:pos x="T4" y="T5"/>
                  </a:cxn>
                  <a:cxn ang="0">
                    <a:pos x="T6" y="T7"/>
                  </a:cxn>
                  <a:cxn ang="0">
                    <a:pos x="T8" y="T9"/>
                  </a:cxn>
                  <a:cxn ang="0">
                    <a:pos x="T10" y="T11"/>
                  </a:cxn>
                </a:cxnLst>
                <a:rect l="0" t="0" r="r" b="b"/>
                <a:pathLst>
                  <a:path w="204" h="96">
                    <a:moveTo>
                      <a:pt x="0" y="0"/>
                    </a:moveTo>
                    <a:lnTo>
                      <a:pt x="0" y="58"/>
                    </a:lnTo>
                    <a:lnTo>
                      <a:pt x="102" y="96"/>
                    </a:lnTo>
                    <a:lnTo>
                      <a:pt x="204" y="58"/>
                    </a:lnTo>
                    <a:lnTo>
                      <a:pt x="20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799" name="Freeform 20"/>
              <p:cNvSpPr>
                <a:spLocks/>
              </p:cNvSpPr>
              <p:nvPr/>
            </p:nvSpPr>
            <p:spPr bwMode="auto">
              <a:xfrm>
                <a:off x="3586" y="1300"/>
                <a:ext cx="7" cy="67"/>
              </a:xfrm>
              <a:custGeom>
                <a:avLst/>
                <a:gdLst>
                  <a:gd name="T0" fmla="*/ 7 w 7"/>
                  <a:gd name="T1" fmla="*/ 65 h 67"/>
                  <a:gd name="T2" fmla="*/ 0 w 7"/>
                  <a:gd name="T3" fmla="*/ 67 h 67"/>
                  <a:gd name="T4" fmla="*/ 0 w 7"/>
                  <a:gd name="T5" fmla="*/ 0 h 67"/>
                  <a:gd name="T6" fmla="*/ 7 w 7"/>
                  <a:gd name="T7" fmla="*/ 0 h 67"/>
                  <a:gd name="T8" fmla="*/ 7 w 7"/>
                  <a:gd name="T9" fmla="*/ 65 h 67"/>
                </a:gdLst>
                <a:ahLst/>
                <a:cxnLst>
                  <a:cxn ang="0">
                    <a:pos x="T0" y="T1"/>
                  </a:cxn>
                  <a:cxn ang="0">
                    <a:pos x="T2" y="T3"/>
                  </a:cxn>
                  <a:cxn ang="0">
                    <a:pos x="T4" y="T5"/>
                  </a:cxn>
                  <a:cxn ang="0">
                    <a:pos x="T6" y="T7"/>
                  </a:cxn>
                  <a:cxn ang="0">
                    <a:pos x="T8" y="T9"/>
                  </a:cxn>
                </a:cxnLst>
                <a:rect l="0" t="0" r="r" b="b"/>
                <a:pathLst>
                  <a:path w="7" h="67">
                    <a:moveTo>
                      <a:pt x="7" y="65"/>
                    </a:moveTo>
                    <a:lnTo>
                      <a:pt x="0" y="67"/>
                    </a:lnTo>
                    <a:lnTo>
                      <a:pt x="0" y="0"/>
                    </a:lnTo>
                    <a:lnTo>
                      <a:pt x="7" y="0"/>
                    </a:lnTo>
                    <a:lnTo>
                      <a:pt x="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800" name="Freeform 21"/>
              <p:cNvSpPr>
                <a:spLocks/>
              </p:cNvSpPr>
              <p:nvPr/>
            </p:nvSpPr>
            <p:spPr bwMode="auto">
              <a:xfrm>
                <a:off x="3425" y="1300"/>
                <a:ext cx="7" cy="68"/>
              </a:xfrm>
              <a:custGeom>
                <a:avLst/>
                <a:gdLst>
                  <a:gd name="T0" fmla="*/ 7 w 7"/>
                  <a:gd name="T1" fmla="*/ 68 h 68"/>
                  <a:gd name="T2" fmla="*/ 0 w 7"/>
                  <a:gd name="T3" fmla="*/ 66 h 68"/>
                  <a:gd name="T4" fmla="*/ 0 w 7"/>
                  <a:gd name="T5" fmla="*/ 0 h 68"/>
                  <a:gd name="T6" fmla="*/ 7 w 7"/>
                  <a:gd name="T7" fmla="*/ 0 h 68"/>
                  <a:gd name="T8" fmla="*/ 7 w 7"/>
                  <a:gd name="T9" fmla="*/ 68 h 68"/>
                </a:gdLst>
                <a:ahLst/>
                <a:cxnLst>
                  <a:cxn ang="0">
                    <a:pos x="T0" y="T1"/>
                  </a:cxn>
                  <a:cxn ang="0">
                    <a:pos x="T2" y="T3"/>
                  </a:cxn>
                  <a:cxn ang="0">
                    <a:pos x="T4" y="T5"/>
                  </a:cxn>
                  <a:cxn ang="0">
                    <a:pos x="T6" y="T7"/>
                  </a:cxn>
                  <a:cxn ang="0">
                    <a:pos x="T8" y="T9"/>
                  </a:cxn>
                </a:cxnLst>
                <a:rect l="0" t="0" r="r" b="b"/>
                <a:pathLst>
                  <a:path w="7" h="68">
                    <a:moveTo>
                      <a:pt x="7" y="68"/>
                    </a:moveTo>
                    <a:lnTo>
                      <a:pt x="0" y="66"/>
                    </a:lnTo>
                    <a:lnTo>
                      <a:pt x="0" y="0"/>
                    </a:lnTo>
                    <a:lnTo>
                      <a:pt x="7" y="0"/>
                    </a:lnTo>
                    <a:lnTo>
                      <a:pt x="7"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grpSp>
        <p:sp>
          <p:nvSpPr>
            <p:cNvPr id="789" name="Freeform 37"/>
            <p:cNvSpPr>
              <a:spLocks noChangeAspect="1" noEditPoints="1"/>
            </p:cNvSpPr>
            <p:nvPr/>
          </p:nvSpPr>
          <p:spPr bwMode="black">
            <a:xfrm>
              <a:off x="4872570" y="2057667"/>
              <a:ext cx="129797" cy="94135"/>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0072C6"/>
            </a:solidFill>
            <a:ln>
              <a:noFill/>
            </a:ln>
          </p:spPr>
          <p:txBody>
            <a:bodyPr vert="horz" wrap="square" lIns="91403" tIns="45702" rIns="91403" bIns="45702"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latin typeface="Segoe UI Light"/>
                <a:ea typeface="+mn-ea"/>
                <a:cs typeface="+mn-cs"/>
              </a:endParaRPr>
            </a:p>
          </p:txBody>
        </p:sp>
        <p:sp>
          <p:nvSpPr>
            <p:cNvPr id="790" name="Freeform 21"/>
            <p:cNvSpPr>
              <a:spLocks noChangeAspect="1" noEditPoints="1"/>
            </p:cNvSpPr>
            <p:nvPr/>
          </p:nvSpPr>
          <p:spPr bwMode="black">
            <a:xfrm>
              <a:off x="4020576" y="2048914"/>
              <a:ext cx="141597" cy="123414"/>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94873" tIns="75898" rIns="94873" bIns="75898" numCol="1" spcCol="0" rtlCol="0" fromWordArt="0" anchor="t" anchorCtr="0" forceAA="0" compatLnSpc="1">
              <a:prstTxWarp prst="textNoShape">
                <a:avLst/>
              </a:prstTxWarp>
              <a:noAutofit/>
            </a:bodyPr>
            <a:lstStyle/>
            <a:p>
              <a:pPr marL="0" marR="0" lvl="0" indent="0" algn="ctr" defTabSz="483732" rtl="0" eaLnBrk="1" fontAlgn="base" latinLnBrk="0" hangingPunct="1">
                <a:lnSpc>
                  <a:spcPct val="90000"/>
                </a:lnSpc>
                <a:spcBef>
                  <a:spcPct val="0"/>
                </a:spcBef>
                <a:spcAft>
                  <a:spcPct val="0"/>
                </a:spcAft>
                <a:buClrTx/>
                <a:buSzTx/>
                <a:buFontTx/>
                <a:buNone/>
                <a:tabLst/>
                <a:defRPr/>
              </a:pPr>
              <a:endParaRPr kumimoji="0" lang="en-US" sz="124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1" name="Freeform 41"/>
            <p:cNvSpPr>
              <a:spLocks noChangeAspect="1"/>
            </p:cNvSpPr>
            <p:nvPr/>
          </p:nvSpPr>
          <p:spPr bwMode="black">
            <a:xfrm>
              <a:off x="4336245" y="2045123"/>
              <a:ext cx="129797" cy="13445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rgbClr val="D2D2D2"/>
            </a:solidFill>
            <a:ln>
              <a:noFill/>
            </a:ln>
          </p:spPr>
          <p:txBody>
            <a:bodyPr vert="horz" wrap="square" lIns="91403" tIns="45702" rIns="91403" bIns="45702"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latin typeface="Segoe UI Light"/>
                <a:ea typeface="+mn-ea"/>
                <a:cs typeface="+mn-cs"/>
              </a:endParaRPr>
            </a:p>
          </p:txBody>
        </p:sp>
        <p:grpSp>
          <p:nvGrpSpPr>
            <p:cNvPr id="792" name="Group 791"/>
            <p:cNvGrpSpPr/>
            <p:nvPr/>
          </p:nvGrpSpPr>
          <p:grpSpPr>
            <a:xfrm rot="19926831" flipH="1">
              <a:off x="5225569" y="1840544"/>
              <a:ext cx="719804" cy="954992"/>
              <a:chOff x="5229455" y="1961276"/>
              <a:chExt cx="719804" cy="954992"/>
            </a:xfrm>
          </p:grpSpPr>
          <p:sp>
            <p:nvSpPr>
              <p:cNvPr id="794" name="Oval 793"/>
              <p:cNvSpPr/>
              <p:nvPr/>
            </p:nvSpPr>
            <p:spPr bwMode="auto">
              <a:xfrm>
                <a:off x="5229455" y="1961276"/>
                <a:ext cx="544675" cy="544675"/>
              </a:xfrm>
              <a:prstGeom prst="ellipse">
                <a:avLst/>
              </a:prstGeom>
              <a:solidFill>
                <a:srgbClr val="FFFFFF"/>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95" name="Rounded Rectangle 794"/>
              <p:cNvSpPr/>
              <p:nvPr/>
            </p:nvSpPr>
            <p:spPr bwMode="auto">
              <a:xfrm rot="2700000">
                <a:off x="5608740" y="2575749"/>
                <a:ext cx="562268" cy="118770"/>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00" tIns="149200" rIns="186500" bIns="149200" numCol="1" spcCol="0" rtlCol="0" fromWordArt="0" anchor="t" anchorCtr="0" forceAA="0" compatLnSpc="1">
                <a:prstTxWarp prst="textNoShape">
                  <a:avLst/>
                </a:prstTxWarp>
                <a:noAutofit/>
              </a:bodyPr>
              <a:lstStyle/>
              <a:p>
                <a:pPr marL="0" marR="0" lvl="0" indent="0" algn="ctr" defTabSz="951005" rtl="0" eaLnBrk="1" fontAlgn="base" latinLnBrk="0" hangingPunct="1">
                  <a:lnSpc>
                    <a:spcPct val="90000"/>
                  </a:lnSpc>
                  <a:spcBef>
                    <a:spcPct val="0"/>
                  </a:spcBef>
                  <a:spcAft>
                    <a:spcPct val="0"/>
                  </a:spcAft>
                  <a:buClrTx/>
                  <a:buSzTx/>
                  <a:buFontTx/>
                  <a:buNone/>
                  <a:tabLst/>
                  <a:defRPr/>
                </a:pPr>
                <a:endParaRPr kumimoji="0" lang="en-US" sz="55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793" name="Rectangle 792"/>
            <p:cNvSpPr/>
            <p:nvPr/>
          </p:nvSpPr>
          <p:spPr bwMode="auto">
            <a:xfrm>
              <a:off x="5374580" y="1984333"/>
              <a:ext cx="377226" cy="23605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none" lIns="0" tIns="149195" rIns="0" bIns="149195"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714" b="0" i="0" u="none" strike="noStrike" kern="0" cap="none" spc="0" normalizeH="0" baseline="0" noProof="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ADD BEST</a:t>
              </a:r>
              <a:br>
                <a:rPr kumimoji="0" lang="en-US" sz="714" b="0" i="0" u="none" strike="noStrike" kern="0" cap="none" spc="0" normalizeH="0" baseline="0" noProof="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714" b="0" i="0" u="none" strike="noStrike" kern="0" cap="none" spc="0" normalizeH="0" baseline="0" noProof="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PRACTICE</a:t>
              </a:r>
            </a:p>
          </p:txBody>
        </p:sp>
      </p:grpSp>
      <p:sp>
        <p:nvSpPr>
          <p:cNvPr id="834" name="Rectangle 833"/>
          <p:cNvSpPr/>
          <p:nvPr/>
        </p:nvSpPr>
        <p:spPr bwMode="auto">
          <a:xfrm>
            <a:off x="9151223" y="5118384"/>
            <a:ext cx="2797810" cy="1652806"/>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7176" name="Picture 8" descr="Image result for rolls royce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61906" y="5739284"/>
            <a:ext cx="1776445" cy="417742"/>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p:cNvPicPr>
            <a:picLocks noChangeAspect="1"/>
          </p:cNvPicPr>
          <p:nvPr/>
        </p:nvPicPr>
        <p:blipFill>
          <a:blip r:embed="rId8"/>
          <a:stretch>
            <a:fillRect/>
          </a:stretch>
        </p:blipFill>
        <p:spPr>
          <a:xfrm>
            <a:off x="10044234" y="5230520"/>
            <a:ext cx="1011789" cy="485702"/>
          </a:xfrm>
          <a:prstGeom prst="rect">
            <a:avLst/>
          </a:prstGeom>
        </p:spPr>
      </p:pic>
      <p:sp>
        <p:nvSpPr>
          <p:cNvPr id="4" name="Rectangle 3"/>
          <p:cNvSpPr/>
          <p:nvPr/>
        </p:nvSpPr>
        <p:spPr bwMode="auto">
          <a:xfrm>
            <a:off x="6262244" y="5118384"/>
            <a:ext cx="2797810" cy="1652806"/>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7172" name="Picture 4" descr="Image result for freeport mcmoran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0547" y="5679464"/>
            <a:ext cx="2041205" cy="498791"/>
          </a:xfrm>
          <a:prstGeom prst="rect">
            <a:avLst/>
          </a:prstGeom>
          <a:noFill/>
          <a:extLst>
            <a:ext uri="{909E8E84-426E-40DD-AFC4-6F175D3DCCD1}">
              <a14:hiddenFill xmlns:a14="http://schemas.microsoft.com/office/drawing/2010/main">
                <a:solidFill>
                  <a:srgbClr val="FFFFFF"/>
                </a:solidFill>
              </a14:hiddenFill>
            </a:ext>
          </a:extLst>
        </p:spPr>
      </p:pic>
      <p:pic>
        <p:nvPicPr>
          <p:cNvPr id="840" name="Picture 8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19156" y="6279854"/>
            <a:ext cx="1283987" cy="340256"/>
          </a:xfrm>
          <a:prstGeom prst="rect">
            <a:avLst/>
          </a:prstGeom>
        </p:spPr>
      </p:pic>
      <p:sp>
        <p:nvSpPr>
          <p:cNvPr id="821" name="Rectangle 820"/>
          <p:cNvSpPr/>
          <p:nvPr/>
        </p:nvSpPr>
        <p:spPr bwMode="auto">
          <a:xfrm>
            <a:off x="3355994" y="1691825"/>
            <a:ext cx="2797810" cy="3318325"/>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86521" bIns="9326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lumMod val="50000"/>
                  </a:srgbClr>
                </a:solidFill>
                <a:effectLst/>
                <a:uLnTx/>
                <a:uFillTx/>
                <a:latin typeface="Segoe UI Semibold" panose="020B0702040204020203" pitchFamily="34" charset="0"/>
                <a:ea typeface="Segoe UI" pitchFamily="34" charset="0"/>
                <a:cs typeface="Segoe UI Semibold" panose="020B0702040204020203" pitchFamily="34" charset="0"/>
              </a:rPr>
              <a:t>Improve product design and services with increased cost savings</a:t>
            </a:r>
          </a:p>
        </p:txBody>
      </p:sp>
      <p:sp>
        <p:nvSpPr>
          <p:cNvPr id="540" name="TextBox 539"/>
          <p:cNvSpPr txBox="1"/>
          <p:nvPr/>
        </p:nvSpPr>
        <p:spPr>
          <a:xfrm>
            <a:off x="3341760" y="4192568"/>
            <a:ext cx="2812045" cy="603829"/>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ts val="0"/>
              </a:spcBef>
              <a:spcAft>
                <a:spcPts val="612"/>
              </a:spcAft>
              <a:buClrTx/>
              <a:buSzTx/>
              <a:buFontTx/>
              <a:buNone/>
              <a:tabLst/>
              <a:defRPr/>
            </a:pPr>
            <a:r>
              <a:rPr kumimoji="0" lang="en-US" sz="1071" b="0" i="0" u="none" strike="noStrike" kern="0" cap="none" spc="0" normalizeH="0" baseline="0" noProof="0">
                <a:ln>
                  <a:noFill/>
                </a:ln>
                <a:solidFill>
                  <a:sysClr val="windowText" lastClr="000000"/>
                </a:solidFill>
                <a:effectLst/>
                <a:uLnTx/>
                <a:uFillTx/>
                <a:latin typeface="Segoe UI Light"/>
                <a:ea typeface="+mn-ea"/>
                <a:cs typeface="+mn-cs"/>
              </a:rPr>
              <a:t>Utilize service and performance data to proactively detect product failure.</a:t>
            </a:r>
          </a:p>
        </p:txBody>
      </p:sp>
      <p:grpSp>
        <p:nvGrpSpPr>
          <p:cNvPr id="1401" name="Group 1400"/>
          <p:cNvGrpSpPr/>
          <p:nvPr/>
        </p:nvGrpSpPr>
        <p:grpSpPr>
          <a:xfrm>
            <a:off x="3847650" y="2656629"/>
            <a:ext cx="1834921" cy="1496693"/>
            <a:chOff x="9510588" y="1796374"/>
            <a:chExt cx="1799103" cy="1467473"/>
          </a:xfrm>
        </p:grpSpPr>
        <p:sp>
          <p:nvSpPr>
            <p:cNvPr id="1402" name="Trapezoid 1401"/>
            <p:cNvSpPr/>
            <p:nvPr/>
          </p:nvSpPr>
          <p:spPr bwMode="auto">
            <a:xfrm>
              <a:off x="9846022" y="3115773"/>
              <a:ext cx="1128440" cy="144213"/>
            </a:xfrm>
            <a:prstGeom prst="trapezoid">
              <a:avLst>
                <a:gd name="adj" fmla="val 70748"/>
              </a:avLst>
            </a:prstGeom>
            <a:solidFill>
              <a:srgbClr val="FFFFFF">
                <a:lumMod val="85000"/>
                <a:alpha val="14902"/>
              </a:srgb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403" name="Trapezoid 1402"/>
            <p:cNvSpPr/>
            <p:nvPr/>
          </p:nvSpPr>
          <p:spPr bwMode="auto">
            <a:xfrm>
              <a:off x="10040298" y="3145831"/>
              <a:ext cx="730867" cy="85706"/>
            </a:xfrm>
            <a:prstGeom prst="trapezoid">
              <a:avLst>
                <a:gd name="adj" fmla="val 70748"/>
              </a:avLst>
            </a:prstGeom>
            <a:solidFill>
              <a:srgbClr val="FFFFFF">
                <a:lumMod val="75000"/>
                <a:alpha val="14902"/>
              </a:srgb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404" name="Rectangle 1403"/>
            <p:cNvSpPr/>
            <p:nvPr/>
          </p:nvSpPr>
          <p:spPr bwMode="auto">
            <a:xfrm>
              <a:off x="9945677" y="2677301"/>
              <a:ext cx="926657" cy="438403"/>
            </a:xfrm>
            <a:prstGeom prst="rect">
              <a:avLst/>
            </a:prstGeom>
            <a:solidFill>
              <a:srgbClr val="FFFFFF">
                <a:lumMod val="85000"/>
                <a:alpha val="14902"/>
              </a:srgb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05" name="Group 1404"/>
            <p:cNvGrpSpPr>
              <a:grpSpLocks noChangeAspect="1"/>
            </p:cNvGrpSpPr>
            <p:nvPr/>
          </p:nvGrpSpPr>
          <p:grpSpPr>
            <a:xfrm>
              <a:off x="10187580" y="2813116"/>
              <a:ext cx="494036" cy="405625"/>
              <a:chOff x="-4435475" y="1371600"/>
              <a:chExt cx="4435475" cy="3641725"/>
            </a:xfrm>
          </p:grpSpPr>
          <p:sp>
            <p:nvSpPr>
              <p:cNvPr id="1682"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72C6"/>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1683" name="Group 1682"/>
              <p:cNvGrpSpPr/>
              <p:nvPr/>
            </p:nvGrpSpPr>
            <p:grpSpPr>
              <a:xfrm>
                <a:off x="-4206871" y="1603381"/>
                <a:ext cx="3978266" cy="3168650"/>
                <a:chOff x="-4206875" y="1603375"/>
                <a:chExt cx="3978275" cy="3168650"/>
              </a:xfrm>
              <a:solidFill>
                <a:srgbClr val="FFFFFF"/>
              </a:solidFill>
            </p:grpSpPr>
            <p:sp>
              <p:nvSpPr>
                <p:cNvPr id="168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8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8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87"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88"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89"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90"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691"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grpSp>
          <p:nvGrpSpPr>
            <p:cNvPr id="1406" name="Group 1405"/>
            <p:cNvGrpSpPr/>
            <p:nvPr/>
          </p:nvGrpSpPr>
          <p:grpSpPr>
            <a:xfrm>
              <a:off x="9521691" y="2779796"/>
              <a:ext cx="1075173" cy="473733"/>
              <a:chOff x="6546501" y="5082856"/>
              <a:chExt cx="1075173" cy="484632"/>
            </a:xfrm>
          </p:grpSpPr>
          <p:cxnSp>
            <p:nvCxnSpPr>
              <p:cNvPr id="1650" name="Straight Connector 1649"/>
              <p:cNvCxnSpPr/>
              <p:nvPr/>
            </p:nvCxnSpPr>
            <p:spPr>
              <a:xfrm flipH="1">
                <a:off x="6546501"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1" name="Straight Connector 1650"/>
              <p:cNvCxnSpPr/>
              <p:nvPr/>
            </p:nvCxnSpPr>
            <p:spPr>
              <a:xfrm flipH="1">
                <a:off x="6581184"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2" name="Straight Connector 1651"/>
              <p:cNvCxnSpPr/>
              <p:nvPr/>
            </p:nvCxnSpPr>
            <p:spPr>
              <a:xfrm flipH="1">
                <a:off x="6615867"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3" name="Straight Connector 1652"/>
              <p:cNvCxnSpPr/>
              <p:nvPr/>
            </p:nvCxnSpPr>
            <p:spPr>
              <a:xfrm flipH="1">
                <a:off x="6650550"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4" name="Straight Connector 1653"/>
              <p:cNvCxnSpPr/>
              <p:nvPr/>
            </p:nvCxnSpPr>
            <p:spPr>
              <a:xfrm flipH="1">
                <a:off x="6685233"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5" name="Straight Connector 1654"/>
              <p:cNvCxnSpPr/>
              <p:nvPr/>
            </p:nvCxnSpPr>
            <p:spPr>
              <a:xfrm flipH="1">
                <a:off x="6719916"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6" name="Straight Connector 1655"/>
              <p:cNvCxnSpPr/>
              <p:nvPr/>
            </p:nvCxnSpPr>
            <p:spPr>
              <a:xfrm flipH="1">
                <a:off x="6754599"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7" name="Straight Connector 1656"/>
              <p:cNvCxnSpPr/>
              <p:nvPr/>
            </p:nvCxnSpPr>
            <p:spPr>
              <a:xfrm flipH="1">
                <a:off x="6789282"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8" name="Straight Connector 1657"/>
              <p:cNvCxnSpPr/>
              <p:nvPr/>
            </p:nvCxnSpPr>
            <p:spPr>
              <a:xfrm flipH="1">
                <a:off x="6823965"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59" name="Straight Connector 1658"/>
              <p:cNvCxnSpPr/>
              <p:nvPr/>
            </p:nvCxnSpPr>
            <p:spPr>
              <a:xfrm flipH="1">
                <a:off x="6858648"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0" name="Straight Connector 1659"/>
              <p:cNvCxnSpPr/>
              <p:nvPr/>
            </p:nvCxnSpPr>
            <p:spPr>
              <a:xfrm flipH="1">
                <a:off x="6893331"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1" name="Straight Connector 1660"/>
              <p:cNvCxnSpPr/>
              <p:nvPr/>
            </p:nvCxnSpPr>
            <p:spPr>
              <a:xfrm flipH="1">
                <a:off x="6928014"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2" name="Straight Connector 1661"/>
              <p:cNvCxnSpPr/>
              <p:nvPr/>
            </p:nvCxnSpPr>
            <p:spPr>
              <a:xfrm flipH="1">
                <a:off x="6962697"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3" name="Straight Connector 1662"/>
              <p:cNvCxnSpPr/>
              <p:nvPr/>
            </p:nvCxnSpPr>
            <p:spPr>
              <a:xfrm flipH="1">
                <a:off x="6997380"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4" name="Straight Connector 1663"/>
              <p:cNvCxnSpPr/>
              <p:nvPr/>
            </p:nvCxnSpPr>
            <p:spPr>
              <a:xfrm flipH="1">
                <a:off x="7032063"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5" name="Straight Connector 1664"/>
              <p:cNvCxnSpPr/>
              <p:nvPr/>
            </p:nvCxnSpPr>
            <p:spPr>
              <a:xfrm flipH="1">
                <a:off x="7066746"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6" name="Straight Connector 1665"/>
              <p:cNvCxnSpPr/>
              <p:nvPr/>
            </p:nvCxnSpPr>
            <p:spPr>
              <a:xfrm flipH="1">
                <a:off x="7101429"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7" name="Straight Connector 1666"/>
              <p:cNvCxnSpPr/>
              <p:nvPr/>
            </p:nvCxnSpPr>
            <p:spPr>
              <a:xfrm flipH="1">
                <a:off x="7136112"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8" name="Straight Connector 1667"/>
              <p:cNvCxnSpPr/>
              <p:nvPr/>
            </p:nvCxnSpPr>
            <p:spPr>
              <a:xfrm flipH="1">
                <a:off x="7170795"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69" name="Straight Connector 1668"/>
              <p:cNvCxnSpPr/>
              <p:nvPr/>
            </p:nvCxnSpPr>
            <p:spPr>
              <a:xfrm flipH="1">
                <a:off x="7205478"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0" name="Straight Connector 1669"/>
              <p:cNvCxnSpPr/>
              <p:nvPr/>
            </p:nvCxnSpPr>
            <p:spPr>
              <a:xfrm flipH="1">
                <a:off x="7240161"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1" name="Straight Connector 1670"/>
              <p:cNvCxnSpPr/>
              <p:nvPr/>
            </p:nvCxnSpPr>
            <p:spPr>
              <a:xfrm flipH="1">
                <a:off x="7274844"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2" name="Straight Connector 1671"/>
              <p:cNvCxnSpPr/>
              <p:nvPr/>
            </p:nvCxnSpPr>
            <p:spPr>
              <a:xfrm flipH="1">
                <a:off x="7309527"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3" name="Straight Connector 1672"/>
              <p:cNvCxnSpPr/>
              <p:nvPr/>
            </p:nvCxnSpPr>
            <p:spPr>
              <a:xfrm flipH="1">
                <a:off x="7344210"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4" name="Straight Connector 1673"/>
              <p:cNvCxnSpPr/>
              <p:nvPr/>
            </p:nvCxnSpPr>
            <p:spPr>
              <a:xfrm flipH="1">
                <a:off x="7378893"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5" name="Straight Connector 1674"/>
              <p:cNvCxnSpPr/>
              <p:nvPr/>
            </p:nvCxnSpPr>
            <p:spPr>
              <a:xfrm flipH="1">
                <a:off x="7413576"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6" name="Straight Connector 1675"/>
              <p:cNvCxnSpPr/>
              <p:nvPr/>
            </p:nvCxnSpPr>
            <p:spPr>
              <a:xfrm flipH="1">
                <a:off x="7448259"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7" name="Straight Connector 1676"/>
              <p:cNvCxnSpPr/>
              <p:nvPr/>
            </p:nvCxnSpPr>
            <p:spPr>
              <a:xfrm flipH="1">
                <a:off x="7482942"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8" name="Straight Connector 1677"/>
              <p:cNvCxnSpPr/>
              <p:nvPr/>
            </p:nvCxnSpPr>
            <p:spPr>
              <a:xfrm flipH="1">
                <a:off x="7517625"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79" name="Straight Connector 1678"/>
              <p:cNvCxnSpPr/>
              <p:nvPr/>
            </p:nvCxnSpPr>
            <p:spPr>
              <a:xfrm flipH="1">
                <a:off x="7552308"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80" name="Straight Connector 1679"/>
              <p:cNvCxnSpPr/>
              <p:nvPr/>
            </p:nvCxnSpPr>
            <p:spPr>
              <a:xfrm flipH="1">
                <a:off x="7586991"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cxnSp>
            <p:nvCxnSpPr>
              <p:cNvPr id="1681" name="Straight Connector 1680"/>
              <p:cNvCxnSpPr/>
              <p:nvPr/>
            </p:nvCxnSpPr>
            <p:spPr>
              <a:xfrm flipH="1">
                <a:off x="7621674" y="5082856"/>
                <a:ext cx="0" cy="484632"/>
              </a:xfrm>
              <a:prstGeom prst="line">
                <a:avLst/>
              </a:prstGeom>
              <a:noFill/>
              <a:ln w="6350" cap="flat" cmpd="sng" algn="ctr">
                <a:solidFill>
                  <a:srgbClr val="D2D2D2">
                    <a:lumMod val="75000"/>
                    <a:alpha val="50000"/>
                  </a:srgbClr>
                </a:solidFill>
                <a:prstDash val="dashDot"/>
                <a:headEnd type="none"/>
                <a:tailEnd type="none"/>
              </a:ln>
              <a:effectLst/>
            </p:spPr>
          </p:cxnSp>
        </p:grpSp>
        <p:sp>
          <p:nvSpPr>
            <p:cNvPr id="1407" name="Rectangle 1406"/>
            <p:cNvSpPr/>
            <p:nvPr/>
          </p:nvSpPr>
          <p:spPr bwMode="auto">
            <a:xfrm>
              <a:off x="9846022" y="2782345"/>
              <a:ext cx="1129730" cy="480190"/>
            </a:xfrm>
            <a:prstGeom prst="rect">
              <a:avLst/>
            </a:prstGeom>
            <a:solidFill>
              <a:srgbClr val="FFFFFF">
                <a:alpha val="25098"/>
              </a:srgb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08" name="Group 1407"/>
            <p:cNvGrpSpPr/>
            <p:nvPr/>
          </p:nvGrpSpPr>
          <p:grpSpPr>
            <a:xfrm>
              <a:off x="11011620" y="2677747"/>
              <a:ext cx="278799" cy="586089"/>
              <a:chOff x="7747954" y="4837568"/>
              <a:chExt cx="337349" cy="709188"/>
            </a:xfrm>
            <a:solidFill>
              <a:srgbClr val="D2D2D2"/>
            </a:solidFill>
          </p:grpSpPr>
          <p:sp>
            <p:nvSpPr>
              <p:cNvPr id="1600" name="Freeform 919"/>
              <p:cNvSpPr>
                <a:spLocks noEditPoints="1"/>
              </p:cNvSpPr>
              <p:nvPr/>
            </p:nvSpPr>
            <p:spPr bwMode="auto">
              <a:xfrm>
                <a:off x="7747954"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1" name="Freeform 920"/>
              <p:cNvSpPr>
                <a:spLocks/>
              </p:cNvSpPr>
              <p:nvPr/>
            </p:nvSpPr>
            <p:spPr bwMode="auto">
              <a:xfrm>
                <a:off x="7747954"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2" name="Freeform 921"/>
              <p:cNvSpPr>
                <a:spLocks noEditPoints="1"/>
              </p:cNvSpPr>
              <p:nvPr/>
            </p:nvSpPr>
            <p:spPr bwMode="auto">
              <a:xfrm>
                <a:off x="7747954"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3" name="Freeform 922"/>
              <p:cNvSpPr>
                <a:spLocks/>
              </p:cNvSpPr>
              <p:nvPr/>
            </p:nvSpPr>
            <p:spPr bwMode="auto">
              <a:xfrm>
                <a:off x="7747954"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4" name="Freeform 923"/>
              <p:cNvSpPr>
                <a:spLocks noEditPoints="1"/>
              </p:cNvSpPr>
              <p:nvPr/>
            </p:nvSpPr>
            <p:spPr bwMode="auto">
              <a:xfrm>
                <a:off x="7747954"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5" name="Freeform 924"/>
              <p:cNvSpPr>
                <a:spLocks/>
              </p:cNvSpPr>
              <p:nvPr/>
            </p:nvSpPr>
            <p:spPr bwMode="auto">
              <a:xfrm>
                <a:off x="7747954"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6" name="Freeform 925"/>
              <p:cNvSpPr>
                <a:spLocks noEditPoints="1"/>
              </p:cNvSpPr>
              <p:nvPr/>
            </p:nvSpPr>
            <p:spPr bwMode="auto">
              <a:xfrm>
                <a:off x="7747954"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7" name="Freeform 926"/>
              <p:cNvSpPr>
                <a:spLocks/>
              </p:cNvSpPr>
              <p:nvPr/>
            </p:nvSpPr>
            <p:spPr bwMode="auto">
              <a:xfrm>
                <a:off x="7747954"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8" name="Freeform 927"/>
              <p:cNvSpPr>
                <a:spLocks noEditPoints="1"/>
              </p:cNvSpPr>
              <p:nvPr/>
            </p:nvSpPr>
            <p:spPr bwMode="auto">
              <a:xfrm>
                <a:off x="7747954"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09" name="Freeform 928"/>
              <p:cNvSpPr>
                <a:spLocks/>
              </p:cNvSpPr>
              <p:nvPr/>
            </p:nvSpPr>
            <p:spPr bwMode="auto">
              <a:xfrm>
                <a:off x="7747954"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0" name="Freeform 929"/>
              <p:cNvSpPr>
                <a:spLocks noEditPoints="1"/>
              </p:cNvSpPr>
              <p:nvPr/>
            </p:nvSpPr>
            <p:spPr bwMode="auto">
              <a:xfrm>
                <a:off x="7747954"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1" name="Freeform 930"/>
              <p:cNvSpPr>
                <a:spLocks/>
              </p:cNvSpPr>
              <p:nvPr/>
            </p:nvSpPr>
            <p:spPr bwMode="auto">
              <a:xfrm>
                <a:off x="7747954" y="5053831"/>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2" name="Freeform 931"/>
              <p:cNvSpPr>
                <a:spLocks noEditPoints="1"/>
              </p:cNvSpPr>
              <p:nvPr/>
            </p:nvSpPr>
            <p:spPr bwMode="auto">
              <a:xfrm>
                <a:off x="7747954" y="5003175"/>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18 h 38"/>
                  <a:gd name="T80" fmla="*/ 44 w 52"/>
                  <a:gd name="T81" fmla="*/ 18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0"/>
                    </a:lnTo>
                    <a:lnTo>
                      <a:pt x="46" y="4"/>
                    </a:lnTo>
                    <a:lnTo>
                      <a:pt x="46" y="4"/>
                    </a:lnTo>
                    <a:close/>
                    <a:moveTo>
                      <a:pt x="28" y="26"/>
                    </a:moveTo>
                    <a:lnTo>
                      <a:pt x="28" y="26"/>
                    </a:lnTo>
                    <a:lnTo>
                      <a:pt x="20" y="26"/>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3" name="Freeform 932"/>
              <p:cNvSpPr>
                <a:spLocks/>
              </p:cNvSpPr>
              <p:nvPr/>
            </p:nvSpPr>
            <p:spPr bwMode="auto">
              <a:xfrm>
                <a:off x="7747954" y="4970053"/>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6 h 24"/>
                  <a:gd name="T18" fmla="*/ 14 w 52"/>
                  <a:gd name="T19" fmla="*/ 16 h 24"/>
                  <a:gd name="T20" fmla="*/ 16 w 52"/>
                  <a:gd name="T21" fmla="*/ 18 h 24"/>
                  <a:gd name="T22" fmla="*/ 16 w 52"/>
                  <a:gd name="T23" fmla="*/ 18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6"/>
                    </a:lnTo>
                    <a:lnTo>
                      <a:pt x="14" y="16"/>
                    </a:lnTo>
                    <a:lnTo>
                      <a:pt x="16" y="18"/>
                    </a:lnTo>
                    <a:lnTo>
                      <a:pt x="16" y="18"/>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4" name="Freeform 933"/>
              <p:cNvSpPr>
                <a:spLocks noEditPoints="1"/>
              </p:cNvSpPr>
              <p:nvPr/>
            </p:nvSpPr>
            <p:spPr bwMode="auto">
              <a:xfrm>
                <a:off x="7747954" y="4919398"/>
                <a:ext cx="50656" cy="37018"/>
              </a:xfrm>
              <a:custGeom>
                <a:avLst/>
                <a:gdLst>
                  <a:gd name="T0" fmla="*/ 46 w 52"/>
                  <a:gd name="T1" fmla="*/ 4 h 38"/>
                  <a:gd name="T2" fmla="*/ 46 w 52"/>
                  <a:gd name="T3" fmla="*/ 4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6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2"/>
                    </a:lnTo>
                    <a:lnTo>
                      <a:pt x="26" y="0"/>
                    </a:lnTo>
                    <a:lnTo>
                      <a:pt x="26" y="0"/>
                    </a:lnTo>
                    <a:lnTo>
                      <a:pt x="16" y="2"/>
                    </a:lnTo>
                    <a:lnTo>
                      <a:pt x="8" y="6"/>
                    </a:lnTo>
                    <a:lnTo>
                      <a:pt x="2" y="10"/>
                    </a:lnTo>
                    <a:lnTo>
                      <a:pt x="0" y="18"/>
                    </a:lnTo>
                    <a:lnTo>
                      <a:pt x="0" y="18"/>
                    </a:lnTo>
                    <a:lnTo>
                      <a:pt x="2" y="26"/>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4"/>
                    </a:lnTo>
                    <a:lnTo>
                      <a:pt x="46" y="4"/>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5" name="Freeform 934"/>
              <p:cNvSpPr>
                <a:spLocks/>
              </p:cNvSpPr>
              <p:nvPr/>
            </p:nvSpPr>
            <p:spPr bwMode="auto">
              <a:xfrm>
                <a:off x="7747954" y="4888225"/>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2 h 22"/>
                  <a:gd name="T18" fmla="*/ 14 w 52"/>
                  <a:gd name="T19" fmla="*/ 12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2"/>
                    </a:lnTo>
                    <a:lnTo>
                      <a:pt x="14" y="12"/>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6" name="Freeform 935"/>
              <p:cNvSpPr>
                <a:spLocks noEditPoints="1"/>
              </p:cNvSpPr>
              <p:nvPr/>
            </p:nvSpPr>
            <p:spPr bwMode="auto">
              <a:xfrm>
                <a:off x="7747954" y="4837568"/>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2 h 38"/>
                  <a:gd name="T36" fmla="*/ 52 w 52"/>
                  <a:gd name="T37" fmla="*/ 26 h 38"/>
                  <a:gd name="T38" fmla="*/ 52 w 52"/>
                  <a:gd name="T39" fmla="*/ 18 h 38"/>
                  <a:gd name="T40" fmla="*/ 52 w 52"/>
                  <a:gd name="T41" fmla="*/ 18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4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18 h 38"/>
                  <a:gd name="T76" fmla="*/ 44 w 52"/>
                  <a:gd name="T77" fmla="*/ 18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2"/>
                    </a:lnTo>
                    <a:lnTo>
                      <a:pt x="52" y="26"/>
                    </a:lnTo>
                    <a:lnTo>
                      <a:pt x="52" y="18"/>
                    </a:lnTo>
                    <a:lnTo>
                      <a:pt x="52" y="18"/>
                    </a:lnTo>
                    <a:lnTo>
                      <a:pt x="50" y="10"/>
                    </a:lnTo>
                    <a:lnTo>
                      <a:pt x="46" y="4"/>
                    </a:lnTo>
                    <a:lnTo>
                      <a:pt x="46" y="4"/>
                    </a:lnTo>
                    <a:close/>
                    <a:moveTo>
                      <a:pt x="28" y="26"/>
                    </a:moveTo>
                    <a:lnTo>
                      <a:pt x="28" y="26"/>
                    </a:lnTo>
                    <a:lnTo>
                      <a:pt x="20" y="26"/>
                    </a:lnTo>
                    <a:lnTo>
                      <a:pt x="14" y="24"/>
                    </a:lnTo>
                    <a:lnTo>
                      <a:pt x="10" y="22"/>
                    </a:lnTo>
                    <a:lnTo>
                      <a:pt x="10" y="18"/>
                    </a:lnTo>
                    <a:lnTo>
                      <a:pt x="10" y="18"/>
                    </a:lnTo>
                    <a:lnTo>
                      <a:pt x="10" y="14"/>
                    </a:lnTo>
                    <a:lnTo>
                      <a:pt x="14" y="14"/>
                    </a:lnTo>
                    <a:lnTo>
                      <a:pt x="26" y="12"/>
                    </a:lnTo>
                    <a:lnTo>
                      <a:pt x="26"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7" name="Freeform 919"/>
              <p:cNvSpPr>
                <a:spLocks noEditPoints="1"/>
              </p:cNvSpPr>
              <p:nvPr/>
            </p:nvSpPr>
            <p:spPr bwMode="auto">
              <a:xfrm>
                <a:off x="7843518"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8" name="Freeform 920"/>
              <p:cNvSpPr>
                <a:spLocks/>
              </p:cNvSpPr>
              <p:nvPr/>
            </p:nvSpPr>
            <p:spPr bwMode="auto">
              <a:xfrm>
                <a:off x="7843518"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19" name="Freeform 921"/>
              <p:cNvSpPr>
                <a:spLocks noEditPoints="1"/>
              </p:cNvSpPr>
              <p:nvPr/>
            </p:nvSpPr>
            <p:spPr bwMode="auto">
              <a:xfrm>
                <a:off x="7843518"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0" name="Freeform 922"/>
              <p:cNvSpPr>
                <a:spLocks/>
              </p:cNvSpPr>
              <p:nvPr/>
            </p:nvSpPr>
            <p:spPr bwMode="auto">
              <a:xfrm>
                <a:off x="7843518"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1" name="Freeform 923"/>
              <p:cNvSpPr>
                <a:spLocks noEditPoints="1"/>
              </p:cNvSpPr>
              <p:nvPr/>
            </p:nvSpPr>
            <p:spPr bwMode="auto">
              <a:xfrm>
                <a:off x="7843518"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2" name="Freeform 924"/>
              <p:cNvSpPr>
                <a:spLocks/>
              </p:cNvSpPr>
              <p:nvPr/>
            </p:nvSpPr>
            <p:spPr bwMode="auto">
              <a:xfrm>
                <a:off x="7843518"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3" name="Freeform 925"/>
              <p:cNvSpPr>
                <a:spLocks noEditPoints="1"/>
              </p:cNvSpPr>
              <p:nvPr/>
            </p:nvSpPr>
            <p:spPr bwMode="auto">
              <a:xfrm>
                <a:off x="7843518"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4" name="Freeform 926"/>
              <p:cNvSpPr>
                <a:spLocks/>
              </p:cNvSpPr>
              <p:nvPr/>
            </p:nvSpPr>
            <p:spPr bwMode="auto">
              <a:xfrm>
                <a:off x="7843518"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5" name="Freeform 927"/>
              <p:cNvSpPr>
                <a:spLocks noEditPoints="1"/>
              </p:cNvSpPr>
              <p:nvPr/>
            </p:nvSpPr>
            <p:spPr bwMode="auto">
              <a:xfrm>
                <a:off x="7843518"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6" name="Freeform 928"/>
              <p:cNvSpPr>
                <a:spLocks/>
              </p:cNvSpPr>
              <p:nvPr/>
            </p:nvSpPr>
            <p:spPr bwMode="auto">
              <a:xfrm>
                <a:off x="7843518"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7" name="Freeform 929"/>
              <p:cNvSpPr>
                <a:spLocks noEditPoints="1"/>
              </p:cNvSpPr>
              <p:nvPr/>
            </p:nvSpPr>
            <p:spPr bwMode="auto">
              <a:xfrm>
                <a:off x="7843518"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8" name="Freeform 930"/>
              <p:cNvSpPr>
                <a:spLocks/>
              </p:cNvSpPr>
              <p:nvPr/>
            </p:nvSpPr>
            <p:spPr bwMode="auto">
              <a:xfrm>
                <a:off x="7843518" y="5053831"/>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29" name="Freeform 931"/>
              <p:cNvSpPr>
                <a:spLocks noEditPoints="1"/>
              </p:cNvSpPr>
              <p:nvPr/>
            </p:nvSpPr>
            <p:spPr bwMode="auto">
              <a:xfrm>
                <a:off x="7843518" y="5003175"/>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18 h 38"/>
                  <a:gd name="T80" fmla="*/ 44 w 52"/>
                  <a:gd name="T81" fmla="*/ 18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0"/>
                    </a:lnTo>
                    <a:lnTo>
                      <a:pt x="46" y="4"/>
                    </a:lnTo>
                    <a:lnTo>
                      <a:pt x="46" y="4"/>
                    </a:lnTo>
                    <a:close/>
                    <a:moveTo>
                      <a:pt x="28" y="26"/>
                    </a:moveTo>
                    <a:lnTo>
                      <a:pt x="28" y="26"/>
                    </a:lnTo>
                    <a:lnTo>
                      <a:pt x="20" y="26"/>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0" name="Freeform 932"/>
              <p:cNvSpPr>
                <a:spLocks/>
              </p:cNvSpPr>
              <p:nvPr/>
            </p:nvSpPr>
            <p:spPr bwMode="auto">
              <a:xfrm>
                <a:off x="7843518" y="4970053"/>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6 h 24"/>
                  <a:gd name="T18" fmla="*/ 14 w 52"/>
                  <a:gd name="T19" fmla="*/ 16 h 24"/>
                  <a:gd name="T20" fmla="*/ 16 w 52"/>
                  <a:gd name="T21" fmla="*/ 18 h 24"/>
                  <a:gd name="T22" fmla="*/ 16 w 52"/>
                  <a:gd name="T23" fmla="*/ 18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6"/>
                    </a:lnTo>
                    <a:lnTo>
                      <a:pt x="14" y="16"/>
                    </a:lnTo>
                    <a:lnTo>
                      <a:pt x="16" y="18"/>
                    </a:lnTo>
                    <a:lnTo>
                      <a:pt x="16" y="18"/>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1" name="Freeform 919"/>
              <p:cNvSpPr>
                <a:spLocks noEditPoints="1"/>
              </p:cNvSpPr>
              <p:nvPr/>
            </p:nvSpPr>
            <p:spPr bwMode="auto">
              <a:xfrm>
                <a:off x="7939082"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2" name="Freeform 920"/>
              <p:cNvSpPr>
                <a:spLocks/>
              </p:cNvSpPr>
              <p:nvPr/>
            </p:nvSpPr>
            <p:spPr bwMode="auto">
              <a:xfrm>
                <a:off x="7939082"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3" name="Freeform 921"/>
              <p:cNvSpPr>
                <a:spLocks noEditPoints="1"/>
              </p:cNvSpPr>
              <p:nvPr/>
            </p:nvSpPr>
            <p:spPr bwMode="auto">
              <a:xfrm>
                <a:off x="7939082"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4" name="Freeform 922"/>
              <p:cNvSpPr>
                <a:spLocks/>
              </p:cNvSpPr>
              <p:nvPr/>
            </p:nvSpPr>
            <p:spPr bwMode="auto">
              <a:xfrm>
                <a:off x="7939082"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5" name="Freeform 923"/>
              <p:cNvSpPr>
                <a:spLocks noEditPoints="1"/>
              </p:cNvSpPr>
              <p:nvPr/>
            </p:nvSpPr>
            <p:spPr bwMode="auto">
              <a:xfrm>
                <a:off x="7939082"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6" name="Freeform 924"/>
              <p:cNvSpPr>
                <a:spLocks/>
              </p:cNvSpPr>
              <p:nvPr/>
            </p:nvSpPr>
            <p:spPr bwMode="auto">
              <a:xfrm>
                <a:off x="7939082"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7" name="Freeform 925"/>
              <p:cNvSpPr>
                <a:spLocks noEditPoints="1"/>
              </p:cNvSpPr>
              <p:nvPr/>
            </p:nvSpPr>
            <p:spPr bwMode="auto">
              <a:xfrm>
                <a:off x="7939082"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8" name="Freeform 926"/>
              <p:cNvSpPr>
                <a:spLocks/>
              </p:cNvSpPr>
              <p:nvPr/>
            </p:nvSpPr>
            <p:spPr bwMode="auto">
              <a:xfrm>
                <a:off x="7939082"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39" name="Freeform 927"/>
              <p:cNvSpPr>
                <a:spLocks noEditPoints="1"/>
              </p:cNvSpPr>
              <p:nvPr/>
            </p:nvSpPr>
            <p:spPr bwMode="auto">
              <a:xfrm>
                <a:off x="7939082"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0" name="Freeform 928"/>
              <p:cNvSpPr>
                <a:spLocks/>
              </p:cNvSpPr>
              <p:nvPr/>
            </p:nvSpPr>
            <p:spPr bwMode="auto">
              <a:xfrm>
                <a:off x="7939082"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1" name="Freeform 929"/>
              <p:cNvSpPr>
                <a:spLocks noEditPoints="1"/>
              </p:cNvSpPr>
              <p:nvPr/>
            </p:nvSpPr>
            <p:spPr bwMode="auto">
              <a:xfrm>
                <a:off x="7939082"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2" name="Freeform 919"/>
              <p:cNvSpPr>
                <a:spLocks noEditPoints="1"/>
              </p:cNvSpPr>
              <p:nvPr/>
            </p:nvSpPr>
            <p:spPr bwMode="auto">
              <a:xfrm>
                <a:off x="8034647"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3" name="Freeform 920"/>
              <p:cNvSpPr>
                <a:spLocks/>
              </p:cNvSpPr>
              <p:nvPr/>
            </p:nvSpPr>
            <p:spPr bwMode="auto">
              <a:xfrm>
                <a:off x="8034647"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4" name="Freeform 921"/>
              <p:cNvSpPr>
                <a:spLocks noEditPoints="1"/>
              </p:cNvSpPr>
              <p:nvPr/>
            </p:nvSpPr>
            <p:spPr bwMode="auto">
              <a:xfrm>
                <a:off x="8034647"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5" name="Freeform 922"/>
              <p:cNvSpPr>
                <a:spLocks/>
              </p:cNvSpPr>
              <p:nvPr/>
            </p:nvSpPr>
            <p:spPr bwMode="auto">
              <a:xfrm>
                <a:off x="8034647"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6" name="Freeform 923"/>
              <p:cNvSpPr>
                <a:spLocks noEditPoints="1"/>
              </p:cNvSpPr>
              <p:nvPr/>
            </p:nvSpPr>
            <p:spPr bwMode="auto">
              <a:xfrm>
                <a:off x="8031265"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7" name="Freeform 924"/>
              <p:cNvSpPr>
                <a:spLocks/>
              </p:cNvSpPr>
              <p:nvPr/>
            </p:nvSpPr>
            <p:spPr bwMode="auto">
              <a:xfrm>
                <a:off x="8034647"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8" name="Freeform 925"/>
              <p:cNvSpPr>
                <a:spLocks noEditPoints="1"/>
              </p:cNvSpPr>
              <p:nvPr/>
            </p:nvSpPr>
            <p:spPr bwMode="auto">
              <a:xfrm>
                <a:off x="8034647"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649" name="Freeform 926"/>
              <p:cNvSpPr>
                <a:spLocks/>
              </p:cNvSpPr>
              <p:nvPr/>
            </p:nvSpPr>
            <p:spPr bwMode="auto">
              <a:xfrm>
                <a:off x="8034647"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1409" name="Group 1408"/>
            <p:cNvGrpSpPr/>
            <p:nvPr/>
          </p:nvGrpSpPr>
          <p:grpSpPr>
            <a:xfrm>
              <a:off x="10998894" y="2673386"/>
              <a:ext cx="310797" cy="410846"/>
              <a:chOff x="7732475" y="4832153"/>
              <a:chExt cx="376063" cy="497124"/>
            </a:xfrm>
          </p:grpSpPr>
          <p:sp>
            <p:nvSpPr>
              <p:cNvPr id="1596" name="Rectangle 1595"/>
              <p:cNvSpPr/>
              <p:nvPr/>
            </p:nvSpPr>
            <p:spPr bwMode="auto">
              <a:xfrm>
                <a:off x="7732475" y="4832153"/>
                <a:ext cx="77273" cy="497124"/>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7" name="Rectangle 1596"/>
              <p:cNvSpPr/>
              <p:nvPr/>
            </p:nvSpPr>
            <p:spPr bwMode="auto">
              <a:xfrm>
                <a:off x="7832072" y="4948063"/>
                <a:ext cx="77273" cy="381214"/>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8" name="Rectangle 1597"/>
              <p:cNvSpPr/>
              <p:nvPr/>
            </p:nvSpPr>
            <p:spPr bwMode="auto">
              <a:xfrm>
                <a:off x="8031265" y="5205641"/>
                <a:ext cx="77273" cy="123636"/>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9" name="Rectangle 1598"/>
              <p:cNvSpPr/>
              <p:nvPr/>
            </p:nvSpPr>
            <p:spPr bwMode="auto">
              <a:xfrm>
                <a:off x="7931669" y="5069125"/>
                <a:ext cx="77273" cy="260152"/>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0" name="Group 1409"/>
            <p:cNvGrpSpPr/>
            <p:nvPr/>
          </p:nvGrpSpPr>
          <p:grpSpPr>
            <a:xfrm flipH="1">
              <a:off x="9767022" y="2677747"/>
              <a:ext cx="41864" cy="586089"/>
              <a:chOff x="6241936" y="4837568"/>
              <a:chExt cx="50656" cy="709188"/>
            </a:xfrm>
            <a:solidFill>
              <a:srgbClr val="D2D2D2"/>
            </a:solidFill>
          </p:grpSpPr>
          <p:sp>
            <p:nvSpPr>
              <p:cNvPr id="1579" name="Freeform 919"/>
              <p:cNvSpPr>
                <a:spLocks noEditPoints="1"/>
              </p:cNvSpPr>
              <p:nvPr/>
            </p:nvSpPr>
            <p:spPr bwMode="auto">
              <a:xfrm flipH="1">
                <a:off x="6241936"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0" name="Freeform 920"/>
              <p:cNvSpPr>
                <a:spLocks/>
              </p:cNvSpPr>
              <p:nvPr/>
            </p:nvSpPr>
            <p:spPr bwMode="auto">
              <a:xfrm flipH="1">
                <a:off x="6241936"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1" name="Freeform 921"/>
              <p:cNvSpPr>
                <a:spLocks noEditPoints="1"/>
              </p:cNvSpPr>
              <p:nvPr/>
            </p:nvSpPr>
            <p:spPr bwMode="auto">
              <a:xfrm flipH="1">
                <a:off x="6241936"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2" name="Freeform 922"/>
              <p:cNvSpPr>
                <a:spLocks/>
              </p:cNvSpPr>
              <p:nvPr/>
            </p:nvSpPr>
            <p:spPr bwMode="auto">
              <a:xfrm flipH="1">
                <a:off x="6241936"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3" name="Freeform 923"/>
              <p:cNvSpPr>
                <a:spLocks noEditPoints="1"/>
              </p:cNvSpPr>
              <p:nvPr/>
            </p:nvSpPr>
            <p:spPr bwMode="auto">
              <a:xfrm flipH="1">
                <a:off x="6241936"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4" name="Freeform 924"/>
              <p:cNvSpPr>
                <a:spLocks/>
              </p:cNvSpPr>
              <p:nvPr/>
            </p:nvSpPr>
            <p:spPr bwMode="auto">
              <a:xfrm flipH="1">
                <a:off x="6241936"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5" name="Freeform 925"/>
              <p:cNvSpPr>
                <a:spLocks noEditPoints="1"/>
              </p:cNvSpPr>
              <p:nvPr/>
            </p:nvSpPr>
            <p:spPr bwMode="auto">
              <a:xfrm flipH="1">
                <a:off x="6241936"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6" name="Freeform 926"/>
              <p:cNvSpPr>
                <a:spLocks/>
              </p:cNvSpPr>
              <p:nvPr/>
            </p:nvSpPr>
            <p:spPr bwMode="auto">
              <a:xfrm flipH="1">
                <a:off x="6241936"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7" name="Freeform 927"/>
              <p:cNvSpPr>
                <a:spLocks noEditPoints="1"/>
              </p:cNvSpPr>
              <p:nvPr/>
            </p:nvSpPr>
            <p:spPr bwMode="auto">
              <a:xfrm flipH="1">
                <a:off x="6241936"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8" name="Freeform 928"/>
              <p:cNvSpPr>
                <a:spLocks/>
              </p:cNvSpPr>
              <p:nvPr/>
            </p:nvSpPr>
            <p:spPr bwMode="auto">
              <a:xfrm flipH="1">
                <a:off x="6241936"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89" name="Freeform 929"/>
              <p:cNvSpPr>
                <a:spLocks noEditPoints="1"/>
              </p:cNvSpPr>
              <p:nvPr/>
            </p:nvSpPr>
            <p:spPr bwMode="auto">
              <a:xfrm flipH="1">
                <a:off x="6241936"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0" name="Freeform 930"/>
              <p:cNvSpPr>
                <a:spLocks/>
              </p:cNvSpPr>
              <p:nvPr/>
            </p:nvSpPr>
            <p:spPr bwMode="auto">
              <a:xfrm flipH="1">
                <a:off x="6241936" y="5053831"/>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1" name="Freeform 931"/>
              <p:cNvSpPr>
                <a:spLocks noEditPoints="1"/>
              </p:cNvSpPr>
              <p:nvPr/>
            </p:nvSpPr>
            <p:spPr bwMode="auto">
              <a:xfrm flipH="1">
                <a:off x="6241936" y="5003175"/>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18 h 38"/>
                  <a:gd name="T80" fmla="*/ 44 w 52"/>
                  <a:gd name="T81" fmla="*/ 18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0"/>
                    </a:lnTo>
                    <a:lnTo>
                      <a:pt x="46" y="4"/>
                    </a:lnTo>
                    <a:lnTo>
                      <a:pt x="46" y="4"/>
                    </a:lnTo>
                    <a:close/>
                    <a:moveTo>
                      <a:pt x="28" y="26"/>
                    </a:moveTo>
                    <a:lnTo>
                      <a:pt x="28" y="26"/>
                    </a:lnTo>
                    <a:lnTo>
                      <a:pt x="20" y="26"/>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2" name="Freeform 932"/>
              <p:cNvSpPr>
                <a:spLocks/>
              </p:cNvSpPr>
              <p:nvPr/>
            </p:nvSpPr>
            <p:spPr bwMode="auto">
              <a:xfrm flipH="1">
                <a:off x="6241936" y="4970053"/>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6 h 24"/>
                  <a:gd name="T18" fmla="*/ 14 w 52"/>
                  <a:gd name="T19" fmla="*/ 16 h 24"/>
                  <a:gd name="T20" fmla="*/ 16 w 52"/>
                  <a:gd name="T21" fmla="*/ 18 h 24"/>
                  <a:gd name="T22" fmla="*/ 16 w 52"/>
                  <a:gd name="T23" fmla="*/ 18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6"/>
                    </a:lnTo>
                    <a:lnTo>
                      <a:pt x="14" y="16"/>
                    </a:lnTo>
                    <a:lnTo>
                      <a:pt x="16" y="18"/>
                    </a:lnTo>
                    <a:lnTo>
                      <a:pt x="16" y="18"/>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3" name="Freeform 933"/>
              <p:cNvSpPr>
                <a:spLocks noEditPoints="1"/>
              </p:cNvSpPr>
              <p:nvPr/>
            </p:nvSpPr>
            <p:spPr bwMode="auto">
              <a:xfrm flipH="1">
                <a:off x="6241936" y="4919398"/>
                <a:ext cx="50656" cy="37018"/>
              </a:xfrm>
              <a:custGeom>
                <a:avLst/>
                <a:gdLst>
                  <a:gd name="T0" fmla="*/ 46 w 52"/>
                  <a:gd name="T1" fmla="*/ 4 h 38"/>
                  <a:gd name="T2" fmla="*/ 46 w 52"/>
                  <a:gd name="T3" fmla="*/ 4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6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2"/>
                    </a:lnTo>
                    <a:lnTo>
                      <a:pt x="26" y="0"/>
                    </a:lnTo>
                    <a:lnTo>
                      <a:pt x="26" y="0"/>
                    </a:lnTo>
                    <a:lnTo>
                      <a:pt x="16" y="2"/>
                    </a:lnTo>
                    <a:lnTo>
                      <a:pt x="8" y="6"/>
                    </a:lnTo>
                    <a:lnTo>
                      <a:pt x="2" y="10"/>
                    </a:lnTo>
                    <a:lnTo>
                      <a:pt x="0" y="18"/>
                    </a:lnTo>
                    <a:lnTo>
                      <a:pt x="0" y="18"/>
                    </a:lnTo>
                    <a:lnTo>
                      <a:pt x="2" y="26"/>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4"/>
                    </a:lnTo>
                    <a:lnTo>
                      <a:pt x="46" y="4"/>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4" name="Freeform 934"/>
              <p:cNvSpPr>
                <a:spLocks/>
              </p:cNvSpPr>
              <p:nvPr/>
            </p:nvSpPr>
            <p:spPr bwMode="auto">
              <a:xfrm flipH="1">
                <a:off x="6241936" y="4888225"/>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2 h 22"/>
                  <a:gd name="T18" fmla="*/ 14 w 52"/>
                  <a:gd name="T19" fmla="*/ 12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2"/>
                    </a:lnTo>
                    <a:lnTo>
                      <a:pt x="14" y="12"/>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95" name="Freeform 935"/>
              <p:cNvSpPr>
                <a:spLocks noEditPoints="1"/>
              </p:cNvSpPr>
              <p:nvPr/>
            </p:nvSpPr>
            <p:spPr bwMode="auto">
              <a:xfrm flipH="1">
                <a:off x="6241936" y="4837568"/>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2 h 38"/>
                  <a:gd name="T36" fmla="*/ 52 w 52"/>
                  <a:gd name="T37" fmla="*/ 26 h 38"/>
                  <a:gd name="T38" fmla="*/ 52 w 52"/>
                  <a:gd name="T39" fmla="*/ 18 h 38"/>
                  <a:gd name="T40" fmla="*/ 52 w 52"/>
                  <a:gd name="T41" fmla="*/ 18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4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18 h 38"/>
                  <a:gd name="T76" fmla="*/ 44 w 52"/>
                  <a:gd name="T77" fmla="*/ 18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2"/>
                    </a:lnTo>
                    <a:lnTo>
                      <a:pt x="52" y="26"/>
                    </a:lnTo>
                    <a:lnTo>
                      <a:pt x="52" y="18"/>
                    </a:lnTo>
                    <a:lnTo>
                      <a:pt x="52" y="18"/>
                    </a:lnTo>
                    <a:lnTo>
                      <a:pt x="50" y="10"/>
                    </a:lnTo>
                    <a:lnTo>
                      <a:pt x="46" y="4"/>
                    </a:lnTo>
                    <a:lnTo>
                      <a:pt x="46" y="4"/>
                    </a:lnTo>
                    <a:close/>
                    <a:moveTo>
                      <a:pt x="28" y="26"/>
                    </a:moveTo>
                    <a:lnTo>
                      <a:pt x="28" y="26"/>
                    </a:lnTo>
                    <a:lnTo>
                      <a:pt x="20" y="26"/>
                    </a:lnTo>
                    <a:lnTo>
                      <a:pt x="14" y="24"/>
                    </a:lnTo>
                    <a:lnTo>
                      <a:pt x="10" y="22"/>
                    </a:lnTo>
                    <a:lnTo>
                      <a:pt x="10" y="18"/>
                    </a:lnTo>
                    <a:lnTo>
                      <a:pt x="10" y="18"/>
                    </a:lnTo>
                    <a:lnTo>
                      <a:pt x="10" y="14"/>
                    </a:lnTo>
                    <a:lnTo>
                      <a:pt x="14" y="14"/>
                    </a:lnTo>
                    <a:lnTo>
                      <a:pt x="26" y="12"/>
                    </a:lnTo>
                    <a:lnTo>
                      <a:pt x="26"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1411" name="Group 1410"/>
            <p:cNvGrpSpPr/>
            <p:nvPr/>
          </p:nvGrpSpPr>
          <p:grpSpPr>
            <a:xfrm flipH="1">
              <a:off x="9688044" y="2787243"/>
              <a:ext cx="41864" cy="476601"/>
              <a:chOff x="6146372" y="4970053"/>
              <a:chExt cx="50656" cy="576703"/>
            </a:xfrm>
            <a:solidFill>
              <a:srgbClr val="D2D2D2"/>
            </a:solidFill>
          </p:grpSpPr>
          <p:sp>
            <p:nvSpPr>
              <p:cNvPr id="1565" name="Freeform 919"/>
              <p:cNvSpPr>
                <a:spLocks noEditPoints="1"/>
              </p:cNvSpPr>
              <p:nvPr/>
            </p:nvSpPr>
            <p:spPr bwMode="auto">
              <a:xfrm flipH="1">
                <a:off x="6146372"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6" name="Freeform 920"/>
              <p:cNvSpPr>
                <a:spLocks/>
              </p:cNvSpPr>
              <p:nvPr/>
            </p:nvSpPr>
            <p:spPr bwMode="auto">
              <a:xfrm flipH="1">
                <a:off x="6146372"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7" name="Freeform 921"/>
              <p:cNvSpPr>
                <a:spLocks noEditPoints="1"/>
              </p:cNvSpPr>
              <p:nvPr/>
            </p:nvSpPr>
            <p:spPr bwMode="auto">
              <a:xfrm flipH="1">
                <a:off x="6146372"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8" name="Freeform 922"/>
              <p:cNvSpPr>
                <a:spLocks/>
              </p:cNvSpPr>
              <p:nvPr/>
            </p:nvSpPr>
            <p:spPr bwMode="auto">
              <a:xfrm flipH="1">
                <a:off x="6146372"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9" name="Freeform 923"/>
              <p:cNvSpPr>
                <a:spLocks noEditPoints="1"/>
              </p:cNvSpPr>
              <p:nvPr/>
            </p:nvSpPr>
            <p:spPr bwMode="auto">
              <a:xfrm flipH="1">
                <a:off x="6146372"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0" name="Freeform 924"/>
              <p:cNvSpPr>
                <a:spLocks/>
              </p:cNvSpPr>
              <p:nvPr/>
            </p:nvSpPr>
            <p:spPr bwMode="auto">
              <a:xfrm flipH="1">
                <a:off x="6146372"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1" name="Freeform 925"/>
              <p:cNvSpPr>
                <a:spLocks noEditPoints="1"/>
              </p:cNvSpPr>
              <p:nvPr/>
            </p:nvSpPr>
            <p:spPr bwMode="auto">
              <a:xfrm flipH="1">
                <a:off x="6146372"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2" name="Freeform 926"/>
              <p:cNvSpPr>
                <a:spLocks/>
              </p:cNvSpPr>
              <p:nvPr/>
            </p:nvSpPr>
            <p:spPr bwMode="auto">
              <a:xfrm flipH="1">
                <a:off x="6146372"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3" name="Freeform 927"/>
              <p:cNvSpPr>
                <a:spLocks noEditPoints="1"/>
              </p:cNvSpPr>
              <p:nvPr/>
            </p:nvSpPr>
            <p:spPr bwMode="auto">
              <a:xfrm flipH="1">
                <a:off x="6146372"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4" name="Freeform 928"/>
              <p:cNvSpPr>
                <a:spLocks/>
              </p:cNvSpPr>
              <p:nvPr/>
            </p:nvSpPr>
            <p:spPr bwMode="auto">
              <a:xfrm flipH="1">
                <a:off x="6146372"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5" name="Freeform 929"/>
              <p:cNvSpPr>
                <a:spLocks noEditPoints="1"/>
              </p:cNvSpPr>
              <p:nvPr/>
            </p:nvSpPr>
            <p:spPr bwMode="auto">
              <a:xfrm flipH="1">
                <a:off x="6146372"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6" name="Freeform 930"/>
              <p:cNvSpPr>
                <a:spLocks/>
              </p:cNvSpPr>
              <p:nvPr/>
            </p:nvSpPr>
            <p:spPr bwMode="auto">
              <a:xfrm flipH="1">
                <a:off x="6146372" y="5053831"/>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7" name="Freeform 931"/>
              <p:cNvSpPr>
                <a:spLocks noEditPoints="1"/>
              </p:cNvSpPr>
              <p:nvPr/>
            </p:nvSpPr>
            <p:spPr bwMode="auto">
              <a:xfrm flipH="1">
                <a:off x="6146372" y="5003175"/>
                <a:ext cx="50656" cy="37018"/>
              </a:xfrm>
              <a:custGeom>
                <a:avLst/>
                <a:gdLst>
                  <a:gd name="T0" fmla="*/ 46 w 52"/>
                  <a:gd name="T1" fmla="*/ 4 h 38"/>
                  <a:gd name="T2" fmla="*/ 46 w 52"/>
                  <a:gd name="T3" fmla="*/ 4 h 38"/>
                  <a:gd name="T4" fmla="*/ 38 w 52"/>
                  <a:gd name="T5" fmla="*/ 0 h 38"/>
                  <a:gd name="T6" fmla="*/ 26 w 52"/>
                  <a:gd name="T7" fmla="*/ 0 h 38"/>
                  <a:gd name="T8" fmla="*/ 26 w 52"/>
                  <a:gd name="T9" fmla="*/ 0 h 38"/>
                  <a:gd name="T10" fmla="*/ 16 w 52"/>
                  <a:gd name="T11" fmla="*/ 0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0 h 38"/>
                  <a:gd name="T44" fmla="*/ 46 w 52"/>
                  <a:gd name="T45" fmla="*/ 4 h 38"/>
                  <a:gd name="T46" fmla="*/ 46 w 52"/>
                  <a:gd name="T47" fmla="*/ 4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18 h 38"/>
                  <a:gd name="T80" fmla="*/ 44 w 52"/>
                  <a:gd name="T81" fmla="*/ 18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0"/>
                    </a:lnTo>
                    <a:lnTo>
                      <a:pt x="46" y="4"/>
                    </a:lnTo>
                    <a:lnTo>
                      <a:pt x="46" y="4"/>
                    </a:lnTo>
                    <a:close/>
                    <a:moveTo>
                      <a:pt x="28" y="26"/>
                    </a:moveTo>
                    <a:lnTo>
                      <a:pt x="28" y="26"/>
                    </a:lnTo>
                    <a:lnTo>
                      <a:pt x="20" y="26"/>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78" name="Freeform 932"/>
              <p:cNvSpPr>
                <a:spLocks/>
              </p:cNvSpPr>
              <p:nvPr/>
            </p:nvSpPr>
            <p:spPr bwMode="auto">
              <a:xfrm flipH="1">
                <a:off x="6146372" y="4970053"/>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6 h 24"/>
                  <a:gd name="T18" fmla="*/ 14 w 52"/>
                  <a:gd name="T19" fmla="*/ 16 h 24"/>
                  <a:gd name="T20" fmla="*/ 16 w 52"/>
                  <a:gd name="T21" fmla="*/ 18 h 24"/>
                  <a:gd name="T22" fmla="*/ 16 w 52"/>
                  <a:gd name="T23" fmla="*/ 18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6"/>
                    </a:lnTo>
                    <a:lnTo>
                      <a:pt x="14" y="16"/>
                    </a:lnTo>
                    <a:lnTo>
                      <a:pt x="16" y="18"/>
                    </a:lnTo>
                    <a:lnTo>
                      <a:pt x="16" y="18"/>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1412" name="Group 1411"/>
            <p:cNvGrpSpPr/>
            <p:nvPr/>
          </p:nvGrpSpPr>
          <p:grpSpPr>
            <a:xfrm flipH="1">
              <a:off x="9609065" y="2882244"/>
              <a:ext cx="41864" cy="381603"/>
              <a:chOff x="6050808" y="5085004"/>
              <a:chExt cx="50656" cy="461752"/>
            </a:xfrm>
            <a:solidFill>
              <a:srgbClr val="D2D2D2"/>
            </a:solidFill>
          </p:grpSpPr>
          <p:sp>
            <p:nvSpPr>
              <p:cNvPr id="1554" name="Freeform 919"/>
              <p:cNvSpPr>
                <a:spLocks noEditPoints="1"/>
              </p:cNvSpPr>
              <p:nvPr/>
            </p:nvSpPr>
            <p:spPr bwMode="auto">
              <a:xfrm flipH="1">
                <a:off x="6050808"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5" name="Freeform 920"/>
              <p:cNvSpPr>
                <a:spLocks/>
              </p:cNvSpPr>
              <p:nvPr/>
            </p:nvSpPr>
            <p:spPr bwMode="auto">
              <a:xfrm flipH="1">
                <a:off x="6050808"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6" name="Freeform 921"/>
              <p:cNvSpPr>
                <a:spLocks noEditPoints="1"/>
              </p:cNvSpPr>
              <p:nvPr/>
            </p:nvSpPr>
            <p:spPr bwMode="auto">
              <a:xfrm flipH="1">
                <a:off x="6050808"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7" name="Freeform 922"/>
              <p:cNvSpPr>
                <a:spLocks/>
              </p:cNvSpPr>
              <p:nvPr/>
            </p:nvSpPr>
            <p:spPr bwMode="auto">
              <a:xfrm flipH="1">
                <a:off x="6050808"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8" name="Freeform 923"/>
              <p:cNvSpPr>
                <a:spLocks noEditPoints="1"/>
              </p:cNvSpPr>
              <p:nvPr/>
            </p:nvSpPr>
            <p:spPr bwMode="auto">
              <a:xfrm flipH="1">
                <a:off x="6050808"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9" name="Freeform 924"/>
              <p:cNvSpPr>
                <a:spLocks/>
              </p:cNvSpPr>
              <p:nvPr/>
            </p:nvSpPr>
            <p:spPr bwMode="auto">
              <a:xfrm flipH="1">
                <a:off x="6050808"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0" name="Freeform 925"/>
              <p:cNvSpPr>
                <a:spLocks noEditPoints="1"/>
              </p:cNvSpPr>
              <p:nvPr/>
            </p:nvSpPr>
            <p:spPr bwMode="auto">
              <a:xfrm flipH="1">
                <a:off x="6050808"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1" name="Freeform 926"/>
              <p:cNvSpPr>
                <a:spLocks/>
              </p:cNvSpPr>
              <p:nvPr/>
            </p:nvSpPr>
            <p:spPr bwMode="auto">
              <a:xfrm flipH="1">
                <a:off x="6050808"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2" name="Freeform 927"/>
              <p:cNvSpPr>
                <a:spLocks noEditPoints="1"/>
              </p:cNvSpPr>
              <p:nvPr/>
            </p:nvSpPr>
            <p:spPr bwMode="auto">
              <a:xfrm flipH="1">
                <a:off x="6050808" y="5172679"/>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3" name="Freeform 928"/>
              <p:cNvSpPr>
                <a:spLocks/>
              </p:cNvSpPr>
              <p:nvPr/>
            </p:nvSpPr>
            <p:spPr bwMode="auto">
              <a:xfrm flipH="1">
                <a:off x="6050808" y="5139557"/>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6 h 22"/>
                  <a:gd name="T38" fmla="*/ 6 w 52"/>
                  <a:gd name="T39" fmla="*/ 16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64" name="Freeform 929"/>
              <p:cNvSpPr>
                <a:spLocks noEditPoints="1"/>
              </p:cNvSpPr>
              <p:nvPr/>
            </p:nvSpPr>
            <p:spPr bwMode="auto">
              <a:xfrm flipH="1">
                <a:off x="6050808" y="5085004"/>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6 w 52"/>
                  <a:gd name="T67" fmla="*/ 14 h 38"/>
                  <a:gd name="T68" fmla="*/ 26 w 52"/>
                  <a:gd name="T69" fmla="*/ 14 h 38"/>
                  <a:gd name="T70" fmla="*/ 40 w 52"/>
                  <a:gd name="T71" fmla="*/ 14 h 38"/>
                  <a:gd name="T72" fmla="*/ 44 w 52"/>
                  <a:gd name="T73" fmla="*/ 16 h 38"/>
                  <a:gd name="T74" fmla="*/ 44 w 52"/>
                  <a:gd name="T75" fmla="*/ 20 h 38"/>
                  <a:gd name="T76" fmla="*/ 44 w 52"/>
                  <a:gd name="T77" fmla="*/ 20 h 38"/>
                  <a:gd name="T78" fmla="*/ 44 w 52"/>
                  <a:gd name="T79" fmla="*/ 24 h 38"/>
                  <a:gd name="T80" fmla="*/ 40 w 52"/>
                  <a:gd name="T81" fmla="*/ 26 h 38"/>
                  <a:gd name="T82" fmla="*/ 34 w 52"/>
                  <a:gd name="T83" fmla="*/ 26 h 38"/>
                  <a:gd name="T84" fmla="*/ 28 w 52"/>
                  <a:gd name="T85" fmla="*/ 28 h 38"/>
                  <a:gd name="T86" fmla="*/ 28 w 52"/>
                  <a:gd name="T87"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6" y="14"/>
                    </a:lnTo>
                    <a:lnTo>
                      <a:pt x="26" y="14"/>
                    </a:lnTo>
                    <a:lnTo>
                      <a:pt x="40" y="14"/>
                    </a:lnTo>
                    <a:lnTo>
                      <a:pt x="44" y="16"/>
                    </a:lnTo>
                    <a:lnTo>
                      <a:pt x="44" y="20"/>
                    </a:lnTo>
                    <a:lnTo>
                      <a:pt x="44" y="20"/>
                    </a:lnTo>
                    <a:lnTo>
                      <a:pt x="44" y="24"/>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1413" name="Group 1412"/>
            <p:cNvGrpSpPr/>
            <p:nvPr/>
          </p:nvGrpSpPr>
          <p:grpSpPr>
            <a:xfrm flipH="1">
              <a:off x="9530086" y="2996564"/>
              <a:ext cx="44660" cy="267283"/>
              <a:chOff x="5955243" y="5223335"/>
              <a:chExt cx="54038" cy="323421"/>
            </a:xfrm>
            <a:solidFill>
              <a:srgbClr val="D2D2D2"/>
            </a:solidFill>
          </p:grpSpPr>
          <p:sp>
            <p:nvSpPr>
              <p:cNvPr id="1546" name="Freeform 919"/>
              <p:cNvSpPr>
                <a:spLocks noEditPoints="1"/>
              </p:cNvSpPr>
              <p:nvPr/>
            </p:nvSpPr>
            <p:spPr bwMode="auto">
              <a:xfrm flipH="1">
                <a:off x="5955243" y="5511686"/>
                <a:ext cx="50656" cy="35070"/>
              </a:xfrm>
              <a:custGeom>
                <a:avLst/>
                <a:gdLst>
                  <a:gd name="T0" fmla="*/ 46 w 52"/>
                  <a:gd name="T1" fmla="*/ 4 h 36"/>
                  <a:gd name="T2" fmla="*/ 46 w 52"/>
                  <a:gd name="T3" fmla="*/ 4 h 36"/>
                  <a:gd name="T4" fmla="*/ 38 w 52"/>
                  <a:gd name="T5" fmla="*/ 0 h 36"/>
                  <a:gd name="T6" fmla="*/ 26 w 52"/>
                  <a:gd name="T7" fmla="*/ 0 h 36"/>
                  <a:gd name="T8" fmla="*/ 26 w 52"/>
                  <a:gd name="T9" fmla="*/ 0 h 36"/>
                  <a:gd name="T10" fmla="*/ 16 w 52"/>
                  <a:gd name="T11" fmla="*/ 0 h 36"/>
                  <a:gd name="T12" fmla="*/ 8 w 52"/>
                  <a:gd name="T13" fmla="*/ 4 h 36"/>
                  <a:gd name="T14" fmla="*/ 2 w 52"/>
                  <a:gd name="T15" fmla="*/ 10 h 36"/>
                  <a:gd name="T16" fmla="*/ 0 w 52"/>
                  <a:gd name="T17" fmla="*/ 18 h 36"/>
                  <a:gd name="T18" fmla="*/ 0 w 52"/>
                  <a:gd name="T19" fmla="*/ 18 h 36"/>
                  <a:gd name="T20" fmla="*/ 2 w 52"/>
                  <a:gd name="T21" fmla="*/ 26 h 36"/>
                  <a:gd name="T22" fmla="*/ 8 w 52"/>
                  <a:gd name="T23" fmla="*/ 32 h 36"/>
                  <a:gd name="T24" fmla="*/ 8 w 52"/>
                  <a:gd name="T25" fmla="*/ 32 h 36"/>
                  <a:gd name="T26" fmla="*/ 16 w 52"/>
                  <a:gd name="T27" fmla="*/ 36 h 36"/>
                  <a:gd name="T28" fmla="*/ 28 w 52"/>
                  <a:gd name="T29" fmla="*/ 36 h 36"/>
                  <a:gd name="T30" fmla="*/ 28 w 52"/>
                  <a:gd name="T31" fmla="*/ 36 h 36"/>
                  <a:gd name="T32" fmla="*/ 38 w 52"/>
                  <a:gd name="T33" fmla="*/ 36 h 36"/>
                  <a:gd name="T34" fmla="*/ 46 w 52"/>
                  <a:gd name="T35" fmla="*/ 32 h 36"/>
                  <a:gd name="T36" fmla="*/ 52 w 52"/>
                  <a:gd name="T37" fmla="*/ 26 h 36"/>
                  <a:gd name="T38" fmla="*/ 52 w 52"/>
                  <a:gd name="T39" fmla="*/ 18 h 36"/>
                  <a:gd name="T40" fmla="*/ 52 w 52"/>
                  <a:gd name="T41" fmla="*/ 18 h 36"/>
                  <a:gd name="T42" fmla="*/ 50 w 52"/>
                  <a:gd name="T43" fmla="*/ 10 h 36"/>
                  <a:gd name="T44" fmla="*/ 46 w 52"/>
                  <a:gd name="T45" fmla="*/ 4 h 36"/>
                  <a:gd name="T46" fmla="*/ 46 w 52"/>
                  <a:gd name="T47" fmla="*/ 4 h 36"/>
                  <a:gd name="T48" fmla="*/ 28 w 52"/>
                  <a:gd name="T49" fmla="*/ 26 h 36"/>
                  <a:gd name="T50" fmla="*/ 28 w 52"/>
                  <a:gd name="T51" fmla="*/ 26 h 36"/>
                  <a:gd name="T52" fmla="*/ 20 w 52"/>
                  <a:gd name="T53" fmla="*/ 24 h 36"/>
                  <a:gd name="T54" fmla="*/ 14 w 52"/>
                  <a:gd name="T55" fmla="*/ 24 h 36"/>
                  <a:gd name="T56" fmla="*/ 10 w 52"/>
                  <a:gd name="T57" fmla="*/ 22 h 36"/>
                  <a:gd name="T58" fmla="*/ 10 w 52"/>
                  <a:gd name="T59" fmla="*/ 18 h 36"/>
                  <a:gd name="T60" fmla="*/ 10 w 52"/>
                  <a:gd name="T61" fmla="*/ 18 h 36"/>
                  <a:gd name="T62" fmla="*/ 10 w 52"/>
                  <a:gd name="T63" fmla="*/ 16 h 36"/>
                  <a:gd name="T64" fmla="*/ 14 w 52"/>
                  <a:gd name="T65" fmla="*/ 14 h 36"/>
                  <a:gd name="T66" fmla="*/ 20 w 52"/>
                  <a:gd name="T67" fmla="*/ 12 h 36"/>
                  <a:gd name="T68" fmla="*/ 26 w 52"/>
                  <a:gd name="T69" fmla="*/ 12 h 36"/>
                  <a:gd name="T70" fmla="*/ 26 w 52"/>
                  <a:gd name="T71" fmla="*/ 12 h 36"/>
                  <a:gd name="T72" fmla="*/ 34 w 52"/>
                  <a:gd name="T73" fmla="*/ 12 h 36"/>
                  <a:gd name="T74" fmla="*/ 40 w 52"/>
                  <a:gd name="T75" fmla="*/ 14 h 36"/>
                  <a:gd name="T76" fmla="*/ 44 w 52"/>
                  <a:gd name="T77" fmla="*/ 16 h 36"/>
                  <a:gd name="T78" fmla="*/ 44 w 52"/>
                  <a:gd name="T79" fmla="*/ 18 h 36"/>
                  <a:gd name="T80" fmla="*/ 44 w 52"/>
                  <a:gd name="T81" fmla="*/ 18 h 36"/>
                  <a:gd name="T82" fmla="*/ 44 w 52"/>
                  <a:gd name="T83" fmla="*/ 22 h 36"/>
                  <a:gd name="T84" fmla="*/ 40 w 52"/>
                  <a:gd name="T85" fmla="*/ 24 h 36"/>
                  <a:gd name="T86" fmla="*/ 34 w 52"/>
                  <a:gd name="T87" fmla="*/ 24 h 36"/>
                  <a:gd name="T88" fmla="*/ 28 w 52"/>
                  <a:gd name="T89" fmla="*/ 26 h 36"/>
                  <a:gd name="T90" fmla="*/ 28 w 52"/>
                  <a:gd name="T91"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6">
                    <a:moveTo>
                      <a:pt x="46" y="4"/>
                    </a:moveTo>
                    <a:lnTo>
                      <a:pt x="46" y="4"/>
                    </a:lnTo>
                    <a:lnTo>
                      <a:pt x="38" y="0"/>
                    </a:lnTo>
                    <a:lnTo>
                      <a:pt x="26" y="0"/>
                    </a:lnTo>
                    <a:lnTo>
                      <a:pt x="26" y="0"/>
                    </a:lnTo>
                    <a:lnTo>
                      <a:pt x="16" y="0"/>
                    </a:lnTo>
                    <a:lnTo>
                      <a:pt x="8" y="4"/>
                    </a:lnTo>
                    <a:lnTo>
                      <a:pt x="2" y="10"/>
                    </a:lnTo>
                    <a:lnTo>
                      <a:pt x="0" y="18"/>
                    </a:lnTo>
                    <a:lnTo>
                      <a:pt x="0" y="18"/>
                    </a:lnTo>
                    <a:lnTo>
                      <a:pt x="2" y="26"/>
                    </a:lnTo>
                    <a:lnTo>
                      <a:pt x="8" y="32"/>
                    </a:lnTo>
                    <a:lnTo>
                      <a:pt x="8" y="32"/>
                    </a:lnTo>
                    <a:lnTo>
                      <a:pt x="16" y="36"/>
                    </a:lnTo>
                    <a:lnTo>
                      <a:pt x="28" y="36"/>
                    </a:lnTo>
                    <a:lnTo>
                      <a:pt x="28" y="36"/>
                    </a:lnTo>
                    <a:lnTo>
                      <a:pt x="38" y="36"/>
                    </a:lnTo>
                    <a:lnTo>
                      <a:pt x="46" y="32"/>
                    </a:lnTo>
                    <a:lnTo>
                      <a:pt x="52" y="26"/>
                    </a:lnTo>
                    <a:lnTo>
                      <a:pt x="52" y="18"/>
                    </a:lnTo>
                    <a:lnTo>
                      <a:pt x="52" y="18"/>
                    </a:lnTo>
                    <a:lnTo>
                      <a:pt x="50" y="10"/>
                    </a:lnTo>
                    <a:lnTo>
                      <a:pt x="46" y="4"/>
                    </a:lnTo>
                    <a:lnTo>
                      <a:pt x="46" y="4"/>
                    </a:lnTo>
                    <a:close/>
                    <a:moveTo>
                      <a:pt x="28" y="26"/>
                    </a:moveTo>
                    <a:lnTo>
                      <a:pt x="28" y="26"/>
                    </a:lnTo>
                    <a:lnTo>
                      <a:pt x="20" y="24"/>
                    </a:lnTo>
                    <a:lnTo>
                      <a:pt x="14" y="24"/>
                    </a:lnTo>
                    <a:lnTo>
                      <a:pt x="10" y="22"/>
                    </a:lnTo>
                    <a:lnTo>
                      <a:pt x="10" y="18"/>
                    </a:lnTo>
                    <a:lnTo>
                      <a:pt x="10" y="18"/>
                    </a:lnTo>
                    <a:lnTo>
                      <a:pt x="10" y="16"/>
                    </a:lnTo>
                    <a:lnTo>
                      <a:pt x="14" y="14"/>
                    </a:lnTo>
                    <a:lnTo>
                      <a:pt x="20" y="12"/>
                    </a:lnTo>
                    <a:lnTo>
                      <a:pt x="26" y="12"/>
                    </a:lnTo>
                    <a:lnTo>
                      <a:pt x="26" y="12"/>
                    </a:lnTo>
                    <a:lnTo>
                      <a:pt x="34" y="12"/>
                    </a:lnTo>
                    <a:lnTo>
                      <a:pt x="40" y="14"/>
                    </a:lnTo>
                    <a:lnTo>
                      <a:pt x="44" y="16"/>
                    </a:lnTo>
                    <a:lnTo>
                      <a:pt x="44" y="18"/>
                    </a:lnTo>
                    <a:lnTo>
                      <a:pt x="44" y="18"/>
                    </a:lnTo>
                    <a:lnTo>
                      <a:pt x="44" y="22"/>
                    </a:lnTo>
                    <a:lnTo>
                      <a:pt x="40" y="24"/>
                    </a:lnTo>
                    <a:lnTo>
                      <a:pt x="34" y="24"/>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47" name="Freeform 920"/>
              <p:cNvSpPr>
                <a:spLocks/>
              </p:cNvSpPr>
              <p:nvPr/>
            </p:nvSpPr>
            <p:spPr bwMode="auto">
              <a:xfrm flipH="1">
                <a:off x="5955243" y="547856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6 h 24"/>
                  <a:gd name="T38" fmla="*/ 6 w 52"/>
                  <a:gd name="T39" fmla="*/ 16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6"/>
                    </a:lnTo>
                    <a:lnTo>
                      <a:pt x="6" y="16"/>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48" name="Freeform 921"/>
              <p:cNvSpPr>
                <a:spLocks noEditPoints="1"/>
              </p:cNvSpPr>
              <p:nvPr/>
            </p:nvSpPr>
            <p:spPr bwMode="auto">
              <a:xfrm flipH="1">
                <a:off x="5955243" y="5425961"/>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0 h 38"/>
                  <a:gd name="T16" fmla="*/ 0 w 52"/>
                  <a:gd name="T17" fmla="*/ 18 h 38"/>
                  <a:gd name="T18" fmla="*/ 0 w 52"/>
                  <a:gd name="T19" fmla="*/ 18 h 38"/>
                  <a:gd name="T20" fmla="*/ 2 w 52"/>
                  <a:gd name="T21" fmla="*/ 28 h 38"/>
                  <a:gd name="T22" fmla="*/ 8 w 52"/>
                  <a:gd name="T23" fmla="*/ 34 h 38"/>
                  <a:gd name="T24" fmla="*/ 8 w 52"/>
                  <a:gd name="T25" fmla="*/ 34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4 h 38"/>
                  <a:gd name="T86" fmla="*/ 34 w 52"/>
                  <a:gd name="T87" fmla="*/ 26 h 38"/>
                  <a:gd name="T88" fmla="*/ 28 w 52"/>
                  <a:gd name="T89" fmla="*/ 26 h 38"/>
                  <a:gd name="T90" fmla="*/ 28 w 52"/>
                  <a:gd name="T9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0"/>
                    </a:lnTo>
                    <a:lnTo>
                      <a:pt x="0" y="18"/>
                    </a:lnTo>
                    <a:lnTo>
                      <a:pt x="0" y="18"/>
                    </a:lnTo>
                    <a:lnTo>
                      <a:pt x="2" y="28"/>
                    </a:lnTo>
                    <a:lnTo>
                      <a:pt x="8" y="34"/>
                    </a:lnTo>
                    <a:lnTo>
                      <a:pt x="8" y="34"/>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49" name="Freeform 922"/>
              <p:cNvSpPr>
                <a:spLocks/>
              </p:cNvSpPr>
              <p:nvPr/>
            </p:nvSpPr>
            <p:spPr bwMode="auto">
              <a:xfrm flipH="1">
                <a:off x="5955243" y="5394786"/>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8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0" name="Freeform 923"/>
              <p:cNvSpPr>
                <a:spLocks noEditPoints="1"/>
              </p:cNvSpPr>
              <p:nvPr/>
            </p:nvSpPr>
            <p:spPr bwMode="auto">
              <a:xfrm flipH="1">
                <a:off x="5958625" y="5338286"/>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4 h 38"/>
                  <a:gd name="T14" fmla="*/ 2 w 52"/>
                  <a:gd name="T15" fmla="*/ 10 h 38"/>
                  <a:gd name="T16" fmla="*/ 0 w 52"/>
                  <a:gd name="T17" fmla="*/ 18 h 38"/>
                  <a:gd name="T18" fmla="*/ 0 w 52"/>
                  <a:gd name="T19" fmla="*/ 18 h 38"/>
                  <a:gd name="T20" fmla="*/ 2 w 52"/>
                  <a:gd name="T21" fmla="*/ 26 h 38"/>
                  <a:gd name="T22" fmla="*/ 8 w 52"/>
                  <a:gd name="T23" fmla="*/ 32 h 38"/>
                  <a:gd name="T24" fmla="*/ 8 w 52"/>
                  <a:gd name="T25" fmla="*/ 32 h 38"/>
                  <a:gd name="T26" fmla="*/ 16 w 52"/>
                  <a:gd name="T27" fmla="*/ 36 h 38"/>
                  <a:gd name="T28" fmla="*/ 28 w 52"/>
                  <a:gd name="T29" fmla="*/ 38 h 38"/>
                  <a:gd name="T30" fmla="*/ 28 w 52"/>
                  <a:gd name="T31" fmla="*/ 38 h 38"/>
                  <a:gd name="T32" fmla="*/ 38 w 52"/>
                  <a:gd name="T33" fmla="*/ 36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6 h 38"/>
                  <a:gd name="T50" fmla="*/ 28 w 52"/>
                  <a:gd name="T51" fmla="*/ 26 h 38"/>
                  <a:gd name="T52" fmla="*/ 20 w 52"/>
                  <a:gd name="T53" fmla="*/ 26 h 38"/>
                  <a:gd name="T54" fmla="*/ 14 w 52"/>
                  <a:gd name="T55" fmla="*/ 24 h 38"/>
                  <a:gd name="T56" fmla="*/ 10 w 52"/>
                  <a:gd name="T57" fmla="*/ 22 h 38"/>
                  <a:gd name="T58" fmla="*/ 10 w 52"/>
                  <a:gd name="T59" fmla="*/ 18 h 38"/>
                  <a:gd name="T60" fmla="*/ 10 w 52"/>
                  <a:gd name="T61" fmla="*/ 18 h 38"/>
                  <a:gd name="T62" fmla="*/ 10 w 52"/>
                  <a:gd name="T63" fmla="*/ 16 h 38"/>
                  <a:gd name="T64" fmla="*/ 14 w 52"/>
                  <a:gd name="T65" fmla="*/ 14 h 38"/>
                  <a:gd name="T66" fmla="*/ 26 w 52"/>
                  <a:gd name="T67" fmla="*/ 12 h 38"/>
                  <a:gd name="T68" fmla="*/ 26 w 52"/>
                  <a:gd name="T69" fmla="*/ 12 h 38"/>
                  <a:gd name="T70" fmla="*/ 40 w 52"/>
                  <a:gd name="T71" fmla="*/ 14 h 38"/>
                  <a:gd name="T72" fmla="*/ 44 w 52"/>
                  <a:gd name="T73" fmla="*/ 16 h 38"/>
                  <a:gd name="T74" fmla="*/ 44 w 52"/>
                  <a:gd name="T75" fmla="*/ 20 h 38"/>
                  <a:gd name="T76" fmla="*/ 44 w 52"/>
                  <a:gd name="T77" fmla="*/ 20 h 38"/>
                  <a:gd name="T78" fmla="*/ 44 w 52"/>
                  <a:gd name="T79" fmla="*/ 22 h 38"/>
                  <a:gd name="T80" fmla="*/ 40 w 52"/>
                  <a:gd name="T81" fmla="*/ 24 h 38"/>
                  <a:gd name="T82" fmla="*/ 34 w 52"/>
                  <a:gd name="T83" fmla="*/ 26 h 38"/>
                  <a:gd name="T84" fmla="*/ 28 w 52"/>
                  <a:gd name="T85" fmla="*/ 26 h 38"/>
                  <a:gd name="T86" fmla="*/ 28 w 52"/>
                  <a:gd name="T8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8">
                    <a:moveTo>
                      <a:pt x="46" y="6"/>
                    </a:moveTo>
                    <a:lnTo>
                      <a:pt x="46" y="6"/>
                    </a:lnTo>
                    <a:lnTo>
                      <a:pt x="38" y="2"/>
                    </a:lnTo>
                    <a:lnTo>
                      <a:pt x="26" y="0"/>
                    </a:lnTo>
                    <a:lnTo>
                      <a:pt x="26" y="0"/>
                    </a:lnTo>
                    <a:lnTo>
                      <a:pt x="16" y="2"/>
                    </a:lnTo>
                    <a:lnTo>
                      <a:pt x="8" y="4"/>
                    </a:lnTo>
                    <a:lnTo>
                      <a:pt x="2" y="10"/>
                    </a:lnTo>
                    <a:lnTo>
                      <a:pt x="0" y="18"/>
                    </a:lnTo>
                    <a:lnTo>
                      <a:pt x="0" y="18"/>
                    </a:lnTo>
                    <a:lnTo>
                      <a:pt x="2" y="26"/>
                    </a:lnTo>
                    <a:lnTo>
                      <a:pt x="8" y="32"/>
                    </a:lnTo>
                    <a:lnTo>
                      <a:pt x="8" y="32"/>
                    </a:lnTo>
                    <a:lnTo>
                      <a:pt x="16" y="36"/>
                    </a:lnTo>
                    <a:lnTo>
                      <a:pt x="28" y="38"/>
                    </a:lnTo>
                    <a:lnTo>
                      <a:pt x="28" y="38"/>
                    </a:lnTo>
                    <a:lnTo>
                      <a:pt x="38" y="36"/>
                    </a:lnTo>
                    <a:lnTo>
                      <a:pt x="46" y="34"/>
                    </a:lnTo>
                    <a:lnTo>
                      <a:pt x="52" y="28"/>
                    </a:lnTo>
                    <a:lnTo>
                      <a:pt x="52" y="20"/>
                    </a:lnTo>
                    <a:lnTo>
                      <a:pt x="52" y="20"/>
                    </a:lnTo>
                    <a:lnTo>
                      <a:pt x="50" y="12"/>
                    </a:lnTo>
                    <a:lnTo>
                      <a:pt x="46" y="6"/>
                    </a:lnTo>
                    <a:lnTo>
                      <a:pt x="46" y="6"/>
                    </a:lnTo>
                    <a:close/>
                    <a:moveTo>
                      <a:pt x="28" y="26"/>
                    </a:moveTo>
                    <a:lnTo>
                      <a:pt x="28" y="26"/>
                    </a:lnTo>
                    <a:lnTo>
                      <a:pt x="20" y="26"/>
                    </a:lnTo>
                    <a:lnTo>
                      <a:pt x="14" y="24"/>
                    </a:lnTo>
                    <a:lnTo>
                      <a:pt x="10" y="22"/>
                    </a:lnTo>
                    <a:lnTo>
                      <a:pt x="10" y="18"/>
                    </a:lnTo>
                    <a:lnTo>
                      <a:pt x="10" y="18"/>
                    </a:lnTo>
                    <a:lnTo>
                      <a:pt x="10" y="16"/>
                    </a:lnTo>
                    <a:lnTo>
                      <a:pt x="14" y="14"/>
                    </a:lnTo>
                    <a:lnTo>
                      <a:pt x="26" y="12"/>
                    </a:lnTo>
                    <a:lnTo>
                      <a:pt x="26" y="12"/>
                    </a:lnTo>
                    <a:lnTo>
                      <a:pt x="40" y="14"/>
                    </a:lnTo>
                    <a:lnTo>
                      <a:pt x="44" y="16"/>
                    </a:lnTo>
                    <a:lnTo>
                      <a:pt x="44" y="20"/>
                    </a:lnTo>
                    <a:lnTo>
                      <a:pt x="44" y="20"/>
                    </a:lnTo>
                    <a:lnTo>
                      <a:pt x="44" y="22"/>
                    </a:lnTo>
                    <a:lnTo>
                      <a:pt x="40" y="24"/>
                    </a:lnTo>
                    <a:lnTo>
                      <a:pt x="34" y="26"/>
                    </a:lnTo>
                    <a:lnTo>
                      <a:pt x="28" y="26"/>
                    </a:lnTo>
                    <a:lnTo>
                      <a:pt x="28" y="26"/>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1" name="Freeform 924"/>
              <p:cNvSpPr>
                <a:spLocks/>
              </p:cNvSpPr>
              <p:nvPr/>
            </p:nvSpPr>
            <p:spPr bwMode="auto">
              <a:xfrm flipH="1">
                <a:off x="5955243" y="5307113"/>
                <a:ext cx="50656" cy="21431"/>
              </a:xfrm>
              <a:custGeom>
                <a:avLst/>
                <a:gdLst>
                  <a:gd name="T0" fmla="*/ 0 w 52"/>
                  <a:gd name="T1" fmla="*/ 0 h 22"/>
                  <a:gd name="T2" fmla="*/ 0 w 52"/>
                  <a:gd name="T3" fmla="*/ 0 h 22"/>
                  <a:gd name="T4" fmla="*/ 52 w 52"/>
                  <a:gd name="T5" fmla="*/ 0 h 22"/>
                  <a:gd name="T6" fmla="*/ 52 w 52"/>
                  <a:gd name="T7" fmla="*/ 0 h 22"/>
                  <a:gd name="T8" fmla="*/ 52 w 52"/>
                  <a:gd name="T9" fmla="*/ 12 h 22"/>
                  <a:gd name="T10" fmla="*/ 52 w 52"/>
                  <a:gd name="T11" fmla="*/ 12 h 22"/>
                  <a:gd name="T12" fmla="*/ 12 w 52"/>
                  <a:gd name="T13" fmla="*/ 12 h 22"/>
                  <a:gd name="T14" fmla="*/ 12 w 52"/>
                  <a:gd name="T15" fmla="*/ 12 h 22"/>
                  <a:gd name="T16" fmla="*/ 14 w 52"/>
                  <a:gd name="T17" fmla="*/ 14 h 22"/>
                  <a:gd name="T18" fmla="*/ 14 w 52"/>
                  <a:gd name="T19" fmla="*/ 14 h 22"/>
                  <a:gd name="T20" fmla="*/ 16 w 52"/>
                  <a:gd name="T21" fmla="*/ 16 h 22"/>
                  <a:gd name="T22" fmla="*/ 16 w 52"/>
                  <a:gd name="T23" fmla="*/ 16 h 22"/>
                  <a:gd name="T24" fmla="*/ 18 w 52"/>
                  <a:gd name="T25" fmla="*/ 20 h 22"/>
                  <a:gd name="T26" fmla="*/ 18 w 52"/>
                  <a:gd name="T27" fmla="*/ 20 h 22"/>
                  <a:gd name="T28" fmla="*/ 18 w 52"/>
                  <a:gd name="T29" fmla="*/ 22 h 22"/>
                  <a:gd name="T30" fmla="*/ 18 w 52"/>
                  <a:gd name="T31" fmla="*/ 22 h 22"/>
                  <a:gd name="T32" fmla="*/ 8 w 52"/>
                  <a:gd name="T33" fmla="*/ 22 h 22"/>
                  <a:gd name="T34" fmla="*/ 8 w 52"/>
                  <a:gd name="T35" fmla="*/ 22 h 22"/>
                  <a:gd name="T36" fmla="*/ 6 w 52"/>
                  <a:gd name="T37" fmla="*/ 14 h 22"/>
                  <a:gd name="T38" fmla="*/ 6 w 52"/>
                  <a:gd name="T39" fmla="*/ 14 h 22"/>
                  <a:gd name="T40" fmla="*/ 0 w 52"/>
                  <a:gd name="T41" fmla="*/ 6 h 22"/>
                  <a:gd name="T42" fmla="*/ 0 w 52"/>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2">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2"/>
                    </a:lnTo>
                    <a:lnTo>
                      <a:pt x="18" y="22"/>
                    </a:lnTo>
                    <a:lnTo>
                      <a:pt x="8" y="22"/>
                    </a:lnTo>
                    <a:lnTo>
                      <a:pt x="8" y="22"/>
                    </a:lnTo>
                    <a:lnTo>
                      <a:pt x="6" y="14"/>
                    </a:lnTo>
                    <a:lnTo>
                      <a:pt x="6" y="14"/>
                    </a:lnTo>
                    <a:lnTo>
                      <a:pt x="0" y="6"/>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2" name="Freeform 925"/>
              <p:cNvSpPr>
                <a:spLocks noEditPoints="1"/>
              </p:cNvSpPr>
              <p:nvPr/>
            </p:nvSpPr>
            <p:spPr bwMode="auto">
              <a:xfrm flipH="1">
                <a:off x="5955243" y="5254508"/>
                <a:ext cx="50656" cy="37018"/>
              </a:xfrm>
              <a:custGeom>
                <a:avLst/>
                <a:gdLst>
                  <a:gd name="T0" fmla="*/ 46 w 52"/>
                  <a:gd name="T1" fmla="*/ 6 h 38"/>
                  <a:gd name="T2" fmla="*/ 46 w 52"/>
                  <a:gd name="T3" fmla="*/ 6 h 38"/>
                  <a:gd name="T4" fmla="*/ 38 w 52"/>
                  <a:gd name="T5" fmla="*/ 2 h 38"/>
                  <a:gd name="T6" fmla="*/ 26 w 52"/>
                  <a:gd name="T7" fmla="*/ 0 h 38"/>
                  <a:gd name="T8" fmla="*/ 26 w 52"/>
                  <a:gd name="T9" fmla="*/ 0 h 38"/>
                  <a:gd name="T10" fmla="*/ 16 w 52"/>
                  <a:gd name="T11" fmla="*/ 2 h 38"/>
                  <a:gd name="T12" fmla="*/ 8 w 52"/>
                  <a:gd name="T13" fmla="*/ 6 h 38"/>
                  <a:gd name="T14" fmla="*/ 2 w 52"/>
                  <a:gd name="T15" fmla="*/ 12 h 38"/>
                  <a:gd name="T16" fmla="*/ 0 w 52"/>
                  <a:gd name="T17" fmla="*/ 20 h 38"/>
                  <a:gd name="T18" fmla="*/ 0 w 52"/>
                  <a:gd name="T19" fmla="*/ 20 h 38"/>
                  <a:gd name="T20" fmla="*/ 2 w 52"/>
                  <a:gd name="T21" fmla="*/ 28 h 38"/>
                  <a:gd name="T22" fmla="*/ 8 w 52"/>
                  <a:gd name="T23" fmla="*/ 34 h 38"/>
                  <a:gd name="T24" fmla="*/ 8 w 52"/>
                  <a:gd name="T25" fmla="*/ 34 h 38"/>
                  <a:gd name="T26" fmla="*/ 16 w 52"/>
                  <a:gd name="T27" fmla="*/ 38 h 38"/>
                  <a:gd name="T28" fmla="*/ 28 w 52"/>
                  <a:gd name="T29" fmla="*/ 38 h 38"/>
                  <a:gd name="T30" fmla="*/ 28 w 52"/>
                  <a:gd name="T31" fmla="*/ 38 h 38"/>
                  <a:gd name="T32" fmla="*/ 38 w 52"/>
                  <a:gd name="T33" fmla="*/ 38 h 38"/>
                  <a:gd name="T34" fmla="*/ 46 w 52"/>
                  <a:gd name="T35" fmla="*/ 34 h 38"/>
                  <a:gd name="T36" fmla="*/ 52 w 52"/>
                  <a:gd name="T37" fmla="*/ 28 h 38"/>
                  <a:gd name="T38" fmla="*/ 52 w 52"/>
                  <a:gd name="T39" fmla="*/ 20 h 38"/>
                  <a:gd name="T40" fmla="*/ 52 w 52"/>
                  <a:gd name="T41" fmla="*/ 20 h 38"/>
                  <a:gd name="T42" fmla="*/ 50 w 52"/>
                  <a:gd name="T43" fmla="*/ 12 h 38"/>
                  <a:gd name="T44" fmla="*/ 46 w 52"/>
                  <a:gd name="T45" fmla="*/ 6 h 38"/>
                  <a:gd name="T46" fmla="*/ 46 w 52"/>
                  <a:gd name="T47" fmla="*/ 6 h 38"/>
                  <a:gd name="T48" fmla="*/ 28 w 52"/>
                  <a:gd name="T49" fmla="*/ 28 h 38"/>
                  <a:gd name="T50" fmla="*/ 28 w 52"/>
                  <a:gd name="T51" fmla="*/ 28 h 38"/>
                  <a:gd name="T52" fmla="*/ 20 w 52"/>
                  <a:gd name="T53" fmla="*/ 26 h 38"/>
                  <a:gd name="T54" fmla="*/ 14 w 52"/>
                  <a:gd name="T55" fmla="*/ 26 h 38"/>
                  <a:gd name="T56" fmla="*/ 10 w 52"/>
                  <a:gd name="T57" fmla="*/ 22 h 38"/>
                  <a:gd name="T58" fmla="*/ 10 w 52"/>
                  <a:gd name="T59" fmla="*/ 20 h 38"/>
                  <a:gd name="T60" fmla="*/ 10 w 52"/>
                  <a:gd name="T61" fmla="*/ 20 h 38"/>
                  <a:gd name="T62" fmla="*/ 10 w 52"/>
                  <a:gd name="T63" fmla="*/ 16 h 38"/>
                  <a:gd name="T64" fmla="*/ 14 w 52"/>
                  <a:gd name="T65" fmla="*/ 14 h 38"/>
                  <a:gd name="T66" fmla="*/ 20 w 52"/>
                  <a:gd name="T67" fmla="*/ 12 h 38"/>
                  <a:gd name="T68" fmla="*/ 26 w 52"/>
                  <a:gd name="T69" fmla="*/ 12 h 38"/>
                  <a:gd name="T70" fmla="*/ 26 w 52"/>
                  <a:gd name="T71" fmla="*/ 12 h 38"/>
                  <a:gd name="T72" fmla="*/ 34 w 52"/>
                  <a:gd name="T73" fmla="*/ 12 h 38"/>
                  <a:gd name="T74" fmla="*/ 40 w 52"/>
                  <a:gd name="T75" fmla="*/ 14 h 38"/>
                  <a:gd name="T76" fmla="*/ 44 w 52"/>
                  <a:gd name="T77" fmla="*/ 16 h 38"/>
                  <a:gd name="T78" fmla="*/ 44 w 52"/>
                  <a:gd name="T79" fmla="*/ 20 h 38"/>
                  <a:gd name="T80" fmla="*/ 44 w 52"/>
                  <a:gd name="T81" fmla="*/ 20 h 38"/>
                  <a:gd name="T82" fmla="*/ 44 w 52"/>
                  <a:gd name="T83" fmla="*/ 22 h 38"/>
                  <a:gd name="T84" fmla="*/ 40 w 52"/>
                  <a:gd name="T85" fmla="*/ 26 h 38"/>
                  <a:gd name="T86" fmla="*/ 34 w 52"/>
                  <a:gd name="T87" fmla="*/ 26 h 38"/>
                  <a:gd name="T88" fmla="*/ 28 w 52"/>
                  <a:gd name="T89" fmla="*/ 28 h 38"/>
                  <a:gd name="T90" fmla="*/ 28 w 52"/>
                  <a:gd name="T9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38">
                    <a:moveTo>
                      <a:pt x="46" y="6"/>
                    </a:moveTo>
                    <a:lnTo>
                      <a:pt x="46" y="6"/>
                    </a:lnTo>
                    <a:lnTo>
                      <a:pt x="38" y="2"/>
                    </a:lnTo>
                    <a:lnTo>
                      <a:pt x="26" y="0"/>
                    </a:lnTo>
                    <a:lnTo>
                      <a:pt x="26" y="0"/>
                    </a:lnTo>
                    <a:lnTo>
                      <a:pt x="16" y="2"/>
                    </a:lnTo>
                    <a:lnTo>
                      <a:pt x="8" y="6"/>
                    </a:lnTo>
                    <a:lnTo>
                      <a:pt x="2" y="12"/>
                    </a:lnTo>
                    <a:lnTo>
                      <a:pt x="0" y="20"/>
                    </a:lnTo>
                    <a:lnTo>
                      <a:pt x="0" y="20"/>
                    </a:lnTo>
                    <a:lnTo>
                      <a:pt x="2" y="28"/>
                    </a:lnTo>
                    <a:lnTo>
                      <a:pt x="8" y="34"/>
                    </a:lnTo>
                    <a:lnTo>
                      <a:pt x="8" y="34"/>
                    </a:lnTo>
                    <a:lnTo>
                      <a:pt x="16" y="38"/>
                    </a:lnTo>
                    <a:lnTo>
                      <a:pt x="28" y="38"/>
                    </a:lnTo>
                    <a:lnTo>
                      <a:pt x="28" y="38"/>
                    </a:lnTo>
                    <a:lnTo>
                      <a:pt x="38" y="38"/>
                    </a:lnTo>
                    <a:lnTo>
                      <a:pt x="46" y="34"/>
                    </a:lnTo>
                    <a:lnTo>
                      <a:pt x="52" y="28"/>
                    </a:lnTo>
                    <a:lnTo>
                      <a:pt x="52" y="20"/>
                    </a:lnTo>
                    <a:lnTo>
                      <a:pt x="52" y="20"/>
                    </a:lnTo>
                    <a:lnTo>
                      <a:pt x="50" y="12"/>
                    </a:lnTo>
                    <a:lnTo>
                      <a:pt x="46" y="6"/>
                    </a:lnTo>
                    <a:lnTo>
                      <a:pt x="46" y="6"/>
                    </a:lnTo>
                    <a:close/>
                    <a:moveTo>
                      <a:pt x="28" y="28"/>
                    </a:moveTo>
                    <a:lnTo>
                      <a:pt x="28" y="28"/>
                    </a:lnTo>
                    <a:lnTo>
                      <a:pt x="20" y="26"/>
                    </a:lnTo>
                    <a:lnTo>
                      <a:pt x="14" y="26"/>
                    </a:lnTo>
                    <a:lnTo>
                      <a:pt x="10" y="22"/>
                    </a:lnTo>
                    <a:lnTo>
                      <a:pt x="10" y="20"/>
                    </a:lnTo>
                    <a:lnTo>
                      <a:pt x="10" y="20"/>
                    </a:lnTo>
                    <a:lnTo>
                      <a:pt x="10" y="16"/>
                    </a:lnTo>
                    <a:lnTo>
                      <a:pt x="14" y="14"/>
                    </a:lnTo>
                    <a:lnTo>
                      <a:pt x="20" y="12"/>
                    </a:lnTo>
                    <a:lnTo>
                      <a:pt x="26" y="12"/>
                    </a:lnTo>
                    <a:lnTo>
                      <a:pt x="26" y="12"/>
                    </a:lnTo>
                    <a:lnTo>
                      <a:pt x="34" y="12"/>
                    </a:lnTo>
                    <a:lnTo>
                      <a:pt x="40" y="14"/>
                    </a:lnTo>
                    <a:lnTo>
                      <a:pt x="44" y="16"/>
                    </a:lnTo>
                    <a:lnTo>
                      <a:pt x="44" y="20"/>
                    </a:lnTo>
                    <a:lnTo>
                      <a:pt x="44" y="20"/>
                    </a:lnTo>
                    <a:lnTo>
                      <a:pt x="44" y="22"/>
                    </a:lnTo>
                    <a:lnTo>
                      <a:pt x="40" y="26"/>
                    </a:lnTo>
                    <a:lnTo>
                      <a:pt x="34" y="26"/>
                    </a:lnTo>
                    <a:lnTo>
                      <a:pt x="28" y="28"/>
                    </a:lnTo>
                    <a:lnTo>
                      <a:pt x="28" y="28"/>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553" name="Freeform 926"/>
              <p:cNvSpPr>
                <a:spLocks/>
              </p:cNvSpPr>
              <p:nvPr/>
            </p:nvSpPr>
            <p:spPr bwMode="auto">
              <a:xfrm flipH="1">
                <a:off x="5955243" y="5223335"/>
                <a:ext cx="50656" cy="23380"/>
              </a:xfrm>
              <a:custGeom>
                <a:avLst/>
                <a:gdLst>
                  <a:gd name="T0" fmla="*/ 0 w 52"/>
                  <a:gd name="T1" fmla="*/ 0 h 24"/>
                  <a:gd name="T2" fmla="*/ 0 w 52"/>
                  <a:gd name="T3" fmla="*/ 0 h 24"/>
                  <a:gd name="T4" fmla="*/ 52 w 52"/>
                  <a:gd name="T5" fmla="*/ 0 h 24"/>
                  <a:gd name="T6" fmla="*/ 52 w 52"/>
                  <a:gd name="T7" fmla="*/ 0 h 24"/>
                  <a:gd name="T8" fmla="*/ 52 w 52"/>
                  <a:gd name="T9" fmla="*/ 12 h 24"/>
                  <a:gd name="T10" fmla="*/ 52 w 52"/>
                  <a:gd name="T11" fmla="*/ 12 h 24"/>
                  <a:gd name="T12" fmla="*/ 12 w 52"/>
                  <a:gd name="T13" fmla="*/ 12 h 24"/>
                  <a:gd name="T14" fmla="*/ 12 w 52"/>
                  <a:gd name="T15" fmla="*/ 12 h 24"/>
                  <a:gd name="T16" fmla="*/ 14 w 52"/>
                  <a:gd name="T17" fmla="*/ 14 h 24"/>
                  <a:gd name="T18" fmla="*/ 14 w 52"/>
                  <a:gd name="T19" fmla="*/ 14 h 24"/>
                  <a:gd name="T20" fmla="*/ 16 w 52"/>
                  <a:gd name="T21" fmla="*/ 16 h 24"/>
                  <a:gd name="T22" fmla="*/ 16 w 52"/>
                  <a:gd name="T23" fmla="*/ 16 h 24"/>
                  <a:gd name="T24" fmla="*/ 18 w 52"/>
                  <a:gd name="T25" fmla="*/ 20 h 24"/>
                  <a:gd name="T26" fmla="*/ 18 w 52"/>
                  <a:gd name="T27" fmla="*/ 20 h 24"/>
                  <a:gd name="T28" fmla="*/ 18 w 52"/>
                  <a:gd name="T29" fmla="*/ 24 h 24"/>
                  <a:gd name="T30" fmla="*/ 18 w 52"/>
                  <a:gd name="T31" fmla="*/ 24 h 24"/>
                  <a:gd name="T32" fmla="*/ 8 w 52"/>
                  <a:gd name="T33" fmla="*/ 24 h 24"/>
                  <a:gd name="T34" fmla="*/ 8 w 52"/>
                  <a:gd name="T35" fmla="*/ 24 h 24"/>
                  <a:gd name="T36" fmla="*/ 6 w 52"/>
                  <a:gd name="T37" fmla="*/ 14 h 24"/>
                  <a:gd name="T38" fmla="*/ 6 w 52"/>
                  <a:gd name="T39" fmla="*/ 14 h 24"/>
                  <a:gd name="T40" fmla="*/ 0 w 52"/>
                  <a:gd name="T41" fmla="*/ 8 h 24"/>
                  <a:gd name="T42" fmla="*/ 0 w 52"/>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24">
                    <a:moveTo>
                      <a:pt x="0" y="0"/>
                    </a:moveTo>
                    <a:lnTo>
                      <a:pt x="0" y="0"/>
                    </a:lnTo>
                    <a:lnTo>
                      <a:pt x="52" y="0"/>
                    </a:lnTo>
                    <a:lnTo>
                      <a:pt x="52" y="0"/>
                    </a:lnTo>
                    <a:lnTo>
                      <a:pt x="52" y="12"/>
                    </a:lnTo>
                    <a:lnTo>
                      <a:pt x="52" y="12"/>
                    </a:lnTo>
                    <a:lnTo>
                      <a:pt x="12" y="12"/>
                    </a:lnTo>
                    <a:lnTo>
                      <a:pt x="12" y="12"/>
                    </a:lnTo>
                    <a:lnTo>
                      <a:pt x="14" y="14"/>
                    </a:lnTo>
                    <a:lnTo>
                      <a:pt x="14" y="14"/>
                    </a:lnTo>
                    <a:lnTo>
                      <a:pt x="16" y="16"/>
                    </a:lnTo>
                    <a:lnTo>
                      <a:pt x="16" y="16"/>
                    </a:lnTo>
                    <a:lnTo>
                      <a:pt x="18" y="20"/>
                    </a:lnTo>
                    <a:lnTo>
                      <a:pt x="18" y="20"/>
                    </a:lnTo>
                    <a:lnTo>
                      <a:pt x="18" y="24"/>
                    </a:lnTo>
                    <a:lnTo>
                      <a:pt x="18" y="24"/>
                    </a:lnTo>
                    <a:lnTo>
                      <a:pt x="8" y="24"/>
                    </a:lnTo>
                    <a:lnTo>
                      <a:pt x="8" y="24"/>
                    </a:lnTo>
                    <a:lnTo>
                      <a:pt x="6" y="14"/>
                    </a:lnTo>
                    <a:lnTo>
                      <a:pt x="6" y="14"/>
                    </a:lnTo>
                    <a:lnTo>
                      <a:pt x="0" y="8"/>
                    </a:lnTo>
                    <a:lnTo>
                      <a:pt x="0" y="0"/>
                    </a:lnTo>
                    <a:close/>
                  </a:path>
                </a:pathLst>
              </a:custGeom>
              <a:grpFill/>
              <a:ln>
                <a:noFill/>
              </a:ln>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grpSp>
          <p:nvGrpSpPr>
            <p:cNvPr id="1414" name="Group 1413"/>
            <p:cNvGrpSpPr/>
            <p:nvPr/>
          </p:nvGrpSpPr>
          <p:grpSpPr>
            <a:xfrm flipH="1">
              <a:off x="9510588" y="2673386"/>
              <a:ext cx="310797" cy="410846"/>
              <a:chOff x="7732475" y="4832153"/>
              <a:chExt cx="376063" cy="497124"/>
            </a:xfrm>
          </p:grpSpPr>
          <p:sp>
            <p:nvSpPr>
              <p:cNvPr id="1542" name="Rectangle 1541"/>
              <p:cNvSpPr/>
              <p:nvPr/>
            </p:nvSpPr>
            <p:spPr bwMode="auto">
              <a:xfrm>
                <a:off x="7732475" y="4832153"/>
                <a:ext cx="77273" cy="497124"/>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3" name="Rectangle 1542"/>
              <p:cNvSpPr/>
              <p:nvPr/>
            </p:nvSpPr>
            <p:spPr bwMode="auto">
              <a:xfrm>
                <a:off x="7832072" y="4948063"/>
                <a:ext cx="77273" cy="381214"/>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4" name="Rectangle 1543"/>
              <p:cNvSpPr/>
              <p:nvPr/>
            </p:nvSpPr>
            <p:spPr bwMode="auto">
              <a:xfrm>
                <a:off x="8031265" y="5205641"/>
                <a:ext cx="77273" cy="123636"/>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5" name="Rectangle 1544"/>
              <p:cNvSpPr/>
              <p:nvPr/>
            </p:nvSpPr>
            <p:spPr bwMode="auto">
              <a:xfrm>
                <a:off x="7931669" y="5069125"/>
                <a:ext cx="77273" cy="260152"/>
              </a:xfrm>
              <a:prstGeom prst="rect">
                <a:avLst/>
              </a:prstGeom>
              <a:gradFill flip="none" rotWithShape="1">
                <a:gsLst>
                  <a:gs pos="0">
                    <a:srgbClr val="FFFFFF"/>
                  </a:gs>
                  <a:gs pos="100000">
                    <a:srgbClr val="FFFFFF">
                      <a:alpha val="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5" name="Group 1414"/>
            <p:cNvGrpSpPr/>
            <p:nvPr/>
          </p:nvGrpSpPr>
          <p:grpSpPr>
            <a:xfrm>
              <a:off x="9927076" y="1796374"/>
              <a:ext cx="917078" cy="569433"/>
              <a:chOff x="6622826" y="1953529"/>
              <a:chExt cx="1965840" cy="1220632"/>
            </a:xfrm>
          </p:grpSpPr>
          <p:sp>
            <p:nvSpPr>
              <p:cNvPr id="1495" name="Freeform 7"/>
              <p:cNvSpPr>
                <a:spLocks/>
              </p:cNvSpPr>
              <p:nvPr/>
            </p:nvSpPr>
            <p:spPr bwMode="auto">
              <a:xfrm flipH="1">
                <a:off x="6622826" y="1953529"/>
                <a:ext cx="1965840" cy="1220632"/>
              </a:xfrm>
              <a:custGeom>
                <a:avLst/>
                <a:gdLst>
                  <a:gd name="T0" fmla="*/ 0 w 1353"/>
                  <a:gd name="T1" fmla="*/ 820 h 840"/>
                  <a:gd name="T2" fmla="*/ 19 w 1353"/>
                  <a:gd name="T3" fmla="*/ 840 h 840"/>
                  <a:gd name="T4" fmla="*/ 1334 w 1353"/>
                  <a:gd name="T5" fmla="*/ 840 h 840"/>
                  <a:gd name="T6" fmla="*/ 1353 w 1353"/>
                  <a:gd name="T7" fmla="*/ 820 h 840"/>
                  <a:gd name="T8" fmla="*/ 1353 w 1353"/>
                  <a:gd name="T9" fmla="*/ 20 h 840"/>
                  <a:gd name="T10" fmla="*/ 1334 w 1353"/>
                  <a:gd name="T11" fmla="*/ 0 h 840"/>
                  <a:gd name="T12" fmla="*/ 19 w 1353"/>
                  <a:gd name="T13" fmla="*/ 0 h 840"/>
                  <a:gd name="T14" fmla="*/ 0 w 1353"/>
                  <a:gd name="T15" fmla="*/ 20 h 840"/>
                  <a:gd name="T16" fmla="*/ 0 w 1353"/>
                  <a:gd name="T17" fmla="*/ 82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3" h="840">
                    <a:moveTo>
                      <a:pt x="0" y="820"/>
                    </a:moveTo>
                    <a:cubicBezTo>
                      <a:pt x="0" y="831"/>
                      <a:pt x="9" y="840"/>
                      <a:pt x="19" y="840"/>
                    </a:cubicBezTo>
                    <a:cubicBezTo>
                      <a:pt x="1334" y="840"/>
                      <a:pt x="1334" y="840"/>
                      <a:pt x="1334" y="840"/>
                    </a:cubicBezTo>
                    <a:cubicBezTo>
                      <a:pt x="1345" y="840"/>
                      <a:pt x="1353" y="831"/>
                      <a:pt x="1353" y="820"/>
                    </a:cubicBezTo>
                    <a:cubicBezTo>
                      <a:pt x="1353" y="20"/>
                      <a:pt x="1353" y="20"/>
                      <a:pt x="1353" y="20"/>
                    </a:cubicBezTo>
                    <a:cubicBezTo>
                      <a:pt x="1353" y="9"/>
                      <a:pt x="1345" y="0"/>
                      <a:pt x="1334" y="0"/>
                    </a:cubicBezTo>
                    <a:cubicBezTo>
                      <a:pt x="19" y="0"/>
                      <a:pt x="19" y="0"/>
                      <a:pt x="19" y="0"/>
                    </a:cubicBezTo>
                    <a:cubicBezTo>
                      <a:pt x="9" y="0"/>
                      <a:pt x="0" y="9"/>
                      <a:pt x="0" y="20"/>
                    </a:cubicBezTo>
                    <a:cubicBezTo>
                      <a:pt x="0" y="820"/>
                      <a:pt x="0" y="820"/>
                      <a:pt x="0" y="82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mn-ea"/>
                  <a:cs typeface="+mn-cs"/>
                </a:endParaRPr>
              </a:p>
            </p:txBody>
          </p:sp>
          <p:sp>
            <p:nvSpPr>
              <p:cNvPr id="1496" name="Rounded Rectangle 1495"/>
              <p:cNvSpPr/>
              <p:nvPr/>
            </p:nvSpPr>
            <p:spPr bwMode="auto">
              <a:xfrm flipH="1">
                <a:off x="6747511" y="2069240"/>
                <a:ext cx="1725091" cy="989207"/>
              </a:xfrm>
              <a:prstGeom prst="roundRect">
                <a:avLst>
                  <a:gd name="adj" fmla="val 877"/>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7" name="Rectangle 1496"/>
              <p:cNvSpPr/>
              <p:nvPr/>
            </p:nvSpPr>
            <p:spPr bwMode="auto">
              <a:xfrm>
                <a:off x="7625531" y="2316216"/>
                <a:ext cx="809044" cy="694090"/>
              </a:xfrm>
              <a:prstGeom prst="rect">
                <a:avLst/>
              </a:prstGeom>
              <a:solidFill>
                <a:srgbClr val="FFFFFF"/>
              </a:solid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none" lIns="186521" tIns="46630"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10000"/>
                  </a:lnSpc>
                  <a:spcBef>
                    <a:spcPct val="0"/>
                  </a:spcBef>
                  <a:spcAft>
                    <a:spcPct val="0"/>
                  </a:spcAft>
                  <a:buClrTx/>
                  <a:buSzTx/>
                  <a:buFontTx/>
                  <a:buNone/>
                  <a:tabLst/>
                  <a:defRPr/>
                </a:pPr>
                <a:endParaRPr kumimoji="0" lang="en-US" sz="1071" b="0" i="0" u="none" strike="noStrike" kern="0" cap="none" spc="0" normalizeH="0" baseline="0" noProof="0">
                  <a:ln>
                    <a:noFill/>
                  </a:ln>
                  <a:solidFill>
                    <a:srgbClr val="FFFFFF">
                      <a:lumMod val="65000"/>
                    </a:srgbClr>
                  </a:solidFill>
                  <a:effectLst/>
                  <a:uLnTx/>
                  <a:uFillTx/>
                  <a:latin typeface="Segoe UI Light"/>
                  <a:ea typeface="Segoe UI" pitchFamily="34" charset="0"/>
                  <a:cs typeface="Segoe UI Semibold" panose="020B0702040204020203" pitchFamily="34" charset="0"/>
                </a:endParaRPr>
              </a:p>
            </p:txBody>
          </p:sp>
          <p:grpSp>
            <p:nvGrpSpPr>
              <p:cNvPr id="1498" name="Group 1497"/>
              <p:cNvGrpSpPr/>
              <p:nvPr/>
            </p:nvGrpSpPr>
            <p:grpSpPr>
              <a:xfrm>
                <a:off x="6781399" y="2101313"/>
                <a:ext cx="818888" cy="915225"/>
                <a:chOff x="6628999" y="1948913"/>
                <a:chExt cx="818888" cy="915225"/>
              </a:xfrm>
            </p:grpSpPr>
            <p:grpSp>
              <p:nvGrpSpPr>
                <p:cNvPr id="1506" name="Group 1505"/>
                <p:cNvGrpSpPr/>
                <p:nvPr/>
              </p:nvGrpSpPr>
              <p:grpSpPr>
                <a:xfrm>
                  <a:off x="6628999" y="1948913"/>
                  <a:ext cx="818888" cy="915225"/>
                  <a:chOff x="6628999" y="1948916"/>
                  <a:chExt cx="818888" cy="805321"/>
                </a:xfrm>
              </p:grpSpPr>
              <p:grpSp>
                <p:nvGrpSpPr>
                  <p:cNvPr id="1526" name="Group 1525"/>
                  <p:cNvGrpSpPr/>
                  <p:nvPr/>
                </p:nvGrpSpPr>
                <p:grpSpPr>
                  <a:xfrm>
                    <a:off x="6628999" y="1948916"/>
                    <a:ext cx="818888" cy="188823"/>
                    <a:chOff x="6626090" y="1950776"/>
                    <a:chExt cx="802753" cy="185102"/>
                  </a:xfrm>
                </p:grpSpPr>
                <p:sp>
                  <p:nvSpPr>
                    <p:cNvPr id="1539" name="Rectangle 1538"/>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40" name="Rectangle 1539"/>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41" name="Rectangle 1540"/>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27" name="Group 1526"/>
                  <p:cNvGrpSpPr/>
                  <p:nvPr/>
                </p:nvGrpSpPr>
                <p:grpSpPr>
                  <a:xfrm>
                    <a:off x="6628999" y="2154415"/>
                    <a:ext cx="818888" cy="188823"/>
                    <a:chOff x="6626090" y="1950776"/>
                    <a:chExt cx="802753" cy="185102"/>
                  </a:xfrm>
                </p:grpSpPr>
                <p:sp>
                  <p:nvSpPr>
                    <p:cNvPr id="1536" name="Rectangle 1535"/>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7" name="Rectangle 1536"/>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8" name="Rectangle 1537"/>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28" name="Group 1527"/>
                  <p:cNvGrpSpPr/>
                  <p:nvPr/>
                </p:nvGrpSpPr>
                <p:grpSpPr>
                  <a:xfrm>
                    <a:off x="6628999" y="2359914"/>
                    <a:ext cx="818888" cy="188823"/>
                    <a:chOff x="6626090" y="1950776"/>
                    <a:chExt cx="802753" cy="185102"/>
                  </a:xfrm>
                </p:grpSpPr>
                <p:sp>
                  <p:nvSpPr>
                    <p:cNvPr id="1533" name="Rectangle 1532"/>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4" name="Rectangle 1533"/>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5" name="Rectangle 1534"/>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29" name="Group 1528"/>
                  <p:cNvGrpSpPr/>
                  <p:nvPr/>
                </p:nvGrpSpPr>
                <p:grpSpPr>
                  <a:xfrm>
                    <a:off x="6628999" y="2565414"/>
                    <a:ext cx="818888" cy="188823"/>
                    <a:chOff x="6626090" y="1950776"/>
                    <a:chExt cx="802753" cy="185102"/>
                  </a:xfrm>
                </p:grpSpPr>
                <p:sp>
                  <p:nvSpPr>
                    <p:cNvPr id="1530" name="Rectangle 1529"/>
                    <p:cNvSpPr/>
                    <p:nvPr/>
                  </p:nvSpPr>
                  <p:spPr bwMode="auto">
                    <a:xfrm>
                      <a:off x="6626090" y="1950776"/>
                      <a:ext cx="254083" cy="185102"/>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1" name="Rectangle 1530"/>
                    <p:cNvSpPr/>
                    <p:nvPr/>
                  </p:nvSpPr>
                  <p:spPr bwMode="auto">
                    <a:xfrm>
                      <a:off x="6897070"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32" name="Rectangle 1531"/>
                    <p:cNvSpPr/>
                    <p:nvPr/>
                  </p:nvSpPr>
                  <p:spPr bwMode="auto">
                    <a:xfrm>
                      <a:off x="7171405" y="1950776"/>
                      <a:ext cx="257438" cy="18510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nvGrpSpPr>
                <p:cNvPr id="1507" name="Group 1506"/>
                <p:cNvGrpSpPr>
                  <a:grpSpLocks noChangeAspect="1"/>
                </p:cNvGrpSpPr>
                <p:nvPr/>
              </p:nvGrpSpPr>
              <p:grpSpPr>
                <a:xfrm rot="16200000">
                  <a:off x="6682844" y="2113002"/>
                  <a:ext cx="702546" cy="576819"/>
                  <a:chOff x="-4435475" y="1371600"/>
                  <a:chExt cx="4435475" cy="3641725"/>
                </a:xfrm>
              </p:grpSpPr>
              <p:sp>
                <p:nvSpPr>
                  <p:cNvPr id="1516"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FFFFFF">
                      <a:lumMod val="85000"/>
                    </a:srgbClr>
                  </a:solidFill>
                  <a:ln>
                    <a:noFill/>
                  </a:ln>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nvGrpSpPr>
                  <p:cNvPr id="1517" name="Group 1516"/>
                  <p:cNvGrpSpPr/>
                  <p:nvPr/>
                </p:nvGrpSpPr>
                <p:grpSpPr>
                  <a:xfrm>
                    <a:off x="-4206871" y="1603381"/>
                    <a:ext cx="3978266" cy="3168650"/>
                    <a:chOff x="-4206875" y="1603375"/>
                    <a:chExt cx="3978275" cy="3168650"/>
                  </a:xfrm>
                  <a:solidFill>
                    <a:srgbClr val="FFFFFF"/>
                  </a:solidFill>
                </p:grpSpPr>
                <p:sp>
                  <p:nvSpPr>
                    <p:cNvPr id="1518"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19"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0"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1"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2"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3"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4"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sp>
                  <p:nvSpPr>
                    <p:cNvPr id="152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marL="0" marR="0" lvl="0" indent="0" algn="l" defTabSz="950973"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latin typeface="Segoe UI Light"/>
                        <a:ea typeface="+mn-ea"/>
                        <a:cs typeface="+mn-cs"/>
                      </a:endParaRPr>
                    </a:p>
                  </p:txBody>
                </p:sp>
              </p:grpSp>
            </p:grpSp>
            <p:sp>
              <p:nvSpPr>
                <p:cNvPr id="1508" name="Oval 1507"/>
                <p:cNvSpPr/>
                <p:nvPr/>
              </p:nvSpPr>
              <p:spPr bwMode="auto">
                <a:xfrm>
                  <a:off x="6725745" y="2318223"/>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09" name="Oval 1508"/>
                <p:cNvSpPr/>
                <p:nvPr/>
              </p:nvSpPr>
              <p:spPr bwMode="auto">
                <a:xfrm>
                  <a:off x="7049541" y="2664368"/>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10" name="Oval 1509"/>
                <p:cNvSpPr/>
                <p:nvPr/>
              </p:nvSpPr>
              <p:spPr bwMode="auto">
                <a:xfrm>
                  <a:off x="7195920" y="2057203"/>
                  <a:ext cx="130247" cy="130248"/>
                </a:xfrm>
                <a:prstGeom prst="ellipse">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11" name="Oval 1510"/>
                <p:cNvSpPr/>
                <p:nvPr/>
              </p:nvSpPr>
              <p:spPr bwMode="auto">
                <a:xfrm>
                  <a:off x="7049541" y="2395674"/>
                  <a:ext cx="130247" cy="13024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512" name="Donut 15"/>
                <p:cNvSpPr>
                  <a:spLocks noChangeAspect="1"/>
                </p:cNvSpPr>
                <p:nvPr/>
              </p:nvSpPr>
              <p:spPr bwMode="auto">
                <a:xfrm>
                  <a:off x="7081258" y="2421893"/>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3" name="Donut 15"/>
                <p:cNvSpPr>
                  <a:spLocks noChangeAspect="1"/>
                </p:cNvSpPr>
                <p:nvPr/>
              </p:nvSpPr>
              <p:spPr bwMode="auto">
                <a:xfrm>
                  <a:off x="7081258" y="2691914"/>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4" name="Donut 15"/>
                <p:cNvSpPr>
                  <a:spLocks noChangeAspect="1"/>
                </p:cNvSpPr>
                <p:nvPr/>
              </p:nvSpPr>
              <p:spPr bwMode="auto">
                <a:xfrm>
                  <a:off x="6756419" y="2343783"/>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5" name="Donut 15"/>
                <p:cNvSpPr>
                  <a:spLocks noChangeAspect="1"/>
                </p:cNvSpPr>
                <p:nvPr/>
              </p:nvSpPr>
              <p:spPr bwMode="auto">
                <a:xfrm>
                  <a:off x="7227828" y="2084390"/>
                  <a:ext cx="66813" cy="66496"/>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51"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99" name="Group 1498"/>
              <p:cNvGrpSpPr/>
              <p:nvPr/>
            </p:nvGrpSpPr>
            <p:grpSpPr>
              <a:xfrm>
                <a:off x="7625531" y="2105027"/>
                <a:ext cx="809051" cy="214592"/>
                <a:chOff x="7473131" y="2653212"/>
                <a:chExt cx="809051" cy="214592"/>
              </a:xfrm>
            </p:grpSpPr>
            <p:sp>
              <p:nvSpPr>
                <p:cNvPr id="1504" name="Rectangle 1503"/>
                <p:cNvSpPr/>
                <p:nvPr/>
              </p:nvSpPr>
              <p:spPr bwMode="auto">
                <a:xfrm>
                  <a:off x="7473131" y="2653212"/>
                  <a:ext cx="809051" cy="214592"/>
                </a:xfrm>
                <a:prstGeom prst="rect">
                  <a:avLst/>
                </a:prstGeom>
                <a:solidFill>
                  <a:srgbClr val="FFFFFF"/>
                </a:solidFill>
                <a:ln w="6350" cap="flat" cmpd="sng" algn="ctr">
                  <a:solidFill>
                    <a:srgbClr val="DD5900"/>
                  </a:solidFill>
                  <a:prstDash val="solid"/>
                  <a:headEnd type="none" w="med" len="med"/>
                  <a:tailEnd type="none" w="med" len="med"/>
                </a:ln>
                <a:effectLst/>
              </p:spPr>
              <p:txBody>
                <a:bodyPr rot="0" spcFirstLastPara="0" vertOverflow="overflow" horzOverflow="overflow" vert="horz" wrap="none" lIns="27978" tIns="149195" rIns="186494" bIns="149195"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612" b="0" i="0" u="none" strike="noStrike" kern="0" cap="none" spc="0" normalizeH="0" baseline="0" noProof="0">
                    <a:ln>
                      <a:noFill/>
                    </a:ln>
                    <a:solidFill>
                      <a:srgbClr val="DD590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05" name="Half Frame 1504"/>
                <p:cNvSpPr/>
                <p:nvPr/>
              </p:nvSpPr>
              <p:spPr bwMode="auto">
                <a:xfrm rot="8026432">
                  <a:off x="8150789" y="2722095"/>
                  <a:ext cx="66560" cy="66560"/>
                </a:xfrm>
                <a:prstGeom prst="halfFrame">
                  <a:avLst>
                    <a:gd name="adj1" fmla="val 4914"/>
                    <a:gd name="adj2" fmla="val 6150"/>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00" name="Group 1499"/>
              <p:cNvGrpSpPr/>
              <p:nvPr/>
            </p:nvGrpSpPr>
            <p:grpSpPr>
              <a:xfrm>
                <a:off x="7679223" y="2742308"/>
                <a:ext cx="704311" cy="220302"/>
                <a:chOff x="7526813" y="2589908"/>
                <a:chExt cx="729630" cy="220302"/>
              </a:xfrm>
            </p:grpSpPr>
            <p:sp>
              <p:nvSpPr>
                <p:cNvPr id="1501" name="Freeform 1500"/>
                <p:cNvSpPr>
                  <a:spLocks noChangeAspect="1"/>
                </p:cNvSpPr>
                <p:nvPr/>
              </p:nvSpPr>
              <p:spPr bwMode="black">
                <a:xfrm>
                  <a:off x="7526813" y="2589908"/>
                  <a:ext cx="228866" cy="220302"/>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2" name="Freeform 1501"/>
                <p:cNvSpPr>
                  <a:spLocks noChangeAspect="1"/>
                </p:cNvSpPr>
                <p:nvPr/>
              </p:nvSpPr>
              <p:spPr bwMode="black">
                <a:xfrm flipH="1">
                  <a:off x="7778512" y="2630596"/>
                  <a:ext cx="228866" cy="179614"/>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3" name="Freeform 1502"/>
                <p:cNvSpPr>
                  <a:spLocks noChangeAspect="1"/>
                </p:cNvSpPr>
                <p:nvPr/>
              </p:nvSpPr>
              <p:spPr bwMode="black">
                <a:xfrm flipH="1">
                  <a:off x="8027577" y="2630596"/>
                  <a:ext cx="228866" cy="179614"/>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16" name="Group 1415"/>
            <p:cNvGrpSpPr/>
            <p:nvPr/>
          </p:nvGrpSpPr>
          <p:grpSpPr>
            <a:xfrm>
              <a:off x="9786978" y="2280167"/>
              <a:ext cx="1236605" cy="429204"/>
              <a:chOff x="9725148" y="2258707"/>
              <a:chExt cx="1360265" cy="472125"/>
            </a:xfrm>
          </p:grpSpPr>
          <p:grpSp>
            <p:nvGrpSpPr>
              <p:cNvPr id="1422" name="Group 1421"/>
              <p:cNvGrpSpPr/>
              <p:nvPr/>
            </p:nvGrpSpPr>
            <p:grpSpPr>
              <a:xfrm>
                <a:off x="9725148" y="2258707"/>
                <a:ext cx="1360265" cy="472125"/>
                <a:chOff x="6191268" y="4188485"/>
                <a:chExt cx="1645920" cy="571274"/>
              </a:xfrm>
            </p:grpSpPr>
            <p:grpSp>
              <p:nvGrpSpPr>
                <p:cNvPr id="1489" name="Group 1488"/>
                <p:cNvGrpSpPr/>
                <p:nvPr/>
              </p:nvGrpSpPr>
              <p:grpSpPr>
                <a:xfrm>
                  <a:off x="6192206" y="4196111"/>
                  <a:ext cx="1621619" cy="543374"/>
                  <a:chOff x="4526563" y="-757239"/>
                  <a:chExt cx="794736" cy="635002"/>
                </a:xfrm>
              </p:grpSpPr>
              <p:sp>
                <p:nvSpPr>
                  <p:cNvPr id="1492" name="Freeform 61"/>
                  <p:cNvSpPr>
                    <a:spLocks/>
                  </p:cNvSpPr>
                  <p:nvPr/>
                </p:nvSpPr>
                <p:spPr bwMode="auto">
                  <a:xfrm>
                    <a:off x="4529137" y="-757239"/>
                    <a:ext cx="792162"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93" name="Rectangle 64"/>
                  <p:cNvSpPr>
                    <a:spLocks noChangeArrowheads="1"/>
                  </p:cNvSpPr>
                  <p:nvPr/>
                </p:nvSpPr>
                <p:spPr bwMode="auto">
                  <a:xfrm>
                    <a:off x="4529138" y="-757238"/>
                    <a:ext cx="196850"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94" name="Freeform 68"/>
                  <p:cNvSpPr>
                    <a:spLocks/>
                  </p:cNvSpPr>
                  <p:nvPr/>
                </p:nvSpPr>
                <p:spPr bwMode="auto">
                  <a:xfrm>
                    <a:off x="4526563" y="-577851"/>
                    <a:ext cx="357187" cy="455614"/>
                  </a:xfrm>
                  <a:custGeom>
                    <a:avLst/>
                    <a:gdLst>
                      <a:gd name="T0" fmla="*/ 124 w 225"/>
                      <a:gd name="T1" fmla="*/ 0 h 287"/>
                      <a:gd name="T2" fmla="*/ 124 w 225"/>
                      <a:gd name="T3" fmla="*/ 0 h 287"/>
                      <a:gd name="T4" fmla="*/ 0 w 225"/>
                      <a:gd name="T5" fmla="*/ 0 h 287"/>
                      <a:gd name="T6" fmla="*/ 67 w 225"/>
                      <a:gd name="T7" fmla="*/ 103 h 287"/>
                      <a:gd name="T8" fmla="*/ 189 w 225"/>
                      <a:gd name="T9" fmla="*/ 287 h 287"/>
                      <a:gd name="T10" fmla="*/ 225 w 225"/>
                      <a:gd name="T11" fmla="*/ 287 h 287"/>
                      <a:gd name="T12" fmla="*/ 124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4" y="0"/>
                        </a:moveTo>
                        <a:lnTo>
                          <a:pt x="124" y="0"/>
                        </a:lnTo>
                        <a:lnTo>
                          <a:pt x="0" y="0"/>
                        </a:lnTo>
                        <a:lnTo>
                          <a:pt x="67" y="103"/>
                        </a:lnTo>
                        <a:lnTo>
                          <a:pt x="189" y="287"/>
                        </a:lnTo>
                        <a:lnTo>
                          <a:pt x="225" y="287"/>
                        </a:lnTo>
                        <a:lnTo>
                          <a:pt x="124"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490" name="Rounded Rectangle 1489"/>
                <p:cNvSpPr/>
                <p:nvPr/>
              </p:nvSpPr>
              <p:spPr bwMode="auto">
                <a:xfrm>
                  <a:off x="6773813" y="4732327"/>
                  <a:ext cx="458405" cy="27432"/>
                </a:xfrm>
                <a:prstGeom prst="roundRect">
                  <a:avLst>
                    <a:gd name="adj" fmla="val 50000"/>
                  </a:avLst>
                </a:pr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1" name="Rounded Rectangle 1490"/>
                <p:cNvSpPr/>
                <p:nvPr/>
              </p:nvSpPr>
              <p:spPr bwMode="auto">
                <a:xfrm>
                  <a:off x="6191268" y="4188485"/>
                  <a:ext cx="1645920" cy="27432"/>
                </a:xfrm>
                <a:prstGeom prst="roundRect">
                  <a:avLst>
                    <a:gd name="adj" fmla="val 50000"/>
                  </a:avLst>
                </a:pr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23" name="Rectangle 72"/>
              <p:cNvSpPr>
                <a:spLocks noChangeArrowheads="1"/>
              </p:cNvSpPr>
              <p:nvPr/>
            </p:nvSpPr>
            <p:spPr bwMode="auto">
              <a:xfrm>
                <a:off x="10016786" y="2383789"/>
                <a:ext cx="776989" cy="143209"/>
              </a:xfrm>
              <a:prstGeom prst="rect">
                <a:avLst/>
              </a:prstGeom>
              <a:solidFill>
                <a:srgbClr val="FFFFFF"/>
              </a:solidFill>
              <a:ln>
                <a:noFill/>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nvGrpSpPr>
              <p:cNvPr id="1424" name="Group 1423"/>
              <p:cNvGrpSpPr/>
              <p:nvPr/>
            </p:nvGrpSpPr>
            <p:grpSpPr>
              <a:xfrm>
                <a:off x="10030940" y="2377135"/>
                <a:ext cx="758512" cy="156427"/>
                <a:chOff x="6550919" y="4228100"/>
                <a:chExt cx="917830" cy="189279"/>
              </a:xfrm>
              <a:solidFill>
                <a:srgbClr val="D2D2D2"/>
              </a:solidFill>
            </p:grpSpPr>
            <p:sp>
              <p:nvSpPr>
                <p:cNvPr id="1426" name="Freeform 16"/>
                <p:cNvSpPr>
                  <a:spLocks/>
                </p:cNvSpPr>
                <p:nvPr/>
              </p:nvSpPr>
              <p:spPr bwMode="auto">
                <a:xfrm>
                  <a:off x="6557092" y="4228100"/>
                  <a:ext cx="22631" cy="5143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27" name="Freeform 17"/>
                <p:cNvSpPr>
                  <a:spLocks noEditPoints="1"/>
                </p:cNvSpPr>
                <p:nvPr/>
              </p:nvSpPr>
              <p:spPr bwMode="auto">
                <a:xfrm>
                  <a:off x="6550919" y="4300109"/>
                  <a:ext cx="37033" cy="49377"/>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28" name="Freeform 18"/>
                <p:cNvSpPr>
                  <a:spLocks noEditPoints="1"/>
                </p:cNvSpPr>
                <p:nvPr/>
              </p:nvSpPr>
              <p:spPr bwMode="auto">
                <a:xfrm>
                  <a:off x="6550919" y="4368002"/>
                  <a:ext cx="37033"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29" name="Freeform 8"/>
                <p:cNvSpPr>
                  <a:spLocks noEditPoints="1"/>
                </p:cNvSpPr>
                <p:nvPr/>
              </p:nvSpPr>
              <p:spPr bwMode="auto">
                <a:xfrm>
                  <a:off x="6599911" y="4228100"/>
                  <a:ext cx="39090" cy="5143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0" name="Freeform 9"/>
                <p:cNvSpPr>
                  <a:spLocks/>
                </p:cNvSpPr>
                <p:nvPr/>
              </p:nvSpPr>
              <p:spPr bwMode="auto">
                <a:xfrm>
                  <a:off x="6647231" y="4228100"/>
                  <a:ext cx="22631" cy="5143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1" name="Freeform 11"/>
                <p:cNvSpPr>
                  <a:spLocks/>
                </p:cNvSpPr>
                <p:nvPr/>
              </p:nvSpPr>
              <p:spPr bwMode="auto">
                <a:xfrm>
                  <a:off x="6606084" y="4300109"/>
                  <a:ext cx="20574" cy="45262"/>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2" name="Freeform 12"/>
                <p:cNvSpPr>
                  <a:spLocks noEditPoints="1"/>
                </p:cNvSpPr>
                <p:nvPr/>
              </p:nvSpPr>
              <p:spPr bwMode="auto">
                <a:xfrm>
                  <a:off x="6641060" y="4300109"/>
                  <a:ext cx="37033"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3" name="Freeform 14"/>
                <p:cNvSpPr>
                  <a:spLocks noEditPoints="1"/>
                </p:cNvSpPr>
                <p:nvPr/>
              </p:nvSpPr>
              <p:spPr bwMode="auto">
                <a:xfrm>
                  <a:off x="6599911" y="4368002"/>
                  <a:ext cx="39090"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4" name="Freeform 15"/>
                <p:cNvSpPr>
                  <a:spLocks/>
                </p:cNvSpPr>
                <p:nvPr/>
              </p:nvSpPr>
              <p:spPr bwMode="auto">
                <a:xfrm>
                  <a:off x="6647231" y="4368002"/>
                  <a:ext cx="22631" cy="49377"/>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5" name="Freeform 16"/>
                <p:cNvSpPr>
                  <a:spLocks/>
                </p:cNvSpPr>
                <p:nvPr/>
              </p:nvSpPr>
              <p:spPr bwMode="auto">
                <a:xfrm>
                  <a:off x="6733643" y="4228100"/>
                  <a:ext cx="22631" cy="5143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6" name="Freeform 17"/>
                <p:cNvSpPr>
                  <a:spLocks noEditPoints="1"/>
                </p:cNvSpPr>
                <p:nvPr/>
              </p:nvSpPr>
              <p:spPr bwMode="auto">
                <a:xfrm>
                  <a:off x="6727470" y="4300109"/>
                  <a:ext cx="37033" cy="49377"/>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7" name="Freeform 18"/>
                <p:cNvSpPr>
                  <a:spLocks noEditPoints="1"/>
                </p:cNvSpPr>
                <p:nvPr/>
              </p:nvSpPr>
              <p:spPr bwMode="auto">
                <a:xfrm>
                  <a:off x="6727470" y="4368002"/>
                  <a:ext cx="37033"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8" name="Freeform 19"/>
                <p:cNvSpPr>
                  <a:spLocks noEditPoints="1"/>
                </p:cNvSpPr>
                <p:nvPr/>
              </p:nvSpPr>
              <p:spPr bwMode="auto">
                <a:xfrm>
                  <a:off x="6684264" y="4228100"/>
                  <a:ext cx="34975" cy="5143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39" name="Freeform 20"/>
                <p:cNvSpPr>
                  <a:spLocks/>
                </p:cNvSpPr>
                <p:nvPr/>
              </p:nvSpPr>
              <p:spPr bwMode="auto">
                <a:xfrm>
                  <a:off x="6686321" y="4300109"/>
                  <a:ext cx="24689" cy="45262"/>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0" name="Freeform 21"/>
                <p:cNvSpPr>
                  <a:spLocks noEditPoints="1"/>
                </p:cNvSpPr>
                <p:nvPr/>
              </p:nvSpPr>
              <p:spPr bwMode="auto">
                <a:xfrm>
                  <a:off x="6684264" y="4368002"/>
                  <a:ext cx="34975" cy="49377"/>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1" name="Freeform 8"/>
                <p:cNvSpPr>
                  <a:spLocks noEditPoints="1"/>
                </p:cNvSpPr>
                <p:nvPr/>
              </p:nvSpPr>
              <p:spPr bwMode="auto">
                <a:xfrm>
                  <a:off x="6776462" y="4228100"/>
                  <a:ext cx="39090" cy="5143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2" name="Freeform 9"/>
                <p:cNvSpPr>
                  <a:spLocks/>
                </p:cNvSpPr>
                <p:nvPr/>
              </p:nvSpPr>
              <p:spPr bwMode="auto">
                <a:xfrm>
                  <a:off x="6823782" y="4228100"/>
                  <a:ext cx="22631" cy="5143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3" name="Freeform 11"/>
                <p:cNvSpPr>
                  <a:spLocks/>
                </p:cNvSpPr>
                <p:nvPr/>
              </p:nvSpPr>
              <p:spPr bwMode="auto">
                <a:xfrm>
                  <a:off x="6782635" y="4300109"/>
                  <a:ext cx="20574" cy="45262"/>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4" name="Freeform 12"/>
                <p:cNvSpPr>
                  <a:spLocks noEditPoints="1"/>
                </p:cNvSpPr>
                <p:nvPr/>
              </p:nvSpPr>
              <p:spPr bwMode="auto">
                <a:xfrm>
                  <a:off x="6817611" y="4300109"/>
                  <a:ext cx="37033"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5" name="Freeform 14"/>
                <p:cNvSpPr>
                  <a:spLocks noEditPoints="1"/>
                </p:cNvSpPr>
                <p:nvPr/>
              </p:nvSpPr>
              <p:spPr bwMode="auto">
                <a:xfrm>
                  <a:off x="6776462" y="4368002"/>
                  <a:ext cx="39090"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6" name="Freeform 15"/>
                <p:cNvSpPr>
                  <a:spLocks/>
                </p:cNvSpPr>
                <p:nvPr/>
              </p:nvSpPr>
              <p:spPr bwMode="auto">
                <a:xfrm>
                  <a:off x="6823782" y="4368002"/>
                  <a:ext cx="22631" cy="49377"/>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7" name="Freeform 16"/>
                <p:cNvSpPr>
                  <a:spLocks/>
                </p:cNvSpPr>
                <p:nvPr/>
              </p:nvSpPr>
              <p:spPr bwMode="auto">
                <a:xfrm>
                  <a:off x="6910194" y="4228100"/>
                  <a:ext cx="22631" cy="5143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8" name="Freeform 17"/>
                <p:cNvSpPr>
                  <a:spLocks noEditPoints="1"/>
                </p:cNvSpPr>
                <p:nvPr/>
              </p:nvSpPr>
              <p:spPr bwMode="auto">
                <a:xfrm>
                  <a:off x="6904021" y="4300109"/>
                  <a:ext cx="37033" cy="49377"/>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49" name="Freeform 18"/>
                <p:cNvSpPr>
                  <a:spLocks noEditPoints="1"/>
                </p:cNvSpPr>
                <p:nvPr/>
              </p:nvSpPr>
              <p:spPr bwMode="auto">
                <a:xfrm>
                  <a:off x="6904021" y="4368002"/>
                  <a:ext cx="37033"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0" name="Freeform 19"/>
                <p:cNvSpPr>
                  <a:spLocks noEditPoints="1"/>
                </p:cNvSpPr>
                <p:nvPr/>
              </p:nvSpPr>
              <p:spPr bwMode="auto">
                <a:xfrm>
                  <a:off x="6860815" y="4228100"/>
                  <a:ext cx="34975" cy="5143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1" name="Freeform 20"/>
                <p:cNvSpPr>
                  <a:spLocks/>
                </p:cNvSpPr>
                <p:nvPr/>
              </p:nvSpPr>
              <p:spPr bwMode="auto">
                <a:xfrm>
                  <a:off x="6862872" y="4300109"/>
                  <a:ext cx="24689" cy="45262"/>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2" name="Freeform 21"/>
                <p:cNvSpPr>
                  <a:spLocks noEditPoints="1"/>
                </p:cNvSpPr>
                <p:nvPr/>
              </p:nvSpPr>
              <p:spPr bwMode="auto">
                <a:xfrm>
                  <a:off x="6860815" y="4368002"/>
                  <a:ext cx="34975" cy="49377"/>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3" name="Freeform 7"/>
                <p:cNvSpPr>
                  <a:spLocks/>
                </p:cNvSpPr>
                <p:nvPr/>
              </p:nvSpPr>
              <p:spPr bwMode="auto">
                <a:xfrm>
                  <a:off x="6959286" y="4228100"/>
                  <a:ext cx="20574" cy="51435"/>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4" name="Freeform 10"/>
                <p:cNvSpPr>
                  <a:spLocks noEditPoints="1"/>
                </p:cNvSpPr>
                <p:nvPr/>
              </p:nvSpPr>
              <p:spPr bwMode="auto">
                <a:xfrm>
                  <a:off x="6953115" y="4300109"/>
                  <a:ext cx="39090"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5" name="Freeform 13"/>
                <p:cNvSpPr>
                  <a:spLocks noEditPoints="1"/>
                </p:cNvSpPr>
                <p:nvPr/>
              </p:nvSpPr>
              <p:spPr bwMode="auto">
                <a:xfrm>
                  <a:off x="6953115" y="4368002"/>
                  <a:ext cx="39090" cy="49377"/>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6" name="Freeform 8"/>
                <p:cNvSpPr>
                  <a:spLocks noEditPoints="1"/>
                </p:cNvSpPr>
                <p:nvPr/>
              </p:nvSpPr>
              <p:spPr bwMode="auto">
                <a:xfrm>
                  <a:off x="6996319" y="4228100"/>
                  <a:ext cx="39090" cy="5143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7" name="Freeform 9"/>
                <p:cNvSpPr>
                  <a:spLocks/>
                </p:cNvSpPr>
                <p:nvPr/>
              </p:nvSpPr>
              <p:spPr bwMode="auto">
                <a:xfrm>
                  <a:off x="7043639" y="4228100"/>
                  <a:ext cx="22631" cy="5143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8" name="Freeform 11"/>
                <p:cNvSpPr>
                  <a:spLocks/>
                </p:cNvSpPr>
                <p:nvPr/>
              </p:nvSpPr>
              <p:spPr bwMode="auto">
                <a:xfrm>
                  <a:off x="7002492" y="4300109"/>
                  <a:ext cx="20574" cy="45262"/>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59" name="Freeform 12"/>
                <p:cNvSpPr>
                  <a:spLocks noEditPoints="1"/>
                </p:cNvSpPr>
                <p:nvPr/>
              </p:nvSpPr>
              <p:spPr bwMode="auto">
                <a:xfrm>
                  <a:off x="7037468" y="4300109"/>
                  <a:ext cx="37033"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0" name="Freeform 14"/>
                <p:cNvSpPr>
                  <a:spLocks noEditPoints="1"/>
                </p:cNvSpPr>
                <p:nvPr/>
              </p:nvSpPr>
              <p:spPr bwMode="auto">
                <a:xfrm>
                  <a:off x="6996319" y="4368002"/>
                  <a:ext cx="39090"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1" name="Freeform 15"/>
                <p:cNvSpPr>
                  <a:spLocks/>
                </p:cNvSpPr>
                <p:nvPr/>
              </p:nvSpPr>
              <p:spPr bwMode="auto">
                <a:xfrm>
                  <a:off x="7043639" y="4368002"/>
                  <a:ext cx="22631" cy="49377"/>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2" name="Freeform 16"/>
                <p:cNvSpPr>
                  <a:spLocks/>
                </p:cNvSpPr>
                <p:nvPr/>
              </p:nvSpPr>
              <p:spPr bwMode="auto">
                <a:xfrm>
                  <a:off x="7130051" y="4228100"/>
                  <a:ext cx="22631" cy="5143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3" name="Freeform 17"/>
                <p:cNvSpPr>
                  <a:spLocks noEditPoints="1"/>
                </p:cNvSpPr>
                <p:nvPr/>
              </p:nvSpPr>
              <p:spPr bwMode="auto">
                <a:xfrm>
                  <a:off x="7123878" y="4300109"/>
                  <a:ext cx="37033" cy="49377"/>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4" name="Freeform 18"/>
                <p:cNvSpPr>
                  <a:spLocks noEditPoints="1"/>
                </p:cNvSpPr>
                <p:nvPr/>
              </p:nvSpPr>
              <p:spPr bwMode="auto">
                <a:xfrm>
                  <a:off x="7123878" y="4368002"/>
                  <a:ext cx="37033"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5" name="Freeform 19"/>
                <p:cNvSpPr>
                  <a:spLocks noEditPoints="1"/>
                </p:cNvSpPr>
                <p:nvPr/>
              </p:nvSpPr>
              <p:spPr bwMode="auto">
                <a:xfrm>
                  <a:off x="7080672" y="4228100"/>
                  <a:ext cx="34975" cy="5143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6" name="Freeform 20"/>
                <p:cNvSpPr>
                  <a:spLocks/>
                </p:cNvSpPr>
                <p:nvPr/>
              </p:nvSpPr>
              <p:spPr bwMode="auto">
                <a:xfrm>
                  <a:off x="7082729" y="4300109"/>
                  <a:ext cx="24689" cy="45262"/>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7" name="Freeform 21"/>
                <p:cNvSpPr>
                  <a:spLocks noEditPoints="1"/>
                </p:cNvSpPr>
                <p:nvPr/>
              </p:nvSpPr>
              <p:spPr bwMode="auto">
                <a:xfrm>
                  <a:off x="7080672" y="4368002"/>
                  <a:ext cx="34975" cy="49377"/>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8" name="Freeform 8"/>
                <p:cNvSpPr>
                  <a:spLocks noEditPoints="1"/>
                </p:cNvSpPr>
                <p:nvPr/>
              </p:nvSpPr>
              <p:spPr bwMode="auto">
                <a:xfrm>
                  <a:off x="7172870" y="4228100"/>
                  <a:ext cx="39090" cy="5143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69" name="Freeform 9"/>
                <p:cNvSpPr>
                  <a:spLocks/>
                </p:cNvSpPr>
                <p:nvPr/>
              </p:nvSpPr>
              <p:spPr bwMode="auto">
                <a:xfrm>
                  <a:off x="7220190" y="4228100"/>
                  <a:ext cx="22631" cy="5143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0" name="Freeform 11"/>
                <p:cNvSpPr>
                  <a:spLocks/>
                </p:cNvSpPr>
                <p:nvPr/>
              </p:nvSpPr>
              <p:spPr bwMode="auto">
                <a:xfrm>
                  <a:off x="7179043" y="4300109"/>
                  <a:ext cx="20574" cy="45262"/>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1" name="Freeform 12"/>
                <p:cNvSpPr>
                  <a:spLocks noEditPoints="1"/>
                </p:cNvSpPr>
                <p:nvPr/>
              </p:nvSpPr>
              <p:spPr bwMode="auto">
                <a:xfrm>
                  <a:off x="7214019" y="4300109"/>
                  <a:ext cx="37033"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2" name="Freeform 14"/>
                <p:cNvSpPr>
                  <a:spLocks noEditPoints="1"/>
                </p:cNvSpPr>
                <p:nvPr/>
              </p:nvSpPr>
              <p:spPr bwMode="auto">
                <a:xfrm>
                  <a:off x="7172870" y="4368002"/>
                  <a:ext cx="39090"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3" name="Freeform 15"/>
                <p:cNvSpPr>
                  <a:spLocks/>
                </p:cNvSpPr>
                <p:nvPr/>
              </p:nvSpPr>
              <p:spPr bwMode="auto">
                <a:xfrm>
                  <a:off x="7220190" y="4368002"/>
                  <a:ext cx="22631" cy="49377"/>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4" name="Freeform 16"/>
                <p:cNvSpPr>
                  <a:spLocks/>
                </p:cNvSpPr>
                <p:nvPr/>
              </p:nvSpPr>
              <p:spPr bwMode="auto">
                <a:xfrm>
                  <a:off x="7306602" y="4228100"/>
                  <a:ext cx="22631" cy="5143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5" name="Freeform 17"/>
                <p:cNvSpPr>
                  <a:spLocks noEditPoints="1"/>
                </p:cNvSpPr>
                <p:nvPr/>
              </p:nvSpPr>
              <p:spPr bwMode="auto">
                <a:xfrm>
                  <a:off x="7300429" y="4300109"/>
                  <a:ext cx="37033" cy="49377"/>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6" name="Freeform 18"/>
                <p:cNvSpPr>
                  <a:spLocks noEditPoints="1"/>
                </p:cNvSpPr>
                <p:nvPr/>
              </p:nvSpPr>
              <p:spPr bwMode="auto">
                <a:xfrm>
                  <a:off x="7300429" y="4368002"/>
                  <a:ext cx="37033"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7" name="Freeform 19"/>
                <p:cNvSpPr>
                  <a:spLocks noEditPoints="1"/>
                </p:cNvSpPr>
                <p:nvPr/>
              </p:nvSpPr>
              <p:spPr bwMode="auto">
                <a:xfrm>
                  <a:off x="7257223" y="4228100"/>
                  <a:ext cx="34975" cy="5143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8" name="Freeform 20"/>
                <p:cNvSpPr>
                  <a:spLocks/>
                </p:cNvSpPr>
                <p:nvPr/>
              </p:nvSpPr>
              <p:spPr bwMode="auto">
                <a:xfrm>
                  <a:off x="7259280" y="4300109"/>
                  <a:ext cx="24689" cy="45262"/>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79" name="Freeform 21"/>
                <p:cNvSpPr>
                  <a:spLocks noEditPoints="1"/>
                </p:cNvSpPr>
                <p:nvPr/>
              </p:nvSpPr>
              <p:spPr bwMode="auto">
                <a:xfrm>
                  <a:off x="7257223" y="4368002"/>
                  <a:ext cx="34975" cy="49377"/>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0" name="Freeform 8"/>
                <p:cNvSpPr>
                  <a:spLocks noEditPoints="1"/>
                </p:cNvSpPr>
                <p:nvPr/>
              </p:nvSpPr>
              <p:spPr bwMode="auto">
                <a:xfrm>
                  <a:off x="7349421" y="4228100"/>
                  <a:ext cx="39090" cy="5143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1" name="Freeform 9"/>
                <p:cNvSpPr>
                  <a:spLocks/>
                </p:cNvSpPr>
                <p:nvPr/>
              </p:nvSpPr>
              <p:spPr bwMode="auto">
                <a:xfrm>
                  <a:off x="7396741" y="4228100"/>
                  <a:ext cx="22631" cy="5143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2" name="Freeform 11"/>
                <p:cNvSpPr>
                  <a:spLocks/>
                </p:cNvSpPr>
                <p:nvPr/>
              </p:nvSpPr>
              <p:spPr bwMode="auto">
                <a:xfrm>
                  <a:off x="7355594" y="4300109"/>
                  <a:ext cx="20574" cy="45262"/>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3" name="Freeform 12"/>
                <p:cNvSpPr>
                  <a:spLocks noEditPoints="1"/>
                </p:cNvSpPr>
                <p:nvPr/>
              </p:nvSpPr>
              <p:spPr bwMode="auto">
                <a:xfrm>
                  <a:off x="7390570" y="4300109"/>
                  <a:ext cx="37033" cy="49377"/>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4" name="Freeform 14"/>
                <p:cNvSpPr>
                  <a:spLocks noEditPoints="1"/>
                </p:cNvSpPr>
                <p:nvPr/>
              </p:nvSpPr>
              <p:spPr bwMode="auto">
                <a:xfrm>
                  <a:off x="7349421" y="4368002"/>
                  <a:ext cx="39090" cy="49377"/>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5" name="Freeform 15"/>
                <p:cNvSpPr>
                  <a:spLocks/>
                </p:cNvSpPr>
                <p:nvPr/>
              </p:nvSpPr>
              <p:spPr bwMode="auto">
                <a:xfrm>
                  <a:off x="7396741" y="4368002"/>
                  <a:ext cx="22631" cy="49377"/>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6" name="Freeform 19"/>
                <p:cNvSpPr>
                  <a:spLocks noEditPoints="1"/>
                </p:cNvSpPr>
                <p:nvPr/>
              </p:nvSpPr>
              <p:spPr bwMode="auto">
                <a:xfrm>
                  <a:off x="7433774" y="4228100"/>
                  <a:ext cx="34975" cy="5143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7" name="Freeform 20"/>
                <p:cNvSpPr>
                  <a:spLocks/>
                </p:cNvSpPr>
                <p:nvPr/>
              </p:nvSpPr>
              <p:spPr bwMode="auto">
                <a:xfrm>
                  <a:off x="7435831" y="4300109"/>
                  <a:ext cx="24689" cy="45262"/>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sp>
              <p:nvSpPr>
                <p:cNvPr id="1488" name="Freeform 21"/>
                <p:cNvSpPr>
                  <a:spLocks noEditPoints="1"/>
                </p:cNvSpPr>
                <p:nvPr/>
              </p:nvSpPr>
              <p:spPr bwMode="auto">
                <a:xfrm>
                  <a:off x="7433774" y="4368002"/>
                  <a:ext cx="34975" cy="49377"/>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425" name="Rectangle 72"/>
              <p:cNvSpPr>
                <a:spLocks noChangeArrowheads="1"/>
              </p:cNvSpPr>
              <p:nvPr/>
            </p:nvSpPr>
            <p:spPr bwMode="auto">
              <a:xfrm>
                <a:off x="10016786" y="2383789"/>
                <a:ext cx="776989" cy="143209"/>
              </a:xfrm>
              <a:prstGeom prst="rect">
                <a:avLst/>
              </a:prstGeom>
              <a:noFill/>
              <a:ln w="28575">
                <a:solidFill>
                  <a:srgbClr val="505050">
                    <a:lumMod val="60000"/>
                    <a:lumOff val="40000"/>
                  </a:srgbClr>
                </a:solidFill>
                <a:miter lim="800000"/>
              </a:ln>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417" name="Rectangle 1416"/>
            <p:cNvSpPr/>
            <p:nvPr/>
          </p:nvSpPr>
          <p:spPr bwMode="auto">
            <a:xfrm>
              <a:off x="10419888" y="1908010"/>
              <a:ext cx="261267" cy="17626"/>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p:cNvSpPr/>
            <p:nvPr/>
          </p:nvSpPr>
          <p:spPr bwMode="auto">
            <a:xfrm>
              <a:off x="10433267" y="2020230"/>
              <a:ext cx="127405" cy="17626"/>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p:cNvSpPr/>
            <p:nvPr/>
          </p:nvSpPr>
          <p:spPr bwMode="auto">
            <a:xfrm>
              <a:off x="10433267" y="2083195"/>
              <a:ext cx="127405" cy="17626"/>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p:cNvSpPr/>
            <p:nvPr/>
          </p:nvSpPr>
          <p:spPr bwMode="auto">
            <a:xfrm>
              <a:off x="10606964" y="2020230"/>
              <a:ext cx="127405" cy="17626"/>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p:cNvSpPr/>
            <p:nvPr/>
          </p:nvSpPr>
          <p:spPr bwMode="auto">
            <a:xfrm>
              <a:off x="10606964" y="2083195"/>
              <a:ext cx="127405" cy="17626"/>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6" name="Rectangle 835"/>
          <p:cNvSpPr/>
          <p:nvPr/>
        </p:nvSpPr>
        <p:spPr bwMode="auto">
          <a:xfrm>
            <a:off x="3355994" y="5118383"/>
            <a:ext cx="2797810" cy="1652806"/>
          </a:xfrm>
          <a:prstGeom prst="rect">
            <a:avLst/>
          </a:prstGeom>
          <a:solidFill>
            <a:schemeClr val="bg1"/>
          </a:solid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7182" name="Picture 14" descr="Image result for kuk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35311" y="5505641"/>
            <a:ext cx="1439177" cy="246488"/>
          </a:xfrm>
          <a:prstGeom prst="rect">
            <a:avLst/>
          </a:prstGeom>
          <a:noFill/>
          <a:extLst>
            <a:ext uri="{909E8E84-426E-40DD-AFC4-6F175D3DCCD1}">
              <a14:hiddenFill xmlns:a14="http://schemas.microsoft.com/office/drawing/2010/main">
                <a:solidFill>
                  <a:srgbClr val="FFFFFF"/>
                </a:solidFill>
              </a14:hiddenFill>
            </a:ext>
          </a:extLst>
        </p:spPr>
      </p:pic>
      <p:pic>
        <p:nvPicPr>
          <p:cNvPr id="843" name="Picture 8" descr="Image result for rolls royce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66677" y="5966568"/>
            <a:ext cx="1776445" cy="417742"/>
          </a:xfrm>
          <a:prstGeom prst="rect">
            <a:avLst/>
          </a:prstGeom>
          <a:noFill/>
          <a:extLst>
            <a:ext uri="{909E8E84-426E-40DD-AFC4-6F175D3DCCD1}">
              <a14:hiddenFill xmlns:a14="http://schemas.microsoft.com/office/drawing/2010/main">
                <a:solidFill>
                  <a:srgbClr val="FFFFFF"/>
                </a:solidFill>
              </a14:hiddenFill>
            </a:ext>
          </a:extLst>
        </p:spPr>
      </p:pic>
      <p:pic>
        <p:nvPicPr>
          <p:cNvPr id="837" name="Picture 836"/>
          <p:cNvPicPr>
            <a:picLocks noChangeAspect="1"/>
          </p:cNvPicPr>
          <p:nvPr/>
        </p:nvPicPr>
        <p:blipFill>
          <a:blip r:embed="rId12"/>
          <a:stretch>
            <a:fillRect/>
          </a:stretch>
        </p:blipFill>
        <p:spPr>
          <a:xfrm>
            <a:off x="1174829" y="5626540"/>
            <a:ext cx="1316701" cy="490771"/>
          </a:xfrm>
          <a:prstGeom prst="rect">
            <a:avLst/>
          </a:prstGeom>
        </p:spPr>
      </p:pic>
      <p:sp>
        <p:nvSpPr>
          <p:cNvPr id="6" name="Text Placeholder 5"/>
          <p:cNvSpPr>
            <a:spLocks noGrp="1"/>
          </p:cNvSpPr>
          <p:nvPr>
            <p:ph type="body" sz="quarter" idx="4294967295"/>
          </p:nvPr>
        </p:nvSpPr>
        <p:spPr>
          <a:xfrm>
            <a:off x="1374148" y="291740"/>
            <a:ext cx="12436475" cy="1257300"/>
          </a:xfrm>
        </p:spPr>
        <p:txBody>
          <a:bodyPr>
            <a:normAutofit/>
          </a:bodyPr>
          <a:lstStyle/>
          <a:p>
            <a:pPr marL="0" indent="0">
              <a:buNone/>
            </a:pPr>
            <a:r>
              <a:rPr lang="en-US" sz="3600" dirty="0"/>
              <a:t>PREDICTIVE MAINTENANCE SCENARIOS	</a:t>
            </a:r>
          </a:p>
        </p:txBody>
      </p:sp>
      <p:pic>
        <p:nvPicPr>
          <p:cNvPr id="842" name="Picture 84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6835" y="6240804"/>
            <a:ext cx="1512688" cy="456170"/>
          </a:xfrm>
          <a:prstGeom prst="rect">
            <a:avLst/>
          </a:prstGeom>
        </p:spPr>
      </p:pic>
      <p:pic>
        <p:nvPicPr>
          <p:cNvPr id="844" name="Picture 84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30927" y="6308942"/>
            <a:ext cx="1638403" cy="289983"/>
          </a:xfrm>
          <a:prstGeom prst="rect">
            <a:avLst/>
          </a:prstGeom>
        </p:spPr>
      </p:pic>
      <p:pic>
        <p:nvPicPr>
          <p:cNvPr id="845" name="Picture 84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657821" y="5163435"/>
            <a:ext cx="2006657" cy="539568"/>
          </a:xfrm>
          <a:prstGeom prst="rect">
            <a:avLst/>
          </a:prstGeom>
        </p:spPr>
      </p:pic>
    </p:spTree>
    <p:extLst>
      <p:ext uri="{BB962C8B-B14F-4D97-AF65-F5344CB8AC3E}">
        <p14:creationId xmlns:p14="http://schemas.microsoft.com/office/powerpoint/2010/main" val="2418545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462727" y="1243471"/>
            <a:ext cx="6021388" cy="4973637"/>
          </a:xfrm>
        </p:spPr>
        <p:txBody>
          <a:bodyPr>
            <a:normAutofit lnSpcReduction="10000"/>
          </a:bodyPr>
          <a:lstStyle/>
          <a:p>
            <a:r>
              <a:rPr lang="en-US" sz="2448" dirty="0">
                <a:solidFill>
                  <a:schemeClr val="bg1">
                    <a:lumMod val="50000"/>
                  </a:schemeClr>
                </a:solidFill>
                <a:latin typeface="+mj-lt"/>
                <a:cs typeface="Segoe UI" panose="020B0502040204020203" pitchFamily="34" charset="0"/>
              </a:rPr>
              <a:t>Industry Overview</a:t>
            </a:r>
          </a:p>
          <a:p>
            <a:r>
              <a:rPr lang="en-US" sz="2448" dirty="0">
                <a:solidFill>
                  <a:schemeClr val="bg1">
                    <a:lumMod val="50000"/>
                  </a:schemeClr>
                </a:solidFill>
                <a:latin typeface="+mj-lt"/>
                <a:cs typeface="Segoe UI" panose="020B0502040204020203" pitchFamily="34" charset="0"/>
              </a:rPr>
              <a:t>Predictive Maintenance</a:t>
            </a:r>
          </a:p>
          <a:p>
            <a:r>
              <a:rPr lang="en-US" sz="2448" dirty="0">
                <a:solidFill>
                  <a:schemeClr val="bg1">
                    <a:lumMod val="50000"/>
                  </a:schemeClr>
                </a:solidFill>
                <a:latin typeface="+mj-lt"/>
                <a:cs typeface="Segoe UI" panose="020B0502040204020203" pitchFamily="34" charset="0"/>
              </a:rPr>
              <a:t>Use Cases</a:t>
            </a:r>
          </a:p>
          <a:p>
            <a:r>
              <a:rPr lang="en-US" sz="2448" dirty="0">
                <a:latin typeface="+mj-lt"/>
                <a:cs typeface="Segoe UI" panose="020B0502040204020203" pitchFamily="34" charset="0"/>
              </a:rPr>
              <a:t>Data Foundation</a:t>
            </a:r>
          </a:p>
          <a:p>
            <a:r>
              <a:rPr lang="en-US" sz="2448" dirty="0">
                <a:solidFill>
                  <a:schemeClr val="bg1">
                    <a:lumMod val="50000"/>
                  </a:schemeClr>
                </a:solidFill>
                <a:latin typeface="+mj-lt"/>
                <a:cs typeface="Segoe UI" panose="020B0502040204020203" pitchFamily="34" charset="0"/>
              </a:rPr>
              <a:t>Modeling</a:t>
            </a:r>
          </a:p>
          <a:p>
            <a:r>
              <a:rPr lang="en-US" sz="2448" dirty="0">
                <a:solidFill>
                  <a:schemeClr val="bg1">
                    <a:lumMod val="50000"/>
                  </a:schemeClr>
                </a:solidFill>
                <a:latin typeface="+mj-lt"/>
                <a:cs typeface="Segoe UI" panose="020B0502040204020203" pitchFamily="34" charset="0"/>
              </a:rPr>
              <a:t>Modeling Example</a:t>
            </a:r>
          </a:p>
          <a:p>
            <a:r>
              <a:rPr lang="en-US" sz="2448" dirty="0">
                <a:solidFill>
                  <a:schemeClr val="bg1">
                    <a:lumMod val="50000"/>
                  </a:schemeClr>
                </a:solidFill>
                <a:latin typeface="+mj-lt"/>
                <a:cs typeface="Segoe UI" panose="020B0502040204020203" pitchFamily="34" charset="0"/>
              </a:rPr>
              <a:t>Physics of Failure</a:t>
            </a:r>
          </a:p>
          <a:p>
            <a:r>
              <a:rPr lang="en-US" sz="2448" dirty="0">
                <a:solidFill>
                  <a:schemeClr val="bg1">
                    <a:lumMod val="50000"/>
                  </a:schemeClr>
                </a:solidFill>
                <a:latin typeface="+mj-lt"/>
                <a:cs typeface="Segoe UI" panose="020B0502040204020203" pitchFamily="34" charset="0"/>
              </a:rPr>
              <a:t>Key Measurements</a:t>
            </a:r>
          </a:p>
          <a:p>
            <a:r>
              <a:rPr lang="en-US" sz="2448" dirty="0">
                <a:solidFill>
                  <a:schemeClr val="bg1">
                    <a:lumMod val="50000"/>
                  </a:schemeClr>
                </a:solidFill>
                <a:latin typeface="+mj-lt"/>
                <a:cs typeface="Segoe UI" panose="020B0502040204020203" pitchFamily="34" charset="0"/>
              </a:rPr>
              <a:t>Intelligence</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E9DC8740-57DE-4712-B344-14C32C623F9E}"/>
              </a:ext>
            </a:extLst>
          </p:cNvPr>
          <p:cNvSpPr/>
          <p:nvPr/>
        </p:nvSpPr>
        <p:spPr bwMode="gray">
          <a:xfrm flipH="1" flipV="1">
            <a:off x="6973295" y="2872071"/>
            <a:ext cx="914400" cy="304800"/>
          </a:xfrm>
          <a:prstGeom prst="rightArrow">
            <a:avLst/>
          </a:prstGeom>
          <a:solidFill>
            <a:srgbClr val="5191CD"/>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9">
            <a:extLst>
              <a:ext uri="{FF2B5EF4-FFF2-40B4-BE49-F238E27FC236}">
                <a16:creationId xmlns:a16="http://schemas.microsoft.com/office/drawing/2014/main" id="{5D12B2C8-B37C-4290-9314-D996DE308CC4}"/>
              </a:ext>
            </a:extLst>
          </p:cNvPr>
          <p:cNvSpPr txBox="1">
            <a:spLocks/>
          </p:cNvSpPr>
          <p:nvPr/>
        </p:nvSpPr>
        <p:spPr>
          <a:xfrm>
            <a:off x="538955" y="1243136"/>
            <a:ext cx="2487613" cy="2487612"/>
          </a:xfrm>
          <a:prstGeom prst="rect">
            <a:avLst/>
          </a:prstGeom>
        </p:spPr>
        <p:txBody>
          <a:bodyPr vert="horz" lIns="91440" tIns="45720" rIns="91440" bIns="45720" rtlCol="0" anchor="ctr">
            <a:normAutofit/>
          </a:bodyPr>
          <a:lstStyle>
            <a:lvl1pPr algn="l" defTabSz="932597" rtl="0" eaLnBrk="1" latinLnBrk="0" hangingPunct="1">
              <a:lnSpc>
                <a:spcPct val="90000"/>
              </a:lnSpc>
              <a:spcBef>
                <a:spcPct val="0"/>
              </a:spcBef>
              <a:buNone/>
              <a:defRPr sz="3672" kern="1200" cap="all" baseline="0">
                <a:solidFill>
                  <a:schemeClr val="tx1"/>
                </a:solidFill>
                <a:latin typeface="+mj-lt"/>
                <a:ea typeface="+mj-ea"/>
                <a:cs typeface="+mj-cs"/>
              </a:defRPr>
            </a:lvl1pPr>
          </a:lstStyle>
          <a:p>
            <a:r>
              <a:rPr lang="en-US" sz="3600"/>
              <a:t>Contents</a:t>
            </a:r>
            <a:endParaRPr lang="en-US" sz="3600" dirty="0"/>
          </a:p>
        </p:txBody>
      </p:sp>
    </p:spTree>
    <p:extLst>
      <p:ext uri="{BB962C8B-B14F-4D97-AF65-F5344CB8AC3E}">
        <p14:creationId xmlns:p14="http://schemas.microsoft.com/office/powerpoint/2010/main" val="247914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436882" y="1"/>
            <a:ext cx="11999594" cy="1799214"/>
          </a:xfrm>
          <a:solidFill>
            <a:srgbClr val="1792AF"/>
          </a:solidFill>
        </p:spPr>
        <p:txBody>
          <a:bodyPr>
            <a:normAutofit/>
          </a:bodyPr>
          <a:lstStyle/>
          <a:p>
            <a:r>
              <a:rPr lang="en-US" sz="3600" dirty="0">
                <a:solidFill>
                  <a:schemeClr val="bg1"/>
                </a:solidFill>
              </a:rPr>
              <a:t>PREDICTIVE MAINTENANCE FRAMEWORK IN CONTEXT</a:t>
            </a:r>
          </a:p>
        </p:txBody>
      </p:sp>
      <p:sp>
        <p:nvSpPr>
          <p:cNvPr id="3" name="Text Placeholder 2"/>
          <p:cNvSpPr>
            <a:spLocks noGrp="1"/>
          </p:cNvSpPr>
          <p:nvPr>
            <p:ph type="body" sz="quarter" idx="4294967295"/>
          </p:nvPr>
        </p:nvSpPr>
        <p:spPr>
          <a:xfrm>
            <a:off x="436881" y="1781089"/>
            <a:ext cx="1391918" cy="1822084"/>
          </a:xfrm>
          <a:solidFill>
            <a:srgbClr val="1792AF"/>
          </a:solidFill>
        </p:spPr>
        <p:txBody>
          <a:bodyPr anchor="ctr">
            <a:normAutofit/>
          </a:bodyPr>
          <a:lstStyle/>
          <a:p>
            <a:pPr marL="0" indent="0" algn="ctr">
              <a:buNone/>
            </a:pPr>
            <a:r>
              <a:rPr lang="en-US" sz="6000" dirty="0">
                <a:solidFill>
                  <a:schemeClr val="bg1"/>
                </a:solidFill>
              </a:rPr>
              <a:t>2</a:t>
            </a:r>
          </a:p>
        </p:txBody>
      </p:sp>
      <p:sp>
        <p:nvSpPr>
          <p:cNvPr id="14" name="Text Placeholder 13"/>
          <p:cNvSpPr>
            <a:spLocks noGrp="1"/>
          </p:cNvSpPr>
          <p:nvPr>
            <p:ph type="body" sz="quarter" idx="4294967295"/>
          </p:nvPr>
        </p:nvSpPr>
        <p:spPr>
          <a:xfrm>
            <a:off x="1828800" y="1817976"/>
            <a:ext cx="10607675" cy="595024"/>
          </a:xfrm>
        </p:spPr>
        <p:txBody>
          <a:bodyPr lIns="182880" tIns="182880">
            <a:noAutofit/>
          </a:bodyPr>
          <a:lstStyle/>
          <a:p>
            <a:pPr marL="0" indent="0">
              <a:buNone/>
            </a:pPr>
            <a:r>
              <a:rPr lang="en-US" sz="2800" dirty="0">
                <a:solidFill>
                  <a:srgbClr val="1792AF"/>
                </a:solidFill>
              </a:rPr>
              <a:t>Inventory data sources</a:t>
            </a:r>
          </a:p>
        </p:txBody>
      </p:sp>
      <p:sp>
        <p:nvSpPr>
          <p:cNvPr id="15" name="Text Placeholder 14"/>
          <p:cNvSpPr>
            <a:spLocks noGrp="1"/>
          </p:cNvSpPr>
          <p:nvPr>
            <p:ph type="body" sz="quarter" idx="4294967295"/>
          </p:nvPr>
        </p:nvSpPr>
        <p:spPr>
          <a:xfrm>
            <a:off x="1828801" y="2300858"/>
            <a:ext cx="8991600" cy="1165581"/>
          </a:xfrm>
        </p:spPr>
        <p:txBody>
          <a:bodyPr lIns="182880" tIns="182880">
            <a:noAutofit/>
          </a:bodyPr>
          <a:lstStyle/>
          <a:p>
            <a:pPr marL="0" indent="0">
              <a:buNone/>
            </a:pPr>
            <a:r>
              <a:rPr lang="en-US" sz="2000"/>
              <a:t>Identify all potential sources of data, including the types of data and the amounts available. The outcome you are seeking will influence what data is essential and what’s optional. </a:t>
            </a:r>
          </a:p>
        </p:txBody>
      </p:sp>
      <p:grpSp>
        <p:nvGrpSpPr>
          <p:cNvPr id="16" name="Group 15"/>
          <p:cNvGrpSpPr/>
          <p:nvPr/>
        </p:nvGrpSpPr>
        <p:grpSpPr>
          <a:xfrm>
            <a:off x="941418" y="3857509"/>
            <a:ext cx="7672237" cy="3138784"/>
            <a:chOff x="7134961" y="1785980"/>
            <a:chExt cx="2316157" cy="984811"/>
          </a:xfrm>
        </p:grpSpPr>
        <p:sp>
          <p:nvSpPr>
            <p:cNvPr id="17" name="Rectangle 16"/>
            <p:cNvSpPr/>
            <p:nvPr/>
          </p:nvSpPr>
          <p:spPr bwMode="auto">
            <a:xfrm>
              <a:off x="7967955" y="1998941"/>
              <a:ext cx="762079" cy="332264"/>
            </a:xfrm>
            <a:prstGeom prst="rect">
              <a:avLst/>
            </a:prstGeom>
            <a:no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19356F"/>
                  </a:solidFill>
                  <a:effectLst/>
                  <a:uLnTx/>
                  <a:uFillTx/>
                  <a:latin typeface="+mj-lt"/>
                  <a:ea typeface="+mn-ea"/>
                  <a:cs typeface="+mn-cs"/>
                </a:rPr>
                <a:t>100101011000</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19356F"/>
                  </a:solidFill>
                  <a:effectLst/>
                  <a:uLnTx/>
                  <a:uFillTx/>
                  <a:latin typeface="+mj-lt"/>
                  <a:ea typeface="+mn-ea"/>
                  <a:cs typeface="+mn-cs"/>
                </a:rPr>
                <a:t>101000101101</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19356F"/>
                  </a:solidFill>
                  <a:effectLst/>
                  <a:uLnTx/>
                  <a:uFillTx/>
                  <a:latin typeface="+mj-lt"/>
                  <a:ea typeface="+mn-ea"/>
                  <a:cs typeface="+mn-cs"/>
                </a:rPr>
                <a:t>010011001110</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19356F"/>
                  </a:solidFill>
                  <a:effectLst/>
                  <a:uLnTx/>
                  <a:uFillTx/>
                  <a:latin typeface="+mj-lt"/>
                  <a:ea typeface="+mn-ea"/>
                  <a:cs typeface="+mn-cs"/>
                </a:rPr>
                <a:t>101000110011</a:t>
              </a:r>
            </a:p>
          </p:txBody>
        </p:sp>
        <p:sp>
          <p:nvSpPr>
            <p:cNvPr id="18" name="Rectangle 17"/>
            <p:cNvSpPr/>
            <p:nvPr/>
          </p:nvSpPr>
          <p:spPr bwMode="auto">
            <a:xfrm rot="10800000">
              <a:off x="8101262" y="2007768"/>
              <a:ext cx="523101" cy="418299"/>
            </a:xfrm>
            <a:prstGeom prst="rect">
              <a:avLst/>
            </a:prstGeom>
            <a:gradFill flip="none" rotWithShape="1">
              <a:gsLst>
                <a:gs pos="12000">
                  <a:schemeClr val="bg1">
                    <a:lumMod val="95000"/>
                  </a:schemeClr>
                </a:gs>
                <a:gs pos="100000">
                  <a:schemeClr val="bg1">
                    <a:lumMod val="95000"/>
                    <a:alpha val="0"/>
                  </a:schemeClr>
                </a:gs>
              </a:gsLst>
              <a:lin ang="10800000" scaled="0"/>
              <a:tileRect/>
            </a:gra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19" name="TextBox 18"/>
            <p:cNvSpPr txBox="1"/>
            <p:nvPr/>
          </p:nvSpPr>
          <p:spPr>
            <a:xfrm>
              <a:off x="7134961" y="2113265"/>
              <a:ext cx="627397" cy="23046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Performance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data</a:t>
              </a:r>
            </a:p>
          </p:txBody>
        </p:sp>
        <p:sp>
          <p:nvSpPr>
            <p:cNvPr id="20" name="TextBox 19"/>
            <p:cNvSpPr txBox="1"/>
            <p:nvPr/>
          </p:nvSpPr>
          <p:spPr>
            <a:xfrm>
              <a:off x="7540172" y="2640786"/>
              <a:ext cx="770840" cy="13000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Maintenance logs</a:t>
              </a:r>
            </a:p>
          </p:txBody>
        </p:sp>
        <p:grpSp>
          <p:nvGrpSpPr>
            <p:cNvPr id="21" name="Group 20"/>
            <p:cNvGrpSpPr/>
            <p:nvPr/>
          </p:nvGrpSpPr>
          <p:grpSpPr>
            <a:xfrm>
              <a:off x="8387944" y="2106397"/>
              <a:ext cx="283190" cy="266819"/>
              <a:chOff x="174653" y="2016250"/>
              <a:chExt cx="3561580" cy="3355678"/>
            </a:xfrm>
          </p:grpSpPr>
          <p:sp>
            <p:nvSpPr>
              <p:cNvPr id="74" name="Rectangle 73"/>
              <p:cNvSpPr/>
              <p:nvPr/>
            </p:nvSpPr>
            <p:spPr bwMode="auto">
              <a:xfrm rot="2446259">
                <a:off x="2683279" y="4305330"/>
                <a:ext cx="483908" cy="782149"/>
              </a:xfrm>
              <a:prstGeom prst="rect">
                <a:avLst/>
              </a:prstGeom>
              <a:solidFill>
                <a:srgbClr val="5C2D91"/>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75" name="Oval 74"/>
              <p:cNvSpPr/>
              <p:nvPr/>
            </p:nvSpPr>
            <p:spPr bwMode="auto">
              <a:xfrm>
                <a:off x="174653" y="2016250"/>
                <a:ext cx="2727063" cy="2727065"/>
              </a:xfrm>
              <a:prstGeom prst="ellipse">
                <a:avLst/>
              </a:prstGeom>
              <a:noFill/>
              <a:ln w="31750">
                <a:solidFill>
                  <a:srgbClr val="5C2D91"/>
                </a:solid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76" name="Rectangle 75"/>
              <p:cNvSpPr/>
              <p:nvPr/>
            </p:nvSpPr>
            <p:spPr bwMode="auto">
              <a:xfrm rot="2446259">
                <a:off x="3105989" y="4888032"/>
                <a:ext cx="630244" cy="483896"/>
              </a:xfrm>
              <a:prstGeom prst="rect">
                <a:avLst/>
              </a:prstGeom>
              <a:solidFill>
                <a:srgbClr val="5C2D91"/>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grpSp>
        <p:sp>
          <p:nvSpPr>
            <p:cNvPr id="22" name="TextBox 21"/>
            <p:cNvSpPr txBox="1"/>
            <p:nvPr/>
          </p:nvSpPr>
          <p:spPr>
            <a:xfrm>
              <a:off x="7356088" y="1785980"/>
              <a:ext cx="855155" cy="13000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Weather data</a:t>
              </a:r>
            </a:p>
          </p:txBody>
        </p:sp>
        <p:sp>
          <p:nvSpPr>
            <p:cNvPr id="23" name="TextBox 22"/>
            <p:cNvSpPr txBox="1"/>
            <p:nvPr/>
          </p:nvSpPr>
          <p:spPr>
            <a:xfrm>
              <a:off x="8628407" y="1791961"/>
              <a:ext cx="822711" cy="13000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Failure logs</a:t>
              </a:r>
            </a:p>
          </p:txBody>
        </p:sp>
        <p:sp>
          <p:nvSpPr>
            <p:cNvPr id="24" name="TextBox 23"/>
            <p:cNvSpPr txBox="1"/>
            <p:nvPr/>
          </p:nvSpPr>
          <p:spPr>
            <a:xfrm>
              <a:off x="8523912" y="2434740"/>
              <a:ext cx="768059" cy="13000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mj-lt"/>
                  <a:ea typeface="+mn-ea"/>
                  <a:cs typeface="+mn-cs"/>
                </a:rPr>
                <a:t>Sensor data</a:t>
              </a:r>
            </a:p>
          </p:txBody>
        </p:sp>
        <p:cxnSp>
          <p:nvCxnSpPr>
            <p:cNvPr id="25" name="Straight Connector 24"/>
            <p:cNvCxnSpPr>
              <a:endCxn id="35" idx="2"/>
            </p:cNvCxnSpPr>
            <p:nvPr/>
          </p:nvCxnSpPr>
          <p:spPr>
            <a:xfrm flipV="1">
              <a:off x="7769482" y="2223560"/>
              <a:ext cx="312220" cy="0"/>
            </a:xfrm>
            <a:prstGeom prst="line">
              <a:avLst/>
            </a:prstGeom>
            <a:ln>
              <a:gradFill>
                <a:gsLst>
                  <a:gs pos="0">
                    <a:srgbClr val="107C10">
                      <a:alpha val="0"/>
                    </a:srgbClr>
                  </a:gs>
                  <a:gs pos="100000">
                    <a:srgbClr val="107C10"/>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73" idx="16"/>
              <a:endCxn id="35" idx="3"/>
            </p:cNvCxnSpPr>
            <p:nvPr/>
          </p:nvCxnSpPr>
          <p:spPr>
            <a:xfrm flipV="1">
              <a:off x="7910947" y="2247586"/>
              <a:ext cx="180707" cy="247819"/>
            </a:xfrm>
            <a:prstGeom prst="line">
              <a:avLst/>
            </a:prstGeom>
            <a:ln>
              <a:gradFill>
                <a:gsLst>
                  <a:gs pos="0">
                    <a:srgbClr val="107C10">
                      <a:alpha val="0"/>
                    </a:srgbClr>
                  </a:gs>
                  <a:gs pos="100000">
                    <a:srgbClr val="107C10"/>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49" idx="2"/>
              <a:endCxn id="35" idx="1"/>
            </p:cNvCxnSpPr>
            <p:nvPr/>
          </p:nvCxnSpPr>
          <p:spPr>
            <a:xfrm>
              <a:off x="7896938" y="1953703"/>
              <a:ext cx="194716" cy="245830"/>
            </a:xfrm>
            <a:prstGeom prst="line">
              <a:avLst/>
            </a:prstGeom>
            <a:ln>
              <a:gradFill>
                <a:gsLst>
                  <a:gs pos="0">
                    <a:srgbClr val="107C10">
                      <a:alpha val="0"/>
                    </a:srgbClr>
                  </a:gs>
                  <a:gs pos="100000">
                    <a:srgbClr val="107C10"/>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53" idx="4"/>
              <a:endCxn id="35" idx="5"/>
            </p:cNvCxnSpPr>
            <p:nvPr/>
          </p:nvCxnSpPr>
          <p:spPr>
            <a:xfrm flipH="1" flipV="1">
              <a:off x="8139707" y="2247586"/>
              <a:ext cx="247908" cy="298647"/>
            </a:xfrm>
            <a:prstGeom prst="line">
              <a:avLst/>
            </a:prstGeom>
            <a:ln>
              <a:gradFill>
                <a:gsLst>
                  <a:gs pos="0">
                    <a:srgbClr val="107C10">
                      <a:alpha val="0"/>
                    </a:srgbClr>
                  </a:gs>
                  <a:gs pos="100000">
                    <a:srgbClr val="107C10"/>
                  </a:gs>
                </a:gsLst>
                <a:lin ang="5400000" scaled="1"/>
              </a:gra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45" idx="13"/>
              <a:endCxn id="35" idx="7"/>
            </p:cNvCxnSpPr>
            <p:nvPr/>
          </p:nvCxnSpPr>
          <p:spPr>
            <a:xfrm flipH="1">
              <a:off x="8139707" y="1925960"/>
              <a:ext cx="223558" cy="273573"/>
            </a:xfrm>
            <a:prstGeom prst="line">
              <a:avLst/>
            </a:prstGeom>
            <a:ln>
              <a:gradFill>
                <a:gsLst>
                  <a:gs pos="0">
                    <a:srgbClr val="107C10">
                      <a:alpha val="0"/>
                    </a:srgbClr>
                  </a:gs>
                  <a:gs pos="100000">
                    <a:srgbClr val="107C10"/>
                  </a:gs>
                </a:gsLst>
                <a:lin ang="5400000" scaled="1"/>
              </a:gradFill>
              <a:tailEnd type="none"/>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7761196" y="2382327"/>
              <a:ext cx="276590" cy="276594"/>
            </a:xfrm>
            <a:prstGeom prst="ellipse">
              <a:avLst/>
            </a:prstGeom>
            <a:no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nvGrpSpPr>
            <p:cNvPr id="31" name="Group 30"/>
            <p:cNvGrpSpPr>
              <a:grpSpLocks noChangeAspect="1"/>
            </p:cNvGrpSpPr>
            <p:nvPr/>
          </p:nvGrpSpPr>
          <p:grpSpPr>
            <a:xfrm>
              <a:off x="7823834" y="2400216"/>
              <a:ext cx="150874" cy="227234"/>
              <a:chOff x="1217848" y="3738105"/>
              <a:chExt cx="320647" cy="482937"/>
            </a:xfrm>
            <a:solidFill>
              <a:schemeClr val="accent1"/>
            </a:solidFill>
          </p:grpSpPr>
          <p:grpSp>
            <p:nvGrpSpPr>
              <p:cNvPr id="54" name="Group 16"/>
              <p:cNvGrpSpPr>
                <a:grpSpLocks noChangeAspect="1"/>
              </p:cNvGrpSpPr>
              <p:nvPr/>
            </p:nvGrpSpPr>
            <p:grpSpPr bwMode="auto">
              <a:xfrm>
                <a:off x="1319149" y="3898901"/>
                <a:ext cx="119908" cy="105108"/>
                <a:chOff x="-414" y="1087"/>
                <a:chExt cx="3816" cy="3345"/>
              </a:xfrm>
              <a:grpFill/>
            </p:grpSpPr>
            <p:sp>
              <p:nvSpPr>
                <p:cNvPr id="71" name="Freeform 17"/>
                <p:cNvSpPr>
                  <a:spLocks noEditPoints="1"/>
                </p:cNvSpPr>
                <p:nvPr/>
              </p:nvSpPr>
              <p:spPr bwMode="auto">
                <a:xfrm>
                  <a:off x="1418" y="2983"/>
                  <a:ext cx="1305" cy="1359"/>
                </a:xfrm>
                <a:custGeom>
                  <a:avLst/>
                  <a:gdLst>
                    <a:gd name="T0" fmla="*/ 477 w 551"/>
                    <a:gd name="T1" fmla="*/ 285 h 574"/>
                    <a:gd name="T2" fmla="*/ 191 w 551"/>
                    <a:gd name="T3" fmla="*/ 0 h 574"/>
                    <a:gd name="T4" fmla="*/ 28 w 551"/>
                    <a:gd name="T5" fmla="*/ 210 h 574"/>
                    <a:gd name="T6" fmla="*/ 0 w 551"/>
                    <a:gd name="T7" fmla="*/ 238 h 574"/>
                    <a:gd name="T8" fmla="*/ 262 w 551"/>
                    <a:gd name="T9" fmla="*/ 500 h 574"/>
                    <a:gd name="T10" fmla="*/ 492 w 551"/>
                    <a:gd name="T11" fmla="*/ 515 h 574"/>
                    <a:gd name="T12" fmla="*/ 477 w 551"/>
                    <a:gd name="T13" fmla="*/ 285 h 574"/>
                    <a:gd name="T14" fmla="*/ 427 w 551"/>
                    <a:gd name="T15" fmla="*/ 450 h 574"/>
                    <a:gd name="T16" fmla="*/ 340 w 551"/>
                    <a:gd name="T17" fmla="*/ 450 h 574"/>
                    <a:gd name="T18" fmla="*/ 340 w 551"/>
                    <a:gd name="T19" fmla="*/ 363 h 574"/>
                    <a:gd name="T20" fmla="*/ 427 w 551"/>
                    <a:gd name="T21" fmla="*/ 363 h 574"/>
                    <a:gd name="T22" fmla="*/ 427 w 551"/>
                    <a:gd name="T23" fmla="*/ 45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1" h="574">
                      <a:moveTo>
                        <a:pt x="477" y="285"/>
                      </a:moveTo>
                      <a:cubicBezTo>
                        <a:pt x="191" y="0"/>
                        <a:pt x="191" y="0"/>
                        <a:pt x="191" y="0"/>
                      </a:cubicBezTo>
                      <a:cubicBezTo>
                        <a:pt x="182" y="54"/>
                        <a:pt x="126" y="112"/>
                        <a:pt x="28" y="210"/>
                      </a:cubicBezTo>
                      <a:cubicBezTo>
                        <a:pt x="0" y="238"/>
                        <a:pt x="0" y="238"/>
                        <a:pt x="0" y="238"/>
                      </a:cubicBezTo>
                      <a:cubicBezTo>
                        <a:pt x="262" y="500"/>
                        <a:pt x="262" y="500"/>
                        <a:pt x="262" y="500"/>
                      </a:cubicBezTo>
                      <a:cubicBezTo>
                        <a:pt x="330" y="567"/>
                        <a:pt x="433" y="574"/>
                        <a:pt x="492" y="515"/>
                      </a:cubicBezTo>
                      <a:cubicBezTo>
                        <a:pt x="551" y="456"/>
                        <a:pt x="544" y="353"/>
                        <a:pt x="477" y="285"/>
                      </a:cubicBezTo>
                      <a:close/>
                      <a:moveTo>
                        <a:pt x="427" y="450"/>
                      </a:moveTo>
                      <a:cubicBezTo>
                        <a:pt x="403" y="474"/>
                        <a:pt x="364" y="474"/>
                        <a:pt x="340" y="450"/>
                      </a:cubicBezTo>
                      <a:cubicBezTo>
                        <a:pt x="316" y="426"/>
                        <a:pt x="316" y="387"/>
                        <a:pt x="340" y="363"/>
                      </a:cubicBezTo>
                      <a:cubicBezTo>
                        <a:pt x="364" y="339"/>
                        <a:pt x="403" y="339"/>
                        <a:pt x="427" y="363"/>
                      </a:cubicBezTo>
                      <a:cubicBezTo>
                        <a:pt x="451" y="387"/>
                        <a:pt x="451" y="426"/>
                        <a:pt x="427" y="45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72" name="Freeform 18"/>
                <p:cNvSpPr>
                  <a:spLocks/>
                </p:cNvSpPr>
                <p:nvPr/>
              </p:nvSpPr>
              <p:spPr bwMode="auto">
                <a:xfrm>
                  <a:off x="-414" y="1205"/>
                  <a:ext cx="1764" cy="1707"/>
                </a:xfrm>
                <a:custGeom>
                  <a:avLst/>
                  <a:gdLst>
                    <a:gd name="T0" fmla="*/ 376 w 745"/>
                    <a:gd name="T1" fmla="*/ 591 h 721"/>
                    <a:gd name="T2" fmla="*/ 506 w 745"/>
                    <a:gd name="T3" fmla="*/ 721 h 721"/>
                    <a:gd name="T4" fmla="*/ 534 w 745"/>
                    <a:gd name="T5" fmla="*/ 693 h 721"/>
                    <a:gd name="T6" fmla="*/ 745 w 745"/>
                    <a:gd name="T7" fmla="*/ 530 h 721"/>
                    <a:gd name="T8" fmla="*/ 591 w 745"/>
                    <a:gd name="T9" fmla="*/ 376 h 721"/>
                    <a:gd name="T10" fmla="*/ 513 w 745"/>
                    <a:gd name="T11" fmla="*/ 101 h 721"/>
                    <a:gd name="T12" fmla="*/ 238 w 745"/>
                    <a:gd name="T13" fmla="*/ 24 h 721"/>
                    <a:gd name="T14" fmla="*/ 353 w 745"/>
                    <a:gd name="T15" fmla="*/ 138 h 721"/>
                    <a:gd name="T16" fmla="*/ 353 w 745"/>
                    <a:gd name="T17" fmla="*/ 269 h 721"/>
                    <a:gd name="T18" fmla="*/ 268 w 745"/>
                    <a:gd name="T19" fmla="*/ 353 h 721"/>
                    <a:gd name="T20" fmla="*/ 138 w 745"/>
                    <a:gd name="T21" fmla="*/ 353 h 721"/>
                    <a:gd name="T22" fmla="*/ 23 w 745"/>
                    <a:gd name="T23" fmla="*/ 238 h 721"/>
                    <a:gd name="T24" fmla="*/ 101 w 745"/>
                    <a:gd name="T25" fmla="*/ 514 h 721"/>
                    <a:gd name="T26" fmla="*/ 376 w 745"/>
                    <a:gd name="T27" fmla="*/ 59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5" h="721">
                      <a:moveTo>
                        <a:pt x="376" y="591"/>
                      </a:moveTo>
                      <a:cubicBezTo>
                        <a:pt x="506" y="721"/>
                        <a:pt x="506" y="721"/>
                        <a:pt x="506" y="721"/>
                      </a:cubicBezTo>
                      <a:cubicBezTo>
                        <a:pt x="534" y="693"/>
                        <a:pt x="534" y="693"/>
                        <a:pt x="534" y="693"/>
                      </a:cubicBezTo>
                      <a:cubicBezTo>
                        <a:pt x="632" y="595"/>
                        <a:pt x="691" y="540"/>
                        <a:pt x="745" y="530"/>
                      </a:cubicBezTo>
                      <a:cubicBezTo>
                        <a:pt x="591" y="376"/>
                        <a:pt x="591" y="376"/>
                        <a:pt x="591" y="376"/>
                      </a:cubicBezTo>
                      <a:cubicBezTo>
                        <a:pt x="614" y="281"/>
                        <a:pt x="588" y="175"/>
                        <a:pt x="513" y="101"/>
                      </a:cubicBezTo>
                      <a:cubicBezTo>
                        <a:pt x="439" y="26"/>
                        <a:pt x="334" y="0"/>
                        <a:pt x="238" y="24"/>
                      </a:cubicBezTo>
                      <a:cubicBezTo>
                        <a:pt x="353" y="138"/>
                        <a:pt x="353" y="138"/>
                        <a:pt x="353" y="138"/>
                      </a:cubicBezTo>
                      <a:cubicBezTo>
                        <a:pt x="389" y="174"/>
                        <a:pt x="389" y="233"/>
                        <a:pt x="353" y="269"/>
                      </a:cubicBezTo>
                      <a:cubicBezTo>
                        <a:pt x="268" y="353"/>
                        <a:pt x="268" y="353"/>
                        <a:pt x="268" y="353"/>
                      </a:cubicBezTo>
                      <a:cubicBezTo>
                        <a:pt x="232" y="389"/>
                        <a:pt x="174" y="389"/>
                        <a:pt x="138" y="353"/>
                      </a:cubicBezTo>
                      <a:cubicBezTo>
                        <a:pt x="23" y="238"/>
                        <a:pt x="23" y="238"/>
                        <a:pt x="23" y="238"/>
                      </a:cubicBezTo>
                      <a:cubicBezTo>
                        <a:pt x="0" y="334"/>
                        <a:pt x="26" y="439"/>
                        <a:pt x="101" y="514"/>
                      </a:cubicBezTo>
                      <a:cubicBezTo>
                        <a:pt x="175" y="588"/>
                        <a:pt x="280" y="614"/>
                        <a:pt x="376" y="59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73" name="Freeform 19"/>
                <p:cNvSpPr>
                  <a:spLocks/>
                </p:cNvSpPr>
                <p:nvPr/>
              </p:nvSpPr>
              <p:spPr bwMode="auto">
                <a:xfrm>
                  <a:off x="-101" y="1087"/>
                  <a:ext cx="3503" cy="3345"/>
                </a:xfrm>
                <a:custGeom>
                  <a:avLst/>
                  <a:gdLst>
                    <a:gd name="T0" fmla="*/ 1405 w 1480"/>
                    <a:gd name="T1" fmla="*/ 504 h 1413"/>
                    <a:gd name="T2" fmla="*/ 1292 w 1480"/>
                    <a:gd name="T3" fmla="*/ 453 h 1413"/>
                    <a:gd name="T4" fmla="*/ 1259 w 1480"/>
                    <a:gd name="T5" fmla="*/ 317 h 1413"/>
                    <a:gd name="T6" fmla="*/ 543 w 1480"/>
                    <a:gd name="T7" fmla="*/ 92 h 1413"/>
                    <a:gd name="T8" fmla="*/ 543 w 1480"/>
                    <a:gd name="T9" fmla="*/ 115 h 1413"/>
                    <a:gd name="T10" fmla="*/ 851 w 1480"/>
                    <a:gd name="T11" fmla="*/ 426 h 1413"/>
                    <a:gd name="T12" fmla="*/ 603 w 1480"/>
                    <a:gd name="T13" fmla="*/ 675 h 1413"/>
                    <a:gd name="T14" fmla="*/ 399 w 1480"/>
                    <a:gd name="T15" fmla="*/ 821 h 1413"/>
                    <a:gd name="T16" fmla="*/ 325 w 1480"/>
                    <a:gd name="T17" fmla="*/ 896 h 1413"/>
                    <a:gd name="T18" fmla="*/ 109 w 1480"/>
                    <a:gd name="T19" fmla="*/ 1090 h 1413"/>
                    <a:gd name="T20" fmla="*/ 89 w 1480"/>
                    <a:gd name="T21" fmla="*/ 1259 h 1413"/>
                    <a:gd name="T22" fmla="*/ 154 w 1480"/>
                    <a:gd name="T23" fmla="*/ 1324 h 1413"/>
                    <a:gd name="T24" fmla="*/ 323 w 1480"/>
                    <a:gd name="T25" fmla="*/ 1305 h 1413"/>
                    <a:gd name="T26" fmla="*/ 517 w 1480"/>
                    <a:gd name="T27" fmla="*/ 1088 h 1413"/>
                    <a:gd name="T28" fmla="*/ 592 w 1480"/>
                    <a:gd name="T29" fmla="*/ 1014 h 1413"/>
                    <a:gd name="T30" fmla="*/ 739 w 1480"/>
                    <a:gd name="T31" fmla="*/ 813 h 1413"/>
                    <a:gd name="T32" fmla="*/ 995 w 1480"/>
                    <a:gd name="T33" fmla="*/ 558 h 1413"/>
                    <a:gd name="T34" fmla="*/ 1162 w 1480"/>
                    <a:gd name="T35" fmla="*/ 583 h 1413"/>
                    <a:gd name="T36" fmla="*/ 1213 w 1480"/>
                    <a:gd name="T37" fmla="*/ 696 h 1413"/>
                    <a:gd name="T38" fmla="*/ 1288 w 1480"/>
                    <a:gd name="T39" fmla="*/ 771 h 1413"/>
                    <a:gd name="T40" fmla="*/ 1480 w 1480"/>
                    <a:gd name="T41" fmla="*/ 579 h 1413"/>
                    <a:gd name="T42" fmla="*/ 1405 w 1480"/>
                    <a:gd name="T43" fmla="*/ 504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0" h="1413">
                      <a:moveTo>
                        <a:pt x="1405" y="504"/>
                      </a:moveTo>
                      <a:cubicBezTo>
                        <a:pt x="1405" y="504"/>
                        <a:pt x="1352" y="513"/>
                        <a:pt x="1292" y="453"/>
                      </a:cubicBezTo>
                      <a:cubicBezTo>
                        <a:pt x="1253" y="413"/>
                        <a:pt x="1252" y="358"/>
                        <a:pt x="1259" y="317"/>
                      </a:cubicBezTo>
                      <a:cubicBezTo>
                        <a:pt x="1121" y="179"/>
                        <a:pt x="993" y="0"/>
                        <a:pt x="543" y="92"/>
                      </a:cubicBezTo>
                      <a:cubicBezTo>
                        <a:pt x="543" y="115"/>
                        <a:pt x="543" y="115"/>
                        <a:pt x="543" y="115"/>
                      </a:cubicBezTo>
                      <a:cubicBezTo>
                        <a:pt x="543" y="115"/>
                        <a:pt x="887" y="149"/>
                        <a:pt x="851" y="426"/>
                      </a:cubicBezTo>
                      <a:cubicBezTo>
                        <a:pt x="603" y="675"/>
                        <a:pt x="603" y="675"/>
                        <a:pt x="603" y="675"/>
                      </a:cubicBezTo>
                      <a:cubicBezTo>
                        <a:pt x="561" y="664"/>
                        <a:pt x="516" y="704"/>
                        <a:pt x="399" y="821"/>
                      </a:cubicBezTo>
                      <a:cubicBezTo>
                        <a:pt x="325" y="896"/>
                        <a:pt x="325" y="896"/>
                        <a:pt x="325" y="896"/>
                      </a:cubicBezTo>
                      <a:cubicBezTo>
                        <a:pt x="258" y="962"/>
                        <a:pt x="167" y="1043"/>
                        <a:pt x="109" y="1090"/>
                      </a:cubicBezTo>
                      <a:cubicBezTo>
                        <a:pt x="50" y="1137"/>
                        <a:pt x="0" y="1170"/>
                        <a:pt x="89" y="1259"/>
                      </a:cubicBezTo>
                      <a:cubicBezTo>
                        <a:pt x="154" y="1324"/>
                        <a:pt x="154" y="1324"/>
                        <a:pt x="154" y="1324"/>
                      </a:cubicBezTo>
                      <a:cubicBezTo>
                        <a:pt x="243" y="1413"/>
                        <a:pt x="276" y="1363"/>
                        <a:pt x="323" y="1305"/>
                      </a:cubicBezTo>
                      <a:cubicBezTo>
                        <a:pt x="370" y="1246"/>
                        <a:pt x="451" y="1155"/>
                        <a:pt x="517" y="1088"/>
                      </a:cubicBezTo>
                      <a:cubicBezTo>
                        <a:pt x="592" y="1014"/>
                        <a:pt x="592" y="1014"/>
                        <a:pt x="592" y="1014"/>
                      </a:cubicBezTo>
                      <a:cubicBezTo>
                        <a:pt x="706" y="900"/>
                        <a:pt x="747" y="855"/>
                        <a:pt x="739" y="813"/>
                      </a:cubicBezTo>
                      <a:cubicBezTo>
                        <a:pt x="995" y="558"/>
                        <a:pt x="995" y="558"/>
                        <a:pt x="995" y="558"/>
                      </a:cubicBezTo>
                      <a:cubicBezTo>
                        <a:pt x="1032" y="547"/>
                        <a:pt x="1111" y="533"/>
                        <a:pt x="1162" y="583"/>
                      </a:cubicBezTo>
                      <a:cubicBezTo>
                        <a:pt x="1222" y="643"/>
                        <a:pt x="1213" y="696"/>
                        <a:pt x="1213" y="696"/>
                      </a:cubicBezTo>
                      <a:cubicBezTo>
                        <a:pt x="1288" y="771"/>
                        <a:pt x="1288" y="771"/>
                        <a:pt x="1288" y="771"/>
                      </a:cubicBezTo>
                      <a:cubicBezTo>
                        <a:pt x="1480" y="579"/>
                        <a:pt x="1480" y="579"/>
                        <a:pt x="1480" y="579"/>
                      </a:cubicBezTo>
                      <a:lnTo>
                        <a:pt x="1405" y="50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sp>
            <p:nvSpPr>
              <p:cNvPr id="55" name="Rectangle 54"/>
              <p:cNvSpPr/>
              <p:nvPr/>
            </p:nvSpPr>
            <p:spPr bwMode="auto">
              <a:xfrm>
                <a:off x="1328984" y="4026789"/>
                <a:ext cx="163279" cy="18288"/>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6" name="Rectangle 55"/>
              <p:cNvSpPr/>
              <p:nvPr/>
            </p:nvSpPr>
            <p:spPr bwMode="auto">
              <a:xfrm>
                <a:off x="1328984" y="4091125"/>
                <a:ext cx="163279" cy="18288"/>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7" name="Rectangle 56"/>
              <p:cNvSpPr/>
              <p:nvPr/>
            </p:nvSpPr>
            <p:spPr bwMode="auto">
              <a:xfrm>
                <a:off x="1328984" y="4155461"/>
                <a:ext cx="163279" cy="18288"/>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8" name="Freeform 27"/>
              <p:cNvSpPr>
                <a:spLocks noEditPoints="1"/>
              </p:cNvSpPr>
              <p:nvPr/>
            </p:nvSpPr>
            <p:spPr bwMode="auto">
              <a:xfrm>
                <a:off x="1217848" y="3738105"/>
                <a:ext cx="320647" cy="482937"/>
              </a:xfrm>
              <a:custGeom>
                <a:avLst/>
                <a:gdLst>
                  <a:gd name="T0" fmla="*/ 1463 w 1684"/>
                  <a:gd name="T1" fmla="*/ 552 h 2539"/>
                  <a:gd name="T2" fmla="*/ 1423 w 1684"/>
                  <a:gd name="T3" fmla="*/ 552 h 2539"/>
                  <a:gd name="T4" fmla="*/ 1423 w 1684"/>
                  <a:gd name="T5" fmla="*/ 544 h 2539"/>
                  <a:gd name="T6" fmla="*/ 1225 w 1684"/>
                  <a:gd name="T7" fmla="*/ 452 h 2539"/>
                  <a:gd name="T8" fmla="*/ 1058 w 1684"/>
                  <a:gd name="T9" fmla="*/ 452 h 2539"/>
                  <a:gd name="T10" fmla="*/ 982 w 1684"/>
                  <a:gd name="T11" fmla="*/ 394 h 2539"/>
                  <a:gd name="T12" fmla="*/ 1026 w 1684"/>
                  <a:gd name="T13" fmla="*/ 346 h 2539"/>
                  <a:gd name="T14" fmla="*/ 1064 w 1684"/>
                  <a:gd name="T15" fmla="*/ 222 h 2539"/>
                  <a:gd name="T16" fmla="*/ 1046 w 1684"/>
                  <a:gd name="T17" fmla="*/ 135 h 2539"/>
                  <a:gd name="T18" fmla="*/ 966 w 1684"/>
                  <a:gd name="T19" fmla="*/ 38 h 2539"/>
                  <a:gd name="T20" fmla="*/ 842 w 1684"/>
                  <a:gd name="T21" fmla="*/ 0 h 2539"/>
                  <a:gd name="T22" fmla="*/ 756 w 1684"/>
                  <a:gd name="T23" fmla="*/ 17 h 2539"/>
                  <a:gd name="T24" fmla="*/ 658 w 1684"/>
                  <a:gd name="T25" fmla="*/ 98 h 2539"/>
                  <a:gd name="T26" fmla="*/ 620 w 1684"/>
                  <a:gd name="T27" fmla="*/ 222 h 2539"/>
                  <a:gd name="T28" fmla="*/ 637 w 1684"/>
                  <a:gd name="T29" fmla="*/ 308 h 2539"/>
                  <a:gd name="T30" fmla="*/ 702 w 1684"/>
                  <a:gd name="T31" fmla="*/ 394 h 2539"/>
                  <a:gd name="T32" fmla="*/ 626 w 1684"/>
                  <a:gd name="T33" fmla="*/ 452 h 2539"/>
                  <a:gd name="T34" fmla="*/ 459 w 1684"/>
                  <a:gd name="T35" fmla="*/ 452 h 2539"/>
                  <a:gd name="T36" fmla="*/ 262 w 1684"/>
                  <a:gd name="T37" fmla="*/ 544 h 2539"/>
                  <a:gd name="T38" fmla="*/ 262 w 1684"/>
                  <a:gd name="T39" fmla="*/ 552 h 2539"/>
                  <a:gd name="T40" fmla="*/ 221 w 1684"/>
                  <a:gd name="T41" fmla="*/ 552 h 2539"/>
                  <a:gd name="T42" fmla="*/ 0 w 1684"/>
                  <a:gd name="T43" fmla="*/ 773 h 2539"/>
                  <a:gd name="T44" fmla="*/ 0 w 1684"/>
                  <a:gd name="T45" fmla="*/ 2318 h 2539"/>
                  <a:gd name="T46" fmla="*/ 221 w 1684"/>
                  <a:gd name="T47" fmla="*/ 2539 h 2539"/>
                  <a:gd name="T48" fmla="*/ 1463 w 1684"/>
                  <a:gd name="T49" fmla="*/ 2539 h 2539"/>
                  <a:gd name="T50" fmla="*/ 1684 w 1684"/>
                  <a:gd name="T51" fmla="*/ 2318 h 2539"/>
                  <a:gd name="T52" fmla="*/ 1684 w 1684"/>
                  <a:gd name="T53" fmla="*/ 773 h 2539"/>
                  <a:gd name="T54" fmla="*/ 1463 w 1684"/>
                  <a:gd name="T55" fmla="*/ 552 h 2539"/>
                  <a:gd name="T56" fmla="*/ 738 w 1684"/>
                  <a:gd name="T57" fmla="*/ 178 h 2539"/>
                  <a:gd name="T58" fmla="*/ 779 w 1684"/>
                  <a:gd name="T59" fmla="*/ 128 h 2539"/>
                  <a:gd name="T60" fmla="*/ 842 w 1684"/>
                  <a:gd name="T61" fmla="*/ 109 h 2539"/>
                  <a:gd name="T62" fmla="*/ 886 w 1684"/>
                  <a:gd name="T63" fmla="*/ 118 h 2539"/>
                  <a:gd name="T64" fmla="*/ 936 w 1684"/>
                  <a:gd name="T65" fmla="*/ 159 h 2539"/>
                  <a:gd name="T66" fmla="*/ 955 w 1684"/>
                  <a:gd name="T67" fmla="*/ 222 h 2539"/>
                  <a:gd name="T68" fmla="*/ 946 w 1684"/>
                  <a:gd name="T69" fmla="*/ 266 h 2539"/>
                  <a:gd name="T70" fmla="*/ 905 w 1684"/>
                  <a:gd name="T71" fmla="*/ 315 h 2539"/>
                  <a:gd name="T72" fmla="*/ 859 w 1684"/>
                  <a:gd name="T73" fmla="*/ 333 h 2539"/>
                  <a:gd name="T74" fmla="*/ 825 w 1684"/>
                  <a:gd name="T75" fmla="*/ 333 h 2539"/>
                  <a:gd name="T76" fmla="*/ 798 w 1684"/>
                  <a:gd name="T77" fmla="*/ 326 h 2539"/>
                  <a:gd name="T78" fmla="*/ 748 w 1684"/>
                  <a:gd name="T79" fmla="*/ 285 h 2539"/>
                  <a:gd name="T80" fmla="*/ 729 w 1684"/>
                  <a:gd name="T81" fmla="*/ 222 h 2539"/>
                  <a:gd name="T82" fmla="*/ 738 w 1684"/>
                  <a:gd name="T83" fmla="*/ 178 h 2539"/>
                  <a:gd name="T84" fmla="*/ 1553 w 1684"/>
                  <a:gd name="T85" fmla="*/ 2318 h 2539"/>
                  <a:gd name="T86" fmla="*/ 1463 w 1684"/>
                  <a:gd name="T87" fmla="*/ 2407 h 2539"/>
                  <a:gd name="T88" fmla="*/ 221 w 1684"/>
                  <a:gd name="T89" fmla="*/ 2407 h 2539"/>
                  <a:gd name="T90" fmla="*/ 132 w 1684"/>
                  <a:gd name="T91" fmla="*/ 2318 h 2539"/>
                  <a:gd name="T92" fmla="*/ 132 w 1684"/>
                  <a:gd name="T93" fmla="*/ 773 h 2539"/>
                  <a:gd name="T94" fmla="*/ 221 w 1684"/>
                  <a:gd name="T95" fmla="*/ 683 h 2539"/>
                  <a:gd name="T96" fmla="*/ 262 w 1684"/>
                  <a:gd name="T97" fmla="*/ 683 h 2539"/>
                  <a:gd name="T98" fmla="*/ 262 w 1684"/>
                  <a:gd name="T99" fmla="*/ 709 h 2539"/>
                  <a:gd name="T100" fmla="*/ 308 w 1684"/>
                  <a:gd name="T101" fmla="*/ 756 h 2539"/>
                  <a:gd name="T102" fmla="*/ 1376 w 1684"/>
                  <a:gd name="T103" fmla="*/ 756 h 2539"/>
                  <a:gd name="T104" fmla="*/ 1422 w 1684"/>
                  <a:gd name="T105" fmla="*/ 709 h 2539"/>
                  <a:gd name="T106" fmla="*/ 1422 w 1684"/>
                  <a:gd name="T107" fmla="*/ 683 h 2539"/>
                  <a:gd name="T108" fmla="*/ 1463 w 1684"/>
                  <a:gd name="T109" fmla="*/ 683 h 2539"/>
                  <a:gd name="T110" fmla="*/ 1553 w 1684"/>
                  <a:gd name="T111" fmla="*/ 773 h 2539"/>
                  <a:gd name="T112" fmla="*/ 1553 w 1684"/>
                  <a:gd name="T113" fmla="*/ 2318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4" h="2539">
                    <a:moveTo>
                      <a:pt x="1463" y="552"/>
                    </a:moveTo>
                    <a:cubicBezTo>
                      <a:pt x="1423" y="552"/>
                      <a:pt x="1423" y="552"/>
                      <a:pt x="1423" y="552"/>
                    </a:cubicBezTo>
                    <a:cubicBezTo>
                      <a:pt x="1423" y="544"/>
                      <a:pt x="1423" y="544"/>
                      <a:pt x="1423" y="544"/>
                    </a:cubicBezTo>
                    <a:cubicBezTo>
                      <a:pt x="1390" y="499"/>
                      <a:pt x="1330" y="452"/>
                      <a:pt x="1225" y="452"/>
                    </a:cubicBezTo>
                    <a:cubicBezTo>
                      <a:pt x="1058" y="452"/>
                      <a:pt x="1058" y="452"/>
                      <a:pt x="1058" y="452"/>
                    </a:cubicBezTo>
                    <a:cubicBezTo>
                      <a:pt x="1015" y="452"/>
                      <a:pt x="993" y="423"/>
                      <a:pt x="982" y="394"/>
                    </a:cubicBezTo>
                    <a:cubicBezTo>
                      <a:pt x="999" y="380"/>
                      <a:pt x="1014" y="364"/>
                      <a:pt x="1026" y="346"/>
                    </a:cubicBezTo>
                    <a:cubicBezTo>
                      <a:pt x="1050" y="310"/>
                      <a:pt x="1064" y="267"/>
                      <a:pt x="1064" y="222"/>
                    </a:cubicBezTo>
                    <a:cubicBezTo>
                      <a:pt x="1064" y="191"/>
                      <a:pt x="1058" y="162"/>
                      <a:pt x="1046" y="135"/>
                    </a:cubicBezTo>
                    <a:cubicBezTo>
                      <a:pt x="1030" y="95"/>
                      <a:pt x="1001" y="62"/>
                      <a:pt x="966" y="38"/>
                    </a:cubicBezTo>
                    <a:cubicBezTo>
                      <a:pt x="931" y="14"/>
                      <a:pt x="888" y="0"/>
                      <a:pt x="842" y="0"/>
                    </a:cubicBezTo>
                    <a:cubicBezTo>
                      <a:pt x="811" y="0"/>
                      <a:pt x="782" y="6"/>
                      <a:pt x="756" y="17"/>
                    </a:cubicBezTo>
                    <a:cubicBezTo>
                      <a:pt x="716" y="34"/>
                      <a:pt x="682" y="62"/>
                      <a:pt x="658" y="98"/>
                    </a:cubicBezTo>
                    <a:cubicBezTo>
                      <a:pt x="634" y="133"/>
                      <a:pt x="620" y="176"/>
                      <a:pt x="620" y="222"/>
                    </a:cubicBezTo>
                    <a:cubicBezTo>
                      <a:pt x="620" y="252"/>
                      <a:pt x="626" y="282"/>
                      <a:pt x="637" y="308"/>
                    </a:cubicBezTo>
                    <a:cubicBezTo>
                      <a:pt x="652" y="342"/>
                      <a:pt x="674" y="371"/>
                      <a:pt x="702" y="394"/>
                    </a:cubicBezTo>
                    <a:cubicBezTo>
                      <a:pt x="691" y="423"/>
                      <a:pt x="669" y="452"/>
                      <a:pt x="626" y="452"/>
                    </a:cubicBezTo>
                    <a:cubicBezTo>
                      <a:pt x="459" y="452"/>
                      <a:pt x="459" y="452"/>
                      <a:pt x="459" y="452"/>
                    </a:cubicBezTo>
                    <a:cubicBezTo>
                      <a:pt x="354" y="452"/>
                      <a:pt x="295" y="499"/>
                      <a:pt x="262" y="544"/>
                    </a:cubicBezTo>
                    <a:cubicBezTo>
                      <a:pt x="262" y="552"/>
                      <a:pt x="262" y="552"/>
                      <a:pt x="262" y="552"/>
                    </a:cubicBezTo>
                    <a:cubicBezTo>
                      <a:pt x="221" y="552"/>
                      <a:pt x="221" y="552"/>
                      <a:pt x="221" y="552"/>
                    </a:cubicBezTo>
                    <a:cubicBezTo>
                      <a:pt x="99" y="552"/>
                      <a:pt x="0" y="651"/>
                      <a:pt x="0" y="773"/>
                    </a:cubicBezTo>
                    <a:cubicBezTo>
                      <a:pt x="0" y="2318"/>
                      <a:pt x="0" y="2318"/>
                      <a:pt x="0" y="2318"/>
                    </a:cubicBezTo>
                    <a:cubicBezTo>
                      <a:pt x="0" y="2440"/>
                      <a:pt x="99" y="2539"/>
                      <a:pt x="221" y="2539"/>
                    </a:cubicBezTo>
                    <a:cubicBezTo>
                      <a:pt x="1463" y="2539"/>
                      <a:pt x="1463" y="2539"/>
                      <a:pt x="1463" y="2539"/>
                    </a:cubicBezTo>
                    <a:cubicBezTo>
                      <a:pt x="1585" y="2539"/>
                      <a:pt x="1684" y="2440"/>
                      <a:pt x="1684" y="2318"/>
                    </a:cubicBezTo>
                    <a:cubicBezTo>
                      <a:pt x="1684" y="773"/>
                      <a:pt x="1684" y="773"/>
                      <a:pt x="1684" y="773"/>
                    </a:cubicBezTo>
                    <a:cubicBezTo>
                      <a:pt x="1684" y="651"/>
                      <a:pt x="1585" y="552"/>
                      <a:pt x="1463" y="552"/>
                    </a:cubicBezTo>
                    <a:close/>
                    <a:moveTo>
                      <a:pt x="738" y="178"/>
                    </a:moveTo>
                    <a:cubicBezTo>
                      <a:pt x="746" y="158"/>
                      <a:pt x="761" y="140"/>
                      <a:pt x="779" y="128"/>
                    </a:cubicBezTo>
                    <a:cubicBezTo>
                      <a:pt x="797" y="116"/>
                      <a:pt x="818" y="109"/>
                      <a:pt x="842" y="109"/>
                    </a:cubicBezTo>
                    <a:cubicBezTo>
                      <a:pt x="858" y="109"/>
                      <a:pt x="872" y="112"/>
                      <a:pt x="886" y="118"/>
                    </a:cubicBezTo>
                    <a:cubicBezTo>
                      <a:pt x="906" y="126"/>
                      <a:pt x="923" y="141"/>
                      <a:pt x="936" y="159"/>
                    </a:cubicBezTo>
                    <a:cubicBezTo>
                      <a:pt x="948" y="177"/>
                      <a:pt x="955" y="198"/>
                      <a:pt x="955" y="222"/>
                    </a:cubicBezTo>
                    <a:cubicBezTo>
                      <a:pt x="955" y="237"/>
                      <a:pt x="952" y="252"/>
                      <a:pt x="946" y="266"/>
                    </a:cubicBezTo>
                    <a:cubicBezTo>
                      <a:pt x="938" y="286"/>
                      <a:pt x="923" y="303"/>
                      <a:pt x="905" y="315"/>
                    </a:cubicBezTo>
                    <a:cubicBezTo>
                      <a:pt x="891" y="325"/>
                      <a:pt x="876" y="331"/>
                      <a:pt x="859" y="333"/>
                    </a:cubicBezTo>
                    <a:cubicBezTo>
                      <a:pt x="825" y="333"/>
                      <a:pt x="825" y="333"/>
                      <a:pt x="825" y="333"/>
                    </a:cubicBezTo>
                    <a:cubicBezTo>
                      <a:pt x="815" y="332"/>
                      <a:pt x="806" y="329"/>
                      <a:pt x="798" y="326"/>
                    </a:cubicBezTo>
                    <a:cubicBezTo>
                      <a:pt x="778" y="317"/>
                      <a:pt x="760" y="303"/>
                      <a:pt x="748" y="285"/>
                    </a:cubicBezTo>
                    <a:cubicBezTo>
                      <a:pt x="736" y="267"/>
                      <a:pt x="729" y="245"/>
                      <a:pt x="729" y="222"/>
                    </a:cubicBezTo>
                    <a:cubicBezTo>
                      <a:pt x="729" y="206"/>
                      <a:pt x="732" y="191"/>
                      <a:pt x="738" y="178"/>
                    </a:cubicBezTo>
                    <a:close/>
                    <a:moveTo>
                      <a:pt x="1553" y="2318"/>
                    </a:moveTo>
                    <a:cubicBezTo>
                      <a:pt x="1553" y="2367"/>
                      <a:pt x="1513" y="2407"/>
                      <a:pt x="1463" y="2407"/>
                    </a:cubicBezTo>
                    <a:cubicBezTo>
                      <a:pt x="221" y="2407"/>
                      <a:pt x="221" y="2407"/>
                      <a:pt x="221" y="2407"/>
                    </a:cubicBezTo>
                    <a:cubicBezTo>
                      <a:pt x="172" y="2407"/>
                      <a:pt x="132" y="2367"/>
                      <a:pt x="132" y="2318"/>
                    </a:cubicBezTo>
                    <a:cubicBezTo>
                      <a:pt x="132" y="773"/>
                      <a:pt x="132" y="773"/>
                      <a:pt x="132" y="773"/>
                    </a:cubicBezTo>
                    <a:cubicBezTo>
                      <a:pt x="132" y="723"/>
                      <a:pt x="172" y="683"/>
                      <a:pt x="221" y="683"/>
                    </a:cubicBezTo>
                    <a:cubicBezTo>
                      <a:pt x="262" y="683"/>
                      <a:pt x="262" y="683"/>
                      <a:pt x="262" y="683"/>
                    </a:cubicBezTo>
                    <a:cubicBezTo>
                      <a:pt x="262" y="709"/>
                      <a:pt x="262" y="709"/>
                      <a:pt x="262" y="709"/>
                    </a:cubicBezTo>
                    <a:cubicBezTo>
                      <a:pt x="262" y="735"/>
                      <a:pt x="282" y="756"/>
                      <a:pt x="308" y="756"/>
                    </a:cubicBezTo>
                    <a:cubicBezTo>
                      <a:pt x="1376" y="756"/>
                      <a:pt x="1376" y="756"/>
                      <a:pt x="1376" y="756"/>
                    </a:cubicBezTo>
                    <a:cubicBezTo>
                      <a:pt x="1401" y="756"/>
                      <a:pt x="1422" y="735"/>
                      <a:pt x="1422" y="709"/>
                    </a:cubicBezTo>
                    <a:cubicBezTo>
                      <a:pt x="1422" y="683"/>
                      <a:pt x="1422" y="683"/>
                      <a:pt x="1422" y="683"/>
                    </a:cubicBezTo>
                    <a:cubicBezTo>
                      <a:pt x="1463" y="683"/>
                      <a:pt x="1463" y="683"/>
                      <a:pt x="1463" y="683"/>
                    </a:cubicBezTo>
                    <a:cubicBezTo>
                      <a:pt x="1513" y="683"/>
                      <a:pt x="1553" y="723"/>
                      <a:pt x="1553" y="773"/>
                    </a:cubicBezTo>
                    <a:lnTo>
                      <a:pt x="1553" y="2318"/>
                    </a:ln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9" name="Rectangle 58"/>
              <p:cNvSpPr/>
              <p:nvPr/>
            </p:nvSpPr>
            <p:spPr bwMode="auto">
              <a:xfrm>
                <a:off x="1257748" y="4010930"/>
                <a:ext cx="50007" cy="50007"/>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60" name="Rectangle 59"/>
              <p:cNvSpPr/>
              <p:nvPr/>
            </p:nvSpPr>
            <p:spPr bwMode="auto">
              <a:xfrm>
                <a:off x="1257748" y="4075266"/>
                <a:ext cx="50007" cy="50007"/>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61" name="Rectangle 60"/>
              <p:cNvSpPr/>
              <p:nvPr/>
            </p:nvSpPr>
            <p:spPr bwMode="auto">
              <a:xfrm>
                <a:off x="1257748" y="4139602"/>
                <a:ext cx="50007" cy="50007"/>
              </a:xfrm>
              <a:prstGeom prst="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nvGrpSpPr>
              <p:cNvPr id="62" name="Group 61"/>
              <p:cNvGrpSpPr/>
              <p:nvPr/>
            </p:nvGrpSpPr>
            <p:grpSpPr>
              <a:xfrm>
                <a:off x="1265538" y="4023205"/>
                <a:ext cx="50436" cy="18290"/>
                <a:chOff x="1747695" y="3994145"/>
                <a:chExt cx="71461" cy="25913"/>
              </a:xfrm>
              <a:grpFill/>
            </p:grpSpPr>
            <p:sp>
              <p:nvSpPr>
                <p:cNvPr id="69" name="Rectangle 68"/>
                <p:cNvSpPr/>
                <p:nvPr/>
              </p:nvSpPr>
              <p:spPr bwMode="auto">
                <a:xfrm rot="2782638" flipV="1">
                  <a:off x="1743883" y="3997957"/>
                  <a:ext cx="25913" cy="18289"/>
                </a:xfrm>
                <a:prstGeom prst="rect">
                  <a:avLst/>
                </a:prstGeom>
                <a:grp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70" name="Rectangle 69"/>
                <p:cNvSpPr/>
                <p:nvPr/>
              </p:nvSpPr>
              <p:spPr bwMode="auto">
                <a:xfrm rot="8100000" flipV="1">
                  <a:off x="1754381" y="3996133"/>
                  <a:ext cx="64775" cy="18288"/>
                </a:xfrm>
                <a:prstGeom prst="rect">
                  <a:avLst/>
                </a:prstGeom>
                <a:solidFill>
                  <a:schemeClr val="bg1"/>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grpSp>
            <p:nvGrpSpPr>
              <p:cNvPr id="63" name="Group 62"/>
              <p:cNvGrpSpPr/>
              <p:nvPr/>
            </p:nvGrpSpPr>
            <p:grpSpPr>
              <a:xfrm>
                <a:off x="1265538" y="4089879"/>
                <a:ext cx="50436" cy="18290"/>
                <a:chOff x="1747695" y="3994145"/>
                <a:chExt cx="71461" cy="25913"/>
              </a:xfrm>
              <a:grpFill/>
            </p:grpSpPr>
            <p:sp>
              <p:nvSpPr>
                <p:cNvPr id="67" name="Rectangle 66"/>
                <p:cNvSpPr/>
                <p:nvPr/>
              </p:nvSpPr>
              <p:spPr bwMode="auto">
                <a:xfrm rot="2782638" flipV="1">
                  <a:off x="1743883" y="3997957"/>
                  <a:ext cx="25913" cy="18289"/>
                </a:xfrm>
                <a:prstGeom prst="rect">
                  <a:avLst/>
                </a:prstGeom>
                <a:grp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68" name="Rectangle 67"/>
                <p:cNvSpPr/>
                <p:nvPr/>
              </p:nvSpPr>
              <p:spPr bwMode="auto">
                <a:xfrm rot="8100000" flipV="1">
                  <a:off x="1754381" y="3996133"/>
                  <a:ext cx="64775" cy="18288"/>
                </a:xfrm>
                <a:prstGeom prst="rect">
                  <a:avLst/>
                </a:prstGeom>
                <a:solidFill>
                  <a:schemeClr val="bg1"/>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grpSp>
            <p:nvGrpSpPr>
              <p:cNvPr id="64" name="Group 63"/>
              <p:cNvGrpSpPr/>
              <p:nvPr/>
            </p:nvGrpSpPr>
            <p:grpSpPr>
              <a:xfrm>
                <a:off x="1265538" y="4153550"/>
                <a:ext cx="50436" cy="18290"/>
                <a:chOff x="1747695" y="3994145"/>
                <a:chExt cx="71461" cy="25913"/>
              </a:xfrm>
              <a:grpFill/>
            </p:grpSpPr>
            <p:sp>
              <p:nvSpPr>
                <p:cNvPr id="65" name="Rectangle 64"/>
                <p:cNvSpPr/>
                <p:nvPr/>
              </p:nvSpPr>
              <p:spPr bwMode="auto">
                <a:xfrm rot="2782638" flipV="1">
                  <a:off x="1743883" y="3997957"/>
                  <a:ext cx="25913" cy="18289"/>
                </a:xfrm>
                <a:prstGeom prst="rect">
                  <a:avLst/>
                </a:prstGeom>
                <a:grp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66" name="Rectangle 65"/>
                <p:cNvSpPr/>
                <p:nvPr/>
              </p:nvSpPr>
              <p:spPr bwMode="auto">
                <a:xfrm rot="8100000" flipV="1">
                  <a:off x="1754381" y="3996133"/>
                  <a:ext cx="64775" cy="18288"/>
                </a:xfrm>
                <a:prstGeom prst="rect">
                  <a:avLst/>
                </a:prstGeom>
                <a:solidFill>
                  <a:schemeClr val="bg1"/>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grpSp>
        <p:grpSp>
          <p:nvGrpSpPr>
            <p:cNvPr id="32" name="Group 31"/>
            <p:cNvGrpSpPr/>
            <p:nvPr/>
          </p:nvGrpSpPr>
          <p:grpSpPr>
            <a:xfrm>
              <a:off x="8304715" y="2455172"/>
              <a:ext cx="200162" cy="162792"/>
              <a:chOff x="5449888" y="5665788"/>
              <a:chExt cx="739775" cy="601662"/>
            </a:xfrm>
            <a:solidFill>
              <a:schemeClr val="bg1"/>
            </a:solidFill>
          </p:grpSpPr>
          <p:sp>
            <p:nvSpPr>
              <p:cNvPr id="52" name="Freeform 103"/>
              <p:cNvSpPr>
                <a:spLocks/>
              </p:cNvSpPr>
              <p:nvPr/>
            </p:nvSpPr>
            <p:spPr bwMode="auto">
              <a:xfrm>
                <a:off x="5449888" y="5665788"/>
                <a:ext cx="739775" cy="295275"/>
              </a:xfrm>
              <a:custGeom>
                <a:avLst/>
                <a:gdLst>
                  <a:gd name="T0" fmla="*/ 0 w 466"/>
                  <a:gd name="T1" fmla="*/ 78 h 186"/>
                  <a:gd name="T2" fmla="*/ 0 w 466"/>
                  <a:gd name="T3" fmla="*/ 110 h 186"/>
                  <a:gd name="T4" fmla="*/ 8 w 466"/>
                  <a:gd name="T5" fmla="*/ 114 h 186"/>
                  <a:gd name="T6" fmla="*/ 189 w 466"/>
                  <a:gd name="T7" fmla="*/ 186 h 186"/>
                  <a:gd name="T8" fmla="*/ 271 w 466"/>
                  <a:gd name="T9" fmla="*/ 117 h 186"/>
                  <a:gd name="T10" fmla="*/ 284 w 466"/>
                  <a:gd name="T11" fmla="*/ 106 h 186"/>
                  <a:gd name="T12" fmla="*/ 298 w 466"/>
                  <a:gd name="T13" fmla="*/ 116 h 186"/>
                  <a:gd name="T14" fmla="*/ 366 w 466"/>
                  <a:gd name="T15" fmla="*/ 161 h 186"/>
                  <a:gd name="T16" fmla="*/ 460 w 466"/>
                  <a:gd name="T17" fmla="*/ 132 h 186"/>
                  <a:gd name="T18" fmla="*/ 466 w 466"/>
                  <a:gd name="T19" fmla="*/ 130 h 186"/>
                  <a:gd name="T20" fmla="*/ 466 w 466"/>
                  <a:gd name="T21" fmla="*/ 57 h 186"/>
                  <a:gd name="T22" fmla="*/ 389 w 466"/>
                  <a:gd name="T23" fmla="*/ 70 h 186"/>
                  <a:gd name="T24" fmla="*/ 302 w 466"/>
                  <a:gd name="T25" fmla="*/ 0 h 186"/>
                  <a:gd name="T26" fmla="*/ 193 w 466"/>
                  <a:gd name="T27" fmla="*/ 78 h 186"/>
                  <a:gd name="T28" fmla="*/ 96 w 466"/>
                  <a:gd name="T29" fmla="*/ 38 h 186"/>
                  <a:gd name="T30" fmla="*/ 0 w 466"/>
                  <a:gd name="T31" fmla="*/ 7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6" h="186">
                    <a:moveTo>
                      <a:pt x="0" y="78"/>
                    </a:moveTo>
                    <a:lnTo>
                      <a:pt x="0" y="110"/>
                    </a:lnTo>
                    <a:lnTo>
                      <a:pt x="8" y="114"/>
                    </a:lnTo>
                    <a:lnTo>
                      <a:pt x="189" y="186"/>
                    </a:lnTo>
                    <a:lnTo>
                      <a:pt x="271" y="117"/>
                    </a:lnTo>
                    <a:lnTo>
                      <a:pt x="284" y="106"/>
                    </a:lnTo>
                    <a:lnTo>
                      <a:pt x="298" y="116"/>
                    </a:lnTo>
                    <a:lnTo>
                      <a:pt x="366" y="161"/>
                    </a:lnTo>
                    <a:lnTo>
                      <a:pt x="460" y="132"/>
                    </a:lnTo>
                    <a:lnTo>
                      <a:pt x="466" y="130"/>
                    </a:lnTo>
                    <a:lnTo>
                      <a:pt x="466" y="57"/>
                    </a:lnTo>
                    <a:lnTo>
                      <a:pt x="389" y="70"/>
                    </a:lnTo>
                    <a:lnTo>
                      <a:pt x="302" y="0"/>
                    </a:lnTo>
                    <a:lnTo>
                      <a:pt x="193" y="78"/>
                    </a:lnTo>
                    <a:lnTo>
                      <a:pt x="96" y="38"/>
                    </a:lnTo>
                    <a:lnTo>
                      <a:pt x="0" y="78"/>
                    </a:ln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3" name="Freeform 104"/>
              <p:cNvSpPr>
                <a:spLocks/>
              </p:cNvSpPr>
              <p:nvPr/>
            </p:nvSpPr>
            <p:spPr bwMode="auto">
              <a:xfrm>
                <a:off x="5449888" y="5880100"/>
                <a:ext cx="739775" cy="387350"/>
              </a:xfrm>
              <a:custGeom>
                <a:avLst/>
                <a:gdLst>
                  <a:gd name="T0" fmla="*/ 466 w 466"/>
                  <a:gd name="T1" fmla="*/ 148 h 244"/>
                  <a:gd name="T2" fmla="*/ 466 w 466"/>
                  <a:gd name="T3" fmla="*/ 18 h 244"/>
                  <a:gd name="T4" fmla="*/ 362 w 466"/>
                  <a:gd name="T5" fmla="*/ 51 h 244"/>
                  <a:gd name="T6" fmla="*/ 286 w 466"/>
                  <a:gd name="T7" fmla="*/ 0 h 244"/>
                  <a:gd name="T8" fmla="*/ 193 w 466"/>
                  <a:gd name="T9" fmla="*/ 77 h 244"/>
                  <a:gd name="T10" fmla="*/ 0 w 466"/>
                  <a:gd name="T11" fmla="*/ 0 h 244"/>
                  <a:gd name="T12" fmla="*/ 0 w 466"/>
                  <a:gd name="T13" fmla="*/ 148 h 244"/>
                  <a:gd name="T14" fmla="*/ 0 w 466"/>
                  <a:gd name="T15" fmla="*/ 244 h 244"/>
                  <a:gd name="T16" fmla="*/ 466 w 466"/>
                  <a:gd name="T17" fmla="*/ 244 h 244"/>
                  <a:gd name="T18" fmla="*/ 466 w 466"/>
                  <a:gd name="T19" fmla="*/ 14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6" h="244">
                    <a:moveTo>
                      <a:pt x="466" y="148"/>
                    </a:moveTo>
                    <a:lnTo>
                      <a:pt x="466" y="18"/>
                    </a:lnTo>
                    <a:lnTo>
                      <a:pt x="362" y="51"/>
                    </a:lnTo>
                    <a:lnTo>
                      <a:pt x="286" y="0"/>
                    </a:lnTo>
                    <a:lnTo>
                      <a:pt x="193" y="77"/>
                    </a:lnTo>
                    <a:lnTo>
                      <a:pt x="0" y="0"/>
                    </a:lnTo>
                    <a:lnTo>
                      <a:pt x="0" y="148"/>
                    </a:lnTo>
                    <a:lnTo>
                      <a:pt x="0" y="244"/>
                    </a:lnTo>
                    <a:lnTo>
                      <a:pt x="466" y="244"/>
                    </a:lnTo>
                    <a:lnTo>
                      <a:pt x="466" y="148"/>
                    </a:ln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grpSp>
          <p:nvGrpSpPr>
            <p:cNvPr id="33" name="Group 32"/>
            <p:cNvGrpSpPr/>
            <p:nvPr/>
          </p:nvGrpSpPr>
          <p:grpSpPr>
            <a:xfrm>
              <a:off x="7599560" y="2102694"/>
              <a:ext cx="169922" cy="204780"/>
              <a:chOff x="1584980" y="3006725"/>
              <a:chExt cx="433388" cy="522288"/>
            </a:xfrm>
            <a:solidFill>
              <a:srgbClr val="676666"/>
            </a:solidFill>
          </p:grpSpPr>
          <p:sp>
            <p:nvSpPr>
              <p:cNvPr id="50" name="Freeform 9"/>
              <p:cNvSpPr>
                <a:spLocks noEditPoints="1"/>
              </p:cNvSpPr>
              <p:nvPr/>
            </p:nvSpPr>
            <p:spPr bwMode="auto">
              <a:xfrm>
                <a:off x="1584980" y="3006725"/>
                <a:ext cx="433388" cy="522288"/>
              </a:xfrm>
              <a:custGeom>
                <a:avLst/>
                <a:gdLst>
                  <a:gd name="T0" fmla="*/ 1818 w 1913"/>
                  <a:gd name="T1" fmla="*/ 2058 h 2312"/>
                  <a:gd name="T2" fmla="*/ 193 w 1913"/>
                  <a:gd name="T3" fmla="*/ 2284 h 2312"/>
                  <a:gd name="T4" fmla="*/ 1913 w 1913"/>
                  <a:gd name="T5" fmla="*/ 2094 h 2312"/>
                  <a:gd name="T6" fmla="*/ 1739 w 1913"/>
                  <a:gd name="T7" fmla="*/ 2058 h 2312"/>
                  <a:gd name="T8" fmla="*/ 1720 w 1913"/>
                  <a:gd name="T9" fmla="*/ 337 h 2312"/>
                  <a:gd name="T10" fmla="*/ 1710 w 1913"/>
                  <a:gd name="T11" fmla="*/ 327 h 2312"/>
                  <a:gd name="T12" fmla="*/ 1701 w 1913"/>
                  <a:gd name="T13" fmla="*/ 320 h 2312"/>
                  <a:gd name="T14" fmla="*/ 1691 w 1913"/>
                  <a:gd name="T15" fmla="*/ 315 h 2312"/>
                  <a:gd name="T16" fmla="*/ 1679 w 1913"/>
                  <a:gd name="T17" fmla="*/ 311 h 2312"/>
                  <a:gd name="T18" fmla="*/ 1668 w 1913"/>
                  <a:gd name="T19" fmla="*/ 309 h 2312"/>
                  <a:gd name="T20" fmla="*/ 1460 w 1913"/>
                  <a:gd name="T21" fmla="*/ 301 h 2312"/>
                  <a:gd name="T22" fmla="*/ 1338 w 1913"/>
                  <a:gd name="T23" fmla="*/ 0 h 2312"/>
                  <a:gd name="T24" fmla="*/ 1216 w 1913"/>
                  <a:gd name="T25" fmla="*/ 301 h 2312"/>
                  <a:gd name="T26" fmla="*/ 556 w 1913"/>
                  <a:gd name="T27" fmla="*/ 301 h 2312"/>
                  <a:gd name="T28" fmla="*/ 434 w 1913"/>
                  <a:gd name="T29" fmla="*/ 0 h 2312"/>
                  <a:gd name="T30" fmla="*/ 312 w 1913"/>
                  <a:gd name="T31" fmla="*/ 301 h 2312"/>
                  <a:gd name="T32" fmla="*/ 0 w 1913"/>
                  <a:gd name="T33" fmla="*/ 388 h 2312"/>
                  <a:gd name="T34" fmla="*/ 0 w 1913"/>
                  <a:gd name="T35" fmla="*/ 2068 h 2312"/>
                  <a:gd name="T36" fmla="*/ 3 w 1913"/>
                  <a:gd name="T37" fmla="*/ 2080 h 2312"/>
                  <a:gd name="T38" fmla="*/ 6 w 1913"/>
                  <a:gd name="T39" fmla="*/ 2090 h 2312"/>
                  <a:gd name="T40" fmla="*/ 12 w 1913"/>
                  <a:gd name="T41" fmla="*/ 2101 h 2312"/>
                  <a:gd name="T42" fmla="*/ 24 w 1913"/>
                  <a:gd name="T43" fmla="*/ 2115 h 2312"/>
                  <a:gd name="T44" fmla="*/ 1739 w 1913"/>
                  <a:gd name="T45" fmla="*/ 2058 h 2312"/>
                  <a:gd name="T46" fmla="*/ 1338 w 1913"/>
                  <a:gd name="T47" fmla="*/ 83 h 2312"/>
                  <a:gd name="T48" fmla="*/ 1381 w 1913"/>
                  <a:gd name="T49" fmla="*/ 301 h 2312"/>
                  <a:gd name="T50" fmla="*/ 1295 w 1913"/>
                  <a:gd name="T51" fmla="*/ 301 h 2312"/>
                  <a:gd name="T52" fmla="*/ 394 w 1913"/>
                  <a:gd name="T53" fmla="*/ 229 h 2312"/>
                  <a:gd name="T54" fmla="*/ 476 w 1913"/>
                  <a:gd name="T55" fmla="*/ 269 h 2312"/>
                  <a:gd name="T56" fmla="*/ 391 w 1913"/>
                  <a:gd name="T57" fmla="*/ 308 h 2312"/>
                  <a:gd name="T58" fmla="*/ 1642 w 1913"/>
                  <a:gd name="T59" fmla="*/ 889 h 2312"/>
                  <a:gd name="T60" fmla="*/ 145 w 1913"/>
                  <a:gd name="T61" fmla="*/ 2041 h 2312"/>
                  <a:gd name="T62" fmla="*/ 145 w 1913"/>
                  <a:gd name="T63" fmla="*/ 404 h 2312"/>
                  <a:gd name="T64" fmla="*/ 310 w 1913"/>
                  <a:gd name="T65" fmla="*/ 557 h 2312"/>
                  <a:gd name="T66" fmla="*/ 498 w 1913"/>
                  <a:gd name="T67" fmla="*/ 566 h 2312"/>
                  <a:gd name="T68" fmla="*/ 439 w 1913"/>
                  <a:gd name="T69" fmla="*/ 469 h 2312"/>
                  <a:gd name="T70" fmla="*/ 439 w 1913"/>
                  <a:gd name="T71" fmla="*/ 404 h 2312"/>
                  <a:gd name="T72" fmla="*/ 694 w 1913"/>
                  <a:gd name="T73" fmla="*/ 404 h 2312"/>
                  <a:gd name="T74" fmla="*/ 1214 w 1913"/>
                  <a:gd name="T75" fmla="*/ 557 h 2312"/>
                  <a:gd name="T76" fmla="*/ 1402 w 1913"/>
                  <a:gd name="T77" fmla="*/ 566 h 2312"/>
                  <a:gd name="T78" fmla="*/ 1343 w 1913"/>
                  <a:gd name="T79" fmla="*/ 469 h 2312"/>
                  <a:gd name="T80" fmla="*/ 1343 w 1913"/>
                  <a:gd name="T81" fmla="*/ 404 h 2312"/>
                  <a:gd name="T82" fmla="*/ 1599 w 1913"/>
                  <a:gd name="T83" fmla="*/ 405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13" h="2312">
                    <a:moveTo>
                      <a:pt x="1894" y="550"/>
                    </a:moveTo>
                    <a:cubicBezTo>
                      <a:pt x="1888" y="543"/>
                      <a:pt x="1854" y="501"/>
                      <a:pt x="1818" y="456"/>
                    </a:cubicBezTo>
                    <a:cubicBezTo>
                      <a:pt x="1818" y="2058"/>
                      <a:pt x="1818" y="2058"/>
                      <a:pt x="1818" y="2058"/>
                    </a:cubicBezTo>
                    <a:cubicBezTo>
                      <a:pt x="1818" y="2145"/>
                      <a:pt x="1747" y="2216"/>
                      <a:pt x="1660" y="2216"/>
                    </a:cubicBezTo>
                    <a:cubicBezTo>
                      <a:pt x="125" y="2216"/>
                      <a:pt x="125" y="2216"/>
                      <a:pt x="125" y="2216"/>
                    </a:cubicBezTo>
                    <a:cubicBezTo>
                      <a:pt x="159" y="2249"/>
                      <a:pt x="188" y="2278"/>
                      <a:pt x="193" y="2284"/>
                    </a:cubicBezTo>
                    <a:cubicBezTo>
                      <a:pt x="207" y="2301"/>
                      <a:pt x="229" y="2312"/>
                      <a:pt x="253" y="2312"/>
                    </a:cubicBezTo>
                    <a:cubicBezTo>
                      <a:pt x="1696" y="2312"/>
                      <a:pt x="1696" y="2312"/>
                      <a:pt x="1696" y="2312"/>
                    </a:cubicBezTo>
                    <a:cubicBezTo>
                      <a:pt x="1813" y="2312"/>
                      <a:pt x="1913" y="2212"/>
                      <a:pt x="1913" y="2094"/>
                    </a:cubicBezTo>
                    <a:cubicBezTo>
                      <a:pt x="1913" y="602"/>
                      <a:pt x="1913" y="602"/>
                      <a:pt x="1913" y="602"/>
                    </a:cubicBezTo>
                    <a:cubicBezTo>
                      <a:pt x="1913" y="582"/>
                      <a:pt x="1906" y="564"/>
                      <a:pt x="1894" y="550"/>
                    </a:cubicBezTo>
                    <a:close/>
                    <a:moveTo>
                      <a:pt x="1739" y="2058"/>
                    </a:moveTo>
                    <a:cubicBezTo>
                      <a:pt x="1739" y="388"/>
                      <a:pt x="1739" y="388"/>
                      <a:pt x="1739" y="388"/>
                    </a:cubicBezTo>
                    <a:cubicBezTo>
                      <a:pt x="1739" y="369"/>
                      <a:pt x="1732" y="351"/>
                      <a:pt x="1721" y="337"/>
                    </a:cubicBezTo>
                    <a:cubicBezTo>
                      <a:pt x="1721" y="337"/>
                      <a:pt x="1721" y="337"/>
                      <a:pt x="1720" y="337"/>
                    </a:cubicBezTo>
                    <a:cubicBezTo>
                      <a:pt x="1719" y="335"/>
                      <a:pt x="1718" y="334"/>
                      <a:pt x="1716" y="332"/>
                    </a:cubicBezTo>
                    <a:cubicBezTo>
                      <a:pt x="1715" y="331"/>
                      <a:pt x="1714" y="330"/>
                      <a:pt x="1713" y="329"/>
                    </a:cubicBezTo>
                    <a:cubicBezTo>
                      <a:pt x="1712" y="329"/>
                      <a:pt x="1711" y="328"/>
                      <a:pt x="1710" y="327"/>
                    </a:cubicBezTo>
                    <a:cubicBezTo>
                      <a:pt x="1709" y="326"/>
                      <a:pt x="1708" y="325"/>
                      <a:pt x="1707" y="324"/>
                    </a:cubicBezTo>
                    <a:cubicBezTo>
                      <a:pt x="1706" y="324"/>
                      <a:pt x="1705" y="323"/>
                      <a:pt x="1704" y="322"/>
                    </a:cubicBezTo>
                    <a:cubicBezTo>
                      <a:pt x="1703" y="321"/>
                      <a:pt x="1702" y="321"/>
                      <a:pt x="1701" y="320"/>
                    </a:cubicBezTo>
                    <a:cubicBezTo>
                      <a:pt x="1700" y="319"/>
                      <a:pt x="1699" y="319"/>
                      <a:pt x="1698" y="318"/>
                    </a:cubicBezTo>
                    <a:cubicBezTo>
                      <a:pt x="1696" y="318"/>
                      <a:pt x="1695" y="317"/>
                      <a:pt x="1694" y="316"/>
                    </a:cubicBezTo>
                    <a:cubicBezTo>
                      <a:pt x="1693" y="316"/>
                      <a:pt x="1692" y="315"/>
                      <a:pt x="1691" y="315"/>
                    </a:cubicBezTo>
                    <a:cubicBezTo>
                      <a:pt x="1689" y="314"/>
                      <a:pt x="1688" y="314"/>
                      <a:pt x="1687" y="313"/>
                    </a:cubicBezTo>
                    <a:cubicBezTo>
                      <a:pt x="1685" y="313"/>
                      <a:pt x="1684" y="312"/>
                      <a:pt x="1683" y="312"/>
                    </a:cubicBezTo>
                    <a:cubicBezTo>
                      <a:pt x="1682" y="312"/>
                      <a:pt x="1680" y="311"/>
                      <a:pt x="1679" y="311"/>
                    </a:cubicBezTo>
                    <a:cubicBezTo>
                      <a:pt x="1678" y="311"/>
                      <a:pt x="1677" y="310"/>
                      <a:pt x="1676" y="310"/>
                    </a:cubicBezTo>
                    <a:cubicBezTo>
                      <a:pt x="1674" y="310"/>
                      <a:pt x="1672" y="310"/>
                      <a:pt x="1670" y="309"/>
                    </a:cubicBezTo>
                    <a:cubicBezTo>
                      <a:pt x="1670" y="309"/>
                      <a:pt x="1669" y="309"/>
                      <a:pt x="1668" y="309"/>
                    </a:cubicBezTo>
                    <a:cubicBezTo>
                      <a:pt x="1665" y="309"/>
                      <a:pt x="1662" y="308"/>
                      <a:pt x="1660" y="308"/>
                    </a:cubicBezTo>
                    <a:cubicBezTo>
                      <a:pt x="1460" y="308"/>
                      <a:pt x="1460" y="308"/>
                      <a:pt x="1460" y="308"/>
                    </a:cubicBezTo>
                    <a:cubicBezTo>
                      <a:pt x="1460" y="306"/>
                      <a:pt x="1460" y="304"/>
                      <a:pt x="1460" y="301"/>
                    </a:cubicBezTo>
                    <a:cubicBezTo>
                      <a:pt x="1460" y="291"/>
                      <a:pt x="1460" y="280"/>
                      <a:pt x="1459" y="269"/>
                    </a:cubicBezTo>
                    <a:cubicBezTo>
                      <a:pt x="1459" y="256"/>
                      <a:pt x="1458" y="243"/>
                      <a:pt x="1457" y="229"/>
                    </a:cubicBezTo>
                    <a:cubicBezTo>
                      <a:pt x="1447" y="123"/>
                      <a:pt x="1415" y="0"/>
                      <a:pt x="1338" y="0"/>
                    </a:cubicBezTo>
                    <a:cubicBezTo>
                      <a:pt x="1260" y="0"/>
                      <a:pt x="1228" y="123"/>
                      <a:pt x="1219" y="229"/>
                    </a:cubicBezTo>
                    <a:cubicBezTo>
                      <a:pt x="1218" y="243"/>
                      <a:pt x="1217" y="256"/>
                      <a:pt x="1216" y="269"/>
                    </a:cubicBezTo>
                    <a:cubicBezTo>
                      <a:pt x="1216" y="280"/>
                      <a:pt x="1216" y="291"/>
                      <a:pt x="1216" y="301"/>
                    </a:cubicBezTo>
                    <a:cubicBezTo>
                      <a:pt x="1216" y="304"/>
                      <a:pt x="1216" y="306"/>
                      <a:pt x="1216" y="308"/>
                    </a:cubicBezTo>
                    <a:cubicBezTo>
                      <a:pt x="556" y="308"/>
                      <a:pt x="556" y="308"/>
                      <a:pt x="556" y="308"/>
                    </a:cubicBezTo>
                    <a:cubicBezTo>
                      <a:pt x="556" y="306"/>
                      <a:pt x="556" y="304"/>
                      <a:pt x="556" y="301"/>
                    </a:cubicBezTo>
                    <a:cubicBezTo>
                      <a:pt x="556" y="291"/>
                      <a:pt x="556" y="280"/>
                      <a:pt x="555" y="269"/>
                    </a:cubicBezTo>
                    <a:cubicBezTo>
                      <a:pt x="555" y="256"/>
                      <a:pt x="554" y="243"/>
                      <a:pt x="553" y="229"/>
                    </a:cubicBezTo>
                    <a:cubicBezTo>
                      <a:pt x="543" y="123"/>
                      <a:pt x="511" y="0"/>
                      <a:pt x="434" y="0"/>
                    </a:cubicBezTo>
                    <a:cubicBezTo>
                      <a:pt x="356" y="0"/>
                      <a:pt x="324" y="123"/>
                      <a:pt x="315" y="229"/>
                    </a:cubicBezTo>
                    <a:cubicBezTo>
                      <a:pt x="314" y="243"/>
                      <a:pt x="313" y="256"/>
                      <a:pt x="312" y="269"/>
                    </a:cubicBezTo>
                    <a:cubicBezTo>
                      <a:pt x="312" y="280"/>
                      <a:pt x="312" y="291"/>
                      <a:pt x="312" y="301"/>
                    </a:cubicBezTo>
                    <a:cubicBezTo>
                      <a:pt x="312" y="304"/>
                      <a:pt x="312" y="306"/>
                      <a:pt x="312" y="308"/>
                    </a:cubicBezTo>
                    <a:cubicBezTo>
                      <a:pt x="79" y="308"/>
                      <a:pt x="79" y="308"/>
                      <a:pt x="79" y="308"/>
                    </a:cubicBezTo>
                    <a:cubicBezTo>
                      <a:pt x="35" y="308"/>
                      <a:pt x="0" y="344"/>
                      <a:pt x="0" y="388"/>
                    </a:cubicBezTo>
                    <a:cubicBezTo>
                      <a:pt x="0" y="2058"/>
                      <a:pt x="0" y="2058"/>
                      <a:pt x="0" y="2058"/>
                    </a:cubicBezTo>
                    <a:cubicBezTo>
                      <a:pt x="0" y="2060"/>
                      <a:pt x="0" y="2063"/>
                      <a:pt x="0" y="2065"/>
                    </a:cubicBezTo>
                    <a:cubicBezTo>
                      <a:pt x="0" y="2066"/>
                      <a:pt x="0" y="2067"/>
                      <a:pt x="0" y="2068"/>
                    </a:cubicBezTo>
                    <a:cubicBezTo>
                      <a:pt x="0" y="2069"/>
                      <a:pt x="1" y="2071"/>
                      <a:pt x="1" y="2073"/>
                    </a:cubicBezTo>
                    <a:cubicBezTo>
                      <a:pt x="1" y="2073"/>
                      <a:pt x="1" y="2074"/>
                      <a:pt x="1" y="2075"/>
                    </a:cubicBezTo>
                    <a:cubicBezTo>
                      <a:pt x="2" y="2077"/>
                      <a:pt x="2" y="2078"/>
                      <a:pt x="3" y="2080"/>
                    </a:cubicBezTo>
                    <a:cubicBezTo>
                      <a:pt x="3" y="2081"/>
                      <a:pt x="3" y="2081"/>
                      <a:pt x="3" y="2082"/>
                    </a:cubicBezTo>
                    <a:cubicBezTo>
                      <a:pt x="4" y="2084"/>
                      <a:pt x="5" y="2086"/>
                      <a:pt x="6" y="2089"/>
                    </a:cubicBezTo>
                    <a:cubicBezTo>
                      <a:pt x="6" y="2089"/>
                      <a:pt x="6" y="2089"/>
                      <a:pt x="6" y="2090"/>
                    </a:cubicBezTo>
                    <a:cubicBezTo>
                      <a:pt x="7" y="2092"/>
                      <a:pt x="8" y="2093"/>
                      <a:pt x="9" y="2095"/>
                    </a:cubicBezTo>
                    <a:cubicBezTo>
                      <a:pt x="9" y="2096"/>
                      <a:pt x="9" y="2096"/>
                      <a:pt x="10" y="2097"/>
                    </a:cubicBezTo>
                    <a:cubicBezTo>
                      <a:pt x="11" y="2098"/>
                      <a:pt x="11" y="2100"/>
                      <a:pt x="12" y="2101"/>
                    </a:cubicBezTo>
                    <a:cubicBezTo>
                      <a:pt x="13" y="2102"/>
                      <a:pt x="13" y="2102"/>
                      <a:pt x="14" y="2103"/>
                    </a:cubicBezTo>
                    <a:cubicBezTo>
                      <a:pt x="15" y="2104"/>
                      <a:pt x="15" y="2105"/>
                      <a:pt x="16" y="2107"/>
                    </a:cubicBezTo>
                    <a:cubicBezTo>
                      <a:pt x="19" y="2109"/>
                      <a:pt x="21" y="2112"/>
                      <a:pt x="24" y="2115"/>
                    </a:cubicBezTo>
                    <a:cubicBezTo>
                      <a:pt x="38" y="2129"/>
                      <a:pt x="57" y="2137"/>
                      <a:pt x="79" y="2137"/>
                    </a:cubicBezTo>
                    <a:cubicBezTo>
                      <a:pt x="1660" y="2137"/>
                      <a:pt x="1660" y="2137"/>
                      <a:pt x="1660" y="2137"/>
                    </a:cubicBezTo>
                    <a:cubicBezTo>
                      <a:pt x="1703" y="2137"/>
                      <a:pt x="1739" y="2102"/>
                      <a:pt x="1739" y="2058"/>
                    </a:cubicBezTo>
                    <a:close/>
                    <a:moveTo>
                      <a:pt x="1295" y="269"/>
                    </a:moveTo>
                    <a:cubicBezTo>
                      <a:pt x="1296" y="255"/>
                      <a:pt x="1297" y="242"/>
                      <a:pt x="1298" y="229"/>
                    </a:cubicBezTo>
                    <a:cubicBezTo>
                      <a:pt x="1306" y="148"/>
                      <a:pt x="1325" y="99"/>
                      <a:pt x="1338" y="83"/>
                    </a:cubicBezTo>
                    <a:cubicBezTo>
                      <a:pt x="1350" y="99"/>
                      <a:pt x="1370" y="148"/>
                      <a:pt x="1377" y="229"/>
                    </a:cubicBezTo>
                    <a:cubicBezTo>
                      <a:pt x="1379" y="242"/>
                      <a:pt x="1380" y="255"/>
                      <a:pt x="1380" y="269"/>
                    </a:cubicBezTo>
                    <a:cubicBezTo>
                      <a:pt x="1380" y="279"/>
                      <a:pt x="1381" y="290"/>
                      <a:pt x="1381" y="301"/>
                    </a:cubicBezTo>
                    <a:cubicBezTo>
                      <a:pt x="1381" y="304"/>
                      <a:pt x="1381" y="306"/>
                      <a:pt x="1381" y="308"/>
                    </a:cubicBezTo>
                    <a:cubicBezTo>
                      <a:pt x="1295" y="308"/>
                      <a:pt x="1295" y="308"/>
                      <a:pt x="1295" y="308"/>
                    </a:cubicBezTo>
                    <a:cubicBezTo>
                      <a:pt x="1295" y="306"/>
                      <a:pt x="1295" y="304"/>
                      <a:pt x="1295" y="301"/>
                    </a:cubicBezTo>
                    <a:cubicBezTo>
                      <a:pt x="1295" y="290"/>
                      <a:pt x="1295" y="279"/>
                      <a:pt x="1295" y="269"/>
                    </a:cubicBezTo>
                    <a:close/>
                    <a:moveTo>
                      <a:pt x="391" y="269"/>
                    </a:moveTo>
                    <a:cubicBezTo>
                      <a:pt x="392" y="255"/>
                      <a:pt x="393" y="242"/>
                      <a:pt x="394" y="229"/>
                    </a:cubicBezTo>
                    <a:cubicBezTo>
                      <a:pt x="402" y="148"/>
                      <a:pt x="421" y="99"/>
                      <a:pt x="434" y="83"/>
                    </a:cubicBezTo>
                    <a:cubicBezTo>
                      <a:pt x="446" y="99"/>
                      <a:pt x="466" y="148"/>
                      <a:pt x="473" y="229"/>
                    </a:cubicBezTo>
                    <a:cubicBezTo>
                      <a:pt x="475" y="242"/>
                      <a:pt x="475" y="255"/>
                      <a:pt x="476" y="269"/>
                    </a:cubicBezTo>
                    <a:cubicBezTo>
                      <a:pt x="476" y="279"/>
                      <a:pt x="477" y="290"/>
                      <a:pt x="477" y="301"/>
                    </a:cubicBezTo>
                    <a:cubicBezTo>
                      <a:pt x="477" y="304"/>
                      <a:pt x="477" y="306"/>
                      <a:pt x="477" y="308"/>
                    </a:cubicBezTo>
                    <a:cubicBezTo>
                      <a:pt x="391" y="308"/>
                      <a:pt x="391" y="308"/>
                      <a:pt x="391" y="308"/>
                    </a:cubicBezTo>
                    <a:cubicBezTo>
                      <a:pt x="391" y="306"/>
                      <a:pt x="391" y="304"/>
                      <a:pt x="391" y="301"/>
                    </a:cubicBezTo>
                    <a:cubicBezTo>
                      <a:pt x="391" y="290"/>
                      <a:pt x="391" y="279"/>
                      <a:pt x="391" y="269"/>
                    </a:cubicBezTo>
                    <a:close/>
                    <a:moveTo>
                      <a:pt x="1642" y="889"/>
                    </a:moveTo>
                    <a:cubicBezTo>
                      <a:pt x="1642" y="1536"/>
                      <a:pt x="1395" y="1610"/>
                      <a:pt x="1150" y="1572"/>
                    </a:cubicBezTo>
                    <a:cubicBezTo>
                      <a:pt x="1202" y="1931"/>
                      <a:pt x="924" y="2041"/>
                      <a:pt x="784" y="2041"/>
                    </a:cubicBezTo>
                    <a:cubicBezTo>
                      <a:pt x="145" y="2041"/>
                      <a:pt x="145" y="2041"/>
                      <a:pt x="145" y="2041"/>
                    </a:cubicBezTo>
                    <a:cubicBezTo>
                      <a:pt x="118" y="2041"/>
                      <a:pt x="97" y="2020"/>
                      <a:pt x="97" y="1993"/>
                    </a:cubicBezTo>
                    <a:cubicBezTo>
                      <a:pt x="97" y="453"/>
                      <a:pt x="97" y="453"/>
                      <a:pt x="97" y="453"/>
                    </a:cubicBezTo>
                    <a:cubicBezTo>
                      <a:pt x="97" y="426"/>
                      <a:pt x="118" y="404"/>
                      <a:pt x="145" y="404"/>
                    </a:cubicBezTo>
                    <a:cubicBezTo>
                      <a:pt x="318" y="404"/>
                      <a:pt x="318" y="404"/>
                      <a:pt x="318" y="404"/>
                    </a:cubicBezTo>
                    <a:cubicBezTo>
                      <a:pt x="322" y="434"/>
                      <a:pt x="328" y="465"/>
                      <a:pt x="336" y="492"/>
                    </a:cubicBezTo>
                    <a:cubicBezTo>
                      <a:pt x="320" y="509"/>
                      <a:pt x="310" y="532"/>
                      <a:pt x="310" y="557"/>
                    </a:cubicBezTo>
                    <a:cubicBezTo>
                      <a:pt x="310" y="609"/>
                      <a:pt x="352" y="652"/>
                      <a:pt x="404" y="652"/>
                    </a:cubicBezTo>
                    <a:cubicBezTo>
                      <a:pt x="416" y="652"/>
                      <a:pt x="428" y="649"/>
                      <a:pt x="439" y="645"/>
                    </a:cubicBezTo>
                    <a:cubicBezTo>
                      <a:pt x="471" y="632"/>
                      <a:pt x="495" y="602"/>
                      <a:pt x="498" y="566"/>
                    </a:cubicBezTo>
                    <a:cubicBezTo>
                      <a:pt x="499" y="563"/>
                      <a:pt x="499" y="560"/>
                      <a:pt x="499" y="557"/>
                    </a:cubicBezTo>
                    <a:cubicBezTo>
                      <a:pt x="499" y="523"/>
                      <a:pt x="481" y="493"/>
                      <a:pt x="454" y="477"/>
                    </a:cubicBezTo>
                    <a:cubicBezTo>
                      <a:pt x="449" y="474"/>
                      <a:pt x="444" y="471"/>
                      <a:pt x="439" y="469"/>
                    </a:cubicBezTo>
                    <a:cubicBezTo>
                      <a:pt x="429" y="466"/>
                      <a:pt x="420" y="463"/>
                      <a:pt x="410" y="463"/>
                    </a:cubicBezTo>
                    <a:cubicBezTo>
                      <a:pt x="405" y="446"/>
                      <a:pt x="401" y="427"/>
                      <a:pt x="398" y="404"/>
                    </a:cubicBezTo>
                    <a:cubicBezTo>
                      <a:pt x="439" y="404"/>
                      <a:pt x="439" y="404"/>
                      <a:pt x="439" y="404"/>
                    </a:cubicBezTo>
                    <a:cubicBezTo>
                      <a:pt x="439" y="404"/>
                      <a:pt x="439" y="404"/>
                      <a:pt x="439" y="404"/>
                    </a:cubicBezTo>
                    <a:cubicBezTo>
                      <a:pt x="694" y="404"/>
                      <a:pt x="694" y="404"/>
                      <a:pt x="694" y="404"/>
                    </a:cubicBezTo>
                    <a:cubicBezTo>
                      <a:pt x="694" y="404"/>
                      <a:pt x="694" y="404"/>
                      <a:pt x="694" y="404"/>
                    </a:cubicBezTo>
                    <a:cubicBezTo>
                      <a:pt x="1222" y="404"/>
                      <a:pt x="1222" y="404"/>
                      <a:pt x="1222" y="404"/>
                    </a:cubicBezTo>
                    <a:cubicBezTo>
                      <a:pt x="1226" y="434"/>
                      <a:pt x="1232" y="465"/>
                      <a:pt x="1240" y="492"/>
                    </a:cubicBezTo>
                    <a:cubicBezTo>
                      <a:pt x="1224" y="509"/>
                      <a:pt x="1214" y="532"/>
                      <a:pt x="1214" y="557"/>
                    </a:cubicBezTo>
                    <a:cubicBezTo>
                      <a:pt x="1214" y="609"/>
                      <a:pt x="1256" y="652"/>
                      <a:pt x="1308" y="652"/>
                    </a:cubicBezTo>
                    <a:cubicBezTo>
                      <a:pt x="1320" y="652"/>
                      <a:pt x="1332" y="649"/>
                      <a:pt x="1343" y="645"/>
                    </a:cubicBezTo>
                    <a:cubicBezTo>
                      <a:pt x="1375" y="632"/>
                      <a:pt x="1399" y="602"/>
                      <a:pt x="1402" y="566"/>
                    </a:cubicBezTo>
                    <a:cubicBezTo>
                      <a:pt x="1403" y="563"/>
                      <a:pt x="1403" y="560"/>
                      <a:pt x="1403" y="557"/>
                    </a:cubicBezTo>
                    <a:cubicBezTo>
                      <a:pt x="1403" y="523"/>
                      <a:pt x="1385" y="493"/>
                      <a:pt x="1358" y="477"/>
                    </a:cubicBezTo>
                    <a:cubicBezTo>
                      <a:pt x="1353" y="474"/>
                      <a:pt x="1348" y="471"/>
                      <a:pt x="1343" y="469"/>
                    </a:cubicBezTo>
                    <a:cubicBezTo>
                      <a:pt x="1334" y="466"/>
                      <a:pt x="1324" y="463"/>
                      <a:pt x="1314" y="463"/>
                    </a:cubicBezTo>
                    <a:cubicBezTo>
                      <a:pt x="1309" y="446"/>
                      <a:pt x="1305" y="427"/>
                      <a:pt x="1302" y="404"/>
                    </a:cubicBezTo>
                    <a:cubicBezTo>
                      <a:pt x="1343" y="404"/>
                      <a:pt x="1343" y="404"/>
                      <a:pt x="1343" y="404"/>
                    </a:cubicBezTo>
                    <a:cubicBezTo>
                      <a:pt x="1343" y="404"/>
                      <a:pt x="1343" y="404"/>
                      <a:pt x="1343" y="404"/>
                    </a:cubicBezTo>
                    <a:cubicBezTo>
                      <a:pt x="1599" y="404"/>
                      <a:pt x="1599" y="404"/>
                      <a:pt x="1599" y="404"/>
                    </a:cubicBezTo>
                    <a:cubicBezTo>
                      <a:pt x="1599" y="405"/>
                      <a:pt x="1599" y="405"/>
                      <a:pt x="1599" y="405"/>
                    </a:cubicBezTo>
                    <a:cubicBezTo>
                      <a:pt x="1623" y="407"/>
                      <a:pt x="1642" y="428"/>
                      <a:pt x="1642" y="453"/>
                    </a:cubicBezTo>
                    <a:lnTo>
                      <a:pt x="1642" y="889"/>
                    </a:ln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51" name="Freeform 13"/>
              <p:cNvSpPr>
                <a:spLocks noEditPoints="1"/>
              </p:cNvSpPr>
              <p:nvPr/>
            </p:nvSpPr>
            <p:spPr bwMode="auto">
              <a:xfrm>
                <a:off x="1649403" y="3167712"/>
                <a:ext cx="276526" cy="224593"/>
              </a:xfrm>
              <a:custGeom>
                <a:avLst/>
                <a:gdLst>
                  <a:gd name="T0" fmla="*/ 1558 w 2971"/>
                  <a:gd name="T1" fmla="*/ 1459 h 2413"/>
                  <a:gd name="T2" fmla="*/ 1592 w 2971"/>
                  <a:gd name="T3" fmla="*/ 1056 h 2413"/>
                  <a:gd name="T4" fmla="*/ 1295 w 2971"/>
                  <a:gd name="T5" fmla="*/ 997 h 2413"/>
                  <a:gd name="T6" fmla="*/ 1033 w 2971"/>
                  <a:gd name="T7" fmla="*/ 687 h 2413"/>
                  <a:gd name="T8" fmla="*/ 782 w 2971"/>
                  <a:gd name="T9" fmla="*/ 855 h 2413"/>
                  <a:gd name="T10" fmla="*/ 378 w 2971"/>
                  <a:gd name="T11" fmla="*/ 821 h 2413"/>
                  <a:gd name="T12" fmla="*/ 319 w 2971"/>
                  <a:gd name="T13" fmla="*/ 1118 h 2413"/>
                  <a:gd name="T14" fmla="*/ 10 w 2971"/>
                  <a:gd name="T15" fmla="*/ 1379 h 2413"/>
                  <a:gd name="T16" fmla="*/ 178 w 2971"/>
                  <a:gd name="T17" fmla="*/ 1631 h 2413"/>
                  <a:gd name="T18" fmla="*/ 144 w 2971"/>
                  <a:gd name="T19" fmla="*/ 2035 h 2413"/>
                  <a:gd name="T20" fmla="*/ 441 w 2971"/>
                  <a:gd name="T21" fmla="*/ 2094 h 2413"/>
                  <a:gd name="T22" fmla="*/ 702 w 2971"/>
                  <a:gd name="T23" fmla="*/ 2403 h 2413"/>
                  <a:gd name="T24" fmla="*/ 953 w 2971"/>
                  <a:gd name="T25" fmla="*/ 2235 h 2413"/>
                  <a:gd name="T26" fmla="*/ 1357 w 2971"/>
                  <a:gd name="T27" fmla="*/ 2269 h 2413"/>
                  <a:gd name="T28" fmla="*/ 1416 w 2971"/>
                  <a:gd name="T29" fmla="*/ 1972 h 2413"/>
                  <a:gd name="T30" fmla="*/ 1726 w 2971"/>
                  <a:gd name="T31" fmla="*/ 1711 h 2413"/>
                  <a:gd name="T32" fmla="*/ 1060 w 2971"/>
                  <a:gd name="T33" fmla="*/ 1620 h 2413"/>
                  <a:gd name="T34" fmla="*/ 675 w 2971"/>
                  <a:gd name="T35" fmla="*/ 1470 h 2413"/>
                  <a:gd name="T36" fmla="*/ 1060 w 2971"/>
                  <a:gd name="T37" fmla="*/ 1620 h 2413"/>
                  <a:gd name="T38" fmla="*/ 2940 w 2971"/>
                  <a:gd name="T39" fmla="*/ 773 h 2413"/>
                  <a:gd name="T40" fmla="*/ 2698 w 2971"/>
                  <a:gd name="T41" fmla="*/ 461 h 2413"/>
                  <a:gd name="T42" fmla="*/ 2617 w 2971"/>
                  <a:gd name="T43" fmla="*/ 122 h 2413"/>
                  <a:gd name="T44" fmla="*/ 2226 w 2971"/>
                  <a:gd name="T45" fmla="*/ 175 h 2413"/>
                  <a:gd name="T46" fmla="*/ 1892 w 2971"/>
                  <a:gd name="T47" fmla="*/ 76 h 2413"/>
                  <a:gd name="T48" fmla="*/ 1742 w 2971"/>
                  <a:gd name="T49" fmla="*/ 442 h 2413"/>
                  <a:gd name="T50" fmla="*/ 1674 w 2971"/>
                  <a:gd name="T51" fmla="*/ 616 h 2413"/>
                  <a:gd name="T52" fmla="*/ 1536 w 2971"/>
                  <a:gd name="T53" fmla="*/ 986 h 2413"/>
                  <a:gd name="T54" fmla="*/ 1848 w 2971"/>
                  <a:gd name="T55" fmla="*/ 1140 h 2413"/>
                  <a:gd name="T56" fmla="*/ 2099 w 2971"/>
                  <a:gd name="T57" fmla="*/ 1445 h 2413"/>
                  <a:gd name="T58" fmla="*/ 2389 w 2971"/>
                  <a:gd name="T59" fmla="*/ 1251 h 2413"/>
                  <a:gd name="T60" fmla="*/ 2779 w 2971"/>
                  <a:gd name="T61" fmla="*/ 1186 h 2413"/>
                  <a:gd name="T62" fmla="*/ 2729 w 2971"/>
                  <a:gd name="T63" fmla="*/ 928 h 2413"/>
                  <a:gd name="T64" fmla="*/ 2397 w 2971"/>
                  <a:gd name="T65" fmla="*/ 799 h 2413"/>
                  <a:gd name="T66" fmla="*/ 2032 w 2971"/>
                  <a:gd name="T67" fmla="*/ 656 h 2413"/>
                  <a:gd name="T68" fmla="*/ 2397 w 2971"/>
                  <a:gd name="T69" fmla="*/ 799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71" h="2413">
                    <a:moveTo>
                      <a:pt x="1560" y="1604"/>
                    </a:moveTo>
                    <a:cubicBezTo>
                      <a:pt x="1565" y="1555"/>
                      <a:pt x="1564" y="1507"/>
                      <a:pt x="1558" y="1459"/>
                    </a:cubicBezTo>
                    <a:cubicBezTo>
                      <a:pt x="1613" y="1423"/>
                      <a:pt x="1666" y="1385"/>
                      <a:pt x="1719" y="1346"/>
                    </a:cubicBezTo>
                    <a:cubicBezTo>
                      <a:pt x="1724" y="1223"/>
                      <a:pt x="1686" y="1135"/>
                      <a:pt x="1592" y="1056"/>
                    </a:cubicBezTo>
                    <a:cubicBezTo>
                      <a:pt x="1527" y="1067"/>
                      <a:pt x="1463" y="1081"/>
                      <a:pt x="1399" y="1097"/>
                    </a:cubicBezTo>
                    <a:cubicBezTo>
                      <a:pt x="1368" y="1060"/>
                      <a:pt x="1333" y="1027"/>
                      <a:pt x="1295" y="997"/>
                    </a:cubicBezTo>
                    <a:cubicBezTo>
                      <a:pt x="1308" y="932"/>
                      <a:pt x="1319" y="867"/>
                      <a:pt x="1329" y="803"/>
                    </a:cubicBezTo>
                    <a:cubicBezTo>
                      <a:pt x="1245" y="712"/>
                      <a:pt x="1157" y="677"/>
                      <a:pt x="1033" y="687"/>
                    </a:cubicBezTo>
                    <a:cubicBezTo>
                      <a:pt x="996" y="741"/>
                      <a:pt x="961" y="796"/>
                      <a:pt x="926" y="852"/>
                    </a:cubicBezTo>
                    <a:cubicBezTo>
                      <a:pt x="878" y="848"/>
                      <a:pt x="830" y="849"/>
                      <a:pt x="782" y="855"/>
                    </a:cubicBezTo>
                    <a:cubicBezTo>
                      <a:pt x="746" y="800"/>
                      <a:pt x="708" y="747"/>
                      <a:pt x="669" y="694"/>
                    </a:cubicBezTo>
                    <a:cubicBezTo>
                      <a:pt x="545" y="689"/>
                      <a:pt x="458" y="727"/>
                      <a:pt x="378" y="821"/>
                    </a:cubicBezTo>
                    <a:cubicBezTo>
                      <a:pt x="390" y="885"/>
                      <a:pt x="404" y="950"/>
                      <a:pt x="419" y="1014"/>
                    </a:cubicBezTo>
                    <a:cubicBezTo>
                      <a:pt x="383" y="1045"/>
                      <a:pt x="349" y="1079"/>
                      <a:pt x="319" y="1118"/>
                    </a:cubicBezTo>
                    <a:cubicBezTo>
                      <a:pt x="255" y="1105"/>
                      <a:pt x="190" y="1094"/>
                      <a:pt x="125" y="1084"/>
                    </a:cubicBezTo>
                    <a:cubicBezTo>
                      <a:pt x="34" y="1168"/>
                      <a:pt x="0" y="1256"/>
                      <a:pt x="10" y="1379"/>
                    </a:cubicBezTo>
                    <a:cubicBezTo>
                      <a:pt x="64" y="1416"/>
                      <a:pt x="119" y="1452"/>
                      <a:pt x="175" y="1486"/>
                    </a:cubicBezTo>
                    <a:cubicBezTo>
                      <a:pt x="171" y="1535"/>
                      <a:pt x="172" y="1583"/>
                      <a:pt x="178" y="1631"/>
                    </a:cubicBezTo>
                    <a:cubicBezTo>
                      <a:pt x="123" y="1667"/>
                      <a:pt x="69" y="1705"/>
                      <a:pt x="17" y="1744"/>
                    </a:cubicBezTo>
                    <a:cubicBezTo>
                      <a:pt x="11" y="1868"/>
                      <a:pt x="50" y="1955"/>
                      <a:pt x="144" y="2035"/>
                    </a:cubicBezTo>
                    <a:cubicBezTo>
                      <a:pt x="208" y="2023"/>
                      <a:pt x="272" y="2009"/>
                      <a:pt x="336" y="1993"/>
                    </a:cubicBezTo>
                    <a:cubicBezTo>
                      <a:pt x="367" y="2030"/>
                      <a:pt x="402" y="2064"/>
                      <a:pt x="441" y="2094"/>
                    </a:cubicBezTo>
                    <a:cubicBezTo>
                      <a:pt x="428" y="2158"/>
                      <a:pt x="416" y="2223"/>
                      <a:pt x="407" y="2288"/>
                    </a:cubicBezTo>
                    <a:cubicBezTo>
                      <a:pt x="490" y="2379"/>
                      <a:pt x="579" y="2413"/>
                      <a:pt x="702" y="2403"/>
                    </a:cubicBezTo>
                    <a:cubicBezTo>
                      <a:pt x="739" y="2349"/>
                      <a:pt x="775" y="2294"/>
                      <a:pt x="809" y="2238"/>
                    </a:cubicBezTo>
                    <a:cubicBezTo>
                      <a:pt x="858" y="2242"/>
                      <a:pt x="906" y="2241"/>
                      <a:pt x="953" y="2235"/>
                    </a:cubicBezTo>
                    <a:cubicBezTo>
                      <a:pt x="990" y="2290"/>
                      <a:pt x="1028" y="2344"/>
                      <a:pt x="1067" y="2396"/>
                    </a:cubicBezTo>
                    <a:cubicBezTo>
                      <a:pt x="1190" y="2401"/>
                      <a:pt x="1278" y="2363"/>
                      <a:pt x="1357" y="2269"/>
                    </a:cubicBezTo>
                    <a:cubicBezTo>
                      <a:pt x="1345" y="2205"/>
                      <a:pt x="1332" y="2141"/>
                      <a:pt x="1316" y="2076"/>
                    </a:cubicBezTo>
                    <a:cubicBezTo>
                      <a:pt x="1353" y="2046"/>
                      <a:pt x="1386" y="2011"/>
                      <a:pt x="1416" y="1972"/>
                    </a:cubicBezTo>
                    <a:cubicBezTo>
                      <a:pt x="1481" y="1985"/>
                      <a:pt x="1546" y="1997"/>
                      <a:pt x="1610" y="2006"/>
                    </a:cubicBezTo>
                    <a:cubicBezTo>
                      <a:pt x="1701" y="1923"/>
                      <a:pt x="1736" y="1834"/>
                      <a:pt x="1726" y="1711"/>
                    </a:cubicBezTo>
                    <a:cubicBezTo>
                      <a:pt x="1672" y="1674"/>
                      <a:pt x="1617" y="1638"/>
                      <a:pt x="1560" y="1604"/>
                    </a:cubicBezTo>
                    <a:close/>
                    <a:moveTo>
                      <a:pt x="1060" y="1620"/>
                    </a:moveTo>
                    <a:cubicBezTo>
                      <a:pt x="1019" y="1727"/>
                      <a:pt x="899" y="1779"/>
                      <a:pt x="792" y="1738"/>
                    </a:cubicBezTo>
                    <a:cubicBezTo>
                      <a:pt x="686" y="1696"/>
                      <a:pt x="634" y="1576"/>
                      <a:pt x="675" y="1470"/>
                    </a:cubicBezTo>
                    <a:cubicBezTo>
                      <a:pt x="717" y="1363"/>
                      <a:pt x="837" y="1311"/>
                      <a:pt x="943" y="1353"/>
                    </a:cubicBezTo>
                    <a:cubicBezTo>
                      <a:pt x="1049" y="1394"/>
                      <a:pt x="1102" y="1514"/>
                      <a:pt x="1060" y="1620"/>
                    </a:cubicBezTo>
                    <a:close/>
                    <a:moveTo>
                      <a:pt x="2755" y="838"/>
                    </a:moveTo>
                    <a:cubicBezTo>
                      <a:pt x="2818" y="819"/>
                      <a:pt x="2880" y="797"/>
                      <a:pt x="2940" y="773"/>
                    </a:cubicBezTo>
                    <a:cubicBezTo>
                      <a:pt x="2971" y="680"/>
                      <a:pt x="2951" y="548"/>
                      <a:pt x="2894" y="468"/>
                    </a:cubicBezTo>
                    <a:cubicBezTo>
                      <a:pt x="2829" y="464"/>
                      <a:pt x="2764" y="461"/>
                      <a:pt x="2698" y="461"/>
                    </a:cubicBezTo>
                    <a:cubicBezTo>
                      <a:pt x="2668" y="406"/>
                      <a:pt x="2629" y="357"/>
                      <a:pt x="2581" y="315"/>
                    </a:cubicBezTo>
                    <a:cubicBezTo>
                      <a:pt x="2595" y="250"/>
                      <a:pt x="2607" y="186"/>
                      <a:pt x="2617" y="122"/>
                    </a:cubicBezTo>
                    <a:cubicBezTo>
                      <a:pt x="2552" y="48"/>
                      <a:pt x="2428" y="0"/>
                      <a:pt x="2330" y="10"/>
                    </a:cubicBezTo>
                    <a:cubicBezTo>
                      <a:pt x="2294" y="63"/>
                      <a:pt x="2259" y="119"/>
                      <a:pt x="2226" y="175"/>
                    </a:cubicBezTo>
                    <a:cubicBezTo>
                      <a:pt x="2162" y="174"/>
                      <a:pt x="2100" y="184"/>
                      <a:pt x="2041" y="204"/>
                    </a:cubicBezTo>
                    <a:cubicBezTo>
                      <a:pt x="1992" y="159"/>
                      <a:pt x="1943" y="117"/>
                      <a:pt x="1892" y="76"/>
                    </a:cubicBezTo>
                    <a:cubicBezTo>
                      <a:pt x="1795" y="96"/>
                      <a:pt x="1692" y="179"/>
                      <a:pt x="1651" y="269"/>
                    </a:cubicBezTo>
                    <a:cubicBezTo>
                      <a:pt x="1679" y="327"/>
                      <a:pt x="1710" y="385"/>
                      <a:pt x="1742" y="442"/>
                    </a:cubicBezTo>
                    <a:cubicBezTo>
                      <a:pt x="1726" y="468"/>
                      <a:pt x="1712" y="496"/>
                      <a:pt x="1701" y="526"/>
                    </a:cubicBezTo>
                    <a:cubicBezTo>
                      <a:pt x="1689" y="556"/>
                      <a:pt x="1680" y="586"/>
                      <a:pt x="1674" y="616"/>
                    </a:cubicBezTo>
                    <a:cubicBezTo>
                      <a:pt x="1611" y="636"/>
                      <a:pt x="1550" y="658"/>
                      <a:pt x="1489" y="681"/>
                    </a:cubicBezTo>
                    <a:cubicBezTo>
                      <a:pt x="1458" y="775"/>
                      <a:pt x="1478" y="906"/>
                      <a:pt x="1536" y="986"/>
                    </a:cubicBezTo>
                    <a:cubicBezTo>
                      <a:pt x="1600" y="991"/>
                      <a:pt x="1666" y="993"/>
                      <a:pt x="1731" y="994"/>
                    </a:cubicBezTo>
                    <a:cubicBezTo>
                      <a:pt x="1761" y="1048"/>
                      <a:pt x="1801" y="1098"/>
                      <a:pt x="1848" y="1140"/>
                    </a:cubicBezTo>
                    <a:cubicBezTo>
                      <a:pt x="1834" y="1204"/>
                      <a:pt x="1822" y="1268"/>
                      <a:pt x="1812" y="1332"/>
                    </a:cubicBezTo>
                    <a:cubicBezTo>
                      <a:pt x="1878" y="1406"/>
                      <a:pt x="2001" y="1455"/>
                      <a:pt x="2099" y="1445"/>
                    </a:cubicBezTo>
                    <a:cubicBezTo>
                      <a:pt x="2136" y="1391"/>
                      <a:pt x="2170" y="1336"/>
                      <a:pt x="2204" y="1279"/>
                    </a:cubicBezTo>
                    <a:cubicBezTo>
                      <a:pt x="2267" y="1280"/>
                      <a:pt x="2330" y="1271"/>
                      <a:pt x="2389" y="1251"/>
                    </a:cubicBezTo>
                    <a:cubicBezTo>
                      <a:pt x="2437" y="1295"/>
                      <a:pt x="2487" y="1338"/>
                      <a:pt x="2537" y="1378"/>
                    </a:cubicBezTo>
                    <a:cubicBezTo>
                      <a:pt x="2634" y="1359"/>
                      <a:pt x="2738" y="1276"/>
                      <a:pt x="2779" y="1186"/>
                    </a:cubicBezTo>
                    <a:cubicBezTo>
                      <a:pt x="2750" y="1128"/>
                      <a:pt x="2720" y="1070"/>
                      <a:pt x="2687" y="1013"/>
                    </a:cubicBezTo>
                    <a:cubicBezTo>
                      <a:pt x="2703" y="986"/>
                      <a:pt x="2717" y="958"/>
                      <a:pt x="2729" y="928"/>
                    </a:cubicBezTo>
                    <a:cubicBezTo>
                      <a:pt x="2740" y="899"/>
                      <a:pt x="2749" y="869"/>
                      <a:pt x="2755" y="838"/>
                    </a:cubicBezTo>
                    <a:close/>
                    <a:moveTo>
                      <a:pt x="2397" y="799"/>
                    </a:moveTo>
                    <a:cubicBezTo>
                      <a:pt x="2358" y="900"/>
                      <a:pt x="2244" y="949"/>
                      <a:pt x="2143" y="910"/>
                    </a:cubicBezTo>
                    <a:cubicBezTo>
                      <a:pt x="2042" y="870"/>
                      <a:pt x="1993" y="757"/>
                      <a:pt x="2032" y="656"/>
                    </a:cubicBezTo>
                    <a:cubicBezTo>
                      <a:pt x="2072" y="555"/>
                      <a:pt x="2185" y="505"/>
                      <a:pt x="2286" y="545"/>
                    </a:cubicBezTo>
                    <a:cubicBezTo>
                      <a:pt x="2387" y="584"/>
                      <a:pt x="2437" y="698"/>
                      <a:pt x="2397" y="799"/>
                    </a:cubicBez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grpSp>
          <p:nvGrpSpPr>
            <p:cNvPr id="34" name="Group 33"/>
            <p:cNvGrpSpPr/>
            <p:nvPr/>
          </p:nvGrpSpPr>
          <p:grpSpPr>
            <a:xfrm>
              <a:off x="7840167" y="1800599"/>
              <a:ext cx="113540" cy="233896"/>
              <a:chOff x="1809750" y="3898901"/>
              <a:chExt cx="247650" cy="510156"/>
            </a:xfrm>
            <a:solidFill>
              <a:srgbClr val="89C402"/>
            </a:solidFill>
          </p:grpSpPr>
          <p:sp>
            <p:nvSpPr>
              <p:cNvPr id="46" name="Oval 45"/>
              <p:cNvSpPr/>
              <p:nvPr/>
            </p:nvSpPr>
            <p:spPr bwMode="auto">
              <a:xfrm>
                <a:off x="1809750" y="4161407"/>
                <a:ext cx="247650" cy="247650"/>
              </a:xfrm>
              <a:prstGeom prst="ellipse">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47" name="Rounded Rectangle 46"/>
              <p:cNvSpPr/>
              <p:nvPr/>
            </p:nvSpPr>
            <p:spPr bwMode="auto">
              <a:xfrm>
                <a:off x="1877641" y="3898901"/>
                <a:ext cx="111869" cy="387150"/>
              </a:xfrm>
              <a:prstGeom prst="roundRect">
                <a:avLst/>
              </a:prstGeom>
              <a:solidFill>
                <a:srgbClr val="107C10"/>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48" name="Oval 47"/>
              <p:cNvSpPr/>
              <p:nvPr/>
            </p:nvSpPr>
            <p:spPr bwMode="auto">
              <a:xfrm>
                <a:off x="1843695" y="4189609"/>
                <a:ext cx="179759" cy="179759"/>
              </a:xfrm>
              <a:prstGeom prst="ellipse">
                <a:avLst/>
              </a:prstGeom>
              <a:solidFill>
                <a:schemeClr val="bg1">
                  <a:lumMod val="95000"/>
                </a:schemeClr>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sp>
            <p:nvSpPr>
              <p:cNvPr id="49" name="Rounded Rectangle 48"/>
              <p:cNvSpPr/>
              <p:nvPr/>
            </p:nvSpPr>
            <p:spPr bwMode="auto">
              <a:xfrm>
                <a:off x="1908748" y="4012660"/>
                <a:ext cx="49655" cy="220180"/>
              </a:xfrm>
              <a:prstGeom prst="roundRect">
                <a:avLst/>
              </a:prstGeom>
              <a:solidFill>
                <a:schemeClr val="bg1">
                  <a:lumMod val="95000"/>
                </a:schemeClr>
              </a:solidFill>
              <a:ln>
                <a:noFill/>
              </a:ln>
            </p:spPr>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sp>
          <p:nvSpPr>
            <p:cNvPr id="35" name="Oval 34"/>
            <p:cNvSpPr/>
            <p:nvPr/>
          </p:nvSpPr>
          <p:spPr bwMode="auto">
            <a:xfrm>
              <a:off x="8081702" y="2189581"/>
              <a:ext cx="67957" cy="67957"/>
            </a:xfrm>
            <a:prstGeom prst="ellipse">
              <a:avLst/>
            </a:prstGeom>
            <a:solidFill>
              <a:srgbClr val="107C10"/>
            </a:solidFill>
            <a:ln w="28575" cap="sq">
              <a:solidFill>
                <a:srgbClr val="107C10"/>
              </a:solid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5507" b="0" i="0" u="none" strike="noStrike" kern="1200" cap="none" spc="0" normalizeH="0" baseline="0" noProof="0">
                <a:ln>
                  <a:noFill/>
                </a:ln>
                <a:solidFill>
                  <a:srgbClr val="5B6770"/>
                </a:solidFill>
                <a:effectLst/>
                <a:uLnTx/>
                <a:uFillTx/>
                <a:latin typeface="+mj-lt"/>
                <a:ea typeface="+mn-ea"/>
                <a:cs typeface="+mn-cs"/>
              </a:endParaRPr>
            </a:p>
          </p:txBody>
        </p:sp>
        <p:grpSp>
          <p:nvGrpSpPr>
            <p:cNvPr id="36" name="Group 35"/>
            <p:cNvGrpSpPr/>
            <p:nvPr/>
          </p:nvGrpSpPr>
          <p:grpSpPr>
            <a:xfrm>
              <a:off x="8177064" y="1802197"/>
              <a:ext cx="450656" cy="163238"/>
              <a:chOff x="580050" y="5476051"/>
              <a:chExt cx="387213" cy="140257"/>
            </a:xfrm>
          </p:grpSpPr>
          <p:grpSp>
            <p:nvGrpSpPr>
              <p:cNvPr id="37" name="Group 36"/>
              <p:cNvGrpSpPr/>
              <p:nvPr/>
            </p:nvGrpSpPr>
            <p:grpSpPr>
              <a:xfrm>
                <a:off x="580050" y="5476051"/>
                <a:ext cx="179376" cy="140257"/>
                <a:chOff x="1166812" y="5784557"/>
                <a:chExt cx="895350" cy="700088"/>
              </a:xfrm>
            </p:grpSpPr>
            <p:sp>
              <p:nvSpPr>
                <p:cNvPr id="42" name="Freeform 115"/>
                <p:cNvSpPr>
                  <a:spLocks/>
                </p:cNvSpPr>
                <p:nvPr/>
              </p:nvSpPr>
              <p:spPr bwMode="auto">
                <a:xfrm>
                  <a:off x="1166812" y="5784557"/>
                  <a:ext cx="879475" cy="700088"/>
                </a:xfrm>
                <a:custGeom>
                  <a:avLst/>
                  <a:gdLst>
                    <a:gd name="T0" fmla="*/ 34 w 554"/>
                    <a:gd name="T1" fmla="*/ 0 h 441"/>
                    <a:gd name="T2" fmla="*/ 0 w 554"/>
                    <a:gd name="T3" fmla="*/ 0 h 441"/>
                    <a:gd name="T4" fmla="*/ 0 w 554"/>
                    <a:gd name="T5" fmla="*/ 441 h 441"/>
                    <a:gd name="T6" fmla="*/ 554 w 554"/>
                    <a:gd name="T7" fmla="*/ 441 h 441"/>
                    <a:gd name="T8" fmla="*/ 554 w 554"/>
                    <a:gd name="T9" fmla="*/ 407 h 441"/>
                    <a:gd name="T10" fmla="*/ 34 w 554"/>
                    <a:gd name="T11" fmla="*/ 407 h 441"/>
                    <a:gd name="T12" fmla="*/ 34 w 554"/>
                    <a:gd name="T13" fmla="*/ 0 h 441"/>
                  </a:gdLst>
                  <a:ahLst/>
                  <a:cxnLst>
                    <a:cxn ang="0">
                      <a:pos x="T0" y="T1"/>
                    </a:cxn>
                    <a:cxn ang="0">
                      <a:pos x="T2" y="T3"/>
                    </a:cxn>
                    <a:cxn ang="0">
                      <a:pos x="T4" y="T5"/>
                    </a:cxn>
                    <a:cxn ang="0">
                      <a:pos x="T6" y="T7"/>
                    </a:cxn>
                    <a:cxn ang="0">
                      <a:pos x="T8" y="T9"/>
                    </a:cxn>
                    <a:cxn ang="0">
                      <a:pos x="T10" y="T11"/>
                    </a:cxn>
                    <a:cxn ang="0">
                      <a:pos x="T12" y="T13"/>
                    </a:cxn>
                  </a:cxnLst>
                  <a:rect l="0" t="0" r="r" b="b"/>
                  <a:pathLst>
                    <a:path w="554" h="441">
                      <a:moveTo>
                        <a:pt x="34" y="0"/>
                      </a:moveTo>
                      <a:lnTo>
                        <a:pt x="0" y="0"/>
                      </a:lnTo>
                      <a:lnTo>
                        <a:pt x="0" y="441"/>
                      </a:lnTo>
                      <a:lnTo>
                        <a:pt x="554" y="441"/>
                      </a:lnTo>
                      <a:lnTo>
                        <a:pt x="554" y="407"/>
                      </a:lnTo>
                      <a:lnTo>
                        <a:pt x="34" y="407"/>
                      </a:lnTo>
                      <a:lnTo>
                        <a:pt x="34" y="0"/>
                      </a:ln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43" name="Freeform 116"/>
                <p:cNvSpPr>
                  <a:spLocks/>
                </p:cNvSpPr>
                <p:nvPr/>
              </p:nvSpPr>
              <p:spPr bwMode="auto">
                <a:xfrm>
                  <a:off x="1709737" y="6195719"/>
                  <a:ext cx="125413" cy="188913"/>
                </a:xfrm>
                <a:custGeom>
                  <a:avLst/>
                  <a:gdLst>
                    <a:gd name="T0" fmla="*/ 180 w 180"/>
                    <a:gd name="T1" fmla="*/ 274 h 274"/>
                    <a:gd name="T2" fmla="*/ 180 w 180"/>
                    <a:gd name="T3" fmla="*/ 203 h 274"/>
                    <a:gd name="T4" fmla="*/ 42 w 180"/>
                    <a:gd name="T5" fmla="*/ 0 h 274"/>
                    <a:gd name="T6" fmla="*/ 0 w 180"/>
                    <a:gd name="T7" fmla="*/ 98 h 274"/>
                    <a:gd name="T8" fmla="*/ 32 w 180"/>
                    <a:gd name="T9" fmla="*/ 170 h 274"/>
                    <a:gd name="T10" fmla="*/ 180 w 180"/>
                    <a:gd name="T11" fmla="*/ 274 h 274"/>
                  </a:gdLst>
                  <a:ahLst/>
                  <a:cxnLst>
                    <a:cxn ang="0">
                      <a:pos x="T0" y="T1"/>
                    </a:cxn>
                    <a:cxn ang="0">
                      <a:pos x="T2" y="T3"/>
                    </a:cxn>
                    <a:cxn ang="0">
                      <a:pos x="T4" y="T5"/>
                    </a:cxn>
                    <a:cxn ang="0">
                      <a:pos x="T6" y="T7"/>
                    </a:cxn>
                    <a:cxn ang="0">
                      <a:pos x="T8" y="T9"/>
                    </a:cxn>
                    <a:cxn ang="0">
                      <a:pos x="T10" y="T11"/>
                    </a:cxn>
                  </a:cxnLst>
                  <a:rect l="0" t="0" r="r" b="b"/>
                  <a:pathLst>
                    <a:path w="180" h="274">
                      <a:moveTo>
                        <a:pt x="180" y="274"/>
                      </a:moveTo>
                      <a:cubicBezTo>
                        <a:pt x="180" y="203"/>
                        <a:pt x="180" y="203"/>
                        <a:pt x="180" y="203"/>
                      </a:cubicBezTo>
                      <a:cubicBezTo>
                        <a:pt x="113" y="203"/>
                        <a:pt x="75" y="106"/>
                        <a:pt x="42" y="0"/>
                      </a:cubicBezTo>
                      <a:cubicBezTo>
                        <a:pt x="29" y="32"/>
                        <a:pt x="15" y="65"/>
                        <a:pt x="0" y="98"/>
                      </a:cubicBezTo>
                      <a:cubicBezTo>
                        <a:pt x="10" y="124"/>
                        <a:pt x="20" y="148"/>
                        <a:pt x="32" y="170"/>
                      </a:cubicBezTo>
                      <a:cubicBezTo>
                        <a:pt x="71" y="240"/>
                        <a:pt x="120" y="274"/>
                        <a:pt x="180" y="274"/>
                      </a:cubicBez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44" name="Freeform 117"/>
                <p:cNvSpPr>
                  <a:spLocks/>
                </p:cNvSpPr>
                <p:nvPr/>
              </p:nvSpPr>
              <p:spPr bwMode="auto">
                <a:xfrm>
                  <a:off x="1255712" y="5956007"/>
                  <a:ext cx="427038" cy="428625"/>
                </a:xfrm>
                <a:custGeom>
                  <a:avLst/>
                  <a:gdLst>
                    <a:gd name="T0" fmla="*/ 0 w 616"/>
                    <a:gd name="T1" fmla="*/ 549 h 620"/>
                    <a:gd name="T2" fmla="*/ 0 w 616"/>
                    <a:gd name="T3" fmla="*/ 620 h 620"/>
                    <a:gd name="T4" fmla="*/ 191 w 616"/>
                    <a:gd name="T5" fmla="*/ 510 h 620"/>
                    <a:gd name="T6" fmla="*/ 295 w 616"/>
                    <a:gd name="T7" fmla="*/ 299 h 620"/>
                    <a:gd name="T8" fmla="*/ 462 w 616"/>
                    <a:gd name="T9" fmla="*/ 72 h 620"/>
                    <a:gd name="T10" fmla="*/ 574 w 616"/>
                    <a:gd name="T11" fmla="*/ 197 h 620"/>
                    <a:gd name="T12" fmla="*/ 616 w 616"/>
                    <a:gd name="T13" fmla="*/ 114 h 620"/>
                    <a:gd name="T14" fmla="*/ 610 w 616"/>
                    <a:gd name="T15" fmla="*/ 105 h 620"/>
                    <a:gd name="T16" fmla="*/ 462 w 616"/>
                    <a:gd name="T17" fmla="*/ 0 h 620"/>
                    <a:gd name="T18" fmla="*/ 229 w 616"/>
                    <a:gd name="T19" fmla="*/ 272 h 620"/>
                    <a:gd name="T20" fmla="*/ 0 w 616"/>
                    <a:gd name="T21" fmla="*/ 549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6" h="620">
                      <a:moveTo>
                        <a:pt x="0" y="549"/>
                      </a:moveTo>
                      <a:cubicBezTo>
                        <a:pt x="0" y="620"/>
                        <a:pt x="0" y="620"/>
                        <a:pt x="0" y="620"/>
                      </a:cubicBezTo>
                      <a:cubicBezTo>
                        <a:pt x="75" y="620"/>
                        <a:pt x="138" y="584"/>
                        <a:pt x="191" y="510"/>
                      </a:cubicBezTo>
                      <a:cubicBezTo>
                        <a:pt x="234" y="450"/>
                        <a:pt x="265" y="373"/>
                        <a:pt x="295" y="299"/>
                      </a:cubicBezTo>
                      <a:cubicBezTo>
                        <a:pt x="343" y="182"/>
                        <a:pt x="388" y="72"/>
                        <a:pt x="462" y="72"/>
                      </a:cubicBezTo>
                      <a:cubicBezTo>
                        <a:pt x="512" y="72"/>
                        <a:pt x="546" y="125"/>
                        <a:pt x="574" y="197"/>
                      </a:cubicBezTo>
                      <a:cubicBezTo>
                        <a:pt x="587" y="168"/>
                        <a:pt x="600" y="140"/>
                        <a:pt x="616" y="114"/>
                      </a:cubicBezTo>
                      <a:cubicBezTo>
                        <a:pt x="614" y="111"/>
                        <a:pt x="612" y="108"/>
                        <a:pt x="610" y="105"/>
                      </a:cubicBezTo>
                      <a:cubicBezTo>
                        <a:pt x="571" y="34"/>
                        <a:pt x="523" y="0"/>
                        <a:pt x="462" y="0"/>
                      </a:cubicBezTo>
                      <a:cubicBezTo>
                        <a:pt x="340" y="0"/>
                        <a:pt x="283" y="138"/>
                        <a:pt x="229" y="272"/>
                      </a:cubicBezTo>
                      <a:cubicBezTo>
                        <a:pt x="174" y="408"/>
                        <a:pt x="117" y="549"/>
                        <a:pt x="0" y="549"/>
                      </a:cubicBez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45" name="Freeform 118"/>
                <p:cNvSpPr>
                  <a:spLocks/>
                </p:cNvSpPr>
                <p:nvPr/>
              </p:nvSpPr>
              <p:spPr bwMode="auto">
                <a:xfrm>
                  <a:off x="1516062" y="5978232"/>
                  <a:ext cx="546100" cy="404813"/>
                </a:xfrm>
                <a:custGeom>
                  <a:avLst/>
                  <a:gdLst>
                    <a:gd name="T0" fmla="*/ 646 w 790"/>
                    <a:gd name="T1" fmla="*/ 284 h 586"/>
                    <a:gd name="T2" fmla="*/ 577 w 790"/>
                    <a:gd name="T3" fmla="*/ 98 h 586"/>
                    <a:gd name="T4" fmla="*/ 436 w 790"/>
                    <a:gd name="T5" fmla="*/ 0 h 586"/>
                    <a:gd name="T6" fmla="*/ 266 w 790"/>
                    <a:gd name="T7" fmla="*/ 142 h 586"/>
                    <a:gd name="T8" fmla="*/ 224 w 790"/>
                    <a:gd name="T9" fmla="*/ 238 h 586"/>
                    <a:gd name="T10" fmla="*/ 216 w 790"/>
                    <a:gd name="T11" fmla="*/ 257 h 586"/>
                    <a:gd name="T12" fmla="*/ 0 w 790"/>
                    <a:gd name="T13" fmla="*/ 519 h 586"/>
                    <a:gd name="T14" fmla="*/ 0 w 790"/>
                    <a:gd name="T15" fmla="*/ 586 h 586"/>
                    <a:gd name="T16" fmla="*/ 255 w 790"/>
                    <a:gd name="T17" fmla="*/ 340 h 586"/>
                    <a:gd name="T18" fmla="*/ 278 w 790"/>
                    <a:gd name="T19" fmla="*/ 283 h 586"/>
                    <a:gd name="T20" fmla="*/ 298 w 790"/>
                    <a:gd name="T21" fmla="*/ 236 h 586"/>
                    <a:gd name="T22" fmla="*/ 436 w 790"/>
                    <a:gd name="T23" fmla="*/ 67 h 586"/>
                    <a:gd name="T24" fmla="*/ 581 w 790"/>
                    <a:gd name="T25" fmla="*/ 303 h 586"/>
                    <a:gd name="T26" fmla="*/ 650 w 790"/>
                    <a:gd name="T27" fmla="*/ 488 h 586"/>
                    <a:gd name="T28" fmla="*/ 790 w 790"/>
                    <a:gd name="T29" fmla="*/ 586 h 586"/>
                    <a:gd name="T30" fmla="*/ 790 w 790"/>
                    <a:gd name="T31" fmla="*/ 519 h 586"/>
                    <a:gd name="T32" fmla="*/ 646 w 790"/>
                    <a:gd name="T33" fmla="*/ 28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0" h="586">
                      <a:moveTo>
                        <a:pt x="646" y="284"/>
                      </a:moveTo>
                      <a:cubicBezTo>
                        <a:pt x="626" y="218"/>
                        <a:pt x="605" y="150"/>
                        <a:pt x="577" y="98"/>
                      </a:cubicBezTo>
                      <a:cubicBezTo>
                        <a:pt x="540" y="32"/>
                        <a:pt x="494" y="0"/>
                        <a:pt x="436" y="0"/>
                      </a:cubicBezTo>
                      <a:cubicBezTo>
                        <a:pt x="356" y="0"/>
                        <a:pt x="306" y="62"/>
                        <a:pt x="266" y="142"/>
                      </a:cubicBezTo>
                      <a:cubicBezTo>
                        <a:pt x="251" y="172"/>
                        <a:pt x="237" y="205"/>
                        <a:pt x="224" y="238"/>
                      </a:cubicBezTo>
                      <a:cubicBezTo>
                        <a:pt x="221" y="245"/>
                        <a:pt x="219" y="251"/>
                        <a:pt x="216" y="257"/>
                      </a:cubicBezTo>
                      <a:cubicBezTo>
                        <a:pt x="164" y="386"/>
                        <a:pt x="110" y="519"/>
                        <a:pt x="0" y="519"/>
                      </a:cubicBezTo>
                      <a:cubicBezTo>
                        <a:pt x="0" y="586"/>
                        <a:pt x="0" y="586"/>
                        <a:pt x="0" y="586"/>
                      </a:cubicBezTo>
                      <a:cubicBezTo>
                        <a:pt x="135" y="586"/>
                        <a:pt x="202" y="464"/>
                        <a:pt x="255" y="340"/>
                      </a:cubicBezTo>
                      <a:cubicBezTo>
                        <a:pt x="263" y="321"/>
                        <a:pt x="271" y="301"/>
                        <a:pt x="278" y="283"/>
                      </a:cubicBezTo>
                      <a:cubicBezTo>
                        <a:pt x="285" y="267"/>
                        <a:pt x="291" y="251"/>
                        <a:pt x="298" y="236"/>
                      </a:cubicBezTo>
                      <a:cubicBezTo>
                        <a:pt x="336" y="144"/>
                        <a:pt x="376" y="67"/>
                        <a:pt x="436" y="67"/>
                      </a:cubicBezTo>
                      <a:cubicBezTo>
                        <a:pt x="510" y="67"/>
                        <a:pt x="546" y="187"/>
                        <a:pt x="581" y="303"/>
                      </a:cubicBezTo>
                      <a:cubicBezTo>
                        <a:pt x="601" y="369"/>
                        <a:pt x="622" y="436"/>
                        <a:pt x="650" y="488"/>
                      </a:cubicBezTo>
                      <a:cubicBezTo>
                        <a:pt x="687" y="554"/>
                        <a:pt x="733" y="586"/>
                        <a:pt x="790" y="586"/>
                      </a:cubicBezTo>
                      <a:cubicBezTo>
                        <a:pt x="790" y="519"/>
                        <a:pt x="790" y="519"/>
                        <a:pt x="790" y="519"/>
                      </a:cubicBezTo>
                      <a:cubicBezTo>
                        <a:pt x="717" y="519"/>
                        <a:pt x="681" y="399"/>
                        <a:pt x="646" y="284"/>
                      </a:cubicBezTo>
                      <a:close/>
                    </a:path>
                  </a:pathLst>
                </a:custGeom>
                <a:solidFill>
                  <a:srgbClr val="107C1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grpSp>
          <p:grpSp>
            <p:nvGrpSpPr>
              <p:cNvPr id="38" name="Group 37"/>
              <p:cNvGrpSpPr/>
              <p:nvPr/>
            </p:nvGrpSpPr>
            <p:grpSpPr>
              <a:xfrm>
                <a:off x="798631" y="5479178"/>
                <a:ext cx="168632" cy="136526"/>
                <a:chOff x="8251825" y="5629275"/>
                <a:chExt cx="892175" cy="722313"/>
              </a:xfrm>
              <a:solidFill>
                <a:srgbClr val="DEDEDE"/>
              </a:solidFill>
            </p:grpSpPr>
            <p:sp>
              <p:nvSpPr>
                <p:cNvPr id="39" name="Freeform 85"/>
                <p:cNvSpPr>
                  <a:spLocks/>
                </p:cNvSpPr>
                <p:nvPr/>
              </p:nvSpPr>
              <p:spPr bwMode="auto">
                <a:xfrm>
                  <a:off x="8251825" y="5629275"/>
                  <a:ext cx="892175" cy="722313"/>
                </a:xfrm>
                <a:custGeom>
                  <a:avLst/>
                  <a:gdLst>
                    <a:gd name="T0" fmla="*/ 28 w 562"/>
                    <a:gd name="T1" fmla="*/ 427 h 455"/>
                    <a:gd name="T2" fmla="*/ 28 w 562"/>
                    <a:gd name="T3" fmla="*/ 0 h 455"/>
                    <a:gd name="T4" fmla="*/ 0 w 562"/>
                    <a:gd name="T5" fmla="*/ 0 h 455"/>
                    <a:gd name="T6" fmla="*/ 0 w 562"/>
                    <a:gd name="T7" fmla="*/ 455 h 455"/>
                    <a:gd name="T8" fmla="*/ 562 w 562"/>
                    <a:gd name="T9" fmla="*/ 455 h 455"/>
                    <a:gd name="T10" fmla="*/ 562 w 562"/>
                    <a:gd name="T11" fmla="*/ 427 h 455"/>
                    <a:gd name="T12" fmla="*/ 28 w 562"/>
                    <a:gd name="T13" fmla="*/ 427 h 455"/>
                  </a:gdLst>
                  <a:ahLst/>
                  <a:cxnLst>
                    <a:cxn ang="0">
                      <a:pos x="T0" y="T1"/>
                    </a:cxn>
                    <a:cxn ang="0">
                      <a:pos x="T2" y="T3"/>
                    </a:cxn>
                    <a:cxn ang="0">
                      <a:pos x="T4" y="T5"/>
                    </a:cxn>
                    <a:cxn ang="0">
                      <a:pos x="T6" y="T7"/>
                    </a:cxn>
                    <a:cxn ang="0">
                      <a:pos x="T8" y="T9"/>
                    </a:cxn>
                    <a:cxn ang="0">
                      <a:pos x="T10" y="T11"/>
                    </a:cxn>
                    <a:cxn ang="0">
                      <a:pos x="T12" y="T13"/>
                    </a:cxn>
                  </a:cxnLst>
                  <a:rect l="0" t="0" r="r" b="b"/>
                  <a:pathLst>
                    <a:path w="562" h="455">
                      <a:moveTo>
                        <a:pt x="28" y="427"/>
                      </a:moveTo>
                      <a:lnTo>
                        <a:pt x="28" y="0"/>
                      </a:lnTo>
                      <a:lnTo>
                        <a:pt x="0" y="0"/>
                      </a:lnTo>
                      <a:lnTo>
                        <a:pt x="0" y="455"/>
                      </a:lnTo>
                      <a:lnTo>
                        <a:pt x="562" y="455"/>
                      </a:lnTo>
                      <a:lnTo>
                        <a:pt x="562" y="427"/>
                      </a:lnTo>
                      <a:lnTo>
                        <a:pt x="28" y="42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40" name="Freeform 86"/>
                <p:cNvSpPr>
                  <a:spLocks noEditPoints="1"/>
                </p:cNvSpPr>
                <p:nvPr/>
              </p:nvSpPr>
              <p:spPr bwMode="auto">
                <a:xfrm>
                  <a:off x="8329613" y="5651500"/>
                  <a:ext cx="735013" cy="307975"/>
                </a:xfrm>
                <a:custGeom>
                  <a:avLst/>
                  <a:gdLst>
                    <a:gd name="T0" fmla="*/ 663 w 1062"/>
                    <a:gd name="T1" fmla="*/ 292 h 445"/>
                    <a:gd name="T2" fmla="*/ 611 w 1062"/>
                    <a:gd name="T3" fmla="*/ 313 h 445"/>
                    <a:gd name="T4" fmla="*/ 418 w 1062"/>
                    <a:gd name="T5" fmla="*/ 234 h 445"/>
                    <a:gd name="T6" fmla="*/ 343 w 1062"/>
                    <a:gd name="T7" fmla="*/ 171 h 445"/>
                    <a:gd name="T8" fmla="*/ 270 w 1062"/>
                    <a:gd name="T9" fmla="*/ 225 h 445"/>
                    <a:gd name="T10" fmla="*/ 136 w 1062"/>
                    <a:gd name="T11" fmla="*/ 257 h 445"/>
                    <a:gd name="T12" fmla="*/ 76 w 1062"/>
                    <a:gd name="T13" fmla="*/ 228 h 445"/>
                    <a:gd name="T14" fmla="*/ 0 w 1062"/>
                    <a:gd name="T15" fmla="*/ 304 h 445"/>
                    <a:gd name="T16" fmla="*/ 76 w 1062"/>
                    <a:gd name="T17" fmla="*/ 381 h 445"/>
                    <a:gd name="T18" fmla="*/ 152 w 1062"/>
                    <a:gd name="T19" fmla="*/ 315 h 445"/>
                    <a:gd name="T20" fmla="*/ 277 w 1062"/>
                    <a:gd name="T21" fmla="*/ 286 h 445"/>
                    <a:gd name="T22" fmla="*/ 343 w 1062"/>
                    <a:gd name="T23" fmla="*/ 324 h 445"/>
                    <a:gd name="T24" fmla="*/ 404 w 1062"/>
                    <a:gd name="T25" fmla="*/ 294 h 445"/>
                    <a:gd name="T26" fmla="*/ 586 w 1062"/>
                    <a:gd name="T27" fmla="*/ 368 h 445"/>
                    <a:gd name="T28" fmla="*/ 586 w 1062"/>
                    <a:gd name="T29" fmla="*/ 369 h 445"/>
                    <a:gd name="T30" fmla="*/ 663 w 1062"/>
                    <a:gd name="T31" fmla="*/ 445 h 445"/>
                    <a:gd name="T32" fmla="*/ 739 w 1062"/>
                    <a:gd name="T33" fmla="*/ 369 h 445"/>
                    <a:gd name="T34" fmla="*/ 736 w 1062"/>
                    <a:gd name="T35" fmla="*/ 348 h 445"/>
                    <a:gd name="T36" fmla="*/ 954 w 1062"/>
                    <a:gd name="T37" fmla="*/ 146 h 445"/>
                    <a:gd name="T38" fmla="*/ 985 w 1062"/>
                    <a:gd name="T39" fmla="*/ 153 h 445"/>
                    <a:gd name="T40" fmla="*/ 1062 w 1062"/>
                    <a:gd name="T41" fmla="*/ 76 h 445"/>
                    <a:gd name="T42" fmla="*/ 985 w 1062"/>
                    <a:gd name="T43" fmla="*/ 0 h 445"/>
                    <a:gd name="T44" fmla="*/ 909 w 1062"/>
                    <a:gd name="T45" fmla="*/ 76 h 445"/>
                    <a:gd name="T46" fmla="*/ 913 w 1062"/>
                    <a:gd name="T47" fmla="*/ 102 h 445"/>
                    <a:gd name="T48" fmla="*/ 697 w 1062"/>
                    <a:gd name="T49" fmla="*/ 301 h 445"/>
                    <a:gd name="T50" fmla="*/ 663 w 1062"/>
                    <a:gd name="T51" fmla="*/ 292 h 445"/>
                    <a:gd name="T52" fmla="*/ 365 w 1062"/>
                    <a:gd name="T53" fmla="*/ 278 h 445"/>
                    <a:gd name="T54" fmla="*/ 343 w 1062"/>
                    <a:gd name="T55" fmla="*/ 285 h 445"/>
                    <a:gd name="T56" fmla="*/ 319 w 1062"/>
                    <a:gd name="T57" fmla="*/ 276 h 445"/>
                    <a:gd name="T58" fmla="*/ 305 w 1062"/>
                    <a:gd name="T59" fmla="*/ 247 h 445"/>
                    <a:gd name="T60" fmla="*/ 332 w 1062"/>
                    <a:gd name="T61" fmla="*/ 211 h 445"/>
                    <a:gd name="T62" fmla="*/ 336 w 1062"/>
                    <a:gd name="T63" fmla="*/ 210 h 445"/>
                    <a:gd name="T64" fmla="*/ 343 w 1062"/>
                    <a:gd name="T65" fmla="*/ 209 h 445"/>
                    <a:gd name="T66" fmla="*/ 381 w 1062"/>
                    <a:gd name="T67" fmla="*/ 247 h 445"/>
                    <a:gd name="T68" fmla="*/ 365 w 1062"/>
                    <a:gd name="T69" fmla="*/ 278 h 445"/>
                    <a:gd name="T70" fmla="*/ 76 w 1062"/>
                    <a:gd name="T71" fmla="*/ 343 h 445"/>
                    <a:gd name="T72" fmla="*/ 38 w 1062"/>
                    <a:gd name="T73" fmla="*/ 304 h 445"/>
                    <a:gd name="T74" fmla="*/ 76 w 1062"/>
                    <a:gd name="T75" fmla="*/ 266 h 445"/>
                    <a:gd name="T76" fmla="*/ 88 w 1062"/>
                    <a:gd name="T77" fmla="*/ 268 h 445"/>
                    <a:gd name="T78" fmla="*/ 114 w 1062"/>
                    <a:gd name="T79" fmla="*/ 304 h 445"/>
                    <a:gd name="T80" fmla="*/ 108 w 1062"/>
                    <a:gd name="T81" fmla="*/ 326 h 445"/>
                    <a:gd name="T82" fmla="*/ 76 w 1062"/>
                    <a:gd name="T83" fmla="*/ 343 h 445"/>
                    <a:gd name="T84" fmla="*/ 985 w 1062"/>
                    <a:gd name="T85" fmla="*/ 38 h 445"/>
                    <a:gd name="T86" fmla="*/ 1023 w 1062"/>
                    <a:gd name="T87" fmla="*/ 76 h 445"/>
                    <a:gd name="T88" fmla="*/ 989 w 1062"/>
                    <a:gd name="T89" fmla="*/ 114 h 445"/>
                    <a:gd name="T90" fmla="*/ 985 w 1062"/>
                    <a:gd name="T91" fmla="*/ 114 h 445"/>
                    <a:gd name="T92" fmla="*/ 947 w 1062"/>
                    <a:gd name="T93" fmla="*/ 76 h 445"/>
                    <a:gd name="T94" fmla="*/ 948 w 1062"/>
                    <a:gd name="T95" fmla="*/ 70 h 445"/>
                    <a:gd name="T96" fmla="*/ 985 w 1062"/>
                    <a:gd name="T97" fmla="*/ 38 h 445"/>
                    <a:gd name="T98" fmla="*/ 663 w 1062"/>
                    <a:gd name="T99" fmla="*/ 407 h 445"/>
                    <a:gd name="T100" fmla="*/ 628 w 1062"/>
                    <a:gd name="T101" fmla="*/ 385 h 445"/>
                    <a:gd name="T102" fmla="*/ 624 w 1062"/>
                    <a:gd name="T103" fmla="*/ 369 h 445"/>
                    <a:gd name="T104" fmla="*/ 657 w 1062"/>
                    <a:gd name="T105" fmla="*/ 331 h 445"/>
                    <a:gd name="T106" fmla="*/ 663 w 1062"/>
                    <a:gd name="T107" fmla="*/ 331 h 445"/>
                    <a:gd name="T108" fmla="*/ 665 w 1062"/>
                    <a:gd name="T109" fmla="*/ 331 h 445"/>
                    <a:gd name="T110" fmla="*/ 701 w 1062"/>
                    <a:gd name="T111" fmla="*/ 369 h 445"/>
                    <a:gd name="T112" fmla="*/ 698 w 1062"/>
                    <a:gd name="T113" fmla="*/ 383 h 445"/>
                    <a:gd name="T114" fmla="*/ 663 w 1062"/>
                    <a:gd name="T115" fmla="*/ 40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2" h="445">
                      <a:moveTo>
                        <a:pt x="663" y="292"/>
                      </a:moveTo>
                      <a:cubicBezTo>
                        <a:pt x="643" y="292"/>
                        <a:pt x="624" y="300"/>
                        <a:pt x="611" y="313"/>
                      </a:cubicBezTo>
                      <a:cubicBezTo>
                        <a:pt x="418" y="234"/>
                        <a:pt x="418" y="234"/>
                        <a:pt x="418" y="234"/>
                      </a:cubicBezTo>
                      <a:cubicBezTo>
                        <a:pt x="412" y="198"/>
                        <a:pt x="381" y="171"/>
                        <a:pt x="343" y="171"/>
                      </a:cubicBezTo>
                      <a:cubicBezTo>
                        <a:pt x="308" y="171"/>
                        <a:pt x="279" y="194"/>
                        <a:pt x="270" y="225"/>
                      </a:cubicBezTo>
                      <a:cubicBezTo>
                        <a:pt x="136" y="257"/>
                        <a:pt x="136" y="257"/>
                        <a:pt x="136" y="257"/>
                      </a:cubicBezTo>
                      <a:cubicBezTo>
                        <a:pt x="122" y="239"/>
                        <a:pt x="100" y="228"/>
                        <a:pt x="76" y="228"/>
                      </a:cubicBezTo>
                      <a:cubicBezTo>
                        <a:pt x="34" y="228"/>
                        <a:pt x="0" y="262"/>
                        <a:pt x="0" y="304"/>
                      </a:cubicBezTo>
                      <a:cubicBezTo>
                        <a:pt x="0" y="347"/>
                        <a:pt x="34" y="381"/>
                        <a:pt x="76" y="381"/>
                      </a:cubicBezTo>
                      <a:cubicBezTo>
                        <a:pt x="115" y="381"/>
                        <a:pt x="146" y="352"/>
                        <a:pt x="152" y="315"/>
                      </a:cubicBezTo>
                      <a:cubicBezTo>
                        <a:pt x="277" y="286"/>
                        <a:pt x="277" y="286"/>
                        <a:pt x="277" y="286"/>
                      </a:cubicBezTo>
                      <a:cubicBezTo>
                        <a:pt x="291" y="309"/>
                        <a:pt x="315" y="324"/>
                        <a:pt x="343" y="324"/>
                      </a:cubicBezTo>
                      <a:cubicBezTo>
                        <a:pt x="368" y="324"/>
                        <a:pt x="390" y="312"/>
                        <a:pt x="404" y="294"/>
                      </a:cubicBezTo>
                      <a:cubicBezTo>
                        <a:pt x="586" y="368"/>
                        <a:pt x="586" y="368"/>
                        <a:pt x="586" y="368"/>
                      </a:cubicBezTo>
                      <a:cubicBezTo>
                        <a:pt x="586" y="368"/>
                        <a:pt x="586" y="369"/>
                        <a:pt x="586" y="369"/>
                      </a:cubicBezTo>
                      <a:cubicBezTo>
                        <a:pt x="586" y="411"/>
                        <a:pt x="620" y="445"/>
                        <a:pt x="663" y="445"/>
                      </a:cubicBezTo>
                      <a:cubicBezTo>
                        <a:pt x="705" y="445"/>
                        <a:pt x="739" y="411"/>
                        <a:pt x="739" y="369"/>
                      </a:cubicBezTo>
                      <a:cubicBezTo>
                        <a:pt x="739" y="361"/>
                        <a:pt x="738" y="354"/>
                        <a:pt x="736" y="348"/>
                      </a:cubicBezTo>
                      <a:cubicBezTo>
                        <a:pt x="954" y="146"/>
                        <a:pt x="954" y="146"/>
                        <a:pt x="954" y="146"/>
                      </a:cubicBezTo>
                      <a:cubicBezTo>
                        <a:pt x="964" y="151"/>
                        <a:pt x="974" y="153"/>
                        <a:pt x="985" y="153"/>
                      </a:cubicBezTo>
                      <a:cubicBezTo>
                        <a:pt x="1027" y="153"/>
                        <a:pt x="1062" y="119"/>
                        <a:pt x="1062" y="76"/>
                      </a:cubicBezTo>
                      <a:cubicBezTo>
                        <a:pt x="1062" y="34"/>
                        <a:pt x="1027" y="0"/>
                        <a:pt x="985" y="0"/>
                      </a:cubicBezTo>
                      <a:cubicBezTo>
                        <a:pt x="943" y="0"/>
                        <a:pt x="909" y="34"/>
                        <a:pt x="909" y="76"/>
                      </a:cubicBezTo>
                      <a:cubicBezTo>
                        <a:pt x="909" y="85"/>
                        <a:pt x="910" y="94"/>
                        <a:pt x="913" y="102"/>
                      </a:cubicBezTo>
                      <a:cubicBezTo>
                        <a:pt x="697" y="301"/>
                        <a:pt x="697" y="301"/>
                        <a:pt x="697" y="301"/>
                      </a:cubicBezTo>
                      <a:cubicBezTo>
                        <a:pt x="687" y="295"/>
                        <a:pt x="675" y="292"/>
                        <a:pt x="663" y="292"/>
                      </a:cubicBezTo>
                      <a:close/>
                      <a:moveTo>
                        <a:pt x="365" y="278"/>
                      </a:moveTo>
                      <a:cubicBezTo>
                        <a:pt x="359" y="283"/>
                        <a:pt x="351" y="285"/>
                        <a:pt x="343" y="285"/>
                      </a:cubicBezTo>
                      <a:cubicBezTo>
                        <a:pt x="334" y="285"/>
                        <a:pt x="325" y="282"/>
                        <a:pt x="319" y="276"/>
                      </a:cubicBezTo>
                      <a:cubicBezTo>
                        <a:pt x="310" y="269"/>
                        <a:pt x="305" y="259"/>
                        <a:pt x="305" y="247"/>
                      </a:cubicBezTo>
                      <a:cubicBezTo>
                        <a:pt x="305" y="230"/>
                        <a:pt x="316" y="216"/>
                        <a:pt x="332" y="211"/>
                      </a:cubicBezTo>
                      <a:cubicBezTo>
                        <a:pt x="336" y="210"/>
                        <a:pt x="336" y="210"/>
                        <a:pt x="336" y="210"/>
                      </a:cubicBezTo>
                      <a:cubicBezTo>
                        <a:pt x="338" y="209"/>
                        <a:pt x="341" y="209"/>
                        <a:pt x="343" y="209"/>
                      </a:cubicBezTo>
                      <a:cubicBezTo>
                        <a:pt x="364" y="209"/>
                        <a:pt x="381" y="226"/>
                        <a:pt x="381" y="247"/>
                      </a:cubicBezTo>
                      <a:cubicBezTo>
                        <a:pt x="381" y="260"/>
                        <a:pt x="375" y="271"/>
                        <a:pt x="365" y="278"/>
                      </a:cubicBezTo>
                      <a:close/>
                      <a:moveTo>
                        <a:pt x="76" y="343"/>
                      </a:moveTo>
                      <a:cubicBezTo>
                        <a:pt x="55" y="343"/>
                        <a:pt x="38" y="325"/>
                        <a:pt x="38" y="304"/>
                      </a:cubicBezTo>
                      <a:cubicBezTo>
                        <a:pt x="38" y="284"/>
                        <a:pt x="55" y="266"/>
                        <a:pt x="76" y="266"/>
                      </a:cubicBezTo>
                      <a:cubicBezTo>
                        <a:pt x="80" y="266"/>
                        <a:pt x="84" y="267"/>
                        <a:pt x="88" y="268"/>
                      </a:cubicBezTo>
                      <a:cubicBezTo>
                        <a:pt x="103" y="273"/>
                        <a:pt x="114" y="288"/>
                        <a:pt x="114" y="304"/>
                      </a:cubicBezTo>
                      <a:cubicBezTo>
                        <a:pt x="114" y="312"/>
                        <a:pt x="112" y="320"/>
                        <a:pt x="108" y="326"/>
                      </a:cubicBezTo>
                      <a:cubicBezTo>
                        <a:pt x="101" y="336"/>
                        <a:pt x="89" y="343"/>
                        <a:pt x="76" y="343"/>
                      </a:cubicBezTo>
                      <a:close/>
                      <a:moveTo>
                        <a:pt x="985" y="38"/>
                      </a:moveTo>
                      <a:cubicBezTo>
                        <a:pt x="1006" y="38"/>
                        <a:pt x="1023" y="55"/>
                        <a:pt x="1023" y="76"/>
                      </a:cubicBezTo>
                      <a:cubicBezTo>
                        <a:pt x="1023" y="96"/>
                        <a:pt x="1008" y="112"/>
                        <a:pt x="989" y="114"/>
                      </a:cubicBezTo>
                      <a:cubicBezTo>
                        <a:pt x="988" y="114"/>
                        <a:pt x="987" y="114"/>
                        <a:pt x="985" y="114"/>
                      </a:cubicBezTo>
                      <a:cubicBezTo>
                        <a:pt x="964" y="114"/>
                        <a:pt x="947" y="97"/>
                        <a:pt x="947" y="76"/>
                      </a:cubicBezTo>
                      <a:cubicBezTo>
                        <a:pt x="947" y="74"/>
                        <a:pt x="947" y="72"/>
                        <a:pt x="948" y="70"/>
                      </a:cubicBezTo>
                      <a:cubicBezTo>
                        <a:pt x="951" y="52"/>
                        <a:pt x="967" y="38"/>
                        <a:pt x="985" y="38"/>
                      </a:cubicBezTo>
                      <a:close/>
                      <a:moveTo>
                        <a:pt x="663" y="407"/>
                      </a:moveTo>
                      <a:cubicBezTo>
                        <a:pt x="647" y="407"/>
                        <a:pt x="634" y="398"/>
                        <a:pt x="628" y="385"/>
                      </a:cubicBezTo>
                      <a:cubicBezTo>
                        <a:pt x="626" y="380"/>
                        <a:pt x="624" y="375"/>
                        <a:pt x="624" y="369"/>
                      </a:cubicBezTo>
                      <a:cubicBezTo>
                        <a:pt x="624" y="350"/>
                        <a:pt x="638" y="334"/>
                        <a:pt x="657" y="331"/>
                      </a:cubicBezTo>
                      <a:cubicBezTo>
                        <a:pt x="659" y="331"/>
                        <a:pt x="661" y="331"/>
                        <a:pt x="663" y="331"/>
                      </a:cubicBezTo>
                      <a:cubicBezTo>
                        <a:pt x="663" y="331"/>
                        <a:pt x="664" y="331"/>
                        <a:pt x="665" y="331"/>
                      </a:cubicBezTo>
                      <a:cubicBezTo>
                        <a:pt x="685" y="332"/>
                        <a:pt x="701" y="348"/>
                        <a:pt x="701" y="369"/>
                      </a:cubicBezTo>
                      <a:cubicBezTo>
                        <a:pt x="701" y="374"/>
                        <a:pt x="700" y="379"/>
                        <a:pt x="698" y="383"/>
                      </a:cubicBezTo>
                      <a:cubicBezTo>
                        <a:pt x="692" y="397"/>
                        <a:pt x="679" y="407"/>
                        <a:pt x="663" y="407"/>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sp>
              <p:nvSpPr>
                <p:cNvPr id="41" name="Freeform 87"/>
                <p:cNvSpPr>
                  <a:spLocks noEditPoints="1"/>
                </p:cNvSpPr>
                <p:nvPr/>
              </p:nvSpPr>
              <p:spPr bwMode="auto">
                <a:xfrm>
                  <a:off x="8343900" y="5857875"/>
                  <a:ext cx="723900" cy="320675"/>
                </a:xfrm>
                <a:custGeom>
                  <a:avLst/>
                  <a:gdLst>
                    <a:gd name="T0" fmla="*/ 970 w 1046"/>
                    <a:gd name="T1" fmla="*/ 153 h 465"/>
                    <a:gd name="T2" fmla="*/ 1046 w 1046"/>
                    <a:gd name="T3" fmla="*/ 76 h 465"/>
                    <a:gd name="T4" fmla="*/ 970 w 1046"/>
                    <a:gd name="T5" fmla="*/ 0 h 465"/>
                    <a:gd name="T6" fmla="*/ 893 w 1046"/>
                    <a:gd name="T7" fmla="*/ 76 h 465"/>
                    <a:gd name="T8" fmla="*/ 904 w 1046"/>
                    <a:gd name="T9" fmla="*/ 116 h 465"/>
                    <a:gd name="T10" fmla="*/ 781 w 1046"/>
                    <a:gd name="T11" fmla="*/ 313 h 465"/>
                    <a:gd name="T12" fmla="*/ 765 w 1046"/>
                    <a:gd name="T13" fmla="*/ 311 h 465"/>
                    <a:gd name="T14" fmla="*/ 720 w 1046"/>
                    <a:gd name="T15" fmla="*/ 327 h 465"/>
                    <a:gd name="T16" fmla="*/ 543 w 1046"/>
                    <a:gd name="T17" fmla="*/ 233 h 465"/>
                    <a:gd name="T18" fmla="*/ 544 w 1046"/>
                    <a:gd name="T19" fmla="*/ 227 h 465"/>
                    <a:gd name="T20" fmla="*/ 467 w 1046"/>
                    <a:gd name="T21" fmla="*/ 150 h 465"/>
                    <a:gd name="T22" fmla="*/ 391 w 1046"/>
                    <a:gd name="T23" fmla="*/ 227 h 465"/>
                    <a:gd name="T24" fmla="*/ 391 w 1046"/>
                    <a:gd name="T25" fmla="*/ 229 h 465"/>
                    <a:gd name="T26" fmla="*/ 141 w 1046"/>
                    <a:gd name="T27" fmla="*/ 346 h 465"/>
                    <a:gd name="T28" fmla="*/ 77 w 1046"/>
                    <a:gd name="T29" fmla="*/ 311 h 465"/>
                    <a:gd name="T30" fmla="*/ 0 w 1046"/>
                    <a:gd name="T31" fmla="*/ 388 h 465"/>
                    <a:gd name="T32" fmla="*/ 77 w 1046"/>
                    <a:gd name="T33" fmla="*/ 465 h 465"/>
                    <a:gd name="T34" fmla="*/ 151 w 1046"/>
                    <a:gd name="T35" fmla="*/ 408 h 465"/>
                    <a:gd name="T36" fmla="*/ 416 w 1046"/>
                    <a:gd name="T37" fmla="*/ 284 h 465"/>
                    <a:gd name="T38" fmla="*/ 467 w 1046"/>
                    <a:gd name="T39" fmla="*/ 303 h 465"/>
                    <a:gd name="T40" fmla="*/ 515 w 1046"/>
                    <a:gd name="T41" fmla="*/ 287 h 465"/>
                    <a:gd name="T42" fmla="*/ 689 w 1046"/>
                    <a:gd name="T43" fmla="*/ 379 h 465"/>
                    <a:gd name="T44" fmla="*/ 689 w 1046"/>
                    <a:gd name="T45" fmla="*/ 388 h 465"/>
                    <a:gd name="T46" fmla="*/ 765 w 1046"/>
                    <a:gd name="T47" fmla="*/ 465 h 465"/>
                    <a:gd name="T48" fmla="*/ 842 w 1046"/>
                    <a:gd name="T49" fmla="*/ 388 h 465"/>
                    <a:gd name="T50" fmla="*/ 831 w 1046"/>
                    <a:gd name="T51" fmla="*/ 349 h 465"/>
                    <a:gd name="T52" fmla="*/ 954 w 1046"/>
                    <a:gd name="T53" fmla="*/ 151 h 465"/>
                    <a:gd name="T54" fmla="*/ 970 w 1046"/>
                    <a:gd name="T55" fmla="*/ 153 h 465"/>
                    <a:gd name="T56" fmla="*/ 39 w 1046"/>
                    <a:gd name="T57" fmla="*/ 388 h 465"/>
                    <a:gd name="T58" fmla="*/ 77 w 1046"/>
                    <a:gd name="T59" fmla="*/ 350 h 465"/>
                    <a:gd name="T60" fmla="*/ 105 w 1046"/>
                    <a:gd name="T61" fmla="*/ 362 h 465"/>
                    <a:gd name="T62" fmla="*/ 115 w 1046"/>
                    <a:gd name="T63" fmla="*/ 388 h 465"/>
                    <a:gd name="T64" fmla="*/ 85 w 1046"/>
                    <a:gd name="T65" fmla="*/ 425 h 465"/>
                    <a:gd name="T66" fmla="*/ 77 w 1046"/>
                    <a:gd name="T67" fmla="*/ 426 h 465"/>
                    <a:gd name="T68" fmla="*/ 39 w 1046"/>
                    <a:gd name="T69" fmla="*/ 388 h 465"/>
                    <a:gd name="T70" fmla="*/ 473 w 1046"/>
                    <a:gd name="T71" fmla="*/ 264 h 465"/>
                    <a:gd name="T72" fmla="*/ 467 w 1046"/>
                    <a:gd name="T73" fmla="*/ 265 h 465"/>
                    <a:gd name="T74" fmla="*/ 459 w 1046"/>
                    <a:gd name="T75" fmla="*/ 264 h 465"/>
                    <a:gd name="T76" fmla="*/ 429 w 1046"/>
                    <a:gd name="T77" fmla="*/ 227 h 465"/>
                    <a:gd name="T78" fmla="*/ 434 w 1046"/>
                    <a:gd name="T79" fmla="*/ 209 h 465"/>
                    <a:gd name="T80" fmla="*/ 467 w 1046"/>
                    <a:gd name="T81" fmla="*/ 189 h 465"/>
                    <a:gd name="T82" fmla="*/ 502 w 1046"/>
                    <a:gd name="T83" fmla="*/ 211 h 465"/>
                    <a:gd name="T84" fmla="*/ 505 w 1046"/>
                    <a:gd name="T85" fmla="*/ 227 h 465"/>
                    <a:gd name="T86" fmla="*/ 473 w 1046"/>
                    <a:gd name="T87" fmla="*/ 264 h 465"/>
                    <a:gd name="T88" fmla="*/ 786 w 1046"/>
                    <a:gd name="T89" fmla="*/ 420 h 465"/>
                    <a:gd name="T90" fmla="*/ 775 w 1046"/>
                    <a:gd name="T91" fmla="*/ 425 h 465"/>
                    <a:gd name="T92" fmla="*/ 765 w 1046"/>
                    <a:gd name="T93" fmla="*/ 426 h 465"/>
                    <a:gd name="T94" fmla="*/ 729 w 1046"/>
                    <a:gd name="T95" fmla="*/ 401 h 465"/>
                    <a:gd name="T96" fmla="*/ 727 w 1046"/>
                    <a:gd name="T97" fmla="*/ 388 h 465"/>
                    <a:gd name="T98" fmla="*/ 765 w 1046"/>
                    <a:gd name="T99" fmla="*/ 350 h 465"/>
                    <a:gd name="T100" fmla="*/ 803 w 1046"/>
                    <a:gd name="T101" fmla="*/ 388 h 465"/>
                    <a:gd name="T102" fmla="*/ 803 w 1046"/>
                    <a:gd name="T103" fmla="*/ 393 h 465"/>
                    <a:gd name="T104" fmla="*/ 786 w 1046"/>
                    <a:gd name="T105" fmla="*/ 420 h 465"/>
                    <a:gd name="T106" fmla="*/ 970 w 1046"/>
                    <a:gd name="T107" fmla="*/ 38 h 465"/>
                    <a:gd name="T108" fmla="*/ 1008 w 1046"/>
                    <a:gd name="T109" fmla="*/ 76 h 465"/>
                    <a:gd name="T110" fmla="*/ 977 w 1046"/>
                    <a:gd name="T111" fmla="*/ 113 h 465"/>
                    <a:gd name="T112" fmla="*/ 970 w 1046"/>
                    <a:gd name="T113" fmla="*/ 114 h 465"/>
                    <a:gd name="T114" fmla="*/ 932 w 1046"/>
                    <a:gd name="T115" fmla="*/ 76 h 465"/>
                    <a:gd name="T116" fmla="*/ 932 w 1046"/>
                    <a:gd name="T117" fmla="*/ 71 h 465"/>
                    <a:gd name="T118" fmla="*/ 970 w 1046"/>
                    <a:gd name="T119" fmla="*/ 38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6" h="465">
                      <a:moveTo>
                        <a:pt x="970" y="153"/>
                      </a:moveTo>
                      <a:cubicBezTo>
                        <a:pt x="1012" y="153"/>
                        <a:pt x="1046" y="118"/>
                        <a:pt x="1046" y="76"/>
                      </a:cubicBezTo>
                      <a:cubicBezTo>
                        <a:pt x="1046" y="34"/>
                        <a:pt x="1012" y="0"/>
                        <a:pt x="970" y="0"/>
                      </a:cubicBezTo>
                      <a:cubicBezTo>
                        <a:pt x="928" y="0"/>
                        <a:pt x="893" y="34"/>
                        <a:pt x="893" y="76"/>
                      </a:cubicBezTo>
                      <a:cubicBezTo>
                        <a:pt x="893" y="91"/>
                        <a:pt x="897" y="104"/>
                        <a:pt x="904" y="116"/>
                      </a:cubicBezTo>
                      <a:cubicBezTo>
                        <a:pt x="781" y="313"/>
                        <a:pt x="781" y="313"/>
                        <a:pt x="781" y="313"/>
                      </a:cubicBezTo>
                      <a:cubicBezTo>
                        <a:pt x="776" y="312"/>
                        <a:pt x="771" y="311"/>
                        <a:pt x="765" y="311"/>
                      </a:cubicBezTo>
                      <a:cubicBezTo>
                        <a:pt x="748" y="311"/>
                        <a:pt x="732" y="317"/>
                        <a:pt x="720" y="327"/>
                      </a:cubicBezTo>
                      <a:cubicBezTo>
                        <a:pt x="543" y="233"/>
                        <a:pt x="543" y="233"/>
                        <a:pt x="543" y="233"/>
                      </a:cubicBezTo>
                      <a:cubicBezTo>
                        <a:pt x="544" y="231"/>
                        <a:pt x="544" y="229"/>
                        <a:pt x="544" y="227"/>
                      </a:cubicBezTo>
                      <a:cubicBezTo>
                        <a:pt x="544" y="185"/>
                        <a:pt x="509" y="150"/>
                        <a:pt x="467" y="150"/>
                      </a:cubicBezTo>
                      <a:cubicBezTo>
                        <a:pt x="425" y="150"/>
                        <a:pt x="391" y="185"/>
                        <a:pt x="391" y="227"/>
                      </a:cubicBezTo>
                      <a:cubicBezTo>
                        <a:pt x="391" y="228"/>
                        <a:pt x="391" y="228"/>
                        <a:pt x="391" y="229"/>
                      </a:cubicBezTo>
                      <a:cubicBezTo>
                        <a:pt x="141" y="346"/>
                        <a:pt x="141" y="346"/>
                        <a:pt x="141" y="346"/>
                      </a:cubicBezTo>
                      <a:cubicBezTo>
                        <a:pt x="127" y="325"/>
                        <a:pt x="103" y="311"/>
                        <a:pt x="77" y="311"/>
                      </a:cubicBezTo>
                      <a:cubicBezTo>
                        <a:pt x="35" y="311"/>
                        <a:pt x="0" y="346"/>
                        <a:pt x="0" y="388"/>
                      </a:cubicBezTo>
                      <a:cubicBezTo>
                        <a:pt x="0" y="430"/>
                        <a:pt x="35" y="465"/>
                        <a:pt x="77" y="465"/>
                      </a:cubicBezTo>
                      <a:cubicBezTo>
                        <a:pt x="112" y="465"/>
                        <a:pt x="142" y="441"/>
                        <a:pt x="151" y="408"/>
                      </a:cubicBezTo>
                      <a:cubicBezTo>
                        <a:pt x="416" y="284"/>
                        <a:pt x="416" y="284"/>
                        <a:pt x="416" y="284"/>
                      </a:cubicBezTo>
                      <a:cubicBezTo>
                        <a:pt x="430" y="296"/>
                        <a:pt x="448" y="303"/>
                        <a:pt x="467" y="303"/>
                      </a:cubicBezTo>
                      <a:cubicBezTo>
                        <a:pt x="485" y="303"/>
                        <a:pt x="502" y="297"/>
                        <a:pt x="515" y="287"/>
                      </a:cubicBezTo>
                      <a:cubicBezTo>
                        <a:pt x="689" y="379"/>
                        <a:pt x="689" y="379"/>
                        <a:pt x="689" y="379"/>
                      </a:cubicBezTo>
                      <a:cubicBezTo>
                        <a:pt x="689" y="382"/>
                        <a:pt x="689" y="385"/>
                        <a:pt x="689" y="388"/>
                      </a:cubicBezTo>
                      <a:cubicBezTo>
                        <a:pt x="689" y="430"/>
                        <a:pt x="723" y="465"/>
                        <a:pt x="765" y="465"/>
                      </a:cubicBezTo>
                      <a:cubicBezTo>
                        <a:pt x="807" y="465"/>
                        <a:pt x="842" y="430"/>
                        <a:pt x="842" y="388"/>
                      </a:cubicBezTo>
                      <a:cubicBezTo>
                        <a:pt x="842" y="374"/>
                        <a:pt x="838" y="360"/>
                        <a:pt x="831" y="349"/>
                      </a:cubicBezTo>
                      <a:cubicBezTo>
                        <a:pt x="954" y="151"/>
                        <a:pt x="954" y="151"/>
                        <a:pt x="954" y="151"/>
                      </a:cubicBezTo>
                      <a:cubicBezTo>
                        <a:pt x="959" y="152"/>
                        <a:pt x="964" y="153"/>
                        <a:pt x="970" y="153"/>
                      </a:cubicBezTo>
                      <a:close/>
                      <a:moveTo>
                        <a:pt x="39" y="388"/>
                      </a:moveTo>
                      <a:cubicBezTo>
                        <a:pt x="39" y="367"/>
                        <a:pt x="56" y="350"/>
                        <a:pt x="77" y="350"/>
                      </a:cubicBezTo>
                      <a:cubicBezTo>
                        <a:pt x="88" y="350"/>
                        <a:pt x="98" y="355"/>
                        <a:pt x="105" y="362"/>
                      </a:cubicBezTo>
                      <a:cubicBezTo>
                        <a:pt x="111" y="369"/>
                        <a:pt x="115" y="378"/>
                        <a:pt x="115" y="388"/>
                      </a:cubicBezTo>
                      <a:cubicBezTo>
                        <a:pt x="115" y="406"/>
                        <a:pt x="102" y="422"/>
                        <a:pt x="85" y="425"/>
                      </a:cubicBezTo>
                      <a:cubicBezTo>
                        <a:pt x="82" y="426"/>
                        <a:pt x="79" y="426"/>
                        <a:pt x="77" y="426"/>
                      </a:cubicBezTo>
                      <a:cubicBezTo>
                        <a:pt x="56" y="426"/>
                        <a:pt x="39" y="409"/>
                        <a:pt x="39" y="388"/>
                      </a:cubicBezTo>
                      <a:close/>
                      <a:moveTo>
                        <a:pt x="473" y="264"/>
                      </a:moveTo>
                      <a:cubicBezTo>
                        <a:pt x="471" y="265"/>
                        <a:pt x="469" y="265"/>
                        <a:pt x="467" y="265"/>
                      </a:cubicBezTo>
                      <a:cubicBezTo>
                        <a:pt x="464" y="265"/>
                        <a:pt x="462" y="265"/>
                        <a:pt x="459" y="264"/>
                      </a:cubicBezTo>
                      <a:cubicBezTo>
                        <a:pt x="442" y="260"/>
                        <a:pt x="429" y="245"/>
                        <a:pt x="429" y="227"/>
                      </a:cubicBezTo>
                      <a:cubicBezTo>
                        <a:pt x="429" y="220"/>
                        <a:pt x="431" y="214"/>
                        <a:pt x="434" y="209"/>
                      </a:cubicBezTo>
                      <a:cubicBezTo>
                        <a:pt x="440" y="197"/>
                        <a:pt x="453" y="189"/>
                        <a:pt x="467" y="189"/>
                      </a:cubicBezTo>
                      <a:cubicBezTo>
                        <a:pt x="482" y="189"/>
                        <a:pt x="495" y="198"/>
                        <a:pt x="502" y="211"/>
                      </a:cubicBezTo>
                      <a:cubicBezTo>
                        <a:pt x="504" y="215"/>
                        <a:pt x="505" y="221"/>
                        <a:pt x="505" y="227"/>
                      </a:cubicBezTo>
                      <a:cubicBezTo>
                        <a:pt x="505" y="246"/>
                        <a:pt x="491" y="261"/>
                        <a:pt x="473" y="264"/>
                      </a:cubicBezTo>
                      <a:close/>
                      <a:moveTo>
                        <a:pt x="786" y="420"/>
                      </a:moveTo>
                      <a:cubicBezTo>
                        <a:pt x="783" y="422"/>
                        <a:pt x="779" y="424"/>
                        <a:pt x="775" y="425"/>
                      </a:cubicBezTo>
                      <a:cubicBezTo>
                        <a:pt x="772" y="426"/>
                        <a:pt x="769" y="426"/>
                        <a:pt x="765" y="426"/>
                      </a:cubicBezTo>
                      <a:cubicBezTo>
                        <a:pt x="749" y="426"/>
                        <a:pt x="735" y="415"/>
                        <a:pt x="729" y="401"/>
                      </a:cubicBezTo>
                      <a:cubicBezTo>
                        <a:pt x="728" y="397"/>
                        <a:pt x="727" y="392"/>
                        <a:pt x="727" y="388"/>
                      </a:cubicBezTo>
                      <a:cubicBezTo>
                        <a:pt x="727" y="367"/>
                        <a:pt x="744" y="350"/>
                        <a:pt x="765" y="350"/>
                      </a:cubicBezTo>
                      <a:cubicBezTo>
                        <a:pt x="786" y="350"/>
                        <a:pt x="803" y="367"/>
                        <a:pt x="803" y="388"/>
                      </a:cubicBezTo>
                      <a:cubicBezTo>
                        <a:pt x="803" y="390"/>
                        <a:pt x="803" y="391"/>
                        <a:pt x="803" y="393"/>
                      </a:cubicBezTo>
                      <a:cubicBezTo>
                        <a:pt x="802" y="404"/>
                        <a:pt x="795" y="414"/>
                        <a:pt x="786" y="420"/>
                      </a:cubicBezTo>
                      <a:close/>
                      <a:moveTo>
                        <a:pt x="970" y="38"/>
                      </a:moveTo>
                      <a:cubicBezTo>
                        <a:pt x="991" y="38"/>
                        <a:pt x="1008" y="55"/>
                        <a:pt x="1008" y="76"/>
                      </a:cubicBezTo>
                      <a:cubicBezTo>
                        <a:pt x="1008" y="95"/>
                        <a:pt x="995" y="110"/>
                        <a:pt x="977" y="113"/>
                      </a:cubicBezTo>
                      <a:cubicBezTo>
                        <a:pt x="975" y="114"/>
                        <a:pt x="972" y="114"/>
                        <a:pt x="970" y="114"/>
                      </a:cubicBezTo>
                      <a:cubicBezTo>
                        <a:pt x="949" y="114"/>
                        <a:pt x="932" y="97"/>
                        <a:pt x="932" y="76"/>
                      </a:cubicBezTo>
                      <a:cubicBezTo>
                        <a:pt x="932" y="75"/>
                        <a:pt x="932" y="73"/>
                        <a:pt x="932" y="71"/>
                      </a:cubicBezTo>
                      <a:cubicBezTo>
                        <a:pt x="934" y="53"/>
                        <a:pt x="950" y="38"/>
                        <a:pt x="970" y="38"/>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1200" cap="none" spc="0" normalizeH="0" baseline="0" noProof="0">
                    <a:ln>
                      <a:noFill/>
                    </a:ln>
                    <a:solidFill>
                      <a:srgbClr val="5B6770"/>
                    </a:solidFill>
                    <a:effectLst/>
                    <a:uLnTx/>
                    <a:uFillTx/>
                    <a:latin typeface="+mj-lt"/>
                    <a:ea typeface="+mn-ea"/>
                    <a:cs typeface="+mn-cs"/>
                  </a:endParaRPr>
                </a:p>
              </p:txBody>
            </p:sp>
          </p:grpSp>
        </p:grpSp>
      </p:grpSp>
      <p:sp>
        <p:nvSpPr>
          <p:cNvPr id="77" name="Rectangle 76"/>
          <p:cNvSpPr/>
          <p:nvPr/>
        </p:nvSpPr>
        <p:spPr bwMode="auto">
          <a:xfrm>
            <a:off x="7753738" y="4070336"/>
            <a:ext cx="3657165" cy="2177790"/>
          </a:xfrm>
          <a:prstGeom prst="rect">
            <a:avLst/>
          </a:prstGeom>
          <a:noFill/>
          <a:ln w="12700" cap="sq">
            <a:noFill/>
            <a:prstDash val="sysDot"/>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27432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306"/>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ea typeface="+mn-ea"/>
                <a:cs typeface="+mn-cs"/>
              </a:rPr>
              <a:t>Include data from a variety of sources – you may be surprised about the places where key information can come from.</a:t>
            </a:r>
          </a:p>
        </p:txBody>
      </p:sp>
    </p:spTree>
    <p:extLst>
      <p:ext uri="{BB962C8B-B14F-4D97-AF65-F5344CB8AC3E}">
        <p14:creationId xmlns:p14="http://schemas.microsoft.com/office/powerpoint/2010/main" val="327687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idx="4294967295"/>
          </p:nvPr>
        </p:nvSpPr>
        <p:spPr>
          <a:xfrm>
            <a:off x="1004341" y="243668"/>
            <a:ext cx="10726738" cy="1319212"/>
          </a:xfrm>
        </p:spPr>
        <p:txBody>
          <a:bodyPr>
            <a:normAutofit/>
          </a:bodyPr>
          <a:lstStyle/>
          <a:p>
            <a:r>
              <a:rPr lang="en-US" sz="3600" dirty="0"/>
              <a:t>The raw materials of Data Science</a:t>
            </a:r>
            <a:endParaRPr lang="en-US" sz="3600" dirty="0">
              <a:gradFill>
                <a:gsLst>
                  <a:gs pos="1250">
                    <a:schemeClr val="tx1"/>
                  </a:gs>
                  <a:gs pos="100000">
                    <a:schemeClr val="tx1"/>
                  </a:gs>
                </a:gsLst>
                <a:lin ang="5400000" scaled="0"/>
              </a:gradFill>
            </a:endParaRPr>
          </a:p>
        </p:txBody>
      </p:sp>
      <p:sp>
        <p:nvSpPr>
          <p:cNvPr id="22" name="Rectangle 21"/>
          <p:cNvSpPr/>
          <p:nvPr/>
        </p:nvSpPr>
        <p:spPr bwMode="auto">
          <a:xfrm>
            <a:off x="356881" y="2184121"/>
            <a:ext cx="2331720" cy="2119872"/>
          </a:xfrm>
          <a:prstGeom prst="rect">
            <a:avLst/>
          </a:prstGeom>
          <a:solidFill>
            <a:srgbClr val="179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12"/>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ata is relevant</a:t>
            </a:r>
          </a:p>
        </p:txBody>
      </p:sp>
      <p:sp>
        <p:nvSpPr>
          <p:cNvPr id="27" name="Rectangle 26"/>
          <p:cNvSpPr/>
          <p:nvPr/>
        </p:nvSpPr>
        <p:spPr bwMode="auto">
          <a:xfrm>
            <a:off x="2733676" y="2184121"/>
            <a:ext cx="2331720" cy="2119872"/>
          </a:xfrm>
          <a:prstGeom prst="rect">
            <a:avLst/>
          </a:prstGeom>
          <a:solidFill>
            <a:srgbClr val="179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12"/>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ata is accurate	</a:t>
            </a:r>
          </a:p>
        </p:txBody>
      </p:sp>
      <p:sp>
        <p:nvSpPr>
          <p:cNvPr id="28" name="Rectangle 27"/>
          <p:cNvSpPr/>
          <p:nvPr/>
        </p:nvSpPr>
        <p:spPr bwMode="auto">
          <a:xfrm>
            <a:off x="7477145" y="2184121"/>
            <a:ext cx="2331720" cy="2119872"/>
          </a:xfrm>
          <a:prstGeom prst="rect">
            <a:avLst/>
          </a:prstGeom>
          <a:solidFill>
            <a:srgbClr val="179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12"/>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ata is big enough.</a:t>
            </a:r>
          </a:p>
        </p:txBody>
      </p:sp>
      <p:sp>
        <p:nvSpPr>
          <p:cNvPr id="29" name="Rectangle 28"/>
          <p:cNvSpPr/>
          <p:nvPr/>
        </p:nvSpPr>
        <p:spPr bwMode="auto">
          <a:xfrm>
            <a:off x="5110471" y="2184121"/>
            <a:ext cx="2331720" cy="2119872"/>
          </a:xfrm>
          <a:prstGeom prst="rect">
            <a:avLst/>
          </a:prstGeom>
          <a:solidFill>
            <a:srgbClr val="179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12"/>
              </a:spcAft>
              <a:buClrTx/>
              <a:buSzTx/>
              <a:buFontTx/>
              <a:buNone/>
              <a:tabLst/>
              <a:defRPr/>
            </a:pP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ata is connected.</a:t>
            </a:r>
          </a:p>
        </p:txBody>
      </p:sp>
      <p:sp>
        <p:nvSpPr>
          <p:cNvPr id="11" name="Rectangle 10"/>
          <p:cNvSpPr/>
          <p:nvPr/>
        </p:nvSpPr>
        <p:spPr bwMode="auto">
          <a:xfrm>
            <a:off x="9853941" y="2184121"/>
            <a:ext cx="2377440" cy="2119872"/>
          </a:xfrm>
          <a:prstGeom prst="rect">
            <a:avLst/>
          </a:prstGeom>
          <a:solidFill>
            <a:srgbClr val="179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12"/>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ata is modeled.</a:t>
            </a:r>
          </a:p>
        </p:txBody>
      </p:sp>
      <p:sp>
        <p:nvSpPr>
          <p:cNvPr id="2" name="TextBox 1"/>
          <p:cNvSpPr txBox="1"/>
          <p:nvPr/>
        </p:nvSpPr>
        <p:spPr>
          <a:xfrm>
            <a:off x="690871" y="4737915"/>
            <a:ext cx="1981200" cy="10433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E.g. vibration, temperature, oil debris</a:t>
            </a:r>
          </a:p>
        </p:txBody>
      </p:sp>
      <p:sp>
        <p:nvSpPr>
          <p:cNvPr id="10" name="TextBox 9"/>
          <p:cNvSpPr txBox="1"/>
          <p:nvPr/>
        </p:nvSpPr>
        <p:spPr>
          <a:xfrm>
            <a:off x="2672071" y="4716462"/>
            <a:ext cx="2174566" cy="10433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E.g. acoustic data mostly free of noise</a:t>
            </a:r>
          </a:p>
        </p:txBody>
      </p:sp>
      <p:sp>
        <p:nvSpPr>
          <p:cNvPr id="3" name="Rectangle 2"/>
          <p:cNvSpPr/>
          <p:nvPr/>
        </p:nvSpPr>
        <p:spPr>
          <a:xfrm>
            <a:off x="9861790" y="4752423"/>
            <a:ext cx="2133600" cy="1338828"/>
          </a:xfrm>
          <a:prstGeom prst="rect">
            <a:avLst/>
          </a:prstGeom>
        </p:spPr>
        <p:txBody>
          <a:bodyPr wrap="squar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E.g. prior knowledge from domain experts is adds decades of data and learning</a:t>
            </a:r>
          </a:p>
        </p:txBody>
      </p:sp>
      <p:sp>
        <p:nvSpPr>
          <p:cNvPr id="12" name="TextBox 11"/>
          <p:cNvSpPr txBox="1"/>
          <p:nvPr/>
        </p:nvSpPr>
        <p:spPr>
          <a:xfrm>
            <a:off x="5110471" y="4716462"/>
            <a:ext cx="2174566" cy="154196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E.g. telemetry uploaded in real-time and linked to maintenance records</a:t>
            </a:r>
          </a:p>
        </p:txBody>
      </p:sp>
      <p:sp>
        <p:nvSpPr>
          <p:cNvPr id="13" name="TextBox 12"/>
          <p:cNvSpPr txBox="1"/>
          <p:nvPr/>
        </p:nvSpPr>
        <p:spPr>
          <a:xfrm>
            <a:off x="7550458" y="4716462"/>
            <a:ext cx="2174566" cy="129266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panose="020B0502040204020203" pitchFamily="34" charset="0"/>
                <a:cs typeface="Segoe UI Light" panose="020B0502040204020203" pitchFamily="34" charset="0"/>
              </a:rPr>
              <a:t>E.g. the more data, the more accuracy and precision</a:t>
            </a:r>
          </a:p>
        </p:txBody>
      </p:sp>
    </p:spTree>
    <p:extLst>
      <p:ext uri="{BB962C8B-B14F-4D97-AF65-F5344CB8AC3E}">
        <p14:creationId xmlns:p14="http://schemas.microsoft.com/office/powerpoint/2010/main" val="201438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406" y="75097"/>
            <a:ext cx="10104634" cy="1508004"/>
          </a:xfrm>
        </p:spPr>
        <p:txBody>
          <a:bodyPr>
            <a:normAutofit/>
          </a:bodyPr>
          <a:lstStyle/>
          <a:p>
            <a:r>
              <a:rPr lang="en-US" sz="3600" dirty="0"/>
              <a:t>Data Sources</a:t>
            </a:r>
          </a:p>
        </p:txBody>
      </p:sp>
      <p:sp>
        <p:nvSpPr>
          <p:cNvPr id="21" name="Rectangle 20"/>
          <p:cNvSpPr/>
          <p:nvPr/>
        </p:nvSpPr>
        <p:spPr>
          <a:xfrm>
            <a:off x="1011777" y="1496513"/>
            <a:ext cx="3264112" cy="2058420"/>
          </a:xfrm>
          <a:prstGeom prst="rect">
            <a:avLst/>
          </a:prstGeom>
          <a:solidFill>
            <a:schemeClr val="bg1">
              <a:lumMod val="65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The failure history of a machine or component within the machine. </a:t>
            </a:r>
          </a:p>
        </p:txBody>
      </p:sp>
      <p:sp>
        <p:nvSpPr>
          <p:cNvPr id="24" name="Rectangle 23"/>
          <p:cNvSpPr/>
          <p:nvPr/>
        </p:nvSpPr>
        <p:spPr>
          <a:xfrm>
            <a:off x="4506367" y="1496513"/>
            <a:ext cx="3264112" cy="2058420"/>
          </a:xfrm>
          <a:prstGeom prst="rect">
            <a:avLst/>
          </a:prstGeom>
          <a:solidFill>
            <a:srgbClr val="69A0B5"/>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The repair history of a machine, previous maintenance records, components replaced, maintenance activities performed.</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49" name="Rectangle 48"/>
          <p:cNvSpPr/>
          <p:nvPr/>
        </p:nvSpPr>
        <p:spPr>
          <a:xfrm>
            <a:off x="8000957" y="1499757"/>
            <a:ext cx="3264112" cy="2055176"/>
          </a:xfrm>
          <a:prstGeom prst="rect">
            <a:avLst/>
          </a:prstGeom>
          <a:solidFill>
            <a:srgbClr val="00B050"/>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The operation conditions of a machine, e.g. data collected from sensor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3" name="Rectangle 2"/>
          <p:cNvSpPr/>
          <p:nvPr/>
        </p:nvSpPr>
        <p:spPr>
          <a:xfrm>
            <a:off x="1497002" y="1090215"/>
            <a:ext cx="1913088"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FAILURE HISTORY</a:t>
            </a:r>
          </a:p>
        </p:txBody>
      </p:sp>
      <p:sp>
        <p:nvSpPr>
          <p:cNvPr id="6" name="Rectangle 5"/>
          <p:cNvSpPr/>
          <p:nvPr/>
        </p:nvSpPr>
        <p:spPr>
          <a:xfrm>
            <a:off x="5097185" y="1069903"/>
            <a:ext cx="1805046"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REPAIR HISTORY</a:t>
            </a:r>
          </a:p>
        </p:txBody>
      </p:sp>
      <p:sp>
        <p:nvSpPr>
          <p:cNvPr id="9" name="Rectangle 8"/>
          <p:cNvSpPr/>
          <p:nvPr/>
        </p:nvSpPr>
        <p:spPr>
          <a:xfrm>
            <a:off x="8416702" y="1108199"/>
            <a:ext cx="2216889"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153"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MACHINE CONDITIONS</a:t>
            </a:r>
          </a:p>
        </p:txBody>
      </p:sp>
      <p:sp>
        <p:nvSpPr>
          <p:cNvPr id="58" name="Rectangle 57"/>
          <p:cNvSpPr/>
          <p:nvPr/>
        </p:nvSpPr>
        <p:spPr>
          <a:xfrm>
            <a:off x="1011777" y="4107005"/>
            <a:ext cx="3264112" cy="2058420"/>
          </a:xfrm>
          <a:prstGeom prst="rect">
            <a:avLst/>
          </a:prstGeom>
          <a:solidFill>
            <a:schemeClr val="bg1">
              <a:lumMod val="65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The features of machine or components, e.g. production date, technical specifications</a:t>
            </a:r>
            <a:r>
              <a:rPr kumimoji="0" lang="en-US" sz="1632"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a:t>
            </a:r>
          </a:p>
        </p:txBody>
      </p:sp>
      <p:sp>
        <p:nvSpPr>
          <p:cNvPr id="59" name="Rectangle 58"/>
          <p:cNvSpPr/>
          <p:nvPr/>
        </p:nvSpPr>
        <p:spPr>
          <a:xfrm>
            <a:off x="4506367" y="4107005"/>
            <a:ext cx="3264112" cy="2058420"/>
          </a:xfrm>
          <a:prstGeom prst="rect">
            <a:avLst/>
          </a:prstGeom>
          <a:solidFill>
            <a:srgbClr val="69A0B5"/>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Environmental features that may influence a machine’s performance, e.g. location, temperature, other interaction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0" name="Rectangle 59"/>
          <p:cNvSpPr/>
          <p:nvPr/>
        </p:nvSpPr>
        <p:spPr>
          <a:xfrm>
            <a:off x="8000957" y="4110250"/>
            <a:ext cx="3264112" cy="2055176"/>
          </a:xfrm>
          <a:prstGeom prst="rect">
            <a:avLst/>
          </a:prstGeom>
          <a:solidFill>
            <a:srgbClr val="00B050"/>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The attributes of the operator who uses the machine, e.g. driver.</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1" name="Rectangle 60"/>
          <p:cNvSpPr/>
          <p:nvPr/>
        </p:nvSpPr>
        <p:spPr>
          <a:xfrm>
            <a:off x="1335636" y="3685081"/>
            <a:ext cx="2220544"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MACHINE FEATURES</a:t>
            </a:r>
          </a:p>
        </p:txBody>
      </p:sp>
      <p:sp>
        <p:nvSpPr>
          <p:cNvPr id="62" name="Rectangle 61"/>
          <p:cNvSpPr/>
          <p:nvPr/>
        </p:nvSpPr>
        <p:spPr>
          <a:xfrm>
            <a:off x="4637637" y="3694372"/>
            <a:ext cx="2765565"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OPERATING CONDITIONS</a:t>
            </a:r>
          </a:p>
        </p:txBody>
      </p:sp>
      <p:sp>
        <p:nvSpPr>
          <p:cNvPr id="64" name="Rectangle 63"/>
          <p:cNvSpPr/>
          <p:nvPr/>
        </p:nvSpPr>
        <p:spPr>
          <a:xfrm>
            <a:off x="8505056" y="3714100"/>
            <a:ext cx="2162323"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153"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OPERATOR ATTRIBUTES</a:t>
            </a:r>
          </a:p>
        </p:txBody>
      </p:sp>
    </p:spTree>
    <p:extLst>
      <p:ext uri="{BB962C8B-B14F-4D97-AF65-F5344CB8AC3E}">
        <p14:creationId xmlns:p14="http://schemas.microsoft.com/office/powerpoint/2010/main" val="3741422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492708" y="951863"/>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solidFill>
                  <a:schemeClr val="bg1">
                    <a:lumMod val="50000"/>
                  </a:schemeClr>
                </a:solidFill>
                <a:latin typeface="+mj-lt"/>
              </a:rPr>
              <a:t>Use Cases</a:t>
            </a:r>
          </a:p>
          <a:p>
            <a:r>
              <a:rPr lang="en-US" sz="2448" dirty="0">
                <a:solidFill>
                  <a:schemeClr val="bg1">
                    <a:lumMod val="50000"/>
                  </a:schemeClr>
                </a:solidFill>
                <a:latin typeface="+mj-lt"/>
              </a:rPr>
              <a:t>Data Foundation</a:t>
            </a:r>
          </a:p>
          <a:p>
            <a:r>
              <a:rPr lang="en-US" sz="2448" dirty="0">
                <a:latin typeface="+mj-lt"/>
              </a:rPr>
              <a:t>Modeling</a:t>
            </a:r>
          </a:p>
          <a:p>
            <a:r>
              <a:rPr lang="en-US" sz="2448" dirty="0">
                <a:solidFill>
                  <a:schemeClr val="bg1">
                    <a:lumMod val="50000"/>
                  </a:schemeClr>
                </a:solidFill>
                <a:latin typeface="+mj-lt"/>
              </a:rPr>
              <a:t>Modeling Example</a:t>
            </a:r>
          </a:p>
          <a:p>
            <a:r>
              <a:rPr lang="en-US" sz="2448" dirty="0">
                <a:solidFill>
                  <a:schemeClr val="bg1">
                    <a:lumMod val="50000"/>
                  </a:schemeClr>
                </a:solidFill>
                <a:latin typeface="+mj-lt"/>
              </a:rPr>
              <a:t>Physics of Failure</a:t>
            </a:r>
          </a:p>
          <a:p>
            <a:r>
              <a:rPr lang="en-US" sz="2448" dirty="0">
                <a:solidFill>
                  <a:schemeClr val="bg1">
                    <a:lumMod val="50000"/>
                  </a:schemeClr>
                </a:solidFill>
                <a:latin typeface="+mj-lt"/>
              </a:rPr>
              <a:t>Key Measurements</a:t>
            </a:r>
          </a:p>
          <a:p>
            <a:r>
              <a:rPr lang="en-US" sz="2448" dirty="0">
                <a:solidFill>
                  <a:schemeClr val="bg1">
                    <a:lumMod val="50000"/>
                  </a:schemeClr>
                </a:solidFill>
                <a:latin typeface="+mj-lt"/>
              </a:rPr>
              <a:t>Intelligence</a:t>
            </a:r>
          </a:p>
        </p:txBody>
      </p:sp>
      <p:sp>
        <p:nvSpPr>
          <p:cNvPr id="3" name="Title 2"/>
          <p:cNvSpPr>
            <a:spLocks noGrp="1"/>
          </p:cNvSpPr>
          <p:nvPr>
            <p:ph type="title" idx="4294967295"/>
          </p:nvPr>
        </p:nvSpPr>
        <p:spPr>
          <a:xfrm>
            <a:off x="742013" y="1103470"/>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103FC879-3429-4785-B2F1-B7641A389CE7}"/>
              </a:ext>
            </a:extLst>
          </p:cNvPr>
          <p:cNvSpPr/>
          <p:nvPr/>
        </p:nvSpPr>
        <p:spPr bwMode="gray">
          <a:xfrm flipH="1" flipV="1">
            <a:off x="6973295" y="3286282"/>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913673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8971" y="2118510"/>
            <a:ext cx="2487613" cy="2486025"/>
          </a:xfrm>
        </p:spPr>
        <p:txBody>
          <a:bodyPr>
            <a:normAutofit/>
          </a:bodyPr>
          <a:lstStyle/>
          <a:p>
            <a:r>
              <a:rPr lang="en-US" sz="3600" dirty="0">
                <a:latin typeface="+mj-lt"/>
              </a:rPr>
              <a:t>Machine Learning is Human Guided</a:t>
            </a:r>
          </a:p>
        </p:txBody>
      </p:sp>
      <p:sp>
        <p:nvSpPr>
          <p:cNvPr id="3" name="Slide Number Placeholder 2"/>
          <p:cNvSpPr>
            <a:spLocks noGrp="1"/>
          </p:cNvSpPr>
          <p:nvPr>
            <p:ph type="sldNum" sz="quarter" idx="4294967295"/>
          </p:nvPr>
        </p:nvSpPr>
        <p:spPr>
          <a:xfrm>
            <a:off x="9534525" y="6483350"/>
            <a:ext cx="2901950" cy="371475"/>
          </a:xfrm>
        </p:spPr>
        <p:txBody>
          <a:bodyPr/>
          <a:lstStyle/>
          <a:p>
            <a:pPr marL="0" marR="0" lvl="0" indent="0" algn="r" defTabSz="12434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1200" cap="none" spc="0" normalizeH="0" baseline="0" noProof="0">
                <a:ln>
                  <a:noFill/>
                </a:ln>
                <a:solidFill>
                  <a:srgbClr val="292929"/>
                </a:solidFill>
                <a:effectLst/>
                <a:uLnTx/>
                <a:uFillTx/>
                <a:latin typeface="Segoe UI"/>
                <a:ea typeface="+mn-ea"/>
                <a:cs typeface="+mn-cs"/>
              </a:rPr>
              <a:pPr marL="0" marR="0" lvl="0" indent="0" algn="r" defTabSz="1243442" rtl="0" eaLnBrk="1" fontAlgn="auto" latinLnBrk="0" hangingPunct="1">
                <a:lnSpc>
                  <a:spcPct val="100000"/>
                </a:lnSpc>
                <a:spcBef>
                  <a:spcPts val="0"/>
                </a:spcBef>
                <a:spcAft>
                  <a:spcPts val="0"/>
                </a:spcAft>
                <a:buClrTx/>
                <a:buSzTx/>
                <a:buFontTx/>
                <a:buNone/>
                <a:tabLst/>
                <a:defRPr/>
              </a:pPr>
              <a:t>17</a:t>
            </a:fld>
            <a:endParaRPr kumimoji="0" lang="en-US" sz="1088" b="0" i="0" u="none" strike="noStrike" kern="1200" cap="none" spc="0" normalizeH="0" baseline="0" noProof="0">
              <a:ln>
                <a:noFill/>
              </a:ln>
              <a:solidFill>
                <a:srgbClr val="292929"/>
              </a:solidFill>
              <a:effectLst/>
              <a:uLnTx/>
              <a:uFillTx/>
              <a:latin typeface="Segoe UI"/>
              <a:ea typeface="+mn-ea"/>
              <a:cs typeface="+mn-cs"/>
            </a:endParaRPr>
          </a:p>
        </p:txBody>
      </p:sp>
      <p:sp>
        <p:nvSpPr>
          <p:cNvPr id="4" name="Content Placeholder 3"/>
          <p:cNvSpPr>
            <a:spLocks noGrp="1"/>
          </p:cNvSpPr>
          <p:nvPr>
            <p:ph idx="4294967295"/>
          </p:nvPr>
        </p:nvSpPr>
        <p:spPr>
          <a:xfrm>
            <a:off x="1658938" y="460595"/>
            <a:ext cx="9326562" cy="1719263"/>
          </a:xfrm>
        </p:spPr>
        <p:txBody>
          <a:bodyPr>
            <a:normAutofit/>
          </a:bodyPr>
          <a:lstStyle/>
          <a:p>
            <a:pPr marL="0" indent="0" algn="ctr">
              <a:buNone/>
            </a:pPr>
            <a:r>
              <a:rPr lang="en-US" dirty="0">
                <a:solidFill>
                  <a:schemeClr val="bg1"/>
                </a:solidFill>
                <a:latin typeface="+mj-lt"/>
              </a:rPr>
              <a:t>Chess is well-defined simple game with 1500 year recorded history, millions of recorded games, and 50 years of computer science research into chess AI and yet:</a:t>
            </a:r>
          </a:p>
        </p:txBody>
      </p:sp>
      <p:pic>
        <p:nvPicPr>
          <p:cNvPr id="5" name="Picture 4"/>
          <p:cNvPicPr>
            <a:picLocks noChangeAspect="1"/>
          </p:cNvPicPr>
          <p:nvPr/>
        </p:nvPicPr>
        <p:blipFill>
          <a:blip r:embed="rId3"/>
          <a:stretch>
            <a:fillRect/>
          </a:stretch>
        </p:blipFill>
        <p:spPr>
          <a:xfrm>
            <a:off x="881" y="6030835"/>
            <a:ext cx="2080742" cy="932603"/>
          </a:xfrm>
          <a:prstGeom prst="rect">
            <a:avLst/>
          </a:prstGeom>
        </p:spPr>
      </p:pic>
      <p:pic>
        <p:nvPicPr>
          <p:cNvPr id="7" name="Picture 6">
            <a:extLst>
              <a:ext uri="{FF2B5EF4-FFF2-40B4-BE49-F238E27FC236}">
                <a16:creationId xmlns:a16="http://schemas.microsoft.com/office/drawing/2014/main" id="{4C46AA2C-84BF-4047-B4D7-79579234D015}"/>
              </a:ext>
            </a:extLst>
          </p:cNvPr>
          <p:cNvPicPr>
            <a:picLocks noChangeAspect="1"/>
          </p:cNvPicPr>
          <p:nvPr/>
        </p:nvPicPr>
        <p:blipFill>
          <a:blip r:embed="rId4"/>
          <a:stretch>
            <a:fillRect/>
          </a:stretch>
        </p:blipFill>
        <p:spPr>
          <a:xfrm>
            <a:off x="3007519" y="2088776"/>
            <a:ext cx="6629400" cy="3977640"/>
          </a:xfrm>
          <a:prstGeom prst="rect">
            <a:avLst/>
          </a:prstGeom>
        </p:spPr>
      </p:pic>
      <p:sp>
        <p:nvSpPr>
          <p:cNvPr id="8" name="Content Placeholder 3">
            <a:extLst>
              <a:ext uri="{FF2B5EF4-FFF2-40B4-BE49-F238E27FC236}">
                <a16:creationId xmlns:a16="http://schemas.microsoft.com/office/drawing/2014/main" id="{90B2A3C4-A0C0-47E0-863E-019A0BD812C4}"/>
              </a:ext>
            </a:extLst>
          </p:cNvPr>
          <p:cNvSpPr txBox="1">
            <a:spLocks/>
          </p:cNvSpPr>
          <p:nvPr/>
        </p:nvSpPr>
        <p:spPr>
          <a:xfrm>
            <a:off x="9738788" y="2561423"/>
            <a:ext cx="2493424" cy="1600200"/>
          </a:xfrm>
          <a:prstGeom prst="rect">
            <a:avLst/>
          </a:prstGeom>
          <a:noFill/>
        </p:spPr>
        <p:txBody>
          <a:bodyPr vert="horz" wrap="square" lIns="182880" tIns="91440" rIns="91440" bIns="91440" rtlCol="0">
            <a:normAutofit fontScale="85000" lnSpcReduction="10000"/>
          </a:bodyPr>
          <a:lstStyle>
            <a:lvl1pPr marL="310873" indent="-310873" algn="l" defTabSz="1243442"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1pPr>
            <a:lvl2pPr marL="621746" indent="-306555" algn="l" defTabSz="1243442"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2pPr>
            <a:lvl3pPr marL="932619" indent="-310873" algn="l" defTabSz="1243442" rtl="0" eaLnBrk="1" latinLnBrk="0" hangingPunct="1">
              <a:lnSpc>
                <a:spcPct val="100000"/>
              </a:lnSpc>
              <a:spcBef>
                <a:spcPts val="816"/>
              </a:spcBef>
              <a:buSzPct val="80000"/>
              <a:buFont typeface="Arial" pitchFamily="34" charset="0"/>
              <a:buChar char="•"/>
              <a:defRPr sz="2176" kern="1200">
                <a:gradFill>
                  <a:gsLst>
                    <a:gs pos="0">
                      <a:schemeClr val="tx1"/>
                    </a:gs>
                    <a:gs pos="86000">
                      <a:schemeClr val="tx1"/>
                    </a:gs>
                  </a:gsLst>
                  <a:lin ang="5400000" scaled="0"/>
                </a:gradFill>
                <a:latin typeface="+mn-lt"/>
                <a:ea typeface="+mn-ea"/>
                <a:cs typeface="+mn-cs"/>
              </a:defRPr>
            </a:lvl3pPr>
            <a:lvl4pPr marL="1243493" indent="-310873" algn="l" defTabSz="1243442" rtl="0" eaLnBrk="1" latinLnBrk="0" hangingPunct="1">
              <a:lnSpc>
                <a:spcPct val="100000"/>
              </a:lnSpc>
              <a:spcBef>
                <a:spcPts val="816"/>
              </a:spcBef>
              <a:buSzPct val="80000"/>
              <a:buFont typeface="Arial" pitchFamily="34" charset="0"/>
              <a:buChar char="•"/>
              <a:defRPr sz="1904" kern="1200">
                <a:gradFill>
                  <a:gsLst>
                    <a:gs pos="0">
                      <a:schemeClr val="tx1"/>
                    </a:gs>
                    <a:gs pos="86000">
                      <a:schemeClr val="tx1"/>
                    </a:gs>
                  </a:gsLst>
                  <a:lin ang="5400000" scaled="0"/>
                </a:gradFill>
                <a:latin typeface="+mn-lt"/>
                <a:ea typeface="+mn-ea"/>
                <a:cs typeface="+mn-cs"/>
              </a:defRPr>
            </a:lvl4pPr>
            <a:lvl5pPr marL="1554366" indent="-310873" algn="l" defTabSz="1243442" rtl="0" eaLnBrk="1" latinLnBrk="0" hangingPunct="1">
              <a:lnSpc>
                <a:spcPct val="100000"/>
              </a:lnSpc>
              <a:spcBef>
                <a:spcPts val="816"/>
              </a:spcBef>
              <a:buSzPct val="80000"/>
              <a:buFont typeface="Arial" pitchFamily="34" charset="0"/>
              <a:buChar char="•"/>
              <a:defRPr sz="1632" kern="1200">
                <a:gradFill>
                  <a:gsLst>
                    <a:gs pos="0">
                      <a:schemeClr val="tx1"/>
                    </a:gs>
                    <a:gs pos="86000">
                      <a:schemeClr val="tx1"/>
                    </a:gs>
                  </a:gsLst>
                  <a:lin ang="5400000" scaled="0"/>
                </a:gradFill>
                <a:latin typeface="+mn-lt"/>
                <a:ea typeface="+mn-ea"/>
                <a:cs typeface="+mn-cs"/>
              </a:defRPr>
            </a:lvl5pPr>
            <a:lvl6pPr marL="1863081" indent="-308715" algn="l" defTabSz="1243442" rtl="0" eaLnBrk="1" latinLnBrk="0" hangingPunct="1">
              <a:lnSpc>
                <a:spcPct val="100000"/>
              </a:lnSpc>
              <a:spcBef>
                <a:spcPts val="816"/>
              </a:spcBef>
              <a:buFont typeface="Arial" pitchFamily="34" charset="0"/>
              <a:buChar char="•"/>
              <a:defRPr sz="1496" kern="1200">
                <a:solidFill>
                  <a:schemeClr val="tx1"/>
                </a:solidFill>
                <a:latin typeface="+mn-lt"/>
                <a:ea typeface="+mn-ea"/>
                <a:cs typeface="+mn-cs"/>
              </a:defRPr>
            </a:lvl6pPr>
            <a:lvl7pPr marL="4041189"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11"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633" indent="-310861" algn="l" defTabSz="1243442" rtl="0" eaLnBrk="1" latinLnBrk="0" hangingPunct="1">
              <a:spcBef>
                <a:spcPct val="20000"/>
              </a:spcBef>
              <a:buFont typeface="Arial" pitchFamily="34" charset="0"/>
              <a:buChar char="•"/>
              <a:defRPr sz="2720" kern="1200">
                <a:solidFill>
                  <a:schemeClr val="tx1"/>
                </a:solidFill>
                <a:latin typeface="+mn-lt"/>
                <a:ea typeface="+mn-ea"/>
                <a:cs typeface="+mn-cs"/>
              </a:defRPr>
            </a:lvl9pPr>
          </a:lstStyle>
          <a:p>
            <a:pPr marL="0" marR="0" lvl="0" indent="0" algn="l" defTabSz="1243442" rtl="0" eaLnBrk="1" fontAlgn="auto" latinLnBrk="0" hangingPunct="1">
              <a:lnSpc>
                <a:spcPct val="100000"/>
              </a:lnSpc>
              <a:spcBef>
                <a:spcPts val="816"/>
              </a:spcBef>
              <a:spcAft>
                <a:spcPts val="0"/>
              </a:spcAft>
              <a:buClrTx/>
              <a:buSzPct val="80000"/>
              <a:buFont typeface="Arial" pitchFamily="34" charset="0"/>
              <a:buNone/>
              <a:tabLst/>
              <a:defRPr/>
            </a:pPr>
            <a:r>
              <a:rPr kumimoji="0" lang="en-US" sz="2720" b="0" i="0" u="none" strike="noStrike" kern="1200" cap="none" spc="0" normalizeH="0" baseline="0" noProof="0" dirty="0">
                <a:ln>
                  <a:noFill/>
                </a:ln>
                <a:solidFill>
                  <a:schemeClr val="tx1"/>
                </a:solidFill>
                <a:effectLst/>
                <a:uLnTx/>
                <a:uFillTx/>
                <a:latin typeface="+mj-lt"/>
                <a:ea typeface="+mn-ea"/>
                <a:cs typeface="+mn-cs"/>
              </a:rPr>
              <a:t>Cyborgs beat the best computers 65% to 85% of the time.</a:t>
            </a:r>
          </a:p>
        </p:txBody>
      </p:sp>
    </p:spTree>
    <p:extLst>
      <p:ext uri="{BB962C8B-B14F-4D97-AF65-F5344CB8AC3E}">
        <p14:creationId xmlns:p14="http://schemas.microsoft.com/office/powerpoint/2010/main" val="695817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02699" y="59065"/>
            <a:ext cx="10726738" cy="1319212"/>
          </a:xfrm>
        </p:spPr>
        <p:txBody>
          <a:bodyPr>
            <a:normAutofit/>
          </a:bodyPr>
          <a:lstStyle/>
          <a:p>
            <a:r>
              <a:rPr lang="en-US" sz="3600" dirty="0"/>
              <a:t>Modeling Problems</a:t>
            </a:r>
          </a:p>
        </p:txBody>
      </p:sp>
      <p:sp>
        <p:nvSpPr>
          <p:cNvPr id="18" name="Rectangle 17"/>
          <p:cNvSpPr/>
          <p:nvPr/>
        </p:nvSpPr>
        <p:spPr>
          <a:xfrm>
            <a:off x="1483793" y="1480659"/>
            <a:ext cx="4226106" cy="2170707"/>
          </a:xfrm>
          <a:prstGeom prst="rect">
            <a:avLst/>
          </a:prstGeom>
          <a:solidFill>
            <a:schemeClr val="bg1"/>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21" name="Rectangle 20"/>
          <p:cNvSpPr/>
          <p:nvPr/>
        </p:nvSpPr>
        <p:spPr>
          <a:xfrm>
            <a:off x="1490427" y="2152974"/>
            <a:ext cx="4216630" cy="1492116"/>
          </a:xfrm>
          <a:prstGeom prst="rect">
            <a:avLst/>
          </a:prstGeom>
          <a:solidFill>
            <a:schemeClr val="bg1">
              <a:lumMod val="65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Predict failures within a future period of time</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pic>
        <p:nvPicPr>
          <p:cNvPr id="75" name="Picture 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90984">
            <a:off x="5016197" y="1600140"/>
            <a:ext cx="418294" cy="401038"/>
          </a:xfrm>
          <a:prstGeom prst="rect">
            <a:avLst/>
          </a:prstGeom>
        </p:spPr>
      </p:pic>
      <p:sp>
        <p:nvSpPr>
          <p:cNvPr id="3" name="Rectangle 2"/>
          <p:cNvSpPr/>
          <p:nvPr/>
        </p:nvSpPr>
        <p:spPr>
          <a:xfrm>
            <a:off x="1430115" y="1090505"/>
            <a:ext cx="2950421" cy="382308"/>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BINARY CLASSIFICATION</a:t>
            </a:r>
          </a:p>
        </p:txBody>
      </p:sp>
      <p:sp>
        <p:nvSpPr>
          <p:cNvPr id="47" name="Oval 46"/>
          <p:cNvSpPr/>
          <p:nvPr/>
        </p:nvSpPr>
        <p:spPr>
          <a:xfrm>
            <a:off x="1590821" y="1651454"/>
            <a:ext cx="154611" cy="171434"/>
          </a:xfrm>
          <a:prstGeom prst="ellipse">
            <a:avLst/>
          </a:prstGeom>
          <a:solidFill>
            <a:schemeClr val="bg1">
              <a:lumMod val="65000"/>
            </a:schemeClr>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50" name="Oval 49"/>
          <p:cNvSpPr/>
          <p:nvPr/>
        </p:nvSpPr>
        <p:spPr>
          <a:xfrm>
            <a:off x="1821687" y="1654445"/>
            <a:ext cx="154611" cy="171434"/>
          </a:xfrm>
          <a:prstGeom prst="ellipse">
            <a:avLst/>
          </a:prstGeom>
          <a:solidFill>
            <a:schemeClr val="bg1">
              <a:lumMod val="65000"/>
            </a:schemeClr>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51" name="Oval 50"/>
          <p:cNvSpPr/>
          <p:nvPr/>
        </p:nvSpPr>
        <p:spPr>
          <a:xfrm>
            <a:off x="2047687" y="1651454"/>
            <a:ext cx="154611" cy="171434"/>
          </a:xfrm>
          <a:prstGeom prst="ellipse">
            <a:avLst/>
          </a:prstGeom>
          <a:solidFill>
            <a:schemeClr val="bg1">
              <a:lumMod val="65000"/>
            </a:schemeClr>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25" name="Rectangle 24"/>
          <p:cNvSpPr/>
          <p:nvPr/>
        </p:nvSpPr>
        <p:spPr>
          <a:xfrm>
            <a:off x="1490428" y="4373154"/>
            <a:ext cx="4226243" cy="2182824"/>
          </a:xfrm>
          <a:prstGeom prst="rect">
            <a:avLst/>
          </a:prstGeom>
          <a:solidFill>
            <a:schemeClr val="bg1"/>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26" name="Rectangle 25"/>
          <p:cNvSpPr/>
          <p:nvPr/>
        </p:nvSpPr>
        <p:spPr>
          <a:xfrm>
            <a:off x="1490523" y="5060302"/>
            <a:ext cx="4216630" cy="1495676"/>
          </a:xfrm>
          <a:prstGeom prst="rect">
            <a:avLst/>
          </a:prstGeom>
          <a:solidFill>
            <a:srgbClr val="92D050"/>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Predict failures with their causes within a future time period.</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Predict remaining useful life within ranges of future periods</a:t>
            </a:r>
          </a:p>
        </p:txBody>
      </p:sp>
      <p:sp>
        <p:nvSpPr>
          <p:cNvPr id="27" name="Rectangle 26"/>
          <p:cNvSpPr/>
          <p:nvPr/>
        </p:nvSpPr>
        <p:spPr>
          <a:xfrm>
            <a:off x="1425297" y="3951040"/>
            <a:ext cx="2665410"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153"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MULTICLASS CLASSIFICATION</a:t>
            </a:r>
          </a:p>
        </p:txBody>
      </p:sp>
      <p:sp>
        <p:nvSpPr>
          <p:cNvPr id="28" name="Oval 27"/>
          <p:cNvSpPr/>
          <p:nvPr/>
        </p:nvSpPr>
        <p:spPr>
          <a:xfrm>
            <a:off x="1560404" y="4526711"/>
            <a:ext cx="171434" cy="197194"/>
          </a:xfrm>
          <a:prstGeom prst="ellipse">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29" name="Oval 28"/>
          <p:cNvSpPr/>
          <p:nvPr/>
        </p:nvSpPr>
        <p:spPr>
          <a:xfrm>
            <a:off x="1782090" y="4526711"/>
            <a:ext cx="181514" cy="197193"/>
          </a:xfrm>
          <a:prstGeom prst="ellipse">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90984">
            <a:off x="5088475" y="4447237"/>
            <a:ext cx="463809" cy="461299"/>
          </a:xfrm>
          <a:prstGeom prst="rect">
            <a:avLst/>
          </a:prstGeom>
        </p:spPr>
      </p:pic>
      <p:sp>
        <p:nvSpPr>
          <p:cNvPr id="61" name="Rectangle 60"/>
          <p:cNvSpPr/>
          <p:nvPr/>
        </p:nvSpPr>
        <p:spPr>
          <a:xfrm>
            <a:off x="6956955" y="1480779"/>
            <a:ext cx="4226106" cy="2164311"/>
          </a:xfrm>
          <a:prstGeom prst="rect">
            <a:avLst/>
          </a:prstGeom>
          <a:solidFill>
            <a:schemeClr val="bg1"/>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2" name="Rectangle 61"/>
          <p:cNvSpPr/>
          <p:nvPr/>
        </p:nvSpPr>
        <p:spPr>
          <a:xfrm>
            <a:off x="6957050" y="2151153"/>
            <a:ext cx="4216630" cy="1493936"/>
          </a:xfrm>
          <a:prstGeom prst="rect">
            <a:avLst/>
          </a:prstGeom>
          <a:solidFill>
            <a:srgbClr val="69A0B5"/>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Predict remaining useful life, the amount of time before the next failur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5" name="Rectangle 64"/>
          <p:cNvSpPr/>
          <p:nvPr/>
        </p:nvSpPr>
        <p:spPr>
          <a:xfrm>
            <a:off x="6916990" y="1108688"/>
            <a:ext cx="2156816" cy="382308"/>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rPr>
              <a:t>REGRESSION</a:t>
            </a:r>
          </a:p>
        </p:txBody>
      </p:sp>
      <p:sp>
        <p:nvSpPr>
          <p:cNvPr id="66" name="Oval 65"/>
          <p:cNvSpPr/>
          <p:nvPr/>
        </p:nvSpPr>
        <p:spPr>
          <a:xfrm>
            <a:off x="7074845" y="1629225"/>
            <a:ext cx="154611" cy="171434"/>
          </a:xfrm>
          <a:prstGeom prst="ellipse">
            <a:avLst/>
          </a:prstGeom>
          <a:solidFill>
            <a:srgbClr val="69A0B5"/>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7" name="Oval 66"/>
          <p:cNvSpPr/>
          <p:nvPr/>
        </p:nvSpPr>
        <p:spPr>
          <a:xfrm>
            <a:off x="7305710" y="1632216"/>
            <a:ext cx="154611" cy="171434"/>
          </a:xfrm>
          <a:prstGeom prst="ellipse">
            <a:avLst/>
          </a:prstGeom>
          <a:solidFill>
            <a:srgbClr val="69A0B5"/>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8" name="Oval 67"/>
          <p:cNvSpPr/>
          <p:nvPr/>
        </p:nvSpPr>
        <p:spPr>
          <a:xfrm>
            <a:off x="7531711" y="1629225"/>
            <a:ext cx="154611" cy="171434"/>
          </a:xfrm>
          <a:prstGeom prst="ellipse">
            <a:avLst/>
          </a:prstGeom>
          <a:solidFill>
            <a:srgbClr val="69A0B5"/>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69" name="Rectangle 68"/>
          <p:cNvSpPr/>
          <p:nvPr/>
        </p:nvSpPr>
        <p:spPr>
          <a:xfrm>
            <a:off x="6945744" y="4373155"/>
            <a:ext cx="4216581" cy="2182824"/>
          </a:xfrm>
          <a:prstGeom prst="rect">
            <a:avLst/>
          </a:prstGeom>
          <a:solidFill>
            <a:schemeClr val="bg1"/>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70" name="Rectangle 69"/>
          <p:cNvSpPr/>
          <p:nvPr/>
        </p:nvSpPr>
        <p:spPr>
          <a:xfrm>
            <a:off x="6945833" y="5063380"/>
            <a:ext cx="4216492" cy="1513311"/>
          </a:xfrm>
          <a:prstGeom prst="rect">
            <a:avLst/>
          </a:prstGeom>
          <a:solidFill>
            <a:srgbClr val="00B050"/>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Identify change in normal trends to find anomalie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71" name="Rectangle 70"/>
          <p:cNvSpPr/>
          <p:nvPr/>
        </p:nvSpPr>
        <p:spPr>
          <a:xfrm>
            <a:off x="6936842" y="4015161"/>
            <a:ext cx="2146421" cy="37484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153" normalizeH="0" baseline="0" noProof="0" dirty="0">
                <a:ln>
                  <a:noFill/>
                </a:ln>
                <a:solidFill>
                  <a:srgbClr val="FFFFFF"/>
                </a:solidFill>
                <a:effectLst/>
                <a:uLnTx/>
                <a:uFillTx/>
                <a:latin typeface="Segoe UI Light" panose="020B0502040204020203" pitchFamily="34" charset="0"/>
                <a:cs typeface="Segoe UI Light" panose="020B0502040204020203" pitchFamily="34" charset="0"/>
              </a:rPr>
              <a:t>ANOMALY DETECTION</a:t>
            </a:r>
          </a:p>
        </p:txBody>
      </p:sp>
      <p:sp>
        <p:nvSpPr>
          <p:cNvPr id="72" name="Oval 71"/>
          <p:cNvSpPr/>
          <p:nvPr/>
        </p:nvSpPr>
        <p:spPr>
          <a:xfrm>
            <a:off x="7081713" y="4557495"/>
            <a:ext cx="171434" cy="171434"/>
          </a:xfrm>
          <a:prstGeom prst="ellips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90984">
            <a:off x="10418135" y="4501208"/>
            <a:ext cx="463809" cy="401038"/>
          </a:xfrm>
          <a:prstGeom prst="rect">
            <a:avLst/>
          </a:prstGeom>
        </p:spPr>
      </p:pic>
      <p:sp>
        <p:nvSpPr>
          <p:cNvPr id="76" name="Oval 75"/>
          <p:cNvSpPr/>
          <p:nvPr/>
        </p:nvSpPr>
        <p:spPr>
          <a:xfrm>
            <a:off x="2273687" y="1649848"/>
            <a:ext cx="154611" cy="171434"/>
          </a:xfrm>
          <a:prstGeom prst="ellipse">
            <a:avLst/>
          </a:prstGeom>
          <a:solidFill>
            <a:schemeClr val="bg1">
              <a:lumMod val="65000"/>
            </a:schemeClr>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90984">
            <a:off x="10409418" y="1534585"/>
            <a:ext cx="463809" cy="461299"/>
          </a:xfrm>
          <a:prstGeom prst="rect">
            <a:avLst/>
          </a:prstGeom>
        </p:spPr>
      </p:pic>
      <p:sp>
        <p:nvSpPr>
          <p:cNvPr id="78" name="Oval 77"/>
          <p:cNvSpPr/>
          <p:nvPr/>
        </p:nvSpPr>
        <p:spPr>
          <a:xfrm>
            <a:off x="2037217" y="4526710"/>
            <a:ext cx="171434" cy="197194"/>
          </a:xfrm>
          <a:prstGeom prst="ellipse">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79" name="Oval 78"/>
          <p:cNvSpPr/>
          <p:nvPr/>
        </p:nvSpPr>
        <p:spPr>
          <a:xfrm>
            <a:off x="7326760" y="4555050"/>
            <a:ext cx="171434" cy="171434"/>
          </a:xfrm>
          <a:prstGeom prst="ellips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
        <p:nvSpPr>
          <p:cNvPr id="81" name="Oval 80"/>
          <p:cNvSpPr/>
          <p:nvPr/>
        </p:nvSpPr>
        <p:spPr>
          <a:xfrm>
            <a:off x="7576692" y="4558439"/>
            <a:ext cx="171434" cy="171434"/>
          </a:xfrm>
          <a:prstGeom prst="ellipse">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16451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384831" y="951863"/>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solidFill>
                  <a:schemeClr val="bg1">
                    <a:lumMod val="50000"/>
                  </a:schemeClr>
                </a:solidFill>
                <a:latin typeface="+mj-lt"/>
              </a:rPr>
              <a:t>Use Cases</a:t>
            </a:r>
          </a:p>
          <a:p>
            <a:r>
              <a:rPr lang="en-US" sz="2448" dirty="0">
                <a:solidFill>
                  <a:schemeClr val="bg1">
                    <a:lumMod val="50000"/>
                  </a:schemeClr>
                </a:solidFill>
                <a:latin typeface="+mj-lt"/>
              </a:rPr>
              <a:t>Data Foundation</a:t>
            </a:r>
          </a:p>
          <a:p>
            <a:r>
              <a:rPr lang="en-US" sz="2448" dirty="0">
                <a:solidFill>
                  <a:schemeClr val="bg1">
                    <a:lumMod val="50000"/>
                  </a:schemeClr>
                </a:solidFill>
                <a:latin typeface="+mj-lt"/>
              </a:rPr>
              <a:t>Modeling</a:t>
            </a:r>
          </a:p>
          <a:p>
            <a:r>
              <a:rPr lang="en-US" sz="2448" dirty="0">
                <a:latin typeface="+mj-lt"/>
              </a:rPr>
              <a:t>Modeling Example</a:t>
            </a:r>
          </a:p>
          <a:p>
            <a:r>
              <a:rPr lang="en-US" sz="2448" dirty="0">
                <a:solidFill>
                  <a:schemeClr val="bg1">
                    <a:lumMod val="50000"/>
                  </a:schemeClr>
                </a:solidFill>
                <a:latin typeface="+mj-lt"/>
              </a:rPr>
              <a:t>Physics of Failure</a:t>
            </a:r>
          </a:p>
          <a:p>
            <a:r>
              <a:rPr lang="en-US" sz="2448" dirty="0">
                <a:solidFill>
                  <a:schemeClr val="bg1">
                    <a:lumMod val="50000"/>
                  </a:schemeClr>
                </a:solidFill>
                <a:latin typeface="+mj-lt"/>
              </a:rPr>
              <a:t>Key Measurements</a:t>
            </a:r>
          </a:p>
          <a:p>
            <a:r>
              <a:rPr lang="en-US" sz="2448" dirty="0">
                <a:solidFill>
                  <a:schemeClr val="bg1">
                    <a:lumMod val="50000"/>
                  </a:schemeClr>
                </a:solidFill>
                <a:latin typeface="+mj-lt"/>
              </a:rPr>
              <a:t>Intelligence</a:t>
            </a:r>
          </a:p>
        </p:txBody>
      </p:sp>
      <p:sp>
        <p:nvSpPr>
          <p:cNvPr id="3" name="Title 2"/>
          <p:cNvSpPr>
            <a:spLocks noGrp="1"/>
          </p:cNvSpPr>
          <p:nvPr>
            <p:ph type="title" idx="4294967295"/>
          </p:nvPr>
        </p:nvSpPr>
        <p:spPr>
          <a:xfrm>
            <a:off x="712033" y="1115596"/>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AAA521A3-0498-4708-B833-189CC5D8A641}"/>
              </a:ext>
            </a:extLst>
          </p:cNvPr>
          <p:cNvSpPr/>
          <p:nvPr/>
        </p:nvSpPr>
        <p:spPr bwMode="gray">
          <a:xfrm flipH="1" flipV="1">
            <a:off x="6973295" y="3788599"/>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507133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762531" y="1271823"/>
            <a:ext cx="6021388" cy="4973637"/>
          </a:xfrm>
        </p:spPr>
        <p:txBody>
          <a:bodyPr>
            <a:normAutofit lnSpcReduction="10000"/>
          </a:bodyPr>
          <a:lstStyle/>
          <a:p>
            <a:r>
              <a:rPr lang="en-US" sz="2448" b="1" dirty="0">
                <a:latin typeface="+mj-lt"/>
              </a:rPr>
              <a:t>Overview</a:t>
            </a:r>
          </a:p>
          <a:p>
            <a:r>
              <a:rPr lang="en-US" sz="2448" dirty="0">
                <a:solidFill>
                  <a:schemeClr val="bg1"/>
                </a:solidFill>
                <a:latin typeface="+mj-lt"/>
              </a:rPr>
              <a:t>Predictive Maintenance</a:t>
            </a:r>
          </a:p>
          <a:p>
            <a:r>
              <a:rPr lang="en-US" sz="2448" dirty="0">
                <a:solidFill>
                  <a:schemeClr val="bg1"/>
                </a:solidFill>
                <a:latin typeface="+mj-lt"/>
              </a:rPr>
              <a:t>Use Cases</a:t>
            </a:r>
          </a:p>
          <a:p>
            <a:r>
              <a:rPr lang="en-US" sz="2448" dirty="0">
                <a:solidFill>
                  <a:schemeClr val="bg1"/>
                </a:solidFill>
                <a:latin typeface="+mj-lt"/>
              </a:rPr>
              <a:t>Data Foundation</a:t>
            </a:r>
          </a:p>
          <a:p>
            <a:r>
              <a:rPr lang="en-US" sz="2448" dirty="0">
                <a:solidFill>
                  <a:schemeClr val="bg1"/>
                </a:solidFill>
                <a:latin typeface="+mj-lt"/>
              </a:rPr>
              <a:t>Modeling</a:t>
            </a:r>
          </a:p>
          <a:p>
            <a:r>
              <a:rPr lang="en-US" sz="2448" dirty="0">
                <a:solidFill>
                  <a:schemeClr val="bg1"/>
                </a:solidFill>
                <a:latin typeface="+mj-lt"/>
              </a:rPr>
              <a:t>Modeling Example</a:t>
            </a:r>
          </a:p>
          <a:p>
            <a:r>
              <a:rPr lang="en-US" sz="2448" dirty="0">
                <a:solidFill>
                  <a:schemeClr val="bg1"/>
                </a:solidFill>
                <a:latin typeface="+mj-lt"/>
              </a:rPr>
              <a:t>Physics of Failure</a:t>
            </a:r>
          </a:p>
          <a:p>
            <a:r>
              <a:rPr lang="en-US" sz="2448" dirty="0">
                <a:solidFill>
                  <a:schemeClr val="bg1"/>
                </a:solidFill>
                <a:latin typeface="+mj-lt"/>
              </a:rPr>
              <a:t>Key Measurements</a:t>
            </a:r>
          </a:p>
          <a:p>
            <a:r>
              <a:rPr lang="en-US" sz="2448" dirty="0">
                <a:solidFill>
                  <a:schemeClr val="bg1"/>
                </a:solidFill>
                <a:latin typeface="+mj-lt"/>
              </a:rPr>
              <a:t>Intelligence</a:t>
            </a:r>
          </a:p>
        </p:txBody>
      </p:sp>
      <p:sp>
        <p:nvSpPr>
          <p:cNvPr id="3" name="Title 2"/>
          <p:cNvSpPr>
            <a:spLocks noGrp="1"/>
          </p:cNvSpPr>
          <p:nvPr>
            <p:ph type="title" idx="4294967295"/>
          </p:nvPr>
        </p:nvSpPr>
        <p:spPr>
          <a:xfrm>
            <a:off x="577121" y="1411553"/>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12" name="Arrow: Right 11">
            <a:extLst>
              <a:ext uri="{FF2B5EF4-FFF2-40B4-BE49-F238E27FC236}">
                <a16:creationId xmlns:a16="http://schemas.microsoft.com/office/drawing/2014/main" id="{39DED695-8289-46BC-A25E-18D741F5CE21}"/>
              </a:ext>
            </a:extLst>
          </p:cNvPr>
          <p:cNvSpPr/>
          <p:nvPr/>
        </p:nvSpPr>
        <p:spPr bwMode="gray">
          <a:xfrm flipH="1" flipV="1">
            <a:off x="6852735" y="1398904"/>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980885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75391" y="536233"/>
            <a:ext cx="9326033" cy="1661993"/>
          </a:xfrm>
          <a:prstGeom prst="rect">
            <a:avLst/>
          </a:prstGeom>
          <a:noFill/>
        </p:spPr>
        <p:txBody>
          <a:bodyPr wrap="square" rtlCol="0">
            <a:spAutoFit/>
          </a:bodyPr>
          <a:lstStyle/>
          <a:p>
            <a:pPr lvl="0" defTabSz="932597">
              <a:defRPr/>
            </a:pPr>
            <a:r>
              <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Goal: to predict chiller load from outside air temperature, wet bulb temperature, and humidity.</a:t>
            </a:r>
          </a:p>
          <a:p>
            <a:pPr lvl="0" defTabSz="932597">
              <a:defRPr/>
            </a:pPr>
            <a:r>
              <a:rPr lang="en-US"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For visualization convenience in this presentation predicted values are displayed in 2D either versus a variable of interest. In all cases, the R-squared value accounts for all predictors </a:t>
            </a:r>
            <a:r>
              <a:rPr lang="en-US" dirty="0" err="1">
                <a:solidFill>
                  <a:prstClr val="black"/>
                </a:solidFill>
                <a:latin typeface="Segoe UI Light" panose="020B0502040204020203" pitchFamily="34" charset="0"/>
                <a:ea typeface="Verdana" panose="020B0604030504040204" pitchFamily="34" charset="0"/>
                <a:cs typeface="Segoe UI Light" panose="020B0502040204020203" pitchFamily="34" charset="0"/>
              </a:rPr>
              <a:t>ie</a:t>
            </a:r>
            <a:r>
              <a:rPr lang="en-US"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 the complete model).</a:t>
            </a:r>
          </a:p>
        </p:txBody>
      </p:sp>
      <p:graphicFrame>
        <p:nvGraphicFramePr>
          <p:cNvPr id="6" name="Chart 5">
            <a:extLst>
              <a:ext uri="{FF2B5EF4-FFF2-40B4-BE49-F238E27FC236}">
                <a16:creationId xmlns:a16="http://schemas.microsoft.com/office/drawing/2014/main" id="{86B008E1-29FF-4C0E-8A86-297C8920D613}"/>
              </a:ext>
            </a:extLst>
          </p:cNvPr>
          <p:cNvGraphicFramePr>
            <a:graphicFrameLocks noGrp="1"/>
          </p:cNvGraphicFramePr>
          <p:nvPr>
            <p:extLst>
              <p:ext uri="{D42A27DB-BD31-4B8C-83A1-F6EECF244321}">
                <p14:modId xmlns:p14="http://schemas.microsoft.com/office/powerpoint/2010/main" val="3097039089"/>
              </p:ext>
            </p:extLst>
          </p:nvPr>
        </p:nvGraphicFramePr>
        <p:xfrm>
          <a:off x="4119253" y="2198226"/>
          <a:ext cx="6438308"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2">
            <a:extLst>
              <a:ext uri="{FF2B5EF4-FFF2-40B4-BE49-F238E27FC236}">
                <a16:creationId xmlns:a16="http://schemas.microsoft.com/office/drawing/2014/main" id="{6F620C49-1927-4A6C-B453-446E3472A6EC}"/>
              </a:ext>
            </a:extLst>
          </p:cNvPr>
          <p:cNvSpPr txBox="1">
            <a:spLocks/>
          </p:cNvSpPr>
          <p:nvPr/>
        </p:nvSpPr>
        <p:spPr>
          <a:xfrm>
            <a:off x="435051" y="2198226"/>
            <a:ext cx="2487295" cy="2486942"/>
          </a:xfrm>
          <a:prstGeom prst="rect">
            <a:avLst/>
          </a:prstGeom>
          <a:noFill/>
        </p:spPr>
        <p:txBody>
          <a:bodyPr lIns="182880" tIns="91440" rIns="91440" bIns="91440">
            <a:normAutofit/>
          </a:bodyPr>
          <a:lstStyle>
            <a:lvl1pPr algn="l" defTabSz="1243442" rtl="0" eaLnBrk="1" latinLnBrk="0" hangingPunct="1">
              <a:lnSpc>
                <a:spcPct val="90000"/>
              </a:lnSpc>
              <a:spcBef>
                <a:spcPct val="0"/>
              </a:spcBef>
              <a:buNone/>
              <a:defRPr lang="en-US" sz="2720" b="0" kern="1200" cap="none" spc="-136" baseline="0">
                <a:ln w="3175">
                  <a:noFill/>
                </a:ln>
                <a:solidFill>
                  <a:schemeClr val="bg1"/>
                </a:solidFill>
                <a:effectLst/>
                <a:latin typeface="+mn-lt"/>
                <a:ea typeface="+mn-ea"/>
                <a:cs typeface="Arial" charset="0"/>
              </a:defRPr>
            </a:lvl1pPr>
          </a:lstStyle>
          <a:p>
            <a:pPr marL="0" marR="0" lvl="0" indent="0" algn="l" defTabSz="12434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6" normalizeH="0" baseline="0" noProof="0" dirty="0">
                <a:ln w="3175">
                  <a:noFill/>
                </a:ln>
                <a:solidFill>
                  <a:srgbClr val="FFFFFF"/>
                </a:solidFill>
                <a:effectLst/>
                <a:uLnTx/>
                <a:uFillTx/>
                <a:latin typeface="Segoe UI Light"/>
                <a:ea typeface="+mn-ea"/>
                <a:cs typeface="Arial" charset="0"/>
              </a:rPr>
              <a:t>Load Prediction Begins</a:t>
            </a:r>
          </a:p>
        </p:txBody>
      </p:sp>
    </p:spTree>
    <p:extLst>
      <p:ext uri="{BB962C8B-B14F-4D97-AF65-F5344CB8AC3E}">
        <p14:creationId xmlns:p14="http://schemas.microsoft.com/office/powerpoint/2010/main" val="3173321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43162" y="536233"/>
            <a:ext cx="9326033" cy="5632311"/>
          </a:xfrm>
          <a:prstGeom prst="rect">
            <a:avLst/>
          </a:prstGeom>
          <a:noFill/>
        </p:spPr>
        <p:txBody>
          <a:bodyPr wrap="square" rtlCol="0">
            <a:spAutoFit/>
          </a:bodyPr>
          <a:lstStyle/>
          <a:p>
            <a:pPr lvl="0" defTabSz="932597">
              <a:defRPr/>
            </a:pPr>
            <a:r>
              <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Clearly load does correlated with the predictors. However, only 47% of the variation is explained by a simple linear the model. Can we do better?</a:t>
            </a:r>
          </a:p>
          <a:p>
            <a:pPr lvl="0" defTabSz="932597">
              <a:defRPr/>
            </a:pPr>
            <a:endPar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endParaRPr>
          </a:p>
          <a:p>
            <a:pPr lvl="0" defTabSz="932597">
              <a:defRPr/>
            </a:pPr>
            <a:r>
              <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This data is the chiller load for a commercial building. Perhaps it has a workforce contributing internal heat generation (body heat) on some daily schedule.</a:t>
            </a:r>
          </a:p>
          <a:p>
            <a:pPr lvl="0" defTabSz="932597">
              <a:defRPr/>
            </a:pPr>
            <a:endPar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endParaRPr>
          </a:p>
          <a:p>
            <a:pPr lvl="0" defTabSz="932597">
              <a:defRPr/>
            </a:pPr>
            <a:r>
              <a:rPr lang="en-US" sz="2400" b="1"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Hypothesis</a:t>
            </a:r>
            <a:r>
              <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 Workforce body heat is contributing to chiller load. The workforce probably fluctuates throughout the week on a regular schedule.</a:t>
            </a:r>
          </a:p>
          <a:p>
            <a:pPr lvl="0" defTabSz="932597">
              <a:defRPr/>
            </a:pPr>
            <a:endPar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endParaRPr>
          </a:p>
          <a:p>
            <a:pPr lvl="0" defTabSz="932597">
              <a:defRPr/>
            </a:pPr>
            <a:r>
              <a:rPr lang="en-US" sz="2400" b="1"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Model</a:t>
            </a:r>
            <a:r>
              <a:rPr lang="en-US" sz="240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 Create a latent heat variable for each 7x24 hour of the week. Infer the latent heat generation from the data. Use Azure Machine Learning Studio</a:t>
            </a:r>
          </a:p>
        </p:txBody>
      </p:sp>
      <p:sp>
        <p:nvSpPr>
          <p:cNvPr id="4" name="Title 2">
            <a:extLst>
              <a:ext uri="{FF2B5EF4-FFF2-40B4-BE49-F238E27FC236}">
                <a16:creationId xmlns:a16="http://schemas.microsoft.com/office/drawing/2014/main" id="{28980EC4-7017-49D6-8B6A-6542FC22BADE}"/>
              </a:ext>
            </a:extLst>
          </p:cNvPr>
          <p:cNvSpPr txBox="1">
            <a:spLocks/>
          </p:cNvSpPr>
          <p:nvPr/>
        </p:nvSpPr>
        <p:spPr>
          <a:xfrm>
            <a:off x="224852" y="2253791"/>
            <a:ext cx="2487295" cy="2486942"/>
          </a:xfrm>
          <a:prstGeom prst="rect">
            <a:avLst/>
          </a:prstGeom>
          <a:noFill/>
        </p:spPr>
        <p:txBody>
          <a:bodyPr lIns="182880" tIns="91440" rIns="91440" bIns="91440">
            <a:normAutofit/>
          </a:bodyPr>
          <a:lstStyle>
            <a:lvl1pPr algn="l" defTabSz="1243442" rtl="0" eaLnBrk="1" latinLnBrk="0" hangingPunct="1">
              <a:lnSpc>
                <a:spcPct val="90000"/>
              </a:lnSpc>
              <a:spcBef>
                <a:spcPct val="0"/>
              </a:spcBef>
              <a:buNone/>
              <a:defRPr lang="en-US" sz="2720" b="0" kern="1200" cap="none" spc="-136" baseline="0">
                <a:ln w="3175">
                  <a:noFill/>
                </a:ln>
                <a:solidFill>
                  <a:schemeClr val="bg1"/>
                </a:solidFill>
                <a:effectLst/>
                <a:latin typeface="+mn-lt"/>
                <a:ea typeface="+mn-ea"/>
                <a:cs typeface="Arial" charset="0"/>
              </a:defRPr>
            </a:lvl1pPr>
          </a:lstStyle>
          <a:p>
            <a:pPr marL="0" marR="0" lvl="0" indent="0" algn="l" defTabSz="12434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6" normalizeH="0" baseline="0" noProof="0" dirty="0">
                <a:ln w="3175">
                  <a:noFill/>
                </a:ln>
                <a:solidFill>
                  <a:srgbClr val="FFFFFF"/>
                </a:solidFill>
                <a:effectLst/>
                <a:uLnTx/>
                <a:uFillTx/>
                <a:latin typeface="Segoe UI Light"/>
                <a:ea typeface="+mn-ea"/>
                <a:cs typeface="Arial" charset="0"/>
              </a:rPr>
              <a:t>Load Prediction Think</a:t>
            </a:r>
          </a:p>
        </p:txBody>
      </p:sp>
    </p:spTree>
    <p:extLst>
      <p:ext uri="{BB962C8B-B14F-4D97-AF65-F5344CB8AC3E}">
        <p14:creationId xmlns:p14="http://schemas.microsoft.com/office/powerpoint/2010/main" val="14291765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DD70CF-52D8-4E15-A79E-28D1067E8CF4}"/>
              </a:ext>
            </a:extLst>
          </p:cNvPr>
          <p:cNvPicPr>
            <a:picLocks noChangeAspect="1"/>
          </p:cNvPicPr>
          <p:nvPr/>
        </p:nvPicPr>
        <p:blipFill>
          <a:blip r:embed="rId3"/>
          <a:stretch>
            <a:fillRect/>
          </a:stretch>
        </p:blipFill>
        <p:spPr>
          <a:xfrm>
            <a:off x="2286000" y="334950"/>
            <a:ext cx="10258637" cy="6570891"/>
          </a:xfrm>
          <a:prstGeom prst="rect">
            <a:avLst/>
          </a:prstGeom>
        </p:spPr>
      </p:pic>
      <p:sp>
        <p:nvSpPr>
          <p:cNvPr id="4" name="Title 2">
            <a:extLst>
              <a:ext uri="{FF2B5EF4-FFF2-40B4-BE49-F238E27FC236}">
                <a16:creationId xmlns:a16="http://schemas.microsoft.com/office/drawing/2014/main" id="{23079916-A9DB-4523-8A39-DCBBD5CAC0BD}"/>
              </a:ext>
            </a:extLst>
          </p:cNvPr>
          <p:cNvSpPr txBox="1">
            <a:spLocks/>
          </p:cNvSpPr>
          <p:nvPr/>
        </p:nvSpPr>
        <p:spPr>
          <a:xfrm>
            <a:off x="269823" y="2253791"/>
            <a:ext cx="2487295" cy="2486942"/>
          </a:xfrm>
          <a:prstGeom prst="rect">
            <a:avLst/>
          </a:prstGeom>
          <a:noFill/>
        </p:spPr>
        <p:txBody>
          <a:bodyPr lIns="182880" tIns="91440" rIns="91440" bIns="91440">
            <a:normAutofit/>
          </a:bodyPr>
          <a:lstStyle>
            <a:lvl1pPr algn="l" defTabSz="1243442" rtl="0" eaLnBrk="1" latinLnBrk="0" hangingPunct="1">
              <a:lnSpc>
                <a:spcPct val="90000"/>
              </a:lnSpc>
              <a:spcBef>
                <a:spcPct val="0"/>
              </a:spcBef>
              <a:buNone/>
              <a:defRPr lang="en-US" sz="2720" b="0" kern="1200" cap="none" spc="-136" baseline="0">
                <a:ln w="3175">
                  <a:noFill/>
                </a:ln>
                <a:solidFill>
                  <a:schemeClr val="bg1"/>
                </a:solidFill>
                <a:effectLst/>
                <a:latin typeface="+mn-lt"/>
                <a:ea typeface="+mn-ea"/>
                <a:cs typeface="Arial" charset="0"/>
              </a:defRPr>
            </a:lvl1pPr>
          </a:lstStyle>
          <a:p>
            <a:pPr marL="0" marR="0" lvl="0" indent="0" algn="l" defTabSz="12434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6" normalizeH="0" baseline="0" noProof="0" dirty="0">
                <a:ln w="3175">
                  <a:noFill/>
                </a:ln>
                <a:solidFill>
                  <a:srgbClr val="FFFFFF"/>
                </a:solidFill>
                <a:effectLst/>
                <a:uLnTx/>
                <a:uFillTx/>
                <a:latin typeface="Segoe UI Light"/>
                <a:ea typeface="+mn-ea"/>
                <a:cs typeface="Arial" charset="0"/>
              </a:rPr>
              <a:t>Load Prediction Azure ML</a:t>
            </a:r>
          </a:p>
        </p:txBody>
      </p:sp>
    </p:spTree>
    <p:extLst>
      <p:ext uri="{BB962C8B-B14F-4D97-AF65-F5344CB8AC3E}">
        <p14:creationId xmlns:p14="http://schemas.microsoft.com/office/powerpoint/2010/main" val="1596889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2DFEFAC-C6D2-4B52-A0A8-1094921F65D2}"/>
              </a:ext>
            </a:extLst>
          </p:cNvPr>
          <p:cNvGraphicFramePr>
            <a:graphicFrameLocks noGrp="1"/>
          </p:cNvGraphicFramePr>
          <p:nvPr>
            <p:extLst>
              <p:ext uri="{D42A27DB-BD31-4B8C-83A1-F6EECF244321}">
                <p14:modId xmlns:p14="http://schemas.microsoft.com/office/powerpoint/2010/main" val="3709963901"/>
              </p:ext>
            </p:extLst>
          </p:nvPr>
        </p:nvGraphicFramePr>
        <p:xfrm>
          <a:off x="2919212" y="140778"/>
          <a:ext cx="8828284" cy="64046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C1EBEEB9-79CA-47D8-9C5E-1045B3F2F993}"/>
              </a:ext>
            </a:extLst>
          </p:cNvPr>
          <p:cNvSpPr txBox="1"/>
          <p:nvPr/>
        </p:nvSpPr>
        <p:spPr>
          <a:xfrm>
            <a:off x="10558039" y="832831"/>
            <a:ext cx="910125"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turday</a:t>
            </a:r>
          </a:p>
        </p:txBody>
      </p:sp>
      <p:sp>
        <p:nvSpPr>
          <p:cNvPr id="8" name="TextBox 7">
            <a:extLst>
              <a:ext uri="{FF2B5EF4-FFF2-40B4-BE49-F238E27FC236}">
                <a16:creationId xmlns:a16="http://schemas.microsoft.com/office/drawing/2014/main" id="{232F882B-B578-4773-9062-8FAFC7BA82B4}"/>
              </a:ext>
            </a:extLst>
          </p:cNvPr>
          <p:cNvSpPr txBox="1"/>
          <p:nvPr/>
        </p:nvSpPr>
        <p:spPr>
          <a:xfrm>
            <a:off x="3546388" y="832831"/>
            <a:ext cx="794896"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unday</a:t>
            </a:r>
          </a:p>
        </p:txBody>
      </p:sp>
      <p:sp>
        <p:nvSpPr>
          <p:cNvPr id="9" name="TextBox 8">
            <a:extLst>
              <a:ext uri="{FF2B5EF4-FFF2-40B4-BE49-F238E27FC236}">
                <a16:creationId xmlns:a16="http://schemas.microsoft.com/office/drawing/2014/main" id="{448E63B6-5507-4036-968B-532CC9B0178B}"/>
              </a:ext>
            </a:extLst>
          </p:cNvPr>
          <p:cNvSpPr txBox="1"/>
          <p:nvPr/>
        </p:nvSpPr>
        <p:spPr>
          <a:xfrm>
            <a:off x="9467970" y="832831"/>
            <a:ext cx="685356"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riday</a:t>
            </a:r>
          </a:p>
        </p:txBody>
      </p:sp>
      <p:sp>
        <p:nvSpPr>
          <p:cNvPr id="10" name="TextBox 9">
            <a:extLst>
              <a:ext uri="{FF2B5EF4-FFF2-40B4-BE49-F238E27FC236}">
                <a16:creationId xmlns:a16="http://schemas.microsoft.com/office/drawing/2014/main" id="{81E498C1-459F-4500-8450-536D1545C4A3}"/>
              </a:ext>
            </a:extLst>
          </p:cNvPr>
          <p:cNvSpPr txBox="1"/>
          <p:nvPr/>
        </p:nvSpPr>
        <p:spPr>
          <a:xfrm>
            <a:off x="8129785" y="832831"/>
            <a:ext cx="938441"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ursday</a:t>
            </a:r>
          </a:p>
        </p:txBody>
      </p:sp>
      <p:sp>
        <p:nvSpPr>
          <p:cNvPr id="11" name="TextBox 10">
            <a:extLst>
              <a:ext uri="{FF2B5EF4-FFF2-40B4-BE49-F238E27FC236}">
                <a16:creationId xmlns:a16="http://schemas.microsoft.com/office/drawing/2014/main" id="{1C3DD718-73B5-423F-9113-420AFCA0E62C}"/>
              </a:ext>
            </a:extLst>
          </p:cNvPr>
          <p:cNvSpPr txBox="1"/>
          <p:nvPr/>
        </p:nvSpPr>
        <p:spPr>
          <a:xfrm>
            <a:off x="6908629" y="832831"/>
            <a:ext cx="1143591"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dnesday</a:t>
            </a:r>
          </a:p>
        </p:txBody>
      </p:sp>
      <p:sp>
        <p:nvSpPr>
          <p:cNvPr id="12" name="TextBox 11">
            <a:extLst>
              <a:ext uri="{FF2B5EF4-FFF2-40B4-BE49-F238E27FC236}">
                <a16:creationId xmlns:a16="http://schemas.microsoft.com/office/drawing/2014/main" id="{DA76D3DC-C898-4B64-B08B-A4838E33F30A}"/>
              </a:ext>
            </a:extLst>
          </p:cNvPr>
          <p:cNvSpPr txBox="1"/>
          <p:nvPr/>
        </p:nvSpPr>
        <p:spPr>
          <a:xfrm>
            <a:off x="5822932" y="832831"/>
            <a:ext cx="847344"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uesday</a:t>
            </a:r>
          </a:p>
        </p:txBody>
      </p:sp>
      <p:sp>
        <p:nvSpPr>
          <p:cNvPr id="13" name="TextBox 12">
            <a:extLst>
              <a:ext uri="{FF2B5EF4-FFF2-40B4-BE49-F238E27FC236}">
                <a16:creationId xmlns:a16="http://schemas.microsoft.com/office/drawing/2014/main" id="{544E7DED-FFC5-4FD6-8748-C969DA114372}"/>
              </a:ext>
            </a:extLst>
          </p:cNvPr>
          <p:cNvSpPr txBox="1"/>
          <p:nvPr/>
        </p:nvSpPr>
        <p:spPr>
          <a:xfrm>
            <a:off x="4671275" y="832831"/>
            <a:ext cx="866833"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onday</a:t>
            </a:r>
          </a:p>
        </p:txBody>
      </p:sp>
      <p:sp>
        <p:nvSpPr>
          <p:cNvPr id="14" name="Title 2">
            <a:extLst>
              <a:ext uri="{FF2B5EF4-FFF2-40B4-BE49-F238E27FC236}">
                <a16:creationId xmlns:a16="http://schemas.microsoft.com/office/drawing/2014/main" id="{BE4E3282-055A-43A3-8983-084D8229EDE1}"/>
              </a:ext>
            </a:extLst>
          </p:cNvPr>
          <p:cNvSpPr txBox="1">
            <a:spLocks/>
          </p:cNvSpPr>
          <p:nvPr/>
        </p:nvSpPr>
        <p:spPr>
          <a:xfrm>
            <a:off x="247337" y="2380023"/>
            <a:ext cx="2487295" cy="2486942"/>
          </a:xfrm>
          <a:prstGeom prst="rect">
            <a:avLst/>
          </a:prstGeom>
          <a:noFill/>
        </p:spPr>
        <p:txBody>
          <a:bodyPr lIns="182880" tIns="91440" rIns="91440" bIns="91440">
            <a:normAutofit/>
          </a:bodyPr>
          <a:lstStyle>
            <a:lvl1pPr algn="l" defTabSz="1243442" rtl="0" eaLnBrk="1" latinLnBrk="0" hangingPunct="1">
              <a:lnSpc>
                <a:spcPct val="90000"/>
              </a:lnSpc>
              <a:spcBef>
                <a:spcPct val="0"/>
              </a:spcBef>
              <a:buNone/>
              <a:defRPr lang="en-US" sz="2720" b="0" kern="1200" cap="none" spc="-136" baseline="0">
                <a:ln w="3175">
                  <a:noFill/>
                </a:ln>
                <a:solidFill>
                  <a:schemeClr val="bg1"/>
                </a:solidFill>
                <a:effectLst/>
                <a:latin typeface="+mn-lt"/>
                <a:ea typeface="+mn-ea"/>
                <a:cs typeface="Arial" charset="0"/>
              </a:defRPr>
            </a:lvl1pPr>
          </a:lstStyle>
          <a:p>
            <a:pPr marL="0" marR="0" lvl="0" indent="0" algn="l" defTabSz="12434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6" normalizeH="0" baseline="0" noProof="0" dirty="0">
                <a:ln w="3175">
                  <a:noFill/>
                </a:ln>
                <a:solidFill>
                  <a:srgbClr val="FFFFFF"/>
                </a:solidFill>
                <a:effectLst/>
                <a:uLnTx/>
                <a:uFillTx/>
                <a:latin typeface="Segoe UI Light"/>
                <a:ea typeface="+mn-ea"/>
                <a:cs typeface="Arial" charset="0"/>
              </a:rPr>
              <a:t>Load Prediction Observe</a:t>
            </a:r>
          </a:p>
        </p:txBody>
      </p:sp>
    </p:spTree>
    <p:extLst>
      <p:ext uri="{BB962C8B-B14F-4D97-AF65-F5344CB8AC3E}">
        <p14:creationId xmlns:p14="http://schemas.microsoft.com/office/powerpoint/2010/main" val="30940306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43162" y="536233"/>
            <a:ext cx="9326033" cy="12003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Verdana" panose="020B0604030504040204" pitchFamily="34" charset="0"/>
                <a:cs typeface="Segoe UI Light" panose="020B0502040204020203" pitchFamily="34" charset="0"/>
              </a:rPr>
              <a:t>Workforce heat generation is clearly identifiable. The correlation with workday and work hours (dotted red lines are 8am and 4pm) is evident. Rules out solar phenomenon as Saturday and Sunday clearly different.</a:t>
            </a:r>
          </a:p>
        </p:txBody>
      </p:sp>
      <p:graphicFrame>
        <p:nvGraphicFramePr>
          <p:cNvPr id="4" name="Chart 3">
            <a:extLst>
              <a:ext uri="{FF2B5EF4-FFF2-40B4-BE49-F238E27FC236}">
                <a16:creationId xmlns:a16="http://schemas.microsoft.com/office/drawing/2014/main" id="{0E6D09DF-0448-44FD-A2FB-908D1DE728A6}"/>
              </a:ext>
            </a:extLst>
          </p:cNvPr>
          <p:cNvGraphicFramePr>
            <a:graphicFrameLocks noGrp="1"/>
          </p:cNvGraphicFramePr>
          <p:nvPr>
            <p:extLst>
              <p:ext uri="{D42A27DB-BD31-4B8C-83A1-F6EECF244321}">
                <p14:modId xmlns:p14="http://schemas.microsoft.com/office/powerpoint/2010/main" val="4121355673"/>
              </p:ext>
            </p:extLst>
          </p:nvPr>
        </p:nvGraphicFramePr>
        <p:xfrm>
          <a:off x="2364581" y="2241930"/>
          <a:ext cx="6342857"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68825949-8AA7-441F-87E6-808EDA29875F}"/>
              </a:ext>
            </a:extLst>
          </p:cNvPr>
          <p:cNvSpPr txBox="1"/>
          <p:nvPr/>
        </p:nvSpPr>
        <p:spPr>
          <a:xfrm>
            <a:off x="8993981" y="3381828"/>
            <a:ext cx="2907507" cy="2308324"/>
          </a:xfrm>
          <a:prstGeom prst="rect">
            <a:avLst/>
          </a:prstGeom>
          <a:noFill/>
        </p:spPr>
        <p:txBody>
          <a:bodyPr wrap="square" rtlCol="0">
            <a:spAutoFit/>
          </a:bodyPr>
          <a:lstStyle/>
          <a:p>
            <a:pPr lvl="0" defTabSz="932597">
              <a:defRPr/>
            </a:pPr>
            <a:r>
              <a:rPr lang="en-US" sz="2400" dirty="0">
                <a:latin typeface="Segoe UI Light" panose="020B0502040204020203" pitchFamily="34" charset="0"/>
                <a:ea typeface="Verdana" panose="020B0604030504040204" pitchFamily="34" charset="0"/>
                <a:cs typeface="Segoe UI Light" panose="020B0502040204020203" pitchFamily="34" charset="0"/>
              </a:rPr>
              <a:t>Prediction has improved from 47% to 62% R-squared. Not bad for only a single building for a single year!</a:t>
            </a:r>
          </a:p>
        </p:txBody>
      </p:sp>
      <p:sp>
        <p:nvSpPr>
          <p:cNvPr id="6" name="Title 2">
            <a:extLst>
              <a:ext uri="{FF2B5EF4-FFF2-40B4-BE49-F238E27FC236}">
                <a16:creationId xmlns:a16="http://schemas.microsoft.com/office/drawing/2014/main" id="{EA8D5A59-8C69-4AFA-A7C5-3BD4F300E1AA}"/>
              </a:ext>
            </a:extLst>
          </p:cNvPr>
          <p:cNvSpPr txBox="1">
            <a:spLocks/>
          </p:cNvSpPr>
          <p:nvPr/>
        </p:nvSpPr>
        <p:spPr>
          <a:xfrm>
            <a:off x="127416" y="2462470"/>
            <a:ext cx="2487295" cy="2486942"/>
          </a:xfrm>
          <a:prstGeom prst="rect">
            <a:avLst/>
          </a:prstGeom>
          <a:noFill/>
        </p:spPr>
        <p:txBody>
          <a:bodyPr lIns="182880" tIns="91440" rIns="91440" bIns="91440">
            <a:normAutofit/>
          </a:bodyPr>
          <a:lstStyle>
            <a:lvl1pPr algn="l" defTabSz="1243442" rtl="0" eaLnBrk="1" latinLnBrk="0" hangingPunct="1">
              <a:lnSpc>
                <a:spcPct val="90000"/>
              </a:lnSpc>
              <a:spcBef>
                <a:spcPct val="0"/>
              </a:spcBef>
              <a:buNone/>
              <a:defRPr lang="en-US" sz="2720" b="0" kern="1200" cap="none" spc="-136" baseline="0">
                <a:ln w="3175">
                  <a:noFill/>
                </a:ln>
                <a:solidFill>
                  <a:schemeClr val="bg1"/>
                </a:solidFill>
                <a:effectLst/>
                <a:latin typeface="+mn-lt"/>
                <a:ea typeface="+mn-ea"/>
                <a:cs typeface="Arial" charset="0"/>
              </a:defRPr>
            </a:lvl1pPr>
          </a:lstStyle>
          <a:p>
            <a:pPr marL="0" marR="0" lvl="0" indent="0" algn="l" defTabSz="12434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6" normalizeH="0" baseline="0" noProof="0" dirty="0">
                <a:ln w="3175">
                  <a:noFill/>
                </a:ln>
                <a:solidFill>
                  <a:srgbClr val="FFFFFF"/>
                </a:solidFill>
                <a:effectLst/>
                <a:uLnTx/>
                <a:uFillTx/>
                <a:latin typeface="Segoe UI Light"/>
                <a:ea typeface="+mn-ea"/>
                <a:cs typeface="Arial" charset="0"/>
              </a:rPr>
              <a:t>Load Prediction</a:t>
            </a:r>
          </a:p>
        </p:txBody>
      </p:sp>
    </p:spTree>
    <p:extLst>
      <p:ext uri="{BB962C8B-B14F-4D97-AF65-F5344CB8AC3E}">
        <p14:creationId xmlns:p14="http://schemas.microsoft.com/office/powerpoint/2010/main" val="5477839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357797" y="920725"/>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solidFill>
                  <a:schemeClr val="bg1">
                    <a:lumMod val="50000"/>
                  </a:schemeClr>
                </a:solidFill>
                <a:latin typeface="+mj-lt"/>
              </a:rPr>
              <a:t>Use Cases</a:t>
            </a:r>
          </a:p>
          <a:p>
            <a:r>
              <a:rPr lang="en-US" sz="2448" dirty="0">
                <a:solidFill>
                  <a:schemeClr val="bg1">
                    <a:lumMod val="50000"/>
                  </a:schemeClr>
                </a:solidFill>
                <a:latin typeface="+mj-lt"/>
              </a:rPr>
              <a:t>Data Foundation</a:t>
            </a:r>
          </a:p>
          <a:p>
            <a:r>
              <a:rPr lang="en-US" sz="2448" dirty="0">
                <a:solidFill>
                  <a:schemeClr val="bg1">
                    <a:lumMod val="50000"/>
                  </a:schemeClr>
                </a:solidFill>
                <a:latin typeface="+mj-lt"/>
              </a:rPr>
              <a:t>Modeling</a:t>
            </a:r>
          </a:p>
          <a:p>
            <a:r>
              <a:rPr lang="en-US" sz="2448" dirty="0">
                <a:solidFill>
                  <a:schemeClr val="bg1">
                    <a:lumMod val="50000"/>
                  </a:schemeClr>
                </a:solidFill>
                <a:latin typeface="+mj-lt"/>
              </a:rPr>
              <a:t>Modeling Example</a:t>
            </a:r>
          </a:p>
          <a:p>
            <a:r>
              <a:rPr lang="en-US" sz="2448" dirty="0">
                <a:latin typeface="+mj-lt"/>
              </a:rPr>
              <a:t>Physics of Failure</a:t>
            </a:r>
          </a:p>
          <a:p>
            <a:r>
              <a:rPr lang="en-US" sz="2448" dirty="0">
                <a:solidFill>
                  <a:schemeClr val="bg1">
                    <a:lumMod val="50000"/>
                  </a:schemeClr>
                </a:solidFill>
                <a:latin typeface="+mj-lt"/>
              </a:rPr>
              <a:t>Key Measurements</a:t>
            </a:r>
          </a:p>
          <a:p>
            <a:r>
              <a:rPr lang="en-US" sz="2448" dirty="0">
                <a:solidFill>
                  <a:schemeClr val="bg1">
                    <a:lumMod val="50000"/>
                  </a:schemeClr>
                </a:solidFill>
                <a:latin typeface="+mj-lt"/>
              </a:rPr>
              <a:t>Intelligence</a:t>
            </a:r>
          </a:p>
        </p:txBody>
      </p:sp>
      <p:sp>
        <p:nvSpPr>
          <p:cNvPr id="3" name="Title 2"/>
          <p:cNvSpPr>
            <a:spLocks noGrp="1"/>
          </p:cNvSpPr>
          <p:nvPr>
            <p:ph type="title" idx="4294967295"/>
          </p:nvPr>
        </p:nvSpPr>
        <p:spPr>
          <a:xfrm>
            <a:off x="674558" y="1235517"/>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AD2E52A8-8B44-4A46-86BE-2031D3177078}"/>
              </a:ext>
            </a:extLst>
          </p:cNvPr>
          <p:cNvSpPr/>
          <p:nvPr/>
        </p:nvSpPr>
        <p:spPr bwMode="gray">
          <a:xfrm flipH="1" flipV="1">
            <a:off x="6973295" y="4244975"/>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922805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1338" y="1469673"/>
            <a:ext cx="2487613" cy="2487612"/>
          </a:xfrm>
        </p:spPr>
        <p:txBody>
          <a:bodyPr>
            <a:normAutofit/>
          </a:bodyPr>
          <a:lstStyle/>
          <a:p>
            <a:r>
              <a:rPr lang="en-US" sz="3600" dirty="0">
                <a:latin typeface="+mj-lt"/>
              </a:rPr>
              <a:t>Physics of Failure</a:t>
            </a:r>
          </a:p>
        </p:txBody>
      </p:sp>
      <p:sp>
        <p:nvSpPr>
          <p:cNvPr id="3" name="Slide Number Placeholder 2"/>
          <p:cNvSpPr>
            <a:spLocks noGrp="1"/>
          </p:cNvSpPr>
          <p:nvPr>
            <p:ph type="sldNum" sz="quarter" idx="4294967295"/>
          </p:nvPr>
        </p:nvSpPr>
        <p:spPr>
          <a:xfrm>
            <a:off x="9534525" y="6483350"/>
            <a:ext cx="2901950" cy="371475"/>
          </a:xfrm>
        </p:spPr>
        <p:txBody>
          <a:bodyPr/>
          <a:lstStyle/>
          <a:p>
            <a:pPr marL="0" marR="0" lvl="0" indent="0" algn="r" defTabSz="12434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1200" cap="none" spc="0" normalizeH="0" baseline="0" noProof="0">
                <a:ln>
                  <a:noFill/>
                </a:ln>
                <a:solidFill>
                  <a:srgbClr val="292929"/>
                </a:solidFill>
                <a:effectLst/>
                <a:uLnTx/>
                <a:uFillTx/>
                <a:latin typeface="Segoe UI"/>
                <a:ea typeface="+mn-ea"/>
                <a:cs typeface="+mn-cs"/>
              </a:rPr>
              <a:pPr marL="0" marR="0" lvl="0" indent="0" algn="r" defTabSz="1243442" rtl="0" eaLnBrk="1" fontAlgn="auto" latinLnBrk="0" hangingPunct="1">
                <a:lnSpc>
                  <a:spcPct val="100000"/>
                </a:lnSpc>
                <a:spcBef>
                  <a:spcPts val="0"/>
                </a:spcBef>
                <a:spcAft>
                  <a:spcPts val="0"/>
                </a:spcAft>
                <a:buClrTx/>
                <a:buSzTx/>
                <a:buFontTx/>
                <a:buNone/>
                <a:tabLst/>
                <a:defRPr/>
              </a:pPr>
              <a:t>26</a:t>
            </a:fld>
            <a:endParaRPr kumimoji="0" lang="en-US" sz="1088" b="0" i="0" u="none" strike="noStrike" kern="1200" cap="none" spc="0" normalizeH="0" baseline="0" noProof="0">
              <a:ln>
                <a:noFill/>
              </a:ln>
              <a:solidFill>
                <a:srgbClr val="292929"/>
              </a:solidFill>
              <a:effectLst/>
              <a:uLnTx/>
              <a:uFillTx/>
              <a:latin typeface="Segoe UI"/>
              <a:ea typeface="+mn-ea"/>
              <a:cs typeface="+mn-cs"/>
            </a:endParaRPr>
          </a:p>
        </p:txBody>
      </p:sp>
      <p:sp>
        <p:nvSpPr>
          <p:cNvPr id="4" name="Content Placeholder 3"/>
          <p:cNvSpPr>
            <a:spLocks noGrp="1"/>
          </p:cNvSpPr>
          <p:nvPr>
            <p:ph idx="4294967295"/>
          </p:nvPr>
        </p:nvSpPr>
        <p:spPr>
          <a:xfrm>
            <a:off x="4374356" y="1166252"/>
            <a:ext cx="9326562" cy="2487612"/>
          </a:xfrm>
        </p:spPr>
        <p:txBody>
          <a:bodyPr>
            <a:normAutofit/>
          </a:bodyPr>
          <a:lstStyle/>
          <a:p>
            <a:pPr marL="0" indent="0" defTabSz="457200">
              <a:buNone/>
            </a:pPr>
            <a:r>
              <a:rPr lang="en-US" dirty="0">
                <a:latin typeface="+mj-lt"/>
              </a:rPr>
              <a:t>The three modes of physical failure:</a:t>
            </a:r>
          </a:p>
          <a:p>
            <a:pPr defTabSz="457200"/>
            <a:r>
              <a:rPr lang="en-US" dirty="0">
                <a:latin typeface="+mj-lt"/>
              </a:rPr>
              <a:t>Creep		–	deformation by stress, temperature</a:t>
            </a:r>
          </a:p>
          <a:p>
            <a:pPr defTabSz="457200"/>
            <a:r>
              <a:rPr lang="en-US" dirty="0">
                <a:latin typeface="+mj-lt"/>
              </a:rPr>
              <a:t>Fatigue		–	cracking by cyclic load</a:t>
            </a:r>
          </a:p>
          <a:p>
            <a:pPr defTabSz="457200"/>
            <a:r>
              <a:rPr lang="en-US" dirty="0">
                <a:latin typeface="+mj-lt"/>
              </a:rPr>
              <a:t>Wear			–	material removal by shearing contact</a:t>
            </a:r>
          </a:p>
        </p:txBody>
      </p:sp>
      <p:pic>
        <p:nvPicPr>
          <p:cNvPr id="5" name="Picture 4"/>
          <p:cNvPicPr>
            <a:picLocks noChangeAspect="1"/>
          </p:cNvPicPr>
          <p:nvPr/>
        </p:nvPicPr>
        <p:blipFill>
          <a:blip r:embed="rId3"/>
          <a:stretch>
            <a:fillRect/>
          </a:stretch>
        </p:blipFill>
        <p:spPr>
          <a:xfrm>
            <a:off x="881" y="6030835"/>
            <a:ext cx="2080742" cy="932603"/>
          </a:xfrm>
          <a:prstGeom prst="rect">
            <a:avLst/>
          </a:prstGeom>
        </p:spPr>
      </p:pic>
      <p:pic>
        <p:nvPicPr>
          <p:cNvPr id="2050" name="Picture 2" descr="https://upload.wikimedia.org/wikipedia/commons/thumb/4/4d/3StageCreep.svg/357px-3StageCreep.svg.png">
            <a:extLst>
              <a:ext uri="{FF2B5EF4-FFF2-40B4-BE49-F238E27FC236}">
                <a16:creationId xmlns:a16="http://schemas.microsoft.com/office/drawing/2014/main" id="{38FA9A16-BC55-4C7C-B844-612BFCF6AF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4932" y="4237583"/>
            <a:ext cx="3400425" cy="2009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upload.wikimedia.org/wikipedia/commons/2/20/Rainflow_fig2.PNG">
            <a:extLst>
              <a:ext uri="{FF2B5EF4-FFF2-40B4-BE49-F238E27FC236}">
                <a16:creationId xmlns:a16="http://schemas.microsoft.com/office/drawing/2014/main" id="{5B9E715D-AE64-4B93-8F4C-61D1B5C456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2437" y="4259262"/>
            <a:ext cx="2943225" cy="16764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upload.wikimedia.org/wikipedia/commons/0/0f/Adhesive_wear_on_52100_steel_sample.jpg">
            <a:extLst>
              <a:ext uri="{FF2B5EF4-FFF2-40B4-BE49-F238E27FC236}">
                <a16:creationId xmlns:a16="http://schemas.microsoft.com/office/drawing/2014/main" id="{3A360CA8-C332-468E-9371-CF1AFC2EAF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29822" y="3952679"/>
            <a:ext cx="2624711" cy="238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942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365291" y="853269"/>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solidFill>
                  <a:schemeClr val="bg1">
                    <a:lumMod val="50000"/>
                  </a:schemeClr>
                </a:solidFill>
                <a:latin typeface="+mj-lt"/>
              </a:rPr>
              <a:t>Use Cases</a:t>
            </a:r>
          </a:p>
          <a:p>
            <a:r>
              <a:rPr lang="en-US" sz="2448" dirty="0">
                <a:solidFill>
                  <a:schemeClr val="bg1">
                    <a:lumMod val="50000"/>
                  </a:schemeClr>
                </a:solidFill>
                <a:latin typeface="+mj-lt"/>
              </a:rPr>
              <a:t>Data Foundation</a:t>
            </a:r>
          </a:p>
          <a:p>
            <a:r>
              <a:rPr lang="en-US" sz="2448" dirty="0">
                <a:solidFill>
                  <a:schemeClr val="bg1">
                    <a:lumMod val="50000"/>
                  </a:schemeClr>
                </a:solidFill>
                <a:latin typeface="+mj-lt"/>
              </a:rPr>
              <a:t>Modeling</a:t>
            </a:r>
          </a:p>
          <a:p>
            <a:r>
              <a:rPr lang="en-US" sz="2448" dirty="0">
                <a:solidFill>
                  <a:schemeClr val="bg1">
                    <a:lumMod val="50000"/>
                  </a:schemeClr>
                </a:solidFill>
                <a:latin typeface="+mj-lt"/>
              </a:rPr>
              <a:t>Modeling Example</a:t>
            </a:r>
          </a:p>
          <a:p>
            <a:r>
              <a:rPr lang="en-US" sz="2448" dirty="0">
                <a:solidFill>
                  <a:schemeClr val="bg1">
                    <a:lumMod val="50000"/>
                  </a:schemeClr>
                </a:solidFill>
                <a:latin typeface="+mj-lt"/>
              </a:rPr>
              <a:t>Physics of Failure</a:t>
            </a:r>
          </a:p>
          <a:p>
            <a:r>
              <a:rPr lang="en-US" sz="2448" dirty="0">
                <a:latin typeface="+mj-lt"/>
              </a:rPr>
              <a:t>Key Measurements</a:t>
            </a:r>
          </a:p>
          <a:p>
            <a:r>
              <a:rPr lang="en-US" sz="2448" dirty="0">
                <a:solidFill>
                  <a:schemeClr val="bg1">
                    <a:lumMod val="50000"/>
                  </a:schemeClr>
                </a:solidFill>
                <a:latin typeface="+mj-lt"/>
              </a:rPr>
              <a:t>Intelligence</a:t>
            </a:r>
          </a:p>
        </p:txBody>
      </p:sp>
      <p:sp>
        <p:nvSpPr>
          <p:cNvPr id="3" name="Title 2"/>
          <p:cNvSpPr>
            <a:spLocks noGrp="1"/>
          </p:cNvSpPr>
          <p:nvPr>
            <p:ph type="title" idx="4294967295"/>
          </p:nvPr>
        </p:nvSpPr>
        <p:spPr>
          <a:xfrm>
            <a:off x="682053" y="1168062"/>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2B56C311-CE2F-49B0-9015-C5F4A1FAF263}"/>
              </a:ext>
            </a:extLst>
          </p:cNvPr>
          <p:cNvSpPr/>
          <p:nvPr/>
        </p:nvSpPr>
        <p:spPr bwMode="gray">
          <a:xfrm flipH="1" flipV="1">
            <a:off x="6973295" y="4709319"/>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7552833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2418" y="1608418"/>
            <a:ext cx="2487613" cy="2486025"/>
          </a:xfrm>
        </p:spPr>
        <p:txBody>
          <a:bodyPr>
            <a:normAutofit/>
          </a:bodyPr>
          <a:lstStyle/>
          <a:p>
            <a:r>
              <a:rPr lang="en-US" sz="3600" dirty="0">
                <a:latin typeface="+mj-lt"/>
              </a:rPr>
              <a:t>What to measure?</a:t>
            </a:r>
          </a:p>
        </p:txBody>
      </p:sp>
      <p:sp>
        <p:nvSpPr>
          <p:cNvPr id="3" name="Slide Number Placeholder 2"/>
          <p:cNvSpPr>
            <a:spLocks noGrp="1"/>
          </p:cNvSpPr>
          <p:nvPr>
            <p:ph type="sldNum" sz="quarter" idx="4294967295"/>
          </p:nvPr>
        </p:nvSpPr>
        <p:spPr>
          <a:xfrm>
            <a:off x="9534525" y="6483350"/>
            <a:ext cx="2901950" cy="371475"/>
          </a:xfrm>
        </p:spPr>
        <p:txBody>
          <a:bodyPr/>
          <a:lstStyle/>
          <a:p>
            <a:pPr marL="0" marR="0" lvl="0" indent="0" algn="r" defTabSz="12434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1200" cap="none" spc="0" normalizeH="0" baseline="0" noProof="0">
                <a:ln>
                  <a:noFill/>
                </a:ln>
                <a:solidFill>
                  <a:srgbClr val="292929"/>
                </a:solidFill>
                <a:effectLst/>
                <a:uLnTx/>
                <a:uFillTx/>
                <a:latin typeface="Segoe UI"/>
                <a:ea typeface="+mn-ea"/>
                <a:cs typeface="+mn-cs"/>
              </a:rPr>
              <a:pPr marL="0" marR="0" lvl="0" indent="0" algn="r" defTabSz="1243442" rtl="0" eaLnBrk="1" fontAlgn="auto" latinLnBrk="0" hangingPunct="1">
                <a:lnSpc>
                  <a:spcPct val="100000"/>
                </a:lnSpc>
                <a:spcBef>
                  <a:spcPts val="0"/>
                </a:spcBef>
                <a:spcAft>
                  <a:spcPts val="0"/>
                </a:spcAft>
                <a:buClrTx/>
                <a:buSzTx/>
                <a:buFontTx/>
                <a:buNone/>
                <a:tabLst/>
                <a:defRPr/>
              </a:pPr>
              <a:t>28</a:t>
            </a:fld>
            <a:endParaRPr kumimoji="0" lang="en-US" sz="1088" b="0" i="0" u="none" strike="noStrike" kern="1200" cap="none" spc="0" normalizeH="0" baseline="0" noProof="0">
              <a:ln>
                <a:noFill/>
              </a:ln>
              <a:solidFill>
                <a:srgbClr val="292929"/>
              </a:solidFill>
              <a:effectLst/>
              <a:uLnTx/>
              <a:uFillTx/>
              <a:latin typeface="Segoe UI"/>
              <a:ea typeface="+mn-ea"/>
              <a:cs typeface="+mn-cs"/>
            </a:endParaRPr>
          </a:p>
        </p:txBody>
      </p:sp>
      <p:sp>
        <p:nvSpPr>
          <p:cNvPr id="4" name="Content Placeholder 3"/>
          <p:cNvSpPr>
            <a:spLocks noGrp="1"/>
          </p:cNvSpPr>
          <p:nvPr>
            <p:ph idx="4294967295"/>
          </p:nvPr>
        </p:nvSpPr>
        <p:spPr>
          <a:xfrm>
            <a:off x="2930031" y="139700"/>
            <a:ext cx="9326562" cy="3808413"/>
          </a:xfrm>
        </p:spPr>
        <p:txBody>
          <a:bodyPr>
            <a:noAutofit/>
          </a:bodyPr>
          <a:lstStyle/>
          <a:p>
            <a:pPr defTabSz="228600"/>
            <a:r>
              <a:rPr lang="en-US" sz="2500" b="1" dirty="0">
                <a:latin typeface="+mj-lt"/>
              </a:rPr>
              <a:t>Vibration</a:t>
            </a:r>
            <a:r>
              <a:rPr lang="en-US" sz="2500" dirty="0">
                <a:latin typeface="+mj-lt"/>
              </a:rPr>
              <a:t>											: accelerometer, piezo-</a:t>
            </a:r>
            <a:r>
              <a:rPr lang="en-US" sz="2500" dirty="0" err="1">
                <a:latin typeface="+mj-lt"/>
              </a:rPr>
              <a:t>eletric</a:t>
            </a:r>
            <a:endParaRPr lang="en-US" sz="2500" dirty="0">
              <a:latin typeface="+mj-lt"/>
            </a:endParaRPr>
          </a:p>
          <a:p>
            <a:pPr defTabSz="228600"/>
            <a:r>
              <a:rPr lang="en-US" sz="2500" b="1" dirty="0">
                <a:latin typeface="+mj-lt"/>
              </a:rPr>
              <a:t>Acoustic</a:t>
            </a:r>
            <a:r>
              <a:rPr lang="en-US" sz="2500" dirty="0">
                <a:latin typeface="+mj-lt"/>
              </a:rPr>
              <a:t>												: attached microphone</a:t>
            </a:r>
          </a:p>
          <a:p>
            <a:pPr defTabSz="228600"/>
            <a:r>
              <a:rPr lang="en-US" sz="2500" b="1" dirty="0">
                <a:latin typeface="+mj-lt"/>
              </a:rPr>
              <a:t>Acoustic Noise</a:t>
            </a:r>
            <a:r>
              <a:rPr lang="en-US" sz="2500" dirty="0">
                <a:latin typeface="+mj-lt"/>
              </a:rPr>
              <a:t>								: detached microphone</a:t>
            </a:r>
          </a:p>
          <a:p>
            <a:pPr defTabSz="228600"/>
            <a:r>
              <a:rPr lang="en-US" sz="2500" b="1" dirty="0">
                <a:latin typeface="+mj-lt"/>
              </a:rPr>
              <a:t>Oil Quality</a:t>
            </a:r>
            <a:r>
              <a:rPr lang="en-US" sz="2500" dirty="0">
                <a:latin typeface="+mj-lt"/>
              </a:rPr>
              <a:t>										: turbidimeter, spectrophotometer, …</a:t>
            </a:r>
          </a:p>
          <a:p>
            <a:pPr defTabSz="228600"/>
            <a:r>
              <a:rPr lang="en-US" sz="2500" b="1" dirty="0">
                <a:latin typeface="+mj-lt"/>
              </a:rPr>
              <a:t>Temperatures</a:t>
            </a:r>
            <a:r>
              <a:rPr lang="en-US" sz="2500" dirty="0">
                <a:latin typeface="+mj-lt"/>
              </a:rPr>
              <a:t>									: localized thermocouple</a:t>
            </a:r>
          </a:p>
          <a:p>
            <a:pPr defTabSz="228600"/>
            <a:r>
              <a:rPr lang="en-US" sz="2500" b="1" dirty="0">
                <a:latin typeface="+mj-lt"/>
              </a:rPr>
              <a:t>Pressures</a:t>
            </a:r>
            <a:r>
              <a:rPr lang="en-US" sz="2500" dirty="0">
                <a:latin typeface="+mj-lt"/>
              </a:rPr>
              <a:t>											: proxies for stress</a:t>
            </a:r>
          </a:p>
          <a:p>
            <a:pPr defTabSz="228600"/>
            <a:r>
              <a:rPr lang="en-US" sz="2500" b="1" dirty="0">
                <a:latin typeface="+mj-lt"/>
              </a:rPr>
              <a:t>Motor Electrical Signature	 	</a:t>
            </a:r>
            <a:r>
              <a:rPr lang="en-US" sz="2500" dirty="0">
                <a:latin typeface="+mj-lt"/>
              </a:rPr>
              <a:t>: high-frequency voltmeter + ammeter</a:t>
            </a:r>
          </a:p>
        </p:txBody>
      </p:sp>
      <p:pic>
        <p:nvPicPr>
          <p:cNvPr id="5" name="Picture 4"/>
          <p:cNvPicPr>
            <a:picLocks noChangeAspect="1"/>
          </p:cNvPicPr>
          <p:nvPr/>
        </p:nvPicPr>
        <p:blipFill>
          <a:blip r:embed="rId3"/>
          <a:stretch>
            <a:fillRect/>
          </a:stretch>
        </p:blipFill>
        <p:spPr>
          <a:xfrm>
            <a:off x="881" y="6030835"/>
            <a:ext cx="2080742" cy="932603"/>
          </a:xfrm>
          <a:prstGeom prst="rect">
            <a:avLst/>
          </a:prstGeom>
        </p:spPr>
      </p:pic>
      <p:pic>
        <p:nvPicPr>
          <p:cNvPr id="5122" name="Picture 2" descr="Image result for vibration spectrum">
            <a:extLst>
              <a:ext uri="{FF2B5EF4-FFF2-40B4-BE49-F238E27FC236}">
                <a16:creationId xmlns:a16="http://schemas.microsoft.com/office/drawing/2014/main" id="{647B0E86-F1B3-4AFB-9A7D-2205045AB2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8916" y="4253058"/>
            <a:ext cx="227337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optical oil quality">
            <a:extLst>
              <a:ext uri="{FF2B5EF4-FFF2-40B4-BE49-F238E27FC236}">
                <a16:creationId xmlns:a16="http://schemas.microsoft.com/office/drawing/2014/main" id="{9F257630-B250-4562-8DE6-BE875F8C78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7285" y="4253058"/>
            <a:ext cx="2579649" cy="182880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factory floor thermal imaging">
            <a:extLst>
              <a:ext uri="{FF2B5EF4-FFF2-40B4-BE49-F238E27FC236}">
                <a16:creationId xmlns:a16="http://schemas.microsoft.com/office/drawing/2014/main" id="{7DCEA012-A837-4540-8BF4-99161587C6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45633" y="4240774"/>
            <a:ext cx="2763929" cy="18288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motor electrical signature">
            <a:extLst>
              <a:ext uri="{FF2B5EF4-FFF2-40B4-BE49-F238E27FC236}">
                <a16:creationId xmlns:a16="http://schemas.microsoft.com/office/drawing/2014/main" id="{58BA83AB-A454-4858-95CB-EBCD84CED6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18261" y="4240774"/>
            <a:ext cx="2275151"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6959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751351-106C-4338-ADA3-ED8DCC63488F}"/>
              </a:ext>
            </a:extLst>
          </p:cNvPr>
          <p:cNvPicPr>
            <a:picLocks noChangeAspect="1"/>
          </p:cNvPicPr>
          <p:nvPr/>
        </p:nvPicPr>
        <p:blipFill>
          <a:blip r:embed="rId3"/>
          <a:stretch>
            <a:fillRect/>
          </a:stretch>
        </p:blipFill>
        <p:spPr>
          <a:xfrm>
            <a:off x="936885" y="1618937"/>
            <a:ext cx="10667340" cy="4269925"/>
          </a:xfrm>
          <a:prstGeom prst="rect">
            <a:avLst/>
          </a:prstGeom>
        </p:spPr>
      </p:pic>
      <p:sp>
        <p:nvSpPr>
          <p:cNvPr id="4" name="TextBox 3">
            <a:extLst>
              <a:ext uri="{FF2B5EF4-FFF2-40B4-BE49-F238E27FC236}">
                <a16:creationId xmlns:a16="http://schemas.microsoft.com/office/drawing/2014/main" id="{4FCAAC36-45C2-4D44-BC75-B0912949DE2E}"/>
              </a:ext>
            </a:extLst>
          </p:cNvPr>
          <p:cNvSpPr txBox="1"/>
          <p:nvPr/>
        </p:nvSpPr>
        <p:spPr>
          <a:xfrm>
            <a:off x="4902221" y="6008012"/>
            <a:ext cx="2632032" cy="46166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mj-lt"/>
                <a:ea typeface="Verdana" panose="020B0604030504040204" pitchFamily="34" charset="0"/>
                <a:cs typeface="Verdana" panose="020B0604030504040204" pitchFamily="34" charset="0"/>
              </a:rPr>
              <a:t>Normal Signature</a:t>
            </a:r>
          </a:p>
        </p:txBody>
      </p:sp>
      <p:sp>
        <p:nvSpPr>
          <p:cNvPr id="7" name="TextBox 6">
            <a:extLst>
              <a:ext uri="{FF2B5EF4-FFF2-40B4-BE49-F238E27FC236}">
                <a16:creationId xmlns:a16="http://schemas.microsoft.com/office/drawing/2014/main" id="{E1D2D310-F99B-447C-951D-C11AE8D6CC18}"/>
              </a:ext>
            </a:extLst>
          </p:cNvPr>
          <p:cNvSpPr txBox="1"/>
          <p:nvPr/>
        </p:nvSpPr>
        <p:spPr>
          <a:xfrm>
            <a:off x="944379" y="796005"/>
            <a:ext cx="6902971" cy="6463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effectLst/>
                <a:uLnTx/>
                <a:uFillTx/>
                <a:latin typeface="+mj-lt"/>
                <a:ea typeface="Verdana" panose="020B0604030504040204" pitchFamily="34" charset="0"/>
                <a:cs typeface="Verdana" panose="020B0604030504040204" pitchFamily="34" charset="0"/>
              </a:rPr>
              <a:t>MOTOR ELECTRICAL SIGNATURE</a:t>
            </a:r>
          </a:p>
        </p:txBody>
      </p:sp>
    </p:spTree>
    <p:extLst>
      <p:ext uri="{BB962C8B-B14F-4D97-AF65-F5344CB8AC3E}">
        <p14:creationId xmlns:p14="http://schemas.microsoft.com/office/powerpoint/2010/main" val="724194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6226806" y="1741253"/>
            <a:ext cx="4056231" cy="32093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a:spLocks/>
          </p:cNvSpPr>
          <p:nvPr>
            <p:custDataLst>
              <p:tags r:id="rId1"/>
            </p:custDataLst>
          </p:nvPr>
        </p:nvSpPr>
        <p:spPr bwMode="auto">
          <a:xfrm>
            <a:off x="-4601" y="1741253"/>
            <a:ext cx="2005097" cy="1585426"/>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9" name="Rectangle 8"/>
          <p:cNvSpPr>
            <a:spLocks/>
          </p:cNvSpPr>
          <p:nvPr>
            <p:custDataLst>
              <p:tags r:id="rId2"/>
            </p:custDataLst>
          </p:nvPr>
        </p:nvSpPr>
        <p:spPr bwMode="auto">
          <a:xfrm>
            <a:off x="4141604" y="1741253"/>
            <a:ext cx="2005097" cy="1585426"/>
          </a:xfrm>
          <a:prstGeom prst="rect">
            <a:avLst/>
          </a:prstGeom>
          <a:solidFill>
            <a:schemeClr val="accent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6" name="Rectangle 15"/>
          <p:cNvSpPr>
            <a:spLocks/>
          </p:cNvSpPr>
          <p:nvPr>
            <p:custDataLst>
              <p:tags r:id="rId3"/>
            </p:custDataLst>
          </p:nvPr>
        </p:nvSpPr>
        <p:spPr bwMode="auto">
          <a:xfrm>
            <a:off x="2073172" y="4998745"/>
            <a:ext cx="2005097" cy="1585426"/>
          </a:xfrm>
          <a:prstGeom prst="rect">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7" name="Rectangle 16"/>
          <p:cNvSpPr>
            <a:spLocks/>
          </p:cNvSpPr>
          <p:nvPr>
            <p:custDataLst>
              <p:tags r:id="rId4"/>
            </p:custDataLst>
          </p:nvPr>
        </p:nvSpPr>
        <p:spPr bwMode="auto">
          <a:xfrm>
            <a:off x="2073172" y="97844"/>
            <a:ext cx="2005097" cy="1585426"/>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6" name="Rectangle 75"/>
          <p:cNvSpPr/>
          <p:nvPr>
            <p:custDataLst>
              <p:tags r:id="rId5"/>
            </p:custDataLst>
          </p:nvPr>
        </p:nvSpPr>
        <p:spPr bwMode="auto">
          <a:xfrm>
            <a:off x="2073172" y="3365173"/>
            <a:ext cx="2005097" cy="1585426"/>
          </a:xfrm>
          <a:prstGeom prst="rect">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7" name="Rectangle 76"/>
          <p:cNvSpPr>
            <a:spLocks/>
          </p:cNvSpPr>
          <p:nvPr>
            <p:custDataLst>
              <p:tags r:id="rId6"/>
            </p:custDataLst>
          </p:nvPr>
        </p:nvSpPr>
        <p:spPr bwMode="auto">
          <a:xfrm>
            <a:off x="10350146" y="97844"/>
            <a:ext cx="2005097" cy="1585426"/>
          </a:xfrm>
          <a:prstGeom prst="rect">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8" name="Rectangle 77"/>
          <p:cNvSpPr>
            <a:spLocks/>
          </p:cNvSpPr>
          <p:nvPr>
            <p:custDataLst>
              <p:tags r:id="rId7"/>
            </p:custDataLst>
          </p:nvPr>
        </p:nvSpPr>
        <p:spPr bwMode="auto">
          <a:xfrm>
            <a:off x="8277940" y="4998745"/>
            <a:ext cx="2005097" cy="1585426"/>
          </a:xfrm>
          <a:prstGeom prst="rect">
            <a:avLst/>
          </a:prstGeom>
          <a:solidFill>
            <a:schemeClr val="accent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9" name="Rectangle 78"/>
          <p:cNvSpPr>
            <a:spLocks/>
          </p:cNvSpPr>
          <p:nvPr>
            <p:custDataLst>
              <p:tags r:id="rId8"/>
            </p:custDataLst>
          </p:nvPr>
        </p:nvSpPr>
        <p:spPr bwMode="auto">
          <a:xfrm>
            <a:off x="10345332" y="3365173"/>
            <a:ext cx="2005097" cy="1585426"/>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0" name="Rectangle 79"/>
          <p:cNvSpPr>
            <a:spLocks/>
          </p:cNvSpPr>
          <p:nvPr>
            <p:custDataLst>
              <p:tags r:id="rId9"/>
            </p:custDataLst>
          </p:nvPr>
        </p:nvSpPr>
        <p:spPr bwMode="auto">
          <a:xfrm>
            <a:off x="6207305" y="97844"/>
            <a:ext cx="2005097" cy="1585426"/>
          </a:xfrm>
          <a:prstGeom prst="rect">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1" name="Rectangle 80"/>
          <p:cNvSpPr>
            <a:spLocks/>
          </p:cNvSpPr>
          <p:nvPr>
            <p:custDataLst>
              <p:tags r:id="rId10"/>
            </p:custDataLst>
          </p:nvPr>
        </p:nvSpPr>
        <p:spPr bwMode="auto">
          <a:xfrm>
            <a:off x="6221532" y="4998745"/>
            <a:ext cx="2005097" cy="1585426"/>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2" name="Rectangle 81"/>
          <p:cNvSpPr>
            <a:spLocks/>
          </p:cNvSpPr>
          <p:nvPr>
            <p:custDataLst>
              <p:tags r:id="rId11"/>
            </p:custDataLst>
          </p:nvPr>
        </p:nvSpPr>
        <p:spPr bwMode="auto">
          <a:xfrm>
            <a:off x="-4601" y="82038"/>
            <a:ext cx="2005097" cy="1585426"/>
          </a:xfrm>
          <a:prstGeom prst="rect">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4" name="Rectangle 83"/>
          <p:cNvSpPr/>
          <p:nvPr>
            <p:custDataLst>
              <p:tags r:id="rId12"/>
            </p:custDataLst>
          </p:nvPr>
        </p:nvSpPr>
        <p:spPr bwMode="auto">
          <a:xfrm>
            <a:off x="4141604" y="6656995"/>
            <a:ext cx="2005097" cy="541060"/>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7" name="Rectangle 86"/>
          <p:cNvSpPr/>
          <p:nvPr>
            <p:custDataLst>
              <p:tags r:id="rId13"/>
            </p:custDataLst>
          </p:nvPr>
        </p:nvSpPr>
        <p:spPr bwMode="auto">
          <a:xfrm>
            <a:off x="10350146" y="6656995"/>
            <a:ext cx="2005097" cy="564677"/>
          </a:xfrm>
          <a:prstGeom prst="rect">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92" name="Rectangle 91"/>
          <p:cNvSpPr>
            <a:spLocks/>
          </p:cNvSpPr>
          <p:nvPr>
            <p:custDataLst>
              <p:tags r:id="rId14"/>
            </p:custDataLst>
          </p:nvPr>
        </p:nvSpPr>
        <p:spPr bwMode="auto">
          <a:xfrm>
            <a:off x="4141604" y="3365173"/>
            <a:ext cx="2005097" cy="1585426"/>
          </a:xfrm>
          <a:prstGeom prst="rect">
            <a:avLst/>
          </a:prstGeom>
          <a:solidFill>
            <a:schemeClr val="accent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US" sz="153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pic>
        <p:nvPicPr>
          <p:cNvPr id="105" name="Picture 104">
            <a:hlinkClick r:id="rId17"/>
          </p:cNvPr>
          <p:cNvPicPr>
            <a:picLocks/>
          </p:cNvPicPr>
          <p:nvPr/>
        </p:nvPicPr>
        <p:blipFill rotWithShape="1">
          <a:blip r:embed="rId18" cstate="email">
            <a:extLst>
              <a:ext uri="{28A0092B-C50C-407E-A947-70E740481C1C}">
                <a14:useLocalDpi xmlns:a14="http://schemas.microsoft.com/office/drawing/2010/main"/>
              </a:ext>
            </a:extLst>
          </a:blip>
          <a:srcRect t="527" r="3698"/>
          <a:stretch/>
        </p:blipFill>
        <p:spPr>
          <a:xfrm>
            <a:off x="2072764" y="1741253"/>
            <a:ext cx="1999651" cy="1585426"/>
          </a:xfrm>
          <a:prstGeom prst="rect">
            <a:avLst/>
          </a:prstGeom>
        </p:spPr>
      </p:pic>
      <p:pic>
        <p:nvPicPr>
          <p:cNvPr id="108" name="Picture 107">
            <a:hlinkClick r:id="rId19"/>
          </p:cNvPr>
          <p:cNvPicPr>
            <a:picLocks/>
          </p:cNvPicPr>
          <p:nvPr/>
        </p:nvPicPr>
        <p:blipFill rotWithShape="1">
          <a:blip r:embed="rId20" cstate="email">
            <a:extLst>
              <a:ext uri="{28A0092B-C50C-407E-A947-70E740481C1C}">
                <a14:useLocalDpi xmlns:a14="http://schemas.microsoft.com/office/drawing/2010/main"/>
              </a:ext>
            </a:extLst>
          </a:blip>
          <a:srcRect b="-14"/>
          <a:stretch/>
        </p:blipFill>
        <p:spPr>
          <a:xfrm>
            <a:off x="-4601" y="3365173"/>
            <a:ext cx="2005097" cy="1585426"/>
          </a:xfrm>
          <a:prstGeom prst="rect">
            <a:avLst/>
          </a:prstGeom>
        </p:spPr>
      </p:pic>
      <p:pic>
        <p:nvPicPr>
          <p:cNvPr id="111" name="Picture 110">
            <a:hlinkClick r:id="rId21"/>
          </p:cNvPr>
          <p:cNvPicPr>
            <a:picLocks/>
          </p:cNvPicPr>
          <p:nvPr/>
        </p:nvPicPr>
        <p:blipFill>
          <a:blip r:embed="rId22" cstate="email">
            <a:extLst>
              <a:ext uri="{28A0092B-C50C-407E-A947-70E740481C1C}">
                <a14:useLocalDpi xmlns:a14="http://schemas.microsoft.com/office/drawing/2010/main"/>
              </a:ext>
            </a:extLst>
          </a:blip>
          <a:stretch>
            <a:fillRect/>
          </a:stretch>
        </p:blipFill>
        <p:spPr>
          <a:xfrm>
            <a:off x="10350146" y="1741253"/>
            <a:ext cx="2005097" cy="1585426"/>
          </a:xfrm>
          <a:prstGeom prst="rect">
            <a:avLst/>
          </a:prstGeom>
        </p:spPr>
      </p:pic>
      <p:pic>
        <p:nvPicPr>
          <p:cNvPr id="117" name="Picture 116">
            <a:hlinkClick r:id="rId23"/>
          </p:cNvPr>
          <p:cNvPicPr>
            <a:picLocks/>
          </p:cNvPicPr>
          <p:nvPr/>
        </p:nvPicPr>
        <p:blipFill>
          <a:blip r:embed="rId24" cstate="email">
            <a:extLst>
              <a:ext uri="{28A0092B-C50C-407E-A947-70E740481C1C}">
                <a14:useLocalDpi xmlns:a14="http://schemas.microsoft.com/office/drawing/2010/main"/>
              </a:ext>
            </a:extLst>
          </a:blip>
          <a:stretch>
            <a:fillRect/>
          </a:stretch>
        </p:blipFill>
        <p:spPr>
          <a:xfrm>
            <a:off x="4141604" y="4998745"/>
            <a:ext cx="2005097" cy="1585426"/>
          </a:xfrm>
          <a:prstGeom prst="rect">
            <a:avLst/>
          </a:prstGeom>
        </p:spPr>
      </p:pic>
      <p:pic>
        <p:nvPicPr>
          <p:cNvPr id="119" name="Picture 118">
            <a:hlinkClick r:id="rId25"/>
          </p:cNvPr>
          <p:cNvPicPr>
            <a:picLocks/>
          </p:cNvPicPr>
          <p:nvPr/>
        </p:nvPicPr>
        <p:blipFill rotWithShape="1">
          <a:blip r:embed="rId26" cstate="email">
            <a:extLst>
              <a:ext uri="{28A0092B-C50C-407E-A947-70E740481C1C}">
                <a14:useLocalDpi xmlns:a14="http://schemas.microsoft.com/office/drawing/2010/main"/>
              </a:ext>
            </a:extLst>
          </a:blip>
          <a:srcRect/>
          <a:stretch/>
        </p:blipFill>
        <p:spPr>
          <a:xfrm>
            <a:off x="10350146" y="4998745"/>
            <a:ext cx="2005097" cy="1585426"/>
          </a:xfrm>
          <a:prstGeom prst="rect">
            <a:avLst/>
          </a:prstGeom>
        </p:spPr>
      </p:pic>
      <p:pic>
        <p:nvPicPr>
          <p:cNvPr id="90" name="Picture 89">
            <a:hlinkClick r:id="rId27"/>
          </p:cNvPr>
          <p:cNvPicPr>
            <a:picLocks/>
          </p:cNvPicPr>
          <p:nvPr/>
        </p:nvPicPr>
        <p:blipFill rotWithShape="1">
          <a:blip r:embed="rId28" cstate="email">
            <a:extLst>
              <a:ext uri="{28A0092B-C50C-407E-A947-70E740481C1C}">
                <a14:useLocalDpi xmlns:a14="http://schemas.microsoft.com/office/drawing/2010/main"/>
              </a:ext>
            </a:extLst>
          </a:blip>
          <a:srcRect b="3685"/>
          <a:stretch/>
        </p:blipFill>
        <p:spPr>
          <a:xfrm>
            <a:off x="4136335" y="91656"/>
            <a:ext cx="1996078" cy="1585426"/>
          </a:xfrm>
          <a:prstGeom prst="rect">
            <a:avLst/>
          </a:prstGeom>
        </p:spPr>
      </p:pic>
      <p:grpSp>
        <p:nvGrpSpPr>
          <p:cNvPr id="21" name="Group 20" hidden="1"/>
          <p:cNvGrpSpPr/>
          <p:nvPr/>
        </p:nvGrpSpPr>
        <p:grpSpPr>
          <a:xfrm>
            <a:off x="2502" y="-1"/>
            <a:ext cx="12431473" cy="6431971"/>
            <a:chOff x="0" y="0"/>
            <a:chExt cx="12188825" cy="6306426"/>
          </a:xfrm>
        </p:grpSpPr>
        <p:pic>
          <p:nvPicPr>
            <p:cNvPr id="109" name="Picture 108">
              <a:hlinkClick r:id="rId29"/>
            </p:cNvPr>
            <p:cNvPicPr>
              <a:picLocks noChangeAspect="1"/>
            </p:cNvPicPr>
            <p:nvPr/>
          </p:nvPicPr>
          <p:blipFill rotWithShape="1">
            <a:blip r:embed="rId30" cstate="email">
              <a:extLst>
                <a:ext uri="{28A0092B-C50C-407E-A947-70E740481C1C}">
                  <a14:useLocalDpi xmlns:a14="http://schemas.microsoft.com/office/drawing/2010/main"/>
                </a:ext>
              </a:extLst>
            </a:blip>
            <a:srcRect b="-110"/>
            <a:stretch/>
          </p:blipFill>
          <p:spPr>
            <a:xfrm>
              <a:off x="2029854" y="3191201"/>
              <a:ext cx="1986134" cy="1517706"/>
            </a:xfrm>
            <a:prstGeom prst="rect">
              <a:avLst/>
            </a:prstGeom>
          </p:spPr>
        </p:pic>
        <p:grpSp>
          <p:nvGrpSpPr>
            <p:cNvPr id="20" name="Group 19"/>
            <p:cNvGrpSpPr/>
            <p:nvPr/>
          </p:nvGrpSpPr>
          <p:grpSpPr>
            <a:xfrm>
              <a:off x="0" y="0"/>
              <a:ext cx="12188825" cy="6306426"/>
              <a:chOff x="0" y="0"/>
              <a:chExt cx="12188825" cy="6306426"/>
            </a:xfrm>
          </p:grpSpPr>
          <p:pic>
            <p:nvPicPr>
              <p:cNvPr id="121" name="Picture 120">
                <a:hlinkClick r:id="rId31"/>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2029854" y="4789514"/>
                <a:ext cx="1977699" cy="1516027"/>
              </a:xfrm>
              <a:prstGeom prst="rect">
                <a:avLst/>
              </a:prstGeom>
            </p:spPr>
          </p:pic>
          <p:grpSp>
            <p:nvGrpSpPr>
              <p:cNvPr id="19" name="Group 18"/>
              <p:cNvGrpSpPr/>
              <p:nvPr/>
            </p:nvGrpSpPr>
            <p:grpSpPr>
              <a:xfrm>
                <a:off x="0" y="0"/>
                <a:ext cx="12188825" cy="6306426"/>
                <a:chOff x="0" y="0"/>
                <a:chExt cx="12188825" cy="6306426"/>
              </a:xfrm>
            </p:grpSpPr>
            <p:pic>
              <p:nvPicPr>
                <p:cNvPr id="104" name="Picture 103">
                  <a:hlinkClick r:id="rId33"/>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4059707" y="3191201"/>
                  <a:ext cx="1977703" cy="1516030"/>
                </a:xfrm>
                <a:prstGeom prst="rect">
                  <a:avLst/>
                </a:prstGeom>
              </p:spPr>
            </p:pic>
            <p:pic>
              <p:nvPicPr>
                <p:cNvPr id="112" name="Picture 111">
                  <a:hlinkClick r:id="rId35"/>
                </p:cNvPr>
                <p:cNvPicPr>
                  <a:picLocks noChangeAspect="1"/>
                </p:cNvPicPr>
                <p:nvPr/>
              </p:nvPicPr>
              <p:blipFill rotWithShape="1">
                <a:blip r:embed="rId36" cstate="email">
                  <a:extLst>
                    <a:ext uri="{28A0092B-C50C-407E-A947-70E740481C1C}">
                      <a14:useLocalDpi xmlns:a14="http://schemas.microsoft.com/office/drawing/2010/main"/>
                    </a:ext>
                  </a:extLst>
                </a:blip>
                <a:srcRect/>
                <a:stretch/>
              </p:blipFill>
              <p:spPr>
                <a:xfrm>
                  <a:off x="10149270" y="3180448"/>
                  <a:ext cx="2029529" cy="1517706"/>
                </a:xfrm>
                <a:prstGeom prst="rect">
                  <a:avLst/>
                </a:prstGeom>
              </p:spPr>
            </p:pic>
            <p:pic>
              <p:nvPicPr>
                <p:cNvPr id="114" name="Picture 113">
                  <a:hlinkClick r:id="rId37"/>
                </p:cNvPr>
                <p:cNvPicPr>
                  <a:picLocks noChangeAspect="1"/>
                </p:cNvPicPr>
                <p:nvPr/>
              </p:nvPicPr>
              <p:blipFill rotWithShape="1">
                <a:blip r:embed="rId38" cstate="email">
                  <a:extLst>
                    <a:ext uri="{28A0092B-C50C-407E-A947-70E740481C1C}">
                      <a14:useLocalDpi xmlns:a14="http://schemas.microsoft.com/office/drawing/2010/main"/>
                    </a:ext>
                  </a:extLst>
                </a:blip>
                <a:srcRect/>
                <a:stretch/>
              </p:blipFill>
              <p:spPr>
                <a:xfrm>
                  <a:off x="4054727" y="1619022"/>
                  <a:ext cx="1982684" cy="1517706"/>
                </a:xfrm>
                <a:prstGeom prst="rect">
                  <a:avLst/>
                </a:prstGeom>
              </p:spPr>
            </p:pic>
            <p:pic>
              <p:nvPicPr>
                <p:cNvPr id="115" name="Picture 114">
                  <a:hlinkClick r:id="rId39"/>
                </p:cNvPr>
                <p:cNvPicPr>
                  <a:picLocks noChangeAspect="1"/>
                </p:cNvPicPr>
                <p:nvPr/>
              </p:nvPicPr>
              <p:blipFill rotWithShape="1">
                <a:blip r:embed="rId40" cstate="email">
                  <a:extLst>
                    <a:ext uri="{28A0092B-C50C-407E-A947-70E740481C1C}">
                      <a14:useLocalDpi xmlns:a14="http://schemas.microsoft.com/office/drawing/2010/main"/>
                    </a:ext>
                  </a:extLst>
                </a:blip>
                <a:srcRect t="-1" b="-233"/>
                <a:stretch/>
              </p:blipFill>
              <p:spPr>
                <a:xfrm>
                  <a:off x="0" y="4741877"/>
                  <a:ext cx="1981151" cy="1564549"/>
                </a:xfrm>
                <a:prstGeom prst="rect">
                  <a:avLst/>
                </a:prstGeom>
              </p:spPr>
            </p:pic>
            <p:pic>
              <p:nvPicPr>
                <p:cNvPr id="116" name="Picture 115">
                  <a:hlinkClick r:id="rId41"/>
                </p:cNvPr>
                <p:cNvPicPr>
                  <a:picLocks noChangeAspect="1"/>
                </p:cNvPicPr>
                <p:nvPr/>
              </p:nvPicPr>
              <p:blipFill rotWithShape="1">
                <a:blip r:embed="rId42" cstate="email">
                  <a:extLst>
                    <a:ext uri="{28A0092B-C50C-407E-A947-70E740481C1C}">
                      <a14:useLocalDpi xmlns:a14="http://schemas.microsoft.com/office/drawing/2010/main"/>
                    </a:ext>
                  </a:extLst>
                </a:blip>
                <a:srcRect b="-111"/>
                <a:stretch/>
              </p:blipFill>
              <p:spPr>
                <a:xfrm>
                  <a:off x="1" y="1619022"/>
                  <a:ext cx="1986134" cy="1517706"/>
                </a:xfrm>
                <a:prstGeom prst="rect">
                  <a:avLst/>
                </a:prstGeom>
                <a:noFill/>
                <a:ln>
                  <a:noFill/>
                </a:ln>
              </p:spPr>
            </p:pic>
            <p:pic>
              <p:nvPicPr>
                <p:cNvPr id="118" name="Picture 117">
                  <a:hlinkClick r:id="rId43"/>
                </p:cNvPr>
                <p:cNvPicPr>
                  <a:picLocks noChangeAspect="1"/>
                </p:cNvPicPr>
                <p:nvPr/>
              </p:nvPicPr>
              <p:blipFill rotWithShape="1">
                <a:blip r:embed="rId44" cstate="email">
                  <a:extLst>
                    <a:ext uri="{28A0092B-C50C-407E-A947-70E740481C1C}">
                      <a14:useLocalDpi xmlns:a14="http://schemas.microsoft.com/office/drawing/2010/main"/>
                    </a:ext>
                  </a:extLst>
                </a:blip>
                <a:srcRect/>
                <a:stretch/>
              </p:blipFill>
              <p:spPr>
                <a:xfrm>
                  <a:off x="6085351" y="4741877"/>
                  <a:ext cx="1986134" cy="1564549"/>
                </a:xfrm>
                <a:prstGeom prst="rect">
                  <a:avLst/>
                </a:prstGeom>
              </p:spPr>
            </p:pic>
            <p:pic>
              <p:nvPicPr>
                <p:cNvPr id="120" name="Picture 119">
                  <a:hlinkClick r:id="rId45"/>
                </p:cNvPr>
                <p:cNvPicPr>
                  <a:picLocks noChangeAspect="1"/>
                </p:cNvPicPr>
                <p:nvPr/>
              </p:nvPicPr>
              <p:blipFill rotWithShape="1">
                <a:blip r:embed="rId46" cstate="email">
                  <a:extLst>
                    <a:ext uri="{28A0092B-C50C-407E-A947-70E740481C1C}">
                      <a14:useLocalDpi xmlns:a14="http://schemas.microsoft.com/office/drawing/2010/main"/>
                    </a:ext>
                  </a:extLst>
                </a:blip>
                <a:srcRect b="-511"/>
                <a:stretch/>
              </p:blipFill>
              <p:spPr>
                <a:xfrm>
                  <a:off x="8121334" y="4788720"/>
                  <a:ext cx="1984215" cy="1517706"/>
                </a:xfrm>
                <a:prstGeom prst="rect">
                  <a:avLst/>
                </a:prstGeom>
              </p:spPr>
            </p:pic>
            <p:pic>
              <p:nvPicPr>
                <p:cNvPr id="94" name="Picture 93">
                  <a:hlinkClick r:id="rId47"/>
                </p:cNvPr>
                <p:cNvPicPr>
                  <a:picLocks noChangeAspect="1"/>
                </p:cNvPicPr>
                <p:nvPr/>
              </p:nvPicPr>
              <p:blipFill rotWithShape="1">
                <a:blip r:embed="rId48" cstate="email">
                  <a:extLst>
                    <a:ext uri="{28A0092B-C50C-407E-A947-70E740481C1C}">
                      <a14:useLocalDpi xmlns:a14="http://schemas.microsoft.com/office/drawing/2010/main"/>
                    </a:ext>
                  </a:extLst>
                </a:blip>
                <a:srcRect/>
                <a:stretch/>
              </p:blipFill>
              <p:spPr>
                <a:xfrm>
                  <a:off x="2024939" y="0"/>
                  <a:ext cx="1982616" cy="1564549"/>
                </a:xfrm>
                <a:prstGeom prst="rect">
                  <a:avLst/>
                </a:prstGeom>
                <a:solidFill>
                  <a:schemeClr val="tx2"/>
                </a:solidFill>
              </p:spPr>
            </p:pic>
            <p:pic>
              <p:nvPicPr>
                <p:cNvPr id="101" name="Picture 100">
                  <a:hlinkClick r:id="rId49"/>
                </p:cNvPr>
                <p:cNvPicPr>
                  <a:picLocks noChangeAspect="1"/>
                </p:cNvPicPr>
                <p:nvPr/>
              </p:nvPicPr>
              <p:blipFill rotWithShape="1">
                <a:blip r:embed="rId50" cstate="email">
                  <a:extLst>
                    <a:ext uri="{28A0092B-C50C-407E-A947-70E740481C1C}">
                      <a14:useLocalDpi xmlns:a14="http://schemas.microsoft.com/office/drawing/2010/main"/>
                    </a:ext>
                  </a:extLst>
                </a:blip>
                <a:srcRect/>
                <a:stretch/>
              </p:blipFill>
              <p:spPr>
                <a:xfrm>
                  <a:off x="10149271" y="0"/>
                  <a:ext cx="2039554" cy="1564549"/>
                </a:xfrm>
                <a:prstGeom prst="rect">
                  <a:avLst/>
                </a:prstGeom>
              </p:spPr>
            </p:pic>
            <p:pic>
              <p:nvPicPr>
                <p:cNvPr id="102" name="Picture 101">
                  <a:hlinkClick r:id="rId39"/>
                </p:cNvPr>
                <p:cNvPicPr>
                  <a:picLocks noChangeAspect="1"/>
                </p:cNvPicPr>
                <p:nvPr/>
              </p:nvPicPr>
              <p:blipFill rotWithShape="1">
                <a:blip r:embed="rId51" cstate="email">
                  <a:extLst>
                    <a:ext uri="{28A0092B-C50C-407E-A947-70E740481C1C}">
                      <a14:useLocalDpi xmlns:a14="http://schemas.microsoft.com/office/drawing/2010/main"/>
                    </a:ext>
                  </a:extLst>
                </a:blip>
                <a:srcRect t="-1" b="-233"/>
                <a:stretch/>
              </p:blipFill>
              <p:spPr>
                <a:xfrm>
                  <a:off x="67" y="0"/>
                  <a:ext cx="1976942" cy="1564549"/>
                </a:xfrm>
                <a:prstGeom prst="rect">
                  <a:avLst/>
                </a:prstGeom>
              </p:spPr>
            </p:pic>
          </p:grpSp>
        </p:grpSp>
      </p:grpSp>
      <p:pic>
        <p:nvPicPr>
          <p:cNvPr id="103" name="Picture 102">
            <a:hlinkClick r:id="rId52"/>
          </p:cNvPr>
          <p:cNvPicPr>
            <a:picLocks/>
          </p:cNvPicPr>
          <p:nvPr/>
        </p:nvPicPr>
        <p:blipFill rotWithShape="1">
          <a:blip r:embed="rId53" cstate="email">
            <a:extLst>
              <a:ext uri="{28A0092B-C50C-407E-A947-70E740481C1C}">
                <a14:useLocalDpi xmlns:a14="http://schemas.microsoft.com/office/drawing/2010/main"/>
              </a:ext>
            </a:extLst>
          </a:blip>
          <a:srcRect b="2268"/>
          <a:stretch/>
        </p:blipFill>
        <p:spPr>
          <a:xfrm>
            <a:off x="8277940" y="97844"/>
            <a:ext cx="2005097" cy="1585426"/>
          </a:xfrm>
          <a:prstGeom prst="rect">
            <a:avLst/>
          </a:prstGeom>
        </p:spPr>
      </p:pic>
      <p:pic>
        <p:nvPicPr>
          <p:cNvPr id="123" name="Picture 122">
            <a:hlinkClick r:id="rId54"/>
          </p:cNvPr>
          <p:cNvPicPr>
            <a:picLocks/>
          </p:cNvPicPr>
          <p:nvPr/>
        </p:nvPicPr>
        <p:blipFill rotWithShape="1">
          <a:blip r:embed="rId55" cstate="email">
            <a:extLst>
              <a:ext uri="{28A0092B-C50C-407E-A947-70E740481C1C}">
                <a14:useLocalDpi xmlns:a14="http://schemas.microsoft.com/office/drawing/2010/main"/>
              </a:ext>
            </a:extLst>
          </a:blip>
          <a:srcRect b="65827"/>
          <a:stretch/>
        </p:blipFill>
        <p:spPr>
          <a:xfrm>
            <a:off x="-4601" y="6656994"/>
            <a:ext cx="2005097" cy="527174"/>
          </a:xfrm>
          <a:prstGeom prst="rect">
            <a:avLst/>
          </a:prstGeom>
        </p:spPr>
      </p:pic>
      <p:pic>
        <p:nvPicPr>
          <p:cNvPr id="125" name="Picture 124">
            <a:hlinkClick r:id="rId56"/>
          </p:cNvPr>
          <p:cNvPicPr>
            <a:picLocks/>
          </p:cNvPicPr>
          <p:nvPr/>
        </p:nvPicPr>
        <p:blipFill rotWithShape="1">
          <a:blip r:embed="rId57" cstate="email">
            <a:extLst>
              <a:ext uri="{28A0092B-C50C-407E-A947-70E740481C1C}">
                <a14:useLocalDpi xmlns:a14="http://schemas.microsoft.com/office/drawing/2010/main"/>
              </a:ext>
            </a:extLst>
          </a:blip>
          <a:srcRect t="10207" b="56627"/>
          <a:stretch/>
        </p:blipFill>
        <p:spPr>
          <a:xfrm>
            <a:off x="2073172" y="6685228"/>
            <a:ext cx="2005097" cy="512826"/>
          </a:xfrm>
          <a:prstGeom prst="rect">
            <a:avLst/>
          </a:prstGeom>
        </p:spPr>
      </p:pic>
      <p:pic>
        <p:nvPicPr>
          <p:cNvPr id="127" name="Picture 126">
            <a:hlinkClick r:id="rId58"/>
          </p:cNvPr>
          <p:cNvPicPr>
            <a:picLocks/>
          </p:cNvPicPr>
          <p:nvPr/>
        </p:nvPicPr>
        <p:blipFill rotWithShape="1">
          <a:blip r:embed="rId59" cstate="email">
            <a:extLst>
              <a:ext uri="{28A0092B-C50C-407E-A947-70E740481C1C}">
                <a14:useLocalDpi xmlns:a14="http://schemas.microsoft.com/office/drawing/2010/main"/>
              </a:ext>
            </a:extLst>
          </a:blip>
          <a:srcRect t="20414" b="46420"/>
          <a:stretch/>
        </p:blipFill>
        <p:spPr>
          <a:xfrm>
            <a:off x="8277940" y="6656994"/>
            <a:ext cx="2005097" cy="512826"/>
          </a:xfrm>
          <a:prstGeom prst="rect">
            <a:avLst/>
          </a:prstGeom>
        </p:spPr>
      </p:pic>
      <p:pic>
        <p:nvPicPr>
          <p:cNvPr id="128" name="Picture 127">
            <a:hlinkClick r:id="rId60"/>
          </p:cNvPr>
          <p:cNvPicPr>
            <a:picLocks/>
          </p:cNvPicPr>
          <p:nvPr/>
        </p:nvPicPr>
        <p:blipFill rotWithShape="1">
          <a:blip r:embed="rId61" cstate="email">
            <a:extLst>
              <a:ext uri="{28A0092B-C50C-407E-A947-70E740481C1C}">
                <a14:useLocalDpi xmlns:a14="http://schemas.microsoft.com/office/drawing/2010/main"/>
              </a:ext>
            </a:extLst>
          </a:blip>
          <a:srcRect t="21319" b="45551"/>
          <a:stretch/>
        </p:blipFill>
        <p:spPr>
          <a:xfrm>
            <a:off x="6223190" y="6656994"/>
            <a:ext cx="2005097" cy="512826"/>
          </a:xfrm>
          <a:prstGeom prst="rect">
            <a:avLst/>
          </a:prstGeom>
        </p:spPr>
      </p:pic>
      <p:grpSp>
        <p:nvGrpSpPr>
          <p:cNvPr id="48" name="Group 47"/>
          <p:cNvGrpSpPr/>
          <p:nvPr/>
        </p:nvGrpSpPr>
        <p:grpSpPr>
          <a:xfrm>
            <a:off x="2289738" y="798715"/>
            <a:ext cx="1441588" cy="297212"/>
            <a:chOff x="-2538413" y="1627188"/>
            <a:chExt cx="17268826" cy="3606800"/>
          </a:xfrm>
          <a:solidFill>
            <a:schemeClr val="bg1"/>
          </a:solidFill>
        </p:grpSpPr>
        <p:sp>
          <p:nvSpPr>
            <p:cNvPr id="49" name="Freeform 48"/>
            <p:cNvSpPr>
              <a:spLocks/>
            </p:cNvSpPr>
            <p:nvPr/>
          </p:nvSpPr>
          <p:spPr bwMode="auto">
            <a:xfrm>
              <a:off x="1941512" y="2365376"/>
              <a:ext cx="1036638" cy="1649413"/>
            </a:xfrm>
            <a:custGeom>
              <a:avLst/>
              <a:gdLst>
                <a:gd name="T0" fmla="*/ 0 w 653"/>
                <a:gd name="T1" fmla="*/ 0 h 1039"/>
                <a:gd name="T2" fmla="*/ 653 w 653"/>
                <a:gd name="T3" fmla="*/ 0 h 1039"/>
                <a:gd name="T4" fmla="*/ 653 w 653"/>
                <a:gd name="T5" fmla="*/ 147 h 1039"/>
                <a:gd name="T6" fmla="*/ 416 w 653"/>
                <a:gd name="T7" fmla="*/ 147 h 1039"/>
                <a:gd name="T8" fmla="*/ 416 w 653"/>
                <a:gd name="T9" fmla="*/ 1039 h 1039"/>
                <a:gd name="T10" fmla="*/ 237 w 653"/>
                <a:gd name="T11" fmla="*/ 1039 h 1039"/>
                <a:gd name="T12" fmla="*/ 237 w 653"/>
                <a:gd name="T13" fmla="*/ 147 h 1039"/>
                <a:gd name="T14" fmla="*/ 0 w 653"/>
                <a:gd name="T15" fmla="*/ 147 h 1039"/>
                <a:gd name="T16" fmla="*/ 0 w 653"/>
                <a:gd name="T17"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1039">
                  <a:moveTo>
                    <a:pt x="0" y="0"/>
                  </a:moveTo>
                  <a:lnTo>
                    <a:pt x="653" y="0"/>
                  </a:lnTo>
                  <a:lnTo>
                    <a:pt x="653" y="147"/>
                  </a:lnTo>
                  <a:lnTo>
                    <a:pt x="416" y="147"/>
                  </a:lnTo>
                  <a:lnTo>
                    <a:pt x="416" y="1039"/>
                  </a:lnTo>
                  <a:lnTo>
                    <a:pt x="237" y="1039"/>
                  </a:lnTo>
                  <a:lnTo>
                    <a:pt x="237" y="147"/>
                  </a:lnTo>
                  <a:lnTo>
                    <a:pt x="0" y="147"/>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p:cNvSpPr>
              <a:spLocks/>
            </p:cNvSpPr>
            <p:nvPr/>
          </p:nvSpPr>
          <p:spPr bwMode="auto">
            <a:xfrm>
              <a:off x="3094037" y="2365376"/>
              <a:ext cx="869950" cy="1649413"/>
            </a:xfrm>
            <a:custGeom>
              <a:avLst/>
              <a:gdLst>
                <a:gd name="T0" fmla="*/ 0 w 232"/>
                <a:gd name="T1" fmla="*/ 0 h 439"/>
                <a:gd name="T2" fmla="*/ 69 w 232"/>
                <a:gd name="T3" fmla="*/ 0 h 439"/>
                <a:gd name="T4" fmla="*/ 69 w 232"/>
                <a:gd name="T5" fmla="*/ 157 h 439"/>
                <a:gd name="T6" fmla="*/ 149 w 232"/>
                <a:gd name="T7" fmla="*/ 106 h 439"/>
                <a:gd name="T8" fmla="*/ 197 w 232"/>
                <a:gd name="T9" fmla="*/ 119 h 439"/>
                <a:gd name="T10" fmla="*/ 225 w 232"/>
                <a:gd name="T11" fmla="*/ 154 h 439"/>
                <a:gd name="T12" fmla="*/ 232 w 232"/>
                <a:gd name="T13" fmla="*/ 234 h 439"/>
                <a:gd name="T14" fmla="*/ 232 w 232"/>
                <a:gd name="T15" fmla="*/ 439 h 439"/>
                <a:gd name="T16" fmla="*/ 163 w 232"/>
                <a:gd name="T17" fmla="*/ 439 h 439"/>
                <a:gd name="T18" fmla="*/ 163 w 232"/>
                <a:gd name="T19" fmla="*/ 234 h 439"/>
                <a:gd name="T20" fmla="*/ 151 w 232"/>
                <a:gd name="T21" fmla="*/ 172 h 439"/>
                <a:gd name="T22" fmla="*/ 122 w 232"/>
                <a:gd name="T23" fmla="*/ 160 h 439"/>
                <a:gd name="T24" fmla="*/ 69 w 232"/>
                <a:gd name="T25" fmla="*/ 253 h 439"/>
                <a:gd name="T26" fmla="*/ 69 w 232"/>
                <a:gd name="T27" fmla="*/ 439 h 439"/>
                <a:gd name="T28" fmla="*/ 0 w 232"/>
                <a:gd name="T29" fmla="*/ 439 h 439"/>
                <a:gd name="T30" fmla="*/ 0 w 232"/>
                <a:gd name="T31"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439">
                  <a:moveTo>
                    <a:pt x="0" y="0"/>
                  </a:moveTo>
                  <a:cubicBezTo>
                    <a:pt x="69" y="0"/>
                    <a:pt x="69" y="0"/>
                    <a:pt x="69" y="0"/>
                  </a:cubicBezTo>
                  <a:cubicBezTo>
                    <a:pt x="69" y="157"/>
                    <a:pt x="69" y="157"/>
                    <a:pt x="69" y="157"/>
                  </a:cubicBezTo>
                  <a:cubicBezTo>
                    <a:pt x="85" y="123"/>
                    <a:pt x="111" y="106"/>
                    <a:pt x="149" y="106"/>
                  </a:cubicBezTo>
                  <a:cubicBezTo>
                    <a:pt x="168" y="106"/>
                    <a:pt x="184" y="111"/>
                    <a:pt x="197" y="119"/>
                  </a:cubicBezTo>
                  <a:cubicBezTo>
                    <a:pt x="210" y="128"/>
                    <a:pt x="219" y="139"/>
                    <a:pt x="225" y="154"/>
                  </a:cubicBezTo>
                  <a:cubicBezTo>
                    <a:pt x="230" y="168"/>
                    <a:pt x="232" y="195"/>
                    <a:pt x="232" y="234"/>
                  </a:cubicBezTo>
                  <a:cubicBezTo>
                    <a:pt x="232" y="439"/>
                    <a:pt x="232" y="439"/>
                    <a:pt x="232" y="439"/>
                  </a:cubicBezTo>
                  <a:cubicBezTo>
                    <a:pt x="163" y="439"/>
                    <a:pt x="163" y="439"/>
                    <a:pt x="163" y="439"/>
                  </a:cubicBezTo>
                  <a:cubicBezTo>
                    <a:pt x="163" y="234"/>
                    <a:pt x="163" y="234"/>
                    <a:pt x="163" y="234"/>
                  </a:cubicBezTo>
                  <a:cubicBezTo>
                    <a:pt x="163" y="201"/>
                    <a:pt x="159" y="180"/>
                    <a:pt x="151" y="172"/>
                  </a:cubicBezTo>
                  <a:cubicBezTo>
                    <a:pt x="143" y="164"/>
                    <a:pt x="133" y="160"/>
                    <a:pt x="122" y="160"/>
                  </a:cubicBezTo>
                  <a:cubicBezTo>
                    <a:pt x="87" y="160"/>
                    <a:pt x="69" y="191"/>
                    <a:pt x="69" y="253"/>
                  </a:cubicBezTo>
                  <a:cubicBezTo>
                    <a:pt x="69" y="439"/>
                    <a:pt x="69" y="439"/>
                    <a:pt x="69" y="439"/>
                  </a:cubicBezTo>
                  <a:cubicBezTo>
                    <a:pt x="0" y="439"/>
                    <a:pt x="0" y="439"/>
                    <a:pt x="0" y="439"/>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p:cNvSpPr>
              <a:spLocks/>
            </p:cNvSpPr>
            <p:nvPr/>
          </p:nvSpPr>
          <p:spPr bwMode="auto">
            <a:xfrm>
              <a:off x="4095750" y="2794001"/>
              <a:ext cx="941388" cy="1657350"/>
            </a:xfrm>
            <a:custGeom>
              <a:avLst/>
              <a:gdLst>
                <a:gd name="T0" fmla="*/ 0 w 251"/>
                <a:gd name="T1" fmla="*/ 0 h 441"/>
                <a:gd name="T2" fmla="*/ 68 w 251"/>
                <a:gd name="T3" fmla="*/ 0 h 441"/>
                <a:gd name="T4" fmla="*/ 127 w 251"/>
                <a:gd name="T5" fmla="*/ 226 h 441"/>
                <a:gd name="T6" fmla="*/ 188 w 251"/>
                <a:gd name="T7" fmla="*/ 0 h 441"/>
                <a:gd name="T8" fmla="*/ 251 w 251"/>
                <a:gd name="T9" fmla="*/ 0 h 441"/>
                <a:gd name="T10" fmla="*/ 142 w 251"/>
                <a:gd name="T11" fmla="*/ 346 h 441"/>
                <a:gd name="T12" fmla="*/ 120 w 251"/>
                <a:gd name="T13" fmla="*/ 401 h 441"/>
                <a:gd name="T14" fmla="*/ 91 w 251"/>
                <a:gd name="T15" fmla="*/ 430 h 441"/>
                <a:gd name="T16" fmla="*/ 44 w 251"/>
                <a:gd name="T17" fmla="*/ 441 h 441"/>
                <a:gd name="T18" fmla="*/ 8 w 251"/>
                <a:gd name="T19" fmla="*/ 437 h 441"/>
                <a:gd name="T20" fmla="*/ 8 w 251"/>
                <a:gd name="T21" fmla="*/ 383 h 441"/>
                <a:gd name="T22" fmla="*/ 33 w 251"/>
                <a:gd name="T23" fmla="*/ 385 h 441"/>
                <a:gd name="T24" fmla="*/ 71 w 251"/>
                <a:gd name="T25" fmla="*/ 373 h 441"/>
                <a:gd name="T26" fmla="*/ 95 w 251"/>
                <a:gd name="T27" fmla="*/ 314 h 441"/>
                <a:gd name="T28" fmla="*/ 0 w 251"/>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1" h="441">
                  <a:moveTo>
                    <a:pt x="0" y="0"/>
                  </a:moveTo>
                  <a:cubicBezTo>
                    <a:pt x="68" y="0"/>
                    <a:pt x="68" y="0"/>
                    <a:pt x="68" y="0"/>
                  </a:cubicBezTo>
                  <a:cubicBezTo>
                    <a:pt x="127" y="226"/>
                    <a:pt x="127" y="226"/>
                    <a:pt x="127" y="226"/>
                  </a:cubicBezTo>
                  <a:cubicBezTo>
                    <a:pt x="188" y="0"/>
                    <a:pt x="188" y="0"/>
                    <a:pt x="188" y="0"/>
                  </a:cubicBezTo>
                  <a:cubicBezTo>
                    <a:pt x="251" y="0"/>
                    <a:pt x="251" y="0"/>
                    <a:pt x="251" y="0"/>
                  </a:cubicBezTo>
                  <a:cubicBezTo>
                    <a:pt x="142" y="346"/>
                    <a:pt x="142" y="346"/>
                    <a:pt x="142" y="346"/>
                  </a:cubicBezTo>
                  <a:cubicBezTo>
                    <a:pt x="134" y="371"/>
                    <a:pt x="126" y="389"/>
                    <a:pt x="120" y="401"/>
                  </a:cubicBezTo>
                  <a:cubicBezTo>
                    <a:pt x="113" y="413"/>
                    <a:pt x="104" y="423"/>
                    <a:pt x="91" y="430"/>
                  </a:cubicBezTo>
                  <a:cubicBezTo>
                    <a:pt x="79" y="438"/>
                    <a:pt x="63" y="441"/>
                    <a:pt x="44" y="441"/>
                  </a:cubicBezTo>
                  <a:cubicBezTo>
                    <a:pt x="33" y="441"/>
                    <a:pt x="21" y="440"/>
                    <a:pt x="8" y="437"/>
                  </a:cubicBezTo>
                  <a:cubicBezTo>
                    <a:pt x="8" y="383"/>
                    <a:pt x="8" y="383"/>
                    <a:pt x="8" y="383"/>
                  </a:cubicBezTo>
                  <a:cubicBezTo>
                    <a:pt x="17" y="385"/>
                    <a:pt x="26" y="385"/>
                    <a:pt x="33" y="385"/>
                  </a:cubicBezTo>
                  <a:cubicBezTo>
                    <a:pt x="51" y="385"/>
                    <a:pt x="64" y="381"/>
                    <a:pt x="71" y="373"/>
                  </a:cubicBezTo>
                  <a:cubicBezTo>
                    <a:pt x="79" y="364"/>
                    <a:pt x="87" y="345"/>
                    <a:pt x="95" y="314"/>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p:cNvSpPr>
              <a:spLocks/>
            </p:cNvSpPr>
            <p:nvPr/>
          </p:nvSpPr>
          <p:spPr bwMode="auto">
            <a:xfrm>
              <a:off x="5067300" y="2763838"/>
              <a:ext cx="915988" cy="1281113"/>
            </a:xfrm>
            <a:custGeom>
              <a:avLst/>
              <a:gdLst>
                <a:gd name="T0" fmla="*/ 232 w 244"/>
                <a:gd name="T1" fmla="*/ 84 h 341"/>
                <a:gd name="T2" fmla="*/ 177 w 244"/>
                <a:gd name="T3" fmla="*/ 98 h 341"/>
                <a:gd name="T4" fmla="*/ 121 w 244"/>
                <a:gd name="T5" fmla="*/ 50 h 341"/>
                <a:gd name="T6" fmla="*/ 90 w 244"/>
                <a:gd name="T7" fmla="*/ 61 h 341"/>
                <a:gd name="T8" fmla="*/ 78 w 244"/>
                <a:gd name="T9" fmla="*/ 90 h 341"/>
                <a:gd name="T10" fmla="*/ 90 w 244"/>
                <a:gd name="T11" fmla="*/ 118 h 341"/>
                <a:gd name="T12" fmla="*/ 145 w 244"/>
                <a:gd name="T13" fmla="*/ 140 h 341"/>
                <a:gd name="T14" fmla="*/ 220 w 244"/>
                <a:gd name="T15" fmla="*/ 179 h 341"/>
                <a:gd name="T16" fmla="*/ 244 w 244"/>
                <a:gd name="T17" fmla="*/ 238 h 341"/>
                <a:gd name="T18" fmla="*/ 211 w 244"/>
                <a:gd name="T19" fmla="*/ 311 h 341"/>
                <a:gd name="T20" fmla="*/ 121 w 244"/>
                <a:gd name="T21" fmla="*/ 341 h 341"/>
                <a:gd name="T22" fmla="*/ 0 w 244"/>
                <a:gd name="T23" fmla="*/ 246 h 341"/>
                <a:gd name="T24" fmla="*/ 59 w 244"/>
                <a:gd name="T25" fmla="*/ 236 h 341"/>
                <a:gd name="T26" fmla="*/ 122 w 244"/>
                <a:gd name="T27" fmla="*/ 292 h 341"/>
                <a:gd name="T28" fmla="*/ 161 w 244"/>
                <a:gd name="T29" fmla="*/ 279 h 341"/>
                <a:gd name="T30" fmla="*/ 174 w 244"/>
                <a:gd name="T31" fmla="*/ 248 h 341"/>
                <a:gd name="T32" fmla="*/ 165 w 244"/>
                <a:gd name="T33" fmla="*/ 224 h 341"/>
                <a:gd name="T34" fmla="*/ 116 w 244"/>
                <a:gd name="T35" fmla="*/ 199 h 341"/>
                <a:gd name="T36" fmla="*/ 57 w 244"/>
                <a:gd name="T37" fmla="*/ 176 h 341"/>
                <a:gd name="T38" fmla="*/ 25 w 244"/>
                <a:gd name="T39" fmla="*/ 146 h 341"/>
                <a:gd name="T40" fmla="*/ 12 w 244"/>
                <a:gd name="T41" fmla="*/ 100 h 341"/>
                <a:gd name="T42" fmla="*/ 43 w 244"/>
                <a:gd name="T43" fmla="*/ 30 h 341"/>
                <a:gd name="T44" fmla="*/ 124 w 244"/>
                <a:gd name="T45" fmla="*/ 0 h 341"/>
                <a:gd name="T46" fmla="*/ 232 w 244"/>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341">
                  <a:moveTo>
                    <a:pt x="232" y="84"/>
                  </a:moveTo>
                  <a:cubicBezTo>
                    <a:pt x="177" y="98"/>
                    <a:pt x="177" y="98"/>
                    <a:pt x="177" y="98"/>
                  </a:cubicBezTo>
                  <a:cubicBezTo>
                    <a:pt x="168" y="66"/>
                    <a:pt x="149" y="50"/>
                    <a:pt x="121" y="50"/>
                  </a:cubicBezTo>
                  <a:cubicBezTo>
                    <a:pt x="108" y="50"/>
                    <a:pt x="98" y="53"/>
                    <a:pt x="90" y="61"/>
                  </a:cubicBezTo>
                  <a:cubicBezTo>
                    <a:pt x="82" y="69"/>
                    <a:pt x="78" y="78"/>
                    <a:pt x="78" y="90"/>
                  </a:cubicBezTo>
                  <a:cubicBezTo>
                    <a:pt x="78" y="102"/>
                    <a:pt x="82" y="112"/>
                    <a:pt x="90" y="118"/>
                  </a:cubicBezTo>
                  <a:cubicBezTo>
                    <a:pt x="98" y="124"/>
                    <a:pt x="116" y="131"/>
                    <a:pt x="145" y="140"/>
                  </a:cubicBezTo>
                  <a:cubicBezTo>
                    <a:pt x="180" y="152"/>
                    <a:pt x="205" y="164"/>
                    <a:pt x="220" y="179"/>
                  </a:cubicBezTo>
                  <a:cubicBezTo>
                    <a:pt x="236" y="193"/>
                    <a:pt x="244" y="213"/>
                    <a:pt x="244" y="238"/>
                  </a:cubicBezTo>
                  <a:cubicBezTo>
                    <a:pt x="244" y="267"/>
                    <a:pt x="233" y="291"/>
                    <a:pt x="211" y="311"/>
                  </a:cubicBezTo>
                  <a:cubicBezTo>
                    <a:pt x="188" y="331"/>
                    <a:pt x="159" y="341"/>
                    <a:pt x="121" y="341"/>
                  </a:cubicBezTo>
                  <a:cubicBezTo>
                    <a:pt x="50" y="341"/>
                    <a:pt x="10" y="309"/>
                    <a:pt x="0" y="246"/>
                  </a:cubicBezTo>
                  <a:cubicBezTo>
                    <a:pt x="59" y="236"/>
                    <a:pt x="59" y="236"/>
                    <a:pt x="59" y="236"/>
                  </a:cubicBezTo>
                  <a:cubicBezTo>
                    <a:pt x="67" y="273"/>
                    <a:pt x="88" y="292"/>
                    <a:pt x="122" y="292"/>
                  </a:cubicBezTo>
                  <a:cubicBezTo>
                    <a:pt x="140" y="292"/>
                    <a:pt x="153" y="288"/>
                    <a:pt x="161" y="279"/>
                  </a:cubicBezTo>
                  <a:cubicBezTo>
                    <a:pt x="170" y="270"/>
                    <a:pt x="174" y="260"/>
                    <a:pt x="174" y="248"/>
                  </a:cubicBezTo>
                  <a:cubicBezTo>
                    <a:pt x="174" y="240"/>
                    <a:pt x="171" y="232"/>
                    <a:pt x="165" y="224"/>
                  </a:cubicBezTo>
                  <a:cubicBezTo>
                    <a:pt x="159" y="216"/>
                    <a:pt x="143" y="208"/>
                    <a:pt x="116" y="199"/>
                  </a:cubicBezTo>
                  <a:cubicBezTo>
                    <a:pt x="90" y="191"/>
                    <a:pt x="71" y="183"/>
                    <a:pt x="57" y="176"/>
                  </a:cubicBezTo>
                  <a:cubicBezTo>
                    <a:pt x="44" y="169"/>
                    <a:pt x="33" y="159"/>
                    <a:pt x="25" y="146"/>
                  </a:cubicBezTo>
                  <a:cubicBezTo>
                    <a:pt x="16" y="132"/>
                    <a:pt x="12" y="117"/>
                    <a:pt x="12" y="100"/>
                  </a:cubicBezTo>
                  <a:cubicBezTo>
                    <a:pt x="12" y="72"/>
                    <a:pt x="23" y="49"/>
                    <a:pt x="43" y="30"/>
                  </a:cubicBezTo>
                  <a:cubicBezTo>
                    <a:pt x="64" y="10"/>
                    <a:pt x="91" y="0"/>
                    <a:pt x="124" y="0"/>
                  </a:cubicBezTo>
                  <a:cubicBezTo>
                    <a:pt x="180" y="0"/>
                    <a:pt x="216"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p:cNvSpPr>
              <a:spLocks/>
            </p:cNvSpPr>
            <p:nvPr/>
          </p:nvSpPr>
          <p:spPr bwMode="auto">
            <a:xfrm>
              <a:off x="6069012" y="2763838"/>
              <a:ext cx="912813" cy="1281113"/>
            </a:xfrm>
            <a:custGeom>
              <a:avLst/>
              <a:gdLst>
                <a:gd name="T0" fmla="*/ 232 w 243"/>
                <a:gd name="T1" fmla="*/ 84 h 341"/>
                <a:gd name="T2" fmla="*/ 177 w 243"/>
                <a:gd name="T3" fmla="*/ 98 h 341"/>
                <a:gd name="T4" fmla="*/ 121 w 243"/>
                <a:gd name="T5" fmla="*/ 50 h 341"/>
                <a:gd name="T6" fmla="*/ 90 w 243"/>
                <a:gd name="T7" fmla="*/ 61 h 341"/>
                <a:gd name="T8" fmla="*/ 78 w 243"/>
                <a:gd name="T9" fmla="*/ 90 h 341"/>
                <a:gd name="T10" fmla="*/ 90 w 243"/>
                <a:gd name="T11" fmla="*/ 118 h 341"/>
                <a:gd name="T12" fmla="*/ 144 w 243"/>
                <a:gd name="T13" fmla="*/ 140 h 341"/>
                <a:gd name="T14" fmla="*/ 220 w 243"/>
                <a:gd name="T15" fmla="*/ 179 h 341"/>
                <a:gd name="T16" fmla="*/ 243 w 243"/>
                <a:gd name="T17" fmla="*/ 238 h 341"/>
                <a:gd name="T18" fmla="*/ 210 w 243"/>
                <a:gd name="T19" fmla="*/ 311 h 341"/>
                <a:gd name="T20" fmla="*/ 121 w 243"/>
                <a:gd name="T21" fmla="*/ 341 h 341"/>
                <a:gd name="T22" fmla="*/ 0 w 243"/>
                <a:gd name="T23" fmla="*/ 246 h 341"/>
                <a:gd name="T24" fmla="*/ 59 w 243"/>
                <a:gd name="T25" fmla="*/ 236 h 341"/>
                <a:gd name="T26" fmla="*/ 122 w 243"/>
                <a:gd name="T27" fmla="*/ 292 h 341"/>
                <a:gd name="T28" fmla="*/ 161 w 243"/>
                <a:gd name="T29" fmla="*/ 279 h 341"/>
                <a:gd name="T30" fmla="*/ 174 w 243"/>
                <a:gd name="T31" fmla="*/ 248 h 341"/>
                <a:gd name="T32" fmla="*/ 165 w 243"/>
                <a:gd name="T33" fmla="*/ 224 h 341"/>
                <a:gd name="T34" fmla="*/ 116 w 243"/>
                <a:gd name="T35" fmla="*/ 199 h 341"/>
                <a:gd name="T36" fmla="*/ 57 w 243"/>
                <a:gd name="T37" fmla="*/ 176 h 341"/>
                <a:gd name="T38" fmla="*/ 25 w 243"/>
                <a:gd name="T39" fmla="*/ 146 h 341"/>
                <a:gd name="T40" fmla="*/ 12 w 243"/>
                <a:gd name="T41" fmla="*/ 100 h 341"/>
                <a:gd name="T42" fmla="*/ 43 w 243"/>
                <a:gd name="T43" fmla="*/ 30 h 341"/>
                <a:gd name="T44" fmla="*/ 123 w 243"/>
                <a:gd name="T45" fmla="*/ 0 h 341"/>
                <a:gd name="T46" fmla="*/ 232 w 243"/>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341">
                  <a:moveTo>
                    <a:pt x="232" y="84"/>
                  </a:moveTo>
                  <a:cubicBezTo>
                    <a:pt x="177" y="98"/>
                    <a:pt x="177" y="98"/>
                    <a:pt x="177" y="98"/>
                  </a:cubicBezTo>
                  <a:cubicBezTo>
                    <a:pt x="167" y="66"/>
                    <a:pt x="148" y="50"/>
                    <a:pt x="121" y="50"/>
                  </a:cubicBezTo>
                  <a:cubicBezTo>
                    <a:pt x="108" y="50"/>
                    <a:pt x="98" y="53"/>
                    <a:pt x="90" y="61"/>
                  </a:cubicBezTo>
                  <a:cubicBezTo>
                    <a:pt x="82" y="69"/>
                    <a:pt x="78" y="78"/>
                    <a:pt x="78" y="90"/>
                  </a:cubicBezTo>
                  <a:cubicBezTo>
                    <a:pt x="78" y="102"/>
                    <a:pt x="82" y="112"/>
                    <a:pt x="90" y="118"/>
                  </a:cubicBezTo>
                  <a:cubicBezTo>
                    <a:pt x="98" y="124"/>
                    <a:pt x="116" y="131"/>
                    <a:pt x="144" y="140"/>
                  </a:cubicBezTo>
                  <a:cubicBezTo>
                    <a:pt x="179" y="152"/>
                    <a:pt x="205" y="164"/>
                    <a:pt x="220" y="179"/>
                  </a:cubicBezTo>
                  <a:cubicBezTo>
                    <a:pt x="236" y="193"/>
                    <a:pt x="243" y="213"/>
                    <a:pt x="243" y="238"/>
                  </a:cubicBezTo>
                  <a:cubicBezTo>
                    <a:pt x="243" y="267"/>
                    <a:pt x="232" y="291"/>
                    <a:pt x="210" y="311"/>
                  </a:cubicBezTo>
                  <a:cubicBezTo>
                    <a:pt x="188" y="331"/>
                    <a:pt x="158" y="341"/>
                    <a:pt x="121" y="341"/>
                  </a:cubicBezTo>
                  <a:cubicBezTo>
                    <a:pt x="50" y="341"/>
                    <a:pt x="10" y="309"/>
                    <a:pt x="0" y="246"/>
                  </a:cubicBezTo>
                  <a:cubicBezTo>
                    <a:pt x="59" y="236"/>
                    <a:pt x="59" y="236"/>
                    <a:pt x="59" y="236"/>
                  </a:cubicBezTo>
                  <a:cubicBezTo>
                    <a:pt x="66" y="273"/>
                    <a:pt x="87" y="292"/>
                    <a:pt x="122" y="292"/>
                  </a:cubicBezTo>
                  <a:cubicBezTo>
                    <a:pt x="139" y="292"/>
                    <a:pt x="152" y="288"/>
                    <a:pt x="161" y="279"/>
                  </a:cubicBezTo>
                  <a:cubicBezTo>
                    <a:pt x="169" y="270"/>
                    <a:pt x="174" y="260"/>
                    <a:pt x="174" y="248"/>
                  </a:cubicBezTo>
                  <a:cubicBezTo>
                    <a:pt x="174" y="240"/>
                    <a:pt x="171" y="232"/>
                    <a:pt x="165" y="224"/>
                  </a:cubicBezTo>
                  <a:cubicBezTo>
                    <a:pt x="159" y="216"/>
                    <a:pt x="142" y="208"/>
                    <a:pt x="116" y="199"/>
                  </a:cubicBezTo>
                  <a:cubicBezTo>
                    <a:pt x="90" y="191"/>
                    <a:pt x="70" y="183"/>
                    <a:pt x="57" y="176"/>
                  </a:cubicBezTo>
                  <a:cubicBezTo>
                    <a:pt x="44" y="169"/>
                    <a:pt x="33" y="159"/>
                    <a:pt x="25" y="146"/>
                  </a:cubicBezTo>
                  <a:cubicBezTo>
                    <a:pt x="16" y="132"/>
                    <a:pt x="12" y="117"/>
                    <a:pt x="12" y="100"/>
                  </a:cubicBezTo>
                  <a:cubicBezTo>
                    <a:pt x="12" y="72"/>
                    <a:pt x="22" y="49"/>
                    <a:pt x="43" y="30"/>
                  </a:cubicBezTo>
                  <a:cubicBezTo>
                    <a:pt x="64" y="10"/>
                    <a:pt x="91" y="0"/>
                    <a:pt x="123" y="0"/>
                  </a:cubicBezTo>
                  <a:cubicBezTo>
                    <a:pt x="179" y="0"/>
                    <a:pt x="215"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p:cNvSpPr>
              <a:spLocks noEditPoints="1"/>
            </p:cNvSpPr>
            <p:nvPr/>
          </p:nvSpPr>
          <p:spPr bwMode="auto">
            <a:xfrm>
              <a:off x="7119938" y="2763838"/>
              <a:ext cx="973138" cy="1281113"/>
            </a:xfrm>
            <a:custGeom>
              <a:avLst/>
              <a:gdLst>
                <a:gd name="T0" fmla="*/ 259 w 259"/>
                <a:gd name="T1" fmla="*/ 181 h 341"/>
                <a:gd name="T2" fmla="*/ 71 w 259"/>
                <a:gd name="T3" fmla="*/ 181 h 341"/>
                <a:gd name="T4" fmla="*/ 89 w 259"/>
                <a:gd name="T5" fmla="*/ 269 h 341"/>
                <a:gd name="T6" fmla="*/ 135 w 259"/>
                <a:gd name="T7" fmla="*/ 291 h 341"/>
                <a:gd name="T8" fmla="*/ 192 w 259"/>
                <a:gd name="T9" fmla="*/ 230 h 341"/>
                <a:gd name="T10" fmla="*/ 256 w 259"/>
                <a:gd name="T11" fmla="*/ 238 h 341"/>
                <a:gd name="T12" fmla="*/ 132 w 259"/>
                <a:gd name="T13" fmla="*/ 341 h 341"/>
                <a:gd name="T14" fmla="*/ 36 w 259"/>
                <a:gd name="T15" fmla="*/ 299 h 341"/>
                <a:gd name="T16" fmla="*/ 0 w 259"/>
                <a:gd name="T17" fmla="*/ 175 h 341"/>
                <a:gd name="T18" fmla="*/ 36 w 259"/>
                <a:gd name="T19" fmla="*/ 46 h 341"/>
                <a:gd name="T20" fmla="*/ 134 w 259"/>
                <a:gd name="T21" fmla="*/ 0 h 341"/>
                <a:gd name="T22" fmla="*/ 206 w 259"/>
                <a:gd name="T23" fmla="*/ 23 h 341"/>
                <a:gd name="T24" fmla="*/ 247 w 259"/>
                <a:gd name="T25" fmla="*/ 83 h 341"/>
                <a:gd name="T26" fmla="*/ 259 w 259"/>
                <a:gd name="T27" fmla="*/ 181 h 341"/>
                <a:gd name="T28" fmla="*/ 189 w 259"/>
                <a:gd name="T29" fmla="*/ 134 h 341"/>
                <a:gd name="T30" fmla="*/ 132 w 259"/>
                <a:gd name="T31" fmla="*/ 50 h 341"/>
                <a:gd name="T32" fmla="*/ 73 w 259"/>
                <a:gd name="T33" fmla="*/ 134 h 341"/>
                <a:gd name="T34" fmla="*/ 189 w 259"/>
                <a:gd name="T35" fmla="*/ 13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9" h="341">
                  <a:moveTo>
                    <a:pt x="259" y="181"/>
                  </a:moveTo>
                  <a:cubicBezTo>
                    <a:pt x="71" y="181"/>
                    <a:pt x="71" y="181"/>
                    <a:pt x="71" y="181"/>
                  </a:cubicBezTo>
                  <a:cubicBezTo>
                    <a:pt x="71" y="225"/>
                    <a:pt x="77" y="254"/>
                    <a:pt x="89" y="269"/>
                  </a:cubicBezTo>
                  <a:cubicBezTo>
                    <a:pt x="101" y="283"/>
                    <a:pt x="116" y="291"/>
                    <a:pt x="135" y="291"/>
                  </a:cubicBezTo>
                  <a:cubicBezTo>
                    <a:pt x="165" y="291"/>
                    <a:pt x="184" y="270"/>
                    <a:pt x="192" y="230"/>
                  </a:cubicBezTo>
                  <a:cubicBezTo>
                    <a:pt x="256" y="238"/>
                    <a:pt x="256" y="238"/>
                    <a:pt x="256" y="238"/>
                  </a:cubicBezTo>
                  <a:cubicBezTo>
                    <a:pt x="239" y="307"/>
                    <a:pt x="198" y="341"/>
                    <a:pt x="132" y="341"/>
                  </a:cubicBezTo>
                  <a:cubicBezTo>
                    <a:pt x="92" y="341"/>
                    <a:pt x="60" y="327"/>
                    <a:pt x="36" y="299"/>
                  </a:cubicBezTo>
                  <a:cubicBezTo>
                    <a:pt x="12" y="271"/>
                    <a:pt x="0" y="230"/>
                    <a:pt x="0" y="175"/>
                  </a:cubicBezTo>
                  <a:cubicBezTo>
                    <a:pt x="0" y="120"/>
                    <a:pt x="12" y="77"/>
                    <a:pt x="36" y="46"/>
                  </a:cubicBezTo>
                  <a:cubicBezTo>
                    <a:pt x="60" y="16"/>
                    <a:pt x="93" y="0"/>
                    <a:pt x="134" y="0"/>
                  </a:cubicBezTo>
                  <a:cubicBezTo>
                    <a:pt x="162" y="0"/>
                    <a:pt x="186" y="8"/>
                    <a:pt x="206" y="23"/>
                  </a:cubicBezTo>
                  <a:cubicBezTo>
                    <a:pt x="225" y="39"/>
                    <a:pt x="239" y="59"/>
                    <a:pt x="247" y="83"/>
                  </a:cubicBezTo>
                  <a:cubicBezTo>
                    <a:pt x="255" y="108"/>
                    <a:pt x="259" y="141"/>
                    <a:pt x="259" y="181"/>
                  </a:cubicBezTo>
                  <a:close/>
                  <a:moveTo>
                    <a:pt x="189" y="134"/>
                  </a:moveTo>
                  <a:cubicBezTo>
                    <a:pt x="189" y="78"/>
                    <a:pt x="170" y="50"/>
                    <a:pt x="132" y="50"/>
                  </a:cubicBezTo>
                  <a:cubicBezTo>
                    <a:pt x="96" y="50"/>
                    <a:pt x="76" y="78"/>
                    <a:pt x="73" y="134"/>
                  </a:cubicBezTo>
                  <a:lnTo>
                    <a:pt x="189" y="1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p:cNvSpPr>
              <a:spLocks/>
            </p:cNvSpPr>
            <p:nvPr/>
          </p:nvSpPr>
          <p:spPr bwMode="auto">
            <a:xfrm>
              <a:off x="8310563" y="2763838"/>
              <a:ext cx="873125" cy="1250950"/>
            </a:xfrm>
            <a:custGeom>
              <a:avLst/>
              <a:gdLst>
                <a:gd name="T0" fmla="*/ 0 w 233"/>
                <a:gd name="T1" fmla="*/ 8 h 333"/>
                <a:gd name="T2" fmla="*/ 64 w 233"/>
                <a:gd name="T3" fmla="*/ 8 h 333"/>
                <a:gd name="T4" fmla="*/ 64 w 233"/>
                <a:gd name="T5" fmla="*/ 58 h 333"/>
                <a:gd name="T6" fmla="*/ 147 w 233"/>
                <a:gd name="T7" fmla="*/ 0 h 333"/>
                <a:gd name="T8" fmla="*/ 201 w 233"/>
                <a:gd name="T9" fmla="*/ 16 h 333"/>
                <a:gd name="T10" fmla="*/ 228 w 233"/>
                <a:gd name="T11" fmla="*/ 54 h 333"/>
                <a:gd name="T12" fmla="*/ 233 w 233"/>
                <a:gd name="T13" fmla="*/ 124 h 333"/>
                <a:gd name="T14" fmla="*/ 233 w 233"/>
                <a:gd name="T15" fmla="*/ 333 h 333"/>
                <a:gd name="T16" fmla="*/ 163 w 233"/>
                <a:gd name="T17" fmla="*/ 333 h 333"/>
                <a:gd name="T18" fmla="*/ 163 w 233"/>
                <a:gd name="T19" fmla="*/ 127 h 333"/>
                <a:gd name="T20" fmla="*/ 156 w 233"/>
                <a:gd name="T21" fmla="*/ 69 h 333"/>
                <a:gd name="T22" fmla="*/ 124 w 233"/>
                <a:gd name="T23" fmla="*/ 54 h 333"/>
                <a:gd name="T24" fmla="*/ 84 w 233"/>
                <a:gd name="T25" fmla="*/ 74 h 333"/>
                <a:gd name="T26" fmla="*/ 70 w 233"/>
                <a:gd name="T27" fmla="*/ 151 h 333"/>
                <a:gd name="T28" fmla="*/ 70 w 233"/>
                <a:gd name="T29" fmla="*/ 333 h 333"/>
                <a:gd name="T30" fmla="*/ 0 w 233"/>
                <a:gd name="T31" fmla="*/ 333 h 333"/>
                <a:gd name="T32" fmla="*/ 0 w 233"/>
                <a:gd name="T33"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8"/>
                  </a:moveTo>
                  <a:cubicBezTo>
                    <a:pt x="64" y="8"/>
                    <a:pt x="64" y="8"/>
                    <a:pt x="64" y="8"/>
                  </a:cubicBezTo>
                  <a:cubicBezTo>
                    <a:pt x="64" y="58"/>
                    <a:pt x="64" y="58"/>
                    <a:pt x="64" y="58"/>
                  </a:cubicBezTo>
                  <a:cubicBezTo>
                    <a:pt x="80" y="20"/>
                    <a:pt x="107" y="0"/>
                    <a:pt x="147" y="0"/>
                  </a:cubicBezTo>
                  <a:cubicBezTo>
                    <a:pt x="169" y="0"/>
                    <a:pt x="188" y="6"/>
                    <a:pt x="201" y="16"/>
                  </a:cubicBezTo>
                  <a:cubicBezTo>
                    <a:pt x="215" y="27"/>
                    <a:pt x="224" y="39"/>
                    <a:pt x="228" y="54"/>
                  </a:cubicBezTo>
                  <a:cubicBezTo>
                    <a:pt x="231" y="69"/>
                    <a:pt x="233" y="92"/>
                    <a:pt x="233" y="124"/>
                  </a:cubicBezTo>
                  <a:cubicBezTo>
                    <a:pt x="233" y="333"/>
                    <a:pt x="233" y="333"/>
                    <a:pt x="233" y="333"/>
                  </a:cubicBezTo>
                  <a:cubicBezTo>
                    <a:pt x="163" y="333"/>
                    <a:pt x="163" y="333"/>
                    <a:pt x="163" y="333"/>
                  </a:cubicBezTo>
                  <a:cubicBezTo>
                    <a:pt x="163" y="127"/>
                    <a:pt x="163" y="127"/>
                    <a:pt x="163" y="127"/>
                  </a:cubicBezTo>
                  <a:cubicBezTo>
                    <a:pt x="163" y="99"/>
                    <a:pt x="161" y="80"/>
                    <a:pt x="156" y="69"/>
                  </a:cubicBezTo>
                  <a:cubicBezTo>
                    <a:pt x="151" y="59"/>
                    <a:pt x="140" y="54"/>
                    <a:pt x="124" y="54"/>
                  </a:cubicBezTo>
                  <a:cubicBezTo>
                    <a:pt x="107" y="54"/>
                    <a:pt x="94" y="61"/>
                    <a:pt x="84" y="74"/>
                  </a:cubicBezTo>
                  <a:cubicBezTo>
                    <a:pt x="75" y="87"/>
                    <a:pt x="70" y="112"/>
                    <a:pt x="70" y="151"/>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p:cNvSpPr>
              <a:spLocks/>
            </p:cNvSpPr>
            <p:nvPr/>
          </p:nvSpPr>
          <p:spPr bwMode="auto">
            <a:xfrm>
              <a:off x="9496425" y="2365376"/>
              <a:ext cx="1162050" cy="1649413"/>
            </a:xfrm>
            <a:custGeom>
              <a:avLst/>
              <a:gdLst>
                <a:gd name="T0" fmla="*/ 0 w 732"/>
                <a:gd name="T1" fmla="*/ 0 h 1039"/>
                <a:gd name="T2" fmla="*/ 177 w 732"/>
                <a:gd name="T3" fmla="*/ 0 h 1039"/>
                <a:gd name="T4" fmla="*/ 177 w 732"/>
                <a:gd name="T5" fmla="*/ 499 h 1039"/>
                <a:gd name="T6" fmla="*/ 501 w 732"/>
                <a:gd name="T7" fmla="*/ 0 h 1039"/>
                <a:gd name="T8" fmla="*/ 685 w 732"/>
                <a:gd name="T9" fmla="*/ 0 h 1039"/>
                <a:gd name="T10" fmla="*/ 411 w 732"/>
                <a:gd name="T11" fmla="*/ 381 h 1039"/>
                <a:gd name="T12" fmla="*/ 732 w 732"/>
                <a:gd name="T13" fmla="*/ 1039 h 1039"/>
                <a:gd name="T14" fmla="*/ 541 w 732"/>
                <a:gd name="T15" fmla="*/ 1039 h 1039"/>
                <a:gd name="T16" fmla="*/ 302 w 732"/>
                <a:gd name="T17" fmla="*/ 523 h 1039"/>
                <a:gd name="T18" fmla="*/ 177 w 732"/>
                <a:gd name="T19" fmla="*/ 698 h 1039"/>
                <a:gd name="T20" fmla="*/ 177 w 732"/>
                <a:gd name="T21" fmla="*/ 1039 h 1039"/>
                <a:gd name="T22" fmla="*/ 0 w 732"/>
                <a:gd name="T23" fmla="*/ 1039 h 1039"/>
                <a:gd name="T24" fmla="*/ 0 w 732"/>
                <a:gd name="T25"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2" h="1039">
                  <a:moveTo>
                    <a:pt x="0" y="0"/>
                  </a:moveTo>
                  <a:lnTo>
                    <a:pt x="177" y="0"/>
                  </a:lnTo>
                  <a:lnTo>
                    <a:pt x="177" y="499"/>
                  </a:lnTo>
                  <a:lnTo>
                    <a:pt x="501" y="0"/>
                  </a:lnTo>
                  <a:lnTo>
                    <a:pt x="685" y="0"/>
                  </a:lnTo>
                  <a:lnTo>
                    <a:pt x="411" y="381"/>
                  </a:lnTo>
                  <a:lnTo>
                    <a:pt x="732" y="1039"/>
                  </a:lnTo>
                  <a:lnTo>
                    <a:pt x="541" y="1039"/>
                  </a:lnTo>
                  <a:lnTo>
                    <a:pt x="302" y="523"/>
                  </a:lnTo>
                  <a:lnTo>
                    <a:pt x="177" y="698"/>
                  </a:lnTo>
                  <a:lnTo>
                    <a:pt x="177" y="1039"/>
                  </a:lnTo>
                  <a:lnTo>
                    <a:pt x="0" y="1039"/>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p:cNvSpPr>
              <a:spLocks/>
            </p:cNvSpPr>
            <p:nvPr/>
          </p:nvSpPr>
          <p:spPr bwMode="auto">
            <a:xfrm>
              <a:off x="10790238" y="2763838"/>
              <a:ext cx="588963" cy="1250950"/>
            </a:xfrm>
            <a:custGeom>
              <a:avLst/>
              <a:gdLst>
                <a:gd name="T0" fmla="*/ 0 w 157"/>
                <a:gd name="T1" fmla="*/ 8 h 333"/>
                <a:gd name="T2" fmla="*/ 61 w 157"/>
                <a:gd name="T3" fmla="*/ 8 h 333"/>
                <a:gd name="T4" fmla="*/ 61 w 157"/>
                <a:gd name="T5" fmla="*/ 81 h 333"/>
                <a:gd name="T6" fmla="*/ 145 w 157"/>
                <a:gd name="T7" fmla="*/ 0 h 333"/>
                <a:gd name="T8" fmla="*/ 157 w 157"/>
                <a:gd name="T9" fmla="*/ 1 h 333"/>
                <a:gd name="T10" fmla="*/ 157 w 157"/>
                <a:gd name="T11" fmla="*/ 72 h 333"/>
                <a:gd name="T12" fmla="*/ 143 w 157"/>
                <a:gd name="T13" fmla="*/ 71 h 333"/>
                <a:gd name="T14" fmla="*/ 70 w 157"/>
                <a:gd name="T15" fmla="*/ 168 h 333"/>
                <a:gd name="T16" fmla="*/ 70 w 157"/>
                <a:gd name="T17" fmla="*/ 333 h 333"/>
                <a:gd name="T18" fmla="*/ 0 w 157"/>
                <a:gd name="T19" fmla="*/ 333 h 333"/>
                <a:gd name="T20" fmla="*/ 0 w 157"/>
                <a:gd name="T21"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333">
                  <a:moveTo>
                    <a:pt x="0" y="8"/>
                  </a:moveTo>
                  <a:cubicBezTo>
                    <a:pt x="61" y="8"/>
                    <a:pt x="61" y="8"/>
                    <a:pt x="61" y="8"/>
                  </a:cubicBezTo>
                  <a:cubicBezTo>
                    <a:pt x="61" y="81"/>
                    <a:pt x="61" y="81"/>
                    <a:pt x="61" y="81"/>
                  </a:cubicBezTo>
                  <a:cubicBezTo>
                    <a:pt x="80" y="27"/>
                    <a:pt x="108" y="0"/>
                    <a:pt x="145" y="0"/>
                  </a:cubicBezTo>
                  <a:cubicBezTo>
                    <a:pt x="148" y="0"/>
                    <a:pt x="152" y="1"/>
                    <a:pt x="157" y="1"/>
                  </a:cubicBezTo>
                  <a:cubicBezTo>
                    <a:pt x="157" y="72"/>
                    <a:pt x="157" y="72"/>
                    <a:pt x="157" y="72"/>
                  </a:cubicBezTo>
                  <a:cubicBezTo>
                    <a:pt x="151" y="72"/>
                    <a:pt x="147" y="71"/>
                    <a:pt x="143" y="71"/>
                  </a:cubicBezTo>
                  <a:cubicBezTo>
                    <a:pt x="94" y="71"/>
                    <a:pt x="70" y="103"/>
                    <a:pt x="70" y="168"/>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p:cNvSpPr>
              <a:spLocks/>
            </p:cNvSpPr>
            <p:nvPr/>
          </p:nvSpPr>
          <p:spPr bwMode="auto">
            <a:xfrm>
              <a:off x="11477625" y="2794001"/>
              <a:ext cx="873125" cy="1250950"/>
            </a:xfrm>
            <a:custGeom>
              <a:avLst/>
              <a:gdLst>
                <a:gd name="T0" fmla="*/ 0 w 233"/>
                <a:gd name="T1" fmla="*/ 0 h 333"/>
                <a:gd name="T2" fmla="*/ 70 w 233"/>
                <a:gd name="T3" fmla="*/ 0 h 333"/>
                <a:gd name="T4" fmla="*/ 70 w 233"/>
                <a:gd name="T5" fmla="*/ 207 h 333"/>
                <a:gd name="T6" fmla="*/ 77 w 233"/>
                <a:gd name="T7" fmla="*/ 265 h 333"/>
                <a:gd name="T8" fmla="*/ 109 w 233"/>
                <a:gd name="T9" fmla="*/ 279 h 333"/>
                <a:gd name="T10" fmla="*/ 151 w 233"/>
                <a:gd name="T11" fmla="*/ 253 h 333"/>
                <a:gd name="T12" fmla="*/ 163 w 233"/>
                <a:gd name="T13" fmla="*/ 157 h 333"/>
                <a:gd name="T14" fmla="*/ 163 w 233"/>
                <a:gd name="T15" fmla="*/ 0 h 333"/>
                <a:gd name="T16" fmla="*/ 233 w 233"/>
                <a:gd name="T17" fmla="*/ 0 h 333"/>
                <a:gd name="T18" fmla="*/ 233 w 233"/>
                <a:gd name="T19" fmla="*/ 325 h 333"/>
                <a:gd name="T20" fmla="*/ 169 w 233"/>
                <a:gd name="T21" fmla="*/ 325 h 333"/>
                <a:gd name="T22" fmla="*/ 169 w 233"/>
                <a:gd name="T23" fmla="*/ 276 h 333"/>
                <a:gd name="T24" fmla="*/ 84 w 233"/>
                <a:gd name="T25" fmla="*/ 333 h 333"/>
                <a:gd name="T26" fmla="*/ 35 w 233"/>
                <a:gd name="T27" fmla="*/ 321 h 333"/>
                <a:gd name="T28" fmla="*/ 8 w 233"/>
                <a:gd name="T29" fmla="*/ 286 h 333"/>
                <a:gd name="T30" fmla="*/ 0 w 233"/>
                <a:gd name="T31" fmla="*/ 208 h 333"/>
                <a:gd name="T32" fmla="*/ 0 w 233"/>
                <a:gd name="T33"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0"/>
                  </a:moveTo>
                  <a:cubicBezTo>
                    <a:pt x="70" y="0"/>
                    <a:pt x="70" y="0"/>
                    <a:pt x="70" y="0"/>
                  </a:cubicBezTo>
                  <a:cubicBezTo>
                    <a:pt x="70" y="207"/>
                    <a:pt x="70" y="207"/>
                    <a:pt x="70" y="207"/>
                  </a:cubicBezTo>
                  <a:cubicBezTo>
                    <a:pt x="70" y="236"/>
                    <a:pt x="72" y="255"/>
                    <a:pt x="77" y="265"/>
                  </a:cubicBezTo>
                  <a:cubicBezTo>
                    <a:pt x="82" y="274"/>
                    <a:pt x="92" y="279"/>
                    <a:pt x="109" y="279"/>
                  </a:cubicBezTo>
                  <a:cubicBezTo>
                    <a:pt x="129" y="279"/>
                    <a:pt x="143" y="271"/>
                    <a:pt x="151" y="253"/>
                  </a:cubicBezTo>
                  <a:cubicBezTo>
                    <a:pt x="159" y="236"/>
                    <a:pt x="163" y="204"/>
                    <a:pt x="163" y="157"/>
                  </a:cubicBezTo>
                  <a:cubicBezTo>
                    <a:pt x="163" y="0"/>
                    <a:pt x="163" y="0"/>
                    <a:pt x="163" y="0"/>
                  </a:cubicBezTo>
                  <a:cubicBezTo>
                    <a:pt x="233" y="0"/>
                    <a:pt x="233" y="0"/>
                    <a:pt x="233" y="0"/>
                  </a:cubicBezTo>
                  <a:cubicBezTo>
                    <a:pt x="233" y="325"/>
                    <a:pt x="233" y="325"/>
                    <a:pt x="233" y="325"/>
                  </a:cubicBezTo>
                  <a:cubicBezTo>
                    <a:pt x="169" y="325"/>
                    <a:pt x="169" y="325"/>
                    <a:pt x="169" y="325"/>
                  </a:cubicBezTo>
                  <a:cubicBezTo>
                    <a:pt x="169" y="276"/>
                    <a:pt x="169" y="276"/>
                    <a:pt x="169" y="276"/>
                  </a:cubicBezTo>
                  <a:cubicBezTo>
                    <a:pt x="151" y="314"/>
                    <a:pt x="123" y="333"/>
                    <a:pt x="84" y="333"/>
                  </a:cubicBezTo>
                  <a:cubicBezTo>
                    <a:pt x="64" y="333"/>
                    <a:pt x="48" y="329"/>
                    <a:pt x="35" y="321"/>
                  </a:cubicBezTo>
                  <a:cubicBezTo>
                    <a:pt x="23" y="313"/>
                    <a:pt x="14" y="301"/>
                    <a:pt x="8" y="286"/>
                  </a:cubicBezTo>
                  <a:cubicBezTo>
                    <a:pt x="3" y="271"/>
                    <a:pt x="0" y="245"/>
                    <a:pt x="0" y="208"/>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p:cNvSpPr>
              <a:spLocks noEditPoints="1"/>
            </p:cNvSpPr>
            <p:nvPr/>
          </p:nvSpPr>
          <p:spPr bwMode="auto">
            <a:xfrm>
              <a:off x="12565063" y="2774951"/>
              <a:ext cx="971550" cy="1654175"/>
            </a:xfrm>
            <a:custGeom>
              <a:avLst/>
              <a:gdLst>
                <a:gd name="T0" fmla="*/ 0 w 259"/>
                <a:gd name="T1" fmla="*/ 5 h 440"/>
                <a:gd name="T2" fmla="*/ 64 w 259"/>
                <a:gd name="T3" fmla="*/ 5 h 440"/>
                <a:gd name="T4" fmla="*/ 64 w 259"/>
                <a:gd name="T5" fmla="*/ 59 h 440"/>
                <a:gd name="T6" fmla="*/ 147 w 259"/>
                <a:gd name="T7" fmla="*/ 0 h 440"/>
                <a:gd name="T8" fmla="*/ 228 w 259"/>
                <a:gd name="T9" fmla="*/ 43 h 440"/>
                <a:gd name="T10" fmla="*/ 259 w 259"/>
                <a:gd name="T11" fmla="*/ 165 h 440"/>
                <a:gd name="T12" fmla="*/ 231 w 259"/>
                <a:gd name="T13" fmla="*/ 286 h 440"/>
                <a:gd name="T14" fmla="*/ 144 w 259"/>
                <a:gd name="T15" fmla="*/ 336 h 440"/>
                <a:gd name="T16" fmla="*/ 70 w 259"/>
                <a:gd name="T17" fmla="*/ 296 h 440"/>
                <a:gd name="T18" fmla="*/ 70 w 259"/>
                <a:gd name="T19" fmla="*/ 440 h 440"/>
                <a:gd name="T20" fmla="*/ 0 w 259"/>
                <a:gd name="T21" fmla="*/ 440 h 440"/>
                <a:gd name="T22" fmla="*/ 0 w 259"/>
                <a:gd name="T23" fmla="*/ 5 h 440"/>
                <a:gd name="T24" fmla="*/ 70 w 259"/>
                <a:gd name="T25" fmla="*/ 194 h 440"/>
                <a:gd name="T26" fmla="*/ 75 w 259"/>
                <a:gd name="T27" fmla="*/ 243 h 440"/>
                <a:gd name="T28" fmla="*/ 94 w 259"/>
                <a:gd name="T29" fmla="*/ 273 h 440"/>
                <a:gd name="T30" fmla="*/ 127 w 259"/>
                <a:gd name="T31" fmla="*/ 285 h 440"/>
                <a:gd name="T32" fmla="*/ 186 w 259"/>
                <a:gd name="T33" fmla="*/ 165 h 440"/>
                <a:gd name="T34" fmla="*/ 129 w 259"/>
                <a:gd name="T35" fmla="*/ 49 h 440"/>
                <a:gd name="T36" fmla="*/ 87 w 259"/>
                <a:gd name="T37" fmla="*/ 73 h 440"/>
                <a:gd name="T38" fmla="*/ 70 w 259"/>
                <a:gd name="T39" fmla="*/ 140 h 440"/>
                <a:gd name="T40" fmla="*/ 70 w 259"/>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440">
                  <a:moveTo>
                    <a:pt x="0" y="5"/>
                  </a:moveTo>
                  <a:cubicBezTo>
                    <a:pt x="64" y="5"/>
                    <a:pt x="64" y="5"/>
                    <a:pt x="64" y="5"/>
                  </a:cubicBezTo>
                  <a:cubicBezTo>
                    <a:pt x="64" y="59"/>
                    <a:pt x="64" y="59"/>
                    <a:pt x="64" y="59"/>
                  </a:cubicBezTo>
                  <a:cubicBezTo>
                    <a:pt x="82" y="19"/>
                    <a:pt x="109" y="0"/>
                    <a:pt x="147" y="0"/>
                  </a:cubicBezTo>
                  <a:cubicBezTo>
                    <a:pt x="180" y="0"/>
                    <a:pt x="207" y="14"/>
                    <a:pt x="228" y="43"/>
                  </a:cubicBezTo>
                  <a:cubicBezTo>
                    <a:pt x="249" y="71"/>
                    <a:pt x="259" y="112"/>
                    <a:pt x="259" y="165"/>
                  </a:cubicBezTo>
                  <a:cubicBezTo>
                    <a:pt x="259" y="212"/>
                    <a:pt x="250" y="253"/>
                    <a:pt x="231" y="286"/>
                  </a:cubicBezTo>
                  <a:cubicBezTo>
                    <a:pt x="212" y="319"/>
                    <a:pt x="183" y="336"/>
                    <a:pt x="144" y="336"/>
                  </a:cubicBezTo>
                  <a:cubicBezTo>
                    <a:pt x="112" y="336"/>
                    <a:pt x="88" y="323"/>
                    <a:pt x="70" y="296"/>
                  </a:cubicBezTo>
                  <a:cubicBezTo>
                    <a:pt x="70" y="440"/>
                    <a:pt x="70" y="440"/>
                    <a:pt x="70" y="440"/>
                  </a:cubicBezTo>
                  <a:cubicBezTo>
                    <a:pt x="0" y="440"/>
                    <a:pt x="0" y="440"/>
                    <a:pt x="0" y="440"/>
                  </a:cubicBezTo>
                  <a:lnTo>
                    <a:pt x="0" y="5"/>
                  </a:lnTo>
                  <a:close/>
                  <a:moveTo>
                    <a:pt x="70" y="194"/>
                  </a:moveTo>
                  <a:cubicBezTo>
                    <a:pt x="70" y="215"/>
                    <a:pt x="72" y="231"/>
                    <a:pt x="75" y="243"/>
                  </a:cubicBezTo>
                  <a:cubicBezTo>
                    <a:pt x="78" y="255"/>
                    <a:pt x="84" y="265"/>
                    <a:pt x="94" y="273"/>
                  </a:cubicBezTo>
                  <a:cubicBezTo>
                    <a:pt x="104" y="281"/>
                    <a:pt x="115" y="285"/>
                    <a:pt x="127" y="285"/>
                  </a:cubicBezTo>
                  <a:cubicBezTo>
                    <a:pt x="166" y="285"/>
                    <a:pt x="186" y="245"/>
                    <a:pt x="186" y="165"/>
                  </a:cubicBezTo>
                  <a:cubicBezTo>
                    <a:pt x="186" y="88"/>
                    <a:pt x="167" y="49"/>
                    <a:pt x="129" y="49"/>
                  </a:cubicBezTo>
                  <a:cubicBezTo>
                    <a:pt x="112" y="49"/>
                    <a:pt x="98" y="57"/>
                    <a:pt x="87" y="73"/>
                  </a:cubicBezTo>
                  <a:cubicBezTo>
                    <a:pt x="76" y="88"/>
                    <a:pt x="70" y="111"/>
                    <a:pt x="70" y="140"/>
                  </a:cubicBezTo>
                  <a:lnTo>
                    <a:pt x="70"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p:cNvSpPr>
              <a:spLocks noEditPoints="1"/>
            </p:cNvSpPr>
            <p:nvPr/>
          </p:nvSpPr>
          <p:spPr bwMode="auto">
            <a:xfrm>
              <a:off x="13762038" y="2774951"/>
              <a:ext cx="968375" cy="1654175"/>
            </a:xfrm>
            <a:custGeom>
              <a:avLst/>
              <a:gdLst>
                <a:gd name="T0" fmla="*/ 0 w 258"/>
                <a:gd name="T1" fmla="*/ 5 h 440"/>
                <a:gd name="T2" fmla="*/ 63 w 258"/>
                <a:gd name="T3" fmla="*/ 5 h 440"/>
                <a:gd name="T4" fmla="*/ 63 w 258"/>
                <a:gd name="T5" fmla="*/ 59 h 440"/>
                <a:gd name="T6" fmla="*/ 146 w 258"/>
                <a:gd name="T7" fmla="*/ 0 h 440"/>
                <a:gd name="T8" fmla="*/ 227 w 258"/>
                <a:gd name="T9" fmla="*/ 43 h 440"/>
                <a:gd name="T10" fmla="*/ 258 w 258"/>
                <a:gd name="T11" fmla="*/ 165 h 440"/>
                <a:gd name="T12" fmla="*/ 230 w 258"/>
                <a:gd name="T13" fmla="*/ 286 h 440"/>
                <a:gd name="T14" fmla="*/ 143 w 258"/>
                <a:gd name="T15" fmla="*/ 336 h 440"/>
                <a:gd name="T16" fmla="*/ 69 w 258"/>
                <a:gd name="T17" fmla="*/ 296 h 440"/>
                <a:gd name="T18" fmla="*/ 69 w 258"/>
                <a:gd name="T19" fmla="*/ 440 h 440"/>
                <a:gd name="T20" fmla="*/ 0 w 258"/>
                <a:gd name="T21" fmla="*/ 440 h 440"/>
                <a:gd name="T22" fmla="*/ 0 w 258"/>
                <a:gd name="T23" fmla="*/ 5 h 440"/>
                <a:gd name="T24" fmla="*/ 69 w 258"/>
                <a:gd name="T25" fmla="*/ 194 h 440"/>
                <a:gd name="T26" fmla="*/ 74 w 258"/>
                <a:gd name="T27" fmla="*/ 243 h 440"/>
                <a:gd name="T28" fmla="*/ 93 w 258"/>
                <a:gd name="T29" fmla="*/ 273 h 440"/>
                <a:gd name="T30" fmla="*/ 127 w 258"/>
                <a:gd name="T31" fmla="*/ 285 h 440"/>
                <a:gd name="T32" fmla="*/ 185 w 258"/>
                <a:gd name="T33" fmla="*/ 165 h 440"/>
                <a:gd name="T34" fmla="*/ 128 w 258"/>
                <a:gd name="T35" fmla="*/ 49 h 440"/>
                <a:gd name="T36" fmla="*/ 86 w 258"/>
                <a:gd name="T37" fmla="*/ 73 h 440"/>
                <a:gd name="T38" fmla="*/ 69 w 258"/>
                <a:gd name="T39" fmla="*/ 140 h 440"/>
                <a:gd name="T40" fmla="*/ 69 w 258"/>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440">
                  <a:moveTo>
                    <a:pt x="0" y="5"/>
                  </a:moveTo>
                  <a:cubicBezTo>
                    <a:pt x="63" y="5"/>
                    <a:pt x="63" y="5"/>
                    <a:pt x="63" y="5"/>
                  </a:cubicBezTo>
                  <a:cubicBezTo>
                    <a:pt x="63" y="59"/>
                    <a:pt x="63" y="59"/>
                    <a:pt x="63" y="59"/>
                  </a:cubicBezTo>
                  <a:cubicBezTo>
                    <a:pt x="81" y="19"/>
                    <a:pt x="108" y="0"/>
                    <a:pt x="146" y="0"/>
                  </a:cubicBezTo>
                  <a:cubicBezTo>
                    <a:pt x="179" y="0"/>
                    <a:pt x="206" y="14"/>
                    <a:pt x="227" y="43"/>
                  </a:cubicBezTo>
                  <a:cubicBezTo>
                    <a:pt x="248" y="71"/>
                    <a:pt x="258" y="112"/>
                    <a:pt x="258" y="165"/>
                  </a:cubicBezTo>
                  <a:cubicBezTo>
                    <a:pt x="258" y="212"/>
                    <a:pt x="249" y="253"/>
                    <a:pt x="230" y="286"/>
                  </a:cubicBezTo>
                  <a:cubicBezTo>
                    <a:pt x="211" y="319"/>
                    <a:pt x="182" y="336"/>
                    <a:pt x="143" y="336"/>
                  </a:cubicBezTo>
                  <a:cubicBezTo>
                    <a:pt x="111" y="336"/>
                    <a:pt x="87" y="323"/>
                    <a:pt x="69" y="296"/>
                  </a:cubicBezTo>
                  <a:cubicBezTo>
                    <a:pt x="69" y="440"/>
                    <a:pt x="69" y="440"/>
                    <a:pt x="69" y="440"/>
                  </a:cubicBezTo>
                  <a:cubicBezTo>
                    <a:pt x="0" y="440"/>
                    <a:pt x="0" y="440"/>
                    <a:pt x="0" y="440"/>
                  </a:cubicBezTo>
                  <a:lnTo>
                    <a:pt x="0" y="5"/>
                  </a:lnTo>
                  <a:close/>
                  <a:moveTo>
                    <a:pt x="69" y="194"/>
                  </a:moveTo>
                  <a:cubicBezTo>
                    <a:pt x="69" y="215"/>
                    <a:pt x="71" y="231"/>
                    <a:pt x="74" y="243"/>
                  </a:cubicBezTo>
                  <a:cubicBezTo>
                    <a:pt x="77" y="255"/>
                    <a:pt x="83" y="265"/>
                    <a:pt x="93" y="273"/>
                  </a:cubicBezTo>
                  <a:cubicBezTo>
                    <a:pt x="103" y="281"/>
                    <a:pt x="114" y="285"/>
                    <a:pt x="127" y="285"/>
                  </a:cubicBezTo>
                  <a:cubicBezTo>
                    <a:pt x="165" y="285"/>
                    <a:pt x="185" y="245"/>
                    <a:pt x="185" y="165"/>
                  </a:cubicBezTo>
                  <a:cubicBezTo>
                    <a:pt x="185" y="88"/>
                    <a:pt x="166" y="49"/>
                    <a:pt x="128" y="49"/>
                  </a:cubicBezTo>
                  <a:cubicBezTo>
                    <a:pt x="111" y="49"/>
                    <a:pt x="97" y="57"/>
                    <a:pt x="86" y="73"/>
                  </a:cubicBezTo>
                  <a:cubicBezTo>
                    <a:pt x="75" y="88"/>
                    <a:pt x="69" y="111"/>
                    <a:pt x="69" y="140"/>
                  </a:cubicBezTo>
                  <a:lnTo>
                    <a:pt x="69"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60"/>
            <p:cNvSpPr>
              <a:spLocks/>
            </p:cNvSpPr>
            <p:nvPr/>
          </p:nvSpPr>
          <p:spPr bwMode="auto">
            <a:xfrm>
              <a:off x="-942975" y="4008438"/>
              <a:ext cx="393700" cy="412750"/>
            </a:xfrm>
            <a:custGeom>
              <a:avLst/>
              <a:gdLst>
                <a:gd name="T0" fmla="*/ 105 w 105"/>
                <a:gd name="T1" fmla="*/ 0 h 110"/>
                <a:gd name="T2" fmla="*/ 52 w 105"/>
                <a:gd name="T3" fmla="*/ 9 h 110"/>
                <a:gd name="T4" fmla="*/ 0 w 105"/>
                <a:gd name="T5" fmla="*/ 0 h 110"/>
                <a:gd name="T6" fmla="*/ 53 w 105"/>
                <a:gd name="T7" fmla="*/ 110 h 110"/>
                <a:gd name="T8" fmla="*/ 105 w 105"/>
                <a:gd name="T9" fmla="*/ 0 h 110"/>
              </a:gdLst>
              <a:ahLst/>
              <a:cxnLst>
                <a:cxn ang="0">
                  <a:pos x="T0" y="T1"/>
                </a:cxn>
                <a:cxn ang="0">
                  <a:pos x="T2" y="T3"/>
                </a:cxn>
                <a:cxn ang="0">
                  <a:pos x="T4" y="T5"/>
                </a:cxn>
                <a:cxn ang="0">
                  <a:pos x="T6" y="T7"/>
                </a:cxn>
                <a:cxn ang="0">
                  <a:pos x="T8" y="T9"/>
                </a:cxn>
              </a:cxnLst>
              <a:rect l="0" t="0" r="r" b="b"/>
              <a:pathLst>
                <a:path w="105" h="110">
                  <a:moveTo>
                    <a:pt x="105" y="0"/>
                  </a:moveTo>
                  <a:cubicBezTo>
                    <a:pt x="88" y="6"/>
                    <a:pt x="71" y="9"/>
                    <a:pt x="52" y="9"/>
                  </a:cubicBezTo>
                  <a:cubicBezTo>
                    <a:pt x="34" y="9"/>
                    <a:pt x="17" y="6"/>
                    <a:pt x="0" y="0"/>
                  </a:cubicBezTo>
                  <a:cubicBezTo>
                    <a:pt x="1" y="44"/>
                    <a:pt x="21" y="84"/>
                    <a:pt x="53" y="110"/>
                  </a:cubicBezTo>
                  <a:cubicBezTo>
                    <a:pt x="84" y="84"/>
                    <a:pt x="104" y="44"/>
                    <a:pt x="10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61"/>
            <p:cNvSpPr>
              <a:spLocks/>
            </p:cNvSpPr>
            <p:nvPr/>
          </p:nvSpPr>
          <p:spPr bwMode="auto">
            <a:xfrm>
              <a:off x="-681038" y="3451226"/>
              <a:ext cx="476250" cy="444500"/>
            </a:xfrm>
            <a:custGeom>
              <a:avLst/>
              <a:gdLst>
                <a:gd name="T0" fmla="*/ 0 w 127"/>
                <a:gd name="T1" fmla="*/ 23 h 118"/>
                <a:gd name="T2" fmla="*/ 53 w 127"/>
                <a:gd name="T3" fmla="*/ 118 h 118"/>
                <a:gd name="T4" fmla="*/ 127 w 127"/>
                <a:gd name="T5" fmla="*/ 10 h 118"/>
                <a:gd name="T6" fmla="*/ 77 w 127"/>
                <a:gd name="T7" fmla="*/ 0 h 118"/>
                <a:gd name="T8" fmla="*/ 0 w 127"/>
                <a:gd name="T9" fmla="*/ 23 h 118"/>
              </a:gdLst>
              <a:ahLst/>
              <a:cxnLst>
                <a:cxn ang="0">
                  <a:pos x="T0" y="T1"/>
                </a:cxn>
                <a:cxn ang="0">
                  <a:pos x="T2" y="T3"/>
                </a:cxn>
                <a:cxn ang="0">
                  <a:pos x="T4" y="T5"/>
                </a:cxn>
                <a:cxn ang="0">
                  <a:pos x="T6" y="T7"/>
                </a:cxn>
                <a:cxn ang="0">
                  <a:pos x="T8" y="T9"/>
                </a:cxn>
              </a:cxnLst>
              <a:rect l="0" t="0" r="r" b="b"/>
              <a:pathLst>
                <a:path w="127" h="118">
                  <a:moveTo>
                    <a:pt x="0" y="23"/>
                  </a:moveTo>
                  <a:cubicBezTo>
                    <a:pt x="27" y="47"/>
                    <a:pt x="46" y="80"/>
                    <a:pt x="53" y="118"/>
                  </a:cubicBezTo>
                  <a:cubicBezTo>
                    <a:pt x="93" y="96"/>
                    <a:pt x="121" y="56"/>
                    <a:pt x="127" y="10"/>
                  </a:cubicBezTo>
                  <a:cubicBezTo>
                    <a:pt x="111" y="4"/>
                    <a:pt x="95" y="0"/>
                    <a:pt x="77" y="0"/>
                  </a:cubicBezTo>
                  <a:cubicBezTo>
                    <a:pt x="48" y="0"/>
                    <a:pt x="22" y="9"/>
                    <a:pt x="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1296988" y="2860676"/>
              <a:ext cx="1100138" cy="620713"/>
            </a:xfrm>
            <a:custGeom>
              <a:avLst/>
              <a:gdLst>
                <a:gd name="T0" fmla="*/ 147 w 293"/>
                <a:gd name="T1" fmla="*/ 165 h 165"/>
                <a:gd name="T2" fmla="*/ 241 w 293"/>
                <a:gd name="T3" fmla="*/ 136 h 165"/>
                <a:gd name="T4" fmla="*/ 293 w 293"/>
                <a:gd name="T5" fmla="*/ 145 h 165"/>
                <a:gd name="T6" fmla="*/ 146 w 293"/>
                <a:gd name="T7" fmla="*/ 0 h 165"/>
                <a:gd name="T8" fmla="*/ 0 w 293"/>
                <a:gd name="T9" fmla="*/ 145 h 165"/>
                <a:gd name="T10" fmla="*/ 52 w 293"/>
                <a:gd name="T11" fmla="*/ 136 h 165"/>
                <a:gd name="T12" fmla="*/ 147 w 293"/>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293" h="165">
                  <a:moveTo>
                    <a:pt x="147" y="165"/>
                  </a:moveTo>
                  <a:cubicBezTo>
                    <a:pt x="173" y="147"/>
                    <a:pt x="206" y="136"/>
                    <a:pt x="241" y="136"/>
                  </a:cubicBezTo>
                  <a:cubicBezTo>
                    <a:pt x="259" y="136"/>
                    <a:pt x="276" y="140"/>
                    <a:pt x="293" y="145"/>
                  </a:cubicBezTo>
                  <a:cubicBezTo>
                    <a:pt x="292" y="65"/>
                    <a:pt x="227" y="0"/>
                    <a:pt x="146" y="0"/>
                  </a:cubicBezTo>
                  <a:cubicBezTo>
                    <a:pt x="66" y="0"/>
                    <a:pt x="1" y="65"/>
                    <a:pt x="0" y="145"/>
                  </a:cubicBezTo>
                  <a:cubicBezTo>
                    <a:pt x="17" y="140"/>
                    <a:pt x="34" y="136"/>
                    <a:pt x="52" y="136"/>
                  </a:cubicBezTo>
                  <a:cubicBezTo>
                    <a:pt x="87" y="136"/>
                    <a:pt x="120" y="147"/>
                    <a:pt x="147"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1289050" y="3451226"/>
              <a:ext cx="476250" cy="439738"/>
            </a:xfrm>
            <a:custGeom>
              <a:avLst/>
              <a:gdLst>
                <a:gd name="T0" fmla="*/ 74 w 127"/>
                <a:gd name="T1" fmla="*/ 117 h 117"/>
                <a:gd name="T2" fmla="*/ 127 w 127"/>
                <a:gd name="T3" fmla="*/ 22 h 117"/>
                <a:gd name="T4" fmla="*/ 50 w 127"/>
                <a:gd name="T5" fmla="*/ 0 h 117"/>
                <a:gd name="T6" fmla="*/ 0 w 127"/>
                <a:gd name="T7" fmla="*/ 10 h 117"/>
                <a:gd name="T8" fmla="*/ 74 w 127"/>
                <a:gd name="T9" fmla="*/ 117 h 117"/>
              </a:gdLst>
              <a:ahLst/>
              <a:cxnLst>
                <a:cxn ang="0">
                  <a:pos x="T0" y="T1"/>
                </a:cxn>
                <a:cxn ang="0">
                  <a:pos x="T2" y="T3"/>
                </a:cxn>
                <a:cxn ang="0">
                  <a:pos x="T4" y="T5"/>
                </a:cxn>
                <a:cxn ang="0">
                  <a:pos x="T6" y="T7"/>
                </a:cxn>
                <a:cxn ang="0">
                  <a:pos x="T8" y="T9"/>
                </a:cxn>
              </a:cxnLst>
              <a:rect l="0" t="0" r="r" b="b"/>
              <a:pathLst>
                <a:path w="127" h="117">
                  <a:moveTo>
                    <a:pt x="74" y="117"/>
                  </a:moveTo>
                  <a:cubicBezTo>
                    <a:pt x="81" y="80"/>
                    <a:pt x="100" y="47"/>
                    <a:pt x="127" y="22"/>
                  </a:cubicBezTo>
                  <a:cubicBezTo>
                    <a:pt x="105" y="9"/>
                    <a:pt x="79" y="0"/>
                    <a:pt x="50" y="0"/>
                  </a:cubicBezTo>
                  <a:cubicBezTo>
                    <a:pt x="32" y="0"/>
                    <a:pt x="16" y="4"/>
                    <a:pt x="0" y="10"/>
                  </a:cubicBezTo>
                  <a:cubicBezTo>
                    <a:pt x="6" y="56"/>
                    <a:pt x="34" y="96"/>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64"/>
            <p:cNvSpPr>
              <a:spLocks/>
            </p:cNvSpPr>
            <p:nvPr/>
          </p:nvSpPr>
          <p:spPr bwMode="auto">
            <a:xfrm>
              <a:off x="-1649413" y="3522663"/>
              <a:ext cx="836613" cy="1030288"/>
            </a:xfrm>
            <a:custGeom>
              <a:avLst/>
              <a:gdLst>
                <a:gd name="T0" fmla="*/ 167 w 223"/>
                <a:gd name="T1" fmla="*/ 128 h 274"/>
                <a:gd name="T2" fmla="*/ 168 w 223"/>
                <a:gd name="T3" fmla="*/ 121 h 274"/>
                <a:gd name="T4" fmla="*/ 76 w 223"/>
                <a:gd name="T5" fmla="*/ 0 h 274"/>
                <a:gd name="T6" fmla="*/ 0 w 223"/>
                <a:gd name="T7" fmla="*/ 128 h 274"/>
                <a:gd name="T8" fmla="*/ 146 w 223"/>
                <a:gd name="T9" fmla="*/ 274 h 274"/>
                <a:gd name="T10" fmla="*/ 223 w 223"/>
                <a:gd name="T11" fmla="*/ 252 h 274"/>
                <a:gd name="T12" fmla="*/ 167 w 223"/>
                <a:gd name="T13" fmla="*/ 128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167" y="128"/>
                  </a:moveTo>
                  <a:cubicBezTo>
                    <a:pt x="167" y="125"/>
                    <a:pt x="168" y="123"/>
                    <a:pt x="168" y="121"/>
                  </a:cubicBezTo>
                  <a:cubicBezTo>
                    <a:pt x="120" y="98"/>
                    <a:pt x="85" y="54"/>
                    <a:pt x="76" y="0"/>
                  </a:cubicBezTo>
                  <a:cubicBezTo>
                    <a:pt x="31" y="25"/>
                    <a:pt x="0" y="72"/>
                    <a:pt x="0" y="128"/>
                  </a:cubicBezTo>
                  <a:cubicBezTo>
                    <a:pt x="0" y="209"/>
                    <a:pt x="65" y="274"/>
                    <a:pt x="146" y="274"/>
                  </a:cubicBezTo>
                  <a:cubicBezTo>
                    <a:pt x="175" y="274"/>
                    <a:pt x="201" y="266"/>
                    <a:pt x="223" y="252"/>
                  </a:cubicBezTo>
                  <a:cubicBezTo>
                    <a:pt x="189" y="221"/>
                    <a:pt x="167" y="177"/>
                    <a:pt x="1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5"/>
            <p:cNvSpPr>
              <a:spLocks/>
            </p:cNvSpPr>
            <p:nvPr/>
          </p:nvSpPr>
          <p:spPr bwMode="auto">
            <a:xfrm>
              <a:off x="-681038" y="3522663"/>
              <a:ext cx="836613" cy="1030288"/>
            </a:xfrm>
            <a:custGeom>
              <a:avLst/>
              <a:gdLst>
                <a:gd name="T0" fmla="*/ 55 w 223"/>
                <a:gd name="T1" fmla="*/ 121 h 274"/>
                <a:gd name="T2" fmla="*/ 56 w 223"/>
                <a:gd name="T3" fmla="*/ 128 h 274"/>
                <a:gd name="T4" fmla="*/ 0 w 223"/>
                <a:gd name="T5" fmla="*/ 252 h 274"/>
                <a:gd name="T6" fmla="*/ 77 w 223"/>
                <a:gd name="T7" fmla="*/ 274 h 274"/>
                <a:gd name="T8" fmla="*/ 223 w 223"/>
                <a:gd name="T9" fmla="*/ 128 h 274"/>
                <a:gd name="T10" fmla="*/ 147 w 223"/>
                <a:gd name="T11" fmla="*/ 0 h 274"/>
                <a:gd name="T12" fmla="*/ 55 w 223"/>
                <a:gd name="T13" fmla="*/ 121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55" y="121"/>
                  </a:moveTo>
                  <a:cubicBezTo>
                    <a:pt x="55" y="123"/>
                    <a:pt x="56" y="125"/>
                    <a:pt x="56" y="128"/>
                  </a:cubicBezTo>
                  <a:cubicBezTo>
                    <a:pt x="56" y="177"/>
                    <a:pt x="34" y="221"/>
                    <a:pt x="0" y="252"/>
                  </a:cubicBezTo>
                  <a:cubicBezTo>
                    <a:pt x="22" y="266"/>
                    <a:pt x="48" y="274"/>
                    <a:pt x="77" y="274"/>
                  </a:cubicBezTo>
                  <a:cubicBezTo>
                    <a:pt x="158" y="274"/>
                    <a:pt x="223" y="209"/>
                    <a:pt x="223" y="128"/>
                  </a:cubicBezTo>
                  <a:cubicBezTo>
                    <a:pt x="223" y="72"/>
                    <a:pt x="192" y="25"/>
                    <a:pt x="147" y="0"/>
                  </a:cubicBezTo>
                  <a:cubicBezTo>
                    <a:pt x="138" y="54"/>
                    <a:pt x="103" y="98"/>
                    <a:pt x="55" y="1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66"/>
            <p:cNvSpPr>
              <a:spLocks noEditPoints="1"/>
            </p:cNvSpPr>
            <p:nvPr/>
          </p:nvSpPr>
          <p:spPr bwMode="auto">
            <a:xfrm>
              <a:off x="-2538413" y="1627188"/>
              <a:ext cx="3602038" cy="3606800"/>
            </a:xfrm>
            <a:custGeom>
              <a:avLst/>
              <a:gdLst>
                <a:gd name="T0" fmla="*/ 480 w 960"/>
                <a:gd name="T1" fmla="*/ 0 h 959"/>
                <a:gd name="T2" fmla="*/ 0 w 960"/>
                <a:gd name="T3" fmla="*/ 479 h 959"/>
                <a:gd name="T4" fmla="*/ 480 w 960"/>
                <a:gd name="T5" fmla="*/ 959 h 959"/>
                <a:gd name="T6" fmla="*/ 960 w 960"/>
                <a:gd name="T7" fmla="*/ 479 h 959"/>
                <a:gd name="T8" fmla="*/ 480 w 960"/>
                <a:gd name="T9" fmla="*/ 0 h 959"/>
                <a:gd name="T10" fmla="*/ 572 w 960"/>
                <a:gd name="T11" fmla="*/ 799 h 959"/>
                <a:gd name="T12" fmla="*/ 478 w 960"/>
                <a:gd name="T13" fmla="*/ 770 h 959"/>
                <a:gd name="T14" fmla="*/ 383 w 960"/>
                <a:gd name="T15" fmla="*/ 799 h 959"/>
                <a:gd name="T16" fmla="*/ 216 w 960"/>
                <a:gd name="T17" fmla="*/ 632 h 959"/>
                <a:gd name="T18" fmla="*/ 311 w 960"/>
                <a:gd name="T19" fmla="*/ 481 h 959"/>
                <a:gd name="T20" fmla="*/ 310 w 960"/>
                <a:gd name="T21" fmla="*/ 475 h 959"/>
                <a:gd name="T22" fmla="*/ 477 w 960"/>
                <a:gd name="T23" fmla="*/ 307 h 959"/>
                <a:gd name="T24" fmla="*/ 645 w 960"/>
                <a:gd name="T25" fmla="*/ 475 h 959"/>
                <a:gd name="T26" fmla="*/ 644 w 960"/>
                <a:gd name="T27" fmla="*/ 481 h 959"/>
                <a:gd name="T28" fmla="*/ 739 w 960"/>
                <a:gd name="T29" fmla="*/ 632 h 959"/>
                <a:gd name="T30" fmla="*/ 572 w 960"/>
                <a:gd name="T31" fmla="*/ 799 h 959"/>
                <a:gd name="T32" fmla="*/ 789 w 960"/>
                <a:gd name="T33" fmla="*/ 721 h 959"/>
                <a:gd name="T34" fmla="*/ 477 w 960"/>
                <a:gd name="T35" fmla="*/ 197 h 959"/>
                <a:gd name="T36" fmla="*/ 166 w 960"/>
                <a:gd name="T37" fmla="*/ 721 h 959"/>
                <a:gd name="T38" fmla="*/ 152 w 960"/>
                <a:gd name="T39" fmla="*/ 721 h 959"/>
                <a:gd name="T40" fmla="*/ 477 w 960"/>
                <a:gd name="T41" fmla="*/ 82 h 959"/>
                <a:gd name="T42" fmla="*/ 803 w 960"/>
                <a:gd name="T43" fmla="*/ 721 h 959"/>
                <a:gd name="T44" fmla="*/ 789 w 960"/>
                <a:gd name="T45" fmla="*/ 721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0" h="959">
                  <a:moveTo>
                    <a:pt x="480" y="0"/>
                  </a:moveTo>
                  <a:cubicBezTo>
                    <a:pt x="215" y="0"/>
                    <a:pt x="0" y="215"/>
                    <a:pt x="0" y="479"/>
                  </a:cubicBezTo>
                  <a:cubicBezTo>
                    <a:pt x="0" y="744"/>
                    <a:pt x="215" y="959"/>
                    <a:pt x="480" y="959"/>
                  </a:cubicBezTo>
                  <a:cubicBezTo>
                    <a:pt x="745" y="959"/>
                    <a:pt x="960" y="744"/>
                    <a:pt x="960" y="479"/>
                  </a:cubicBezTo>
                  <a:cubicBezTo>
                    <a:pt x="960" y="215"/>
                    <a:pt x="745" y="0"/>
                    <a:pt x="480" y="0"/>
                  </a:cubicBezTo>
                  <a:close/>
                  <a:moveTo>
                    <a:pt x="572" y="799"/>
                  </a:moveTo>
                  <a:cubicBezTo>
                    <a:pt x="537" y="799"/>
                    <a:pt x="504" y="789"/>
                    <a:pt x="478" y="770"/>
                  </a:cubicBezTo>
                  <a:cubicBezTo>
                    <a:pt x="451" y="789"/>
                    <a:pt x="418" y="799"/>
                    <a:pt x="383" y="799"/>
                  </a:cubicBezTo>
                  <a:cubicBezTo>
                    <a:pt x="291" y="799"/>
                    <a:pt x="216" y="724"/>
                    <a:pt x="216" y="632"/>
                  </a:cubicBezTo>
                  <a:cubicBezTo>
                    <a:pt x="216" y="565"/>
                    <a:pt x="255" y="509"/>
                    <a:pt x="311" y="481"/>
                  </a:cubicBezTo>
                  <a:cubicBezTo>
                    <a:pt x="311" y="479"/>
                    <a:pt x="310" y="477"/>
                    <a:pt x="310" y="475"/>
                  </a:cubicBezTo>
                  <a:cubicBezTo>
                    <a:pt x="310" y="382"/>
                    <a:pt x="385" y="307"/>
                    <a:pt x="477" y="307"/>
                  </a:cubicBezTo>
                  <a:cubicBezTo>
                    <a:pt x="570" y="307"/>
                    <a:pt x="645" y="382"/>
                    <a:pt x="645" y="475"/>
                  </a:cubicBezTo>
                  <a:cubicBezTo>
                    <a:pt x="645" y="477"/>
                    <a:pt x="644" y="479"/>
                    <a:pt x="644" y="481"/>
                  </a:cubicBezTo>
                  <a:cubicBezTo>
                    <a:pt x="700" y="509"/>
                    <a:pt x="739" y="565"/>
                    <a:pt x="739" y="632"/>
                  </a:cubicBezTo>
                  <a:cubicBezTo>
                    <a:pt x="739" y="724"/>
                    <a:pt x="664" y="799"/>
                    <a:pt x="572" y="799"/>
                  </a:cubicBezTo>
                  <a:close/>
                  <a:moveTo>
                    <a:pt x="789" y="721"/>
                  </a:moveTo>
                  <a:cubicBezTo>
                    <a:pt x="717" y="402"/>
                    <a:pt x="604" y="197"/>
                    <a:pt x="477" y="197"/>
                  </a:cubicBezTo>
                  <a:cubicBezTo>
                    <a:pt x="351" y="197"/>
                    <a:pt x="238" y="402"/>
                    <a:pt x="166" y="721"/>
                  </a:cubicBezTo>
                  <a:cubicBezTo>
                    <a:pt x="161" y="721"/>
                    <a:pt x="157" y="721"/>
                    <a:pt x="152" y="721"/>
                  </a:cubicBezTo>
                  <a:cubicBezTo>
                    <a:pt x="219" y="338"/>
                    <a:pt x="340" y="82"/>
                    <a:pt x="477" y="82"/>
                  </a:cubicBezTo>
                  <a:cubicBezTo>
                    <a:pt x="615" y="82"/>
                    <a:pt x="736" y="338"/>
                    <a:pt x="803" y="721"/>
                  </a:cubicBezTo>
                  <a:cubicBezTo>
                    <a:pt x="798" y="721"/>
                    <a:pt x="793" y="721"/>
                    <a:pt x="789" y="7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67"/>
            <p:cNvSpPr>
              <a:spLocks/>
            </p:cNvSpPr>
            <p:nvPr/>
          </p:nvSpPr>
          <p:spPr bwMode="auto">
            <a:xfrm>
              <a:off x="-936625" y="3582988"/>
              <a:ext cx="379413" cy="379413"/>
            </a:xfrm>
            <a:custGeom>
              <a:avLst/>
              <a:gdLst>
                <a:gd name="T0" fmla="*/ 0 w 101"/>
                <a:gd name="T1" fmla="*/ 92 h 101"/>
                <a:gd name="T2" fmla="*/ 50 w 101"/>
                <a:gd name="T3" fmla="*/ 101 h 101"/>
                <a:gd name="T4" fmla="*/ 101 w 101"/>
                <a:gd name="T5" fmla="*/ 92 h 101"/>
                <a:gd name="T6" fmla="*/ 51 w 101"/>
                <a:gd name="T7" fmla="*/ 0 h 101"/>
                <a:gd name="T8" fmla="*/ 0 w 101"/>
                <a:gd name="T9" fmla="*/ 92 h 101"/>
              </a:gdLst>
              <a:ahLst/>
              <a:cxnLst>
                <a:cxn ang="0">
                  <a:pos x="T0" y="T1"/>
                </a:cxn>
                <a:cxn ang="0">
                  <a:pos x="T2" y="T3"/>
                </a:cxn>
                <a:cxn ang="0">
                  <a:pos x="T4" y="T5"/>
                </a:cxn>
                <a:cxn ang="0">
                  <a:pos x="T6" y="T7"/>
                </a:cxn>
                <a:cxn ang="0">
                  <a:pos x="T8" y="T9"/>
                </a:cxn>
              </a:cxnLst>
              <a:rect l="0" t="0" r="r" b="b"/>
              <a:pathLst>
                <a:path w="101" h="101">
                  <a:moveTo>
                    <a:pt x="0" y="92"/>
                  </a:moveTo>
                  <a:cubicBezTo>
                    <a:pt x="16" y="98"/>
                    <a:pt x="33" y="101"/>
                    <a:pt x="50" y="101"/>
                  </a:cubicBezTo>
                  <a:cubicBezTo>
                    <a:pt x="68" y="101"/>
                    <a:pt x="85" y="98"/>
                    <a:pt x="101" y="92"/>
                  </a:cubicBezTo>
                  <a:cubicBezTo>
                    <a:pt x="96" y="55"/>
                    <a:pt x="77" y="23"/>
                    <a:pt x="51" y="0"/>
                  </a:cubicBezTo>
                  <a:cubicBezTo>
                    <a:pt x="24" y="23"/>
                    <a:pt x="5" y="55"/>
                    <a:pt x="0" y="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 name="Group 28"/>
          <p:cNvGrpSpPr/>
          <p:nvPr/>
        </p:nvGrpSpPr>
        <p:grpSpPr>
          <a:xfrm>
            <a:off x="34183" y="-16862"/>
            <a:ext cx="12292913" cy="7166255"/>
            <a:chOff x="31063" y="-16532"/>
            <a:chExt cx="12052970" cy="7026378"/>
          </a:xfrm>
        </p:grpSpPr>
        <p:cxnSp>
          <p:nvCxnSpPr>
            <p:cNvPr id="23" name="Straight Connector 22"/>
            <p:cNvCxnSpPr/>
            <p:nvPr/>
          </p:nvCxnSpPr>
          <p:spPr>
            <a:xfrm>
              <a:off x="31063" y="-16532"/>
              <a:ext cx="0" cy="7026378"/>
            </a:xfrm>
            <a:prstGeom prst="line">
              <a:avLst/>
            </a:prstGeom>
            <a:ln w="920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31063" y="-16532"/>
              <a:ext cx="12052970" cy="17123"/>
            </a:xfrm>
            <a:prstGeom prst="line">
              <a:avLst/>
            </a:prstGeom>
            <a:ln w="920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2" name="Block Arc 28"/>
          <p:cNvSpPr>
            <a:spLocks noChangeAspect="1"/>
          </p:cNvSpPr>
          <p:nvPr/>
        </p:nvSpPr>
        <p:spPr bwMode="auto">
          <a:xfrm rot="17100000">
            <a:off x="6434471" y="1949112"/>
            <a:ext cx="625096" cy="559521"/>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51"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0" name="Rectangle 29"/>
          <p:cNvSpPr/>
          <p:nvPr/>
        </p:nvSpPr>
        <p:spPr>
          <a:xfrm>
            <a:off x="6466677" y="2412598"/>
            <a:ext cx="3565667" cy="2399401"/>
          </a:xfrm>
          <a:prstGeom prst="rect">
            <a:avLst/>
          </a:prstGeom>
        </p:spPr>
        <p:txBody>
          <a:bodyPr wrap="square">
            <a:spAutoFit/>
          </a:bodyPr>
          <a:lstStyle/>
          <a:p>
            <a:pPr marL="0" marR="0" lvl="0" indent="0" algn="l" defTabSz="1109758"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100" normalizeH="0" baseline="0" noProof="0">
                <a:ln>
                  <a:noFill/>
                </a:ln>
                <a:gradFill>
                  <a:gsLst>
                    <a:gs pos="5833">
                      <a:srgbClr val="FFFFFF"/>
                    </a:gs>
                    <a:gs pos="18000">
                      <a:srgbClr val="FFFFFF"/>
                    </a:gs>
                  </a:gsLst>
                  <a:lin ang="5400000" scaled="0"/>
                </a:gradFill>
                <a:effectLst/>
                <a:uLnTx/>
                <a:uFillTx/>
                <a:latin typeface="Segoe UI Light"/>
                <a:ea typeface="+mn-ea"/>
                <a:cs typeface="+mn-cs"/>
              </a:rPr>
              <a:t>…empowering individuals and organizations… That's our identity.”</a:t>
            </a:r>
          </a:p>
          <a:p>
            <a:pPr marL="0" marR="0" lvl="0" indent="0" algn="r" defTabSz="1109758"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100" normalizeH="0" baseline="0" noProof="0">
                <a:ln>
                  <a:noFill/>
                </a:ln>
                <a:gradFill>
                  <a:gsLst>
                    <a:gs pos="5833">
                      <a:srgbClr val="FFFFFF"/>
                    </a:gs>
                    <a:gs pos="18000">
                      <a:srgbClr val="FFFFFF"/>
                    </a:gs>
                  </a:gsLst>
                  <a:lin ang="5400000" scaled="0"/>
                </a:gradFill>
                <a:effectLst/>
                <a:uLnTx/>
                <a:uFillTx/>
                <a:latin typeface="Segoe UI"/>
                <a:ea typeface="+mn-ea"/>
                <a:cs typeface="+mn-cs"/>
              </a:rPr>
              <a:t>Satya Nadella</a:t>
            </a:r>
            <a:br>
              <a:rPr kumimoji="0" lang="en-US" sz="1632" b="0" i="0" u="none" strike="noStrike" kern="1200" cap="none" spc="-100" normalizeH="0" baseline="0" noProof="0">
                <a:ln>
                  <a:noFill/>
                </a:ln>
                <a:gradFill>
                  <a:gsLst>
                    <a:gs pos="5833">
                      <a:srgbClr val="FFFFFF"/>
                    </a:gs>
                    <a:gs pos="18000">
                      <a:srgbClr val="FFFFFF"/>
                    </a:gs>
                  </a:gsLst>
                  <a:lin ang="5400000" scaled="0"/>
                </a:gradFill>
                <a:effectLst/>
                <a:uLnTx/>
                <a:uFillTx/>
                <a:latin typeface="Segoe UI"/>
                <a:ea typeface="+mn-ea"/>
                <a:cs typeface="+mn-cs"/>
              </a:rPr>
            </a:br>
            <a:r>
              <a:rPr kumimoji="0" lang="en-US" sz="1632" b="0" i="0" u="none" strike="noStrike" kern="1200" cap="none" spc="-100" normalizeH="0" baseline="0" noProof="0">
                <a:ln>
                  <a:noFill/>
                </a:ln>
                <a:gradFill>
                  <a:gsLst>
                    <a:gs pos="5833">
                      <a:srgbClr val="FFFFFF"/>
                    </a:gs>
                    <a:gs pos="18000">
                      <a:srgbClr val="FFFFFF"/>
                    </a:gs>
                  </a:gsLst>
                  <a:lin ang="5400000" scaled="0"/>
                </a:gradFill>
                <a:effectLst/>
                <a:uLnTx/>
                <a:uFillTx/>
                <a:latin typeface="Segoe UI"/>
                <a:ea typeface="+mn-ea"/>
                <a:cs typeface="+mn-cs"/>
              </a:rPr>
              <a:t>CEO, Microsoft Corp</a:t>
            </a: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pic>
        <p:nvPicPr>
          <p:cNvPr id="2050" name="Picture 2" descr="http://www.carlogos.org/logo/Rolls-Royce-symbol-2048x2048.png">
            <a:extLst>
              <a:ext uri="{FF2B5EF4-FFF2-40B4-BE49-F238E27FC236}">
                <a16:creationId xmlns:a16="http://schemas.microsoft.com/office/drawing/2014/main" id="{4AA30547-5527-48E6-9F5A-C51718F7C4B3}"/>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340077" y="1870864"/>
            <a:ext cx="1372898" cy="13728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otis elevator logo">
            <a:extLst>
              <a:ext uri="{FF2B5EF4-FFF2-40B4-BE49-F238E27FC236}">
                <a16:creationId xmlns:a16="http://schemas.microsoft.com/office/drawing/2014/main" id="{FC60CD3A-1D0B-48C0-A8FA-E7B5E97E7A42}"/>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6705953" y="389700"/>
            <a:ext cx="1005357" cy="100535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jabil logo">
            <a:extLst>
              <a:ext uri="{FF2B5EF4-FFF2-40B4-BE49-F238E27FC236}">
                <a16:creationId xmlns:a16="http://schemas.microsoft.com/office/drawing/2014/main" id="{A095F386-3EAB-4BCA-9982-8B631881BD80}"/>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2167351" y="4013346"/>
            <a:ext cx="1758055" cy="29873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rockwell automation logo">
            <a:extLst>
              <a:ext uri="{FF2B5EF4-FFF2-40B4-BE49-F238E27FC236}">
                <a16:creationId xmlns:a16="http://schemas.microsoft.com/office/drawing/2014/main" id="{DE561497-05D6-415B-97A4-080E13BFD122}"/>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5300" y="5589525"/>
            <a:ext cx="1715769" cy="40386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sandvik logo">
            <a:extLst>
              <a:ext uri="{FF2B5EF4-FFF2-40B4-BE49-F238E27FC236}">
                <a16:creationId xmlns:a16="http://schemas.microsoft.com/office/drawing/2014/main" id="{48F826FA-94B9-4468-9C40-533CAC8B580B}"/>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6365957" y="5465316"/>
            <a:ext cx="1685348" cy="65228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goodyear logo transparent">
            <a:extLst>
              <a:ext uri="{FF2B5EF4-FFF2-40B4-BE49-F238E27FC236}">
                <a16:creationId xmlns:a16="http://schemas.microsoft.com/office/drawing/2014/main" id="{0CB0DE8E-3835-48A1-A368-DC7D0B27BC2E}"/>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0283037" y="3833343"/>
            <a:ext cx="2080157" cy="62399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stanley black and decker logo transparent">
            <a:extLst>
              <a:ext uri="{FF2B5EF4-FFF2-40B4-BE49-F238E27FC236}">
                <a16:creationId xmlns:a16="http://schemas.microsoft.com/office/drawing/2014/main" id="{2CCA6AA0-9617-4D16-B093-A6ABF5DC8B25}"/>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0391096" y="778383"/>
            <a:ext cx="1913567" cy="317544"/>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twizzlers logo transparent">
            <a:extLst>
              <a:ext uri="{FF2B5EF4-FFF2-40B4-BE49-F238E27FC236}">
                <a16:creationId xmlns:a16="http://schemas.microsoft.com/office/drawing/2014/main" id="{17F5F26A-264F-4C19-9006-E43B0B315ECF}"/>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4027528" y="3685009"/>
            <a:ext cx="2181225" cy="84772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Image result for kavo kerr logo transparent">
            <a:extLst>
              <a:ext uri="{FF2B5EF4-FFF2-40B4-BE49-F238E27FC236}">
                <a16:creationId xmlns:a16="http://schemas.microsoft.com/office/drawing/2014/main" id="{CC11BFBB-62C6-4E76-88A1-CDCE85E79B22}"/>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8476465" y="5680100"/>
            <a:ext cx="1608046" cy="222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45981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2B6552-1FB5-4577-9F38-4F714D990A91}"/>
              </a:ext>
            </a:extLst>
          </p:cNvPr>
          <p:cNvPicPr>
            <a:picLocks noChangeAspect="1"/>
          </p:cNvPicPr>
          <p:nvPr/>
        </p:nvPicPr>
        <p:blipFill>
          <a:blip r:embed="rId3"/>
          <a:stretch>
            <a:fillRect/>
          </a:stretch>
        </p:blipFill>
        <p:spPr>
          <a:xfrm>
            <a:off x="944380" y="1665448"/>
            <a:ext cx="10742586" cy="3886741"/>
          </a:xfrm>
          <a:prstGeom prst="rect">
            <a:avLst/>
          </a:prstGeom>
        </p:spPr>
      </p:pic>
      <p:sp>
        <p:nvSpPr>
          <p:cNvPr id="3" name="TextBox 2">
            <a:extLst>
              <a:ext uri="{FF2B5EF4-FFF2-40B4-BE49-F238E27FC236}">
                <a16:creationId xmlns:a16="http://schemas.microsoft.com/office/drawing/2014/main" id="{4FD24D75-9CC1-484C-A094-9CC0797C6343}"/>
              </a:ext>
            </a:extLst>
          </p:cNvPr>
          <p:cNvSpPr txBox="1"/>
          <p:nvPr/>
        </p:nvSpPr>
        <p:spPr>
          <a:xfrm>
            <a:off x="2442138" y="5552189"/>
            <a:ext cx="3109219" cy="46166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mj-lt"/>
                <a:ea typeface="Verdana" panose="020B0604030504040204" pitchFamily="34" charset="0"/>
                <a:cs typeface="Verdana" panose="020B0604030504040204" pitchFamily="34" charset="0"/>
              </a:rPr>
              <a:t>Normal Signature</a:t>
            </a:r>
          </a:p>
        </p:txBody>
      </p:sp>
      <p:sp>
        <p:nvSpPr>
          <p:cNvPr id="4" name="TextBox 3">
            <a:extLst>
              <a:ext uri="{FF2B5EF4-FFF2-40B4-BE49-F238E27FC236}">
                <a16:creationId xmlns:a16="http://schemas.microsoft.com/office/drawing/2014/main" id="{303D3526-68C5-4BA8-8266-AD6519F785F1}"/>
              </a:ext>
            </a:extLst>
          </p:cNvPr>
          <p:cNvSpPr txBox="1"/>
          <p:nvPr/>
        </p:nvSpPr>
        <p:spPr>
          <a:xfrm>
            <a:off x="7699626" y="5552189"/>
            <a:ext cx="3109219" cy="46166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mj-lt"/>
                <a:ea typeface="Verdana" panose="020B0604030504040204" pitchFamily="34" charset="0"/>
                <a:cs typeface="Verdana" panose="020B0604030504040204" pitchFamily="34" charset="0"/>
              </a:rPr>
              <a:t>Rotor Bar Damage</a:t>
            </a:r>
          </a:p>
        </p:txBody>
      </p:sp>
      <p:sp>
        <p:nvSpPr>
          <p:cNvPr id="5" name="TextBox 4">
            <a:extLst>
              <a:ext uri="{FF2B5EF4-FFF2-40B4-BE49-F238E27FC236}">
                <a16:creationId xmlns:a16="http://schemas.microsoft.com/office/drawing/2014/main" id="{2DD9FACD-C426-4E59-B1FF-CBD5082590BB}"/>
              </a:ext>
            </a:extLst>
          </p:cNvPr>
          <p:cNvSpPr txBox="1"/>
          <p:nvPr/>
        </p:nvSpPr>
        <p:spPr>
          <a:xfrm>
            <a:off x="944379" y="796005"/>
            <a:ext cx="6902971" cy="6463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effectLst/>
                <a:uLnTx/>
                <a:uFillTx/>
                <a:latin typeface="+mj-lt"/>
                <a:ea typeface="Verdana" panose="020B0604030504040204" pitchFamily="34" charset="0"/>
                <a:cs typeface="Verdana" panose="020B0604030504040204" pitchFamily="34" charset="0"/>
              </a:rPr>
              <a:t>MOTOR ELECTRICAL SIGNATURE</a:t>
            </a:r>
          </a:p>
        </p:txBody>
      </p:sp>
    </p:spTree>
    <p:extLst>
      <p:ext uri="{BB962C8B-B14F-4D97-AF65-F5344CB8AC3E}">
        <p14:creationId xmlns:p14="http://schemas.microsoft.com/office/powerpoint/2010/main" val="34958706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612630" y="815794"/>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solidFill>
                  <a:schemeClr val="bg1">
                    <a:lumMod val="50000"/>
                  </a:schemeClr>
                </a:solidFill>
                <a:latin typeface="+mj-lt"/>
              </a:rPr>
              <a:t>Use Cases</a:t>
            </a:r>
          </a:p>
          <a:p>
            <a:r>
              <a:rPr lang="en-US" sz="2448" dirty="0">
                <a:solidFill>
                  <a:schemeClr val="bg1">
                    <a:lumMod val="50000"/>
                  </a:schemeClr>
                </a:solidFill>
                <a:latin typeface="+mj-lt"/>
              </a:rPr>
              <a:t>Data Foundation</a:t>
            </a:r>
          </a:p>
          <a:p>
            <a:r>
              <a:rPr lang="en-US" sz="2448" dirty="0">
                <a:solidFill>
                  <a:schemeClr val="bg1">
                    <a:lumMod val="50000"/>
                  </a:schemeClr>
                </a:solidFill>
                <a:latin typeface="+mj-lt"/>
              </a:rPr>
              <a:t>Modeling</a:t>
            </a:r>
          </a:p>
          <a:p>
            <a:r>
              <a:rPr lang="en-US" sz="2448" dirty="0">
                <a:solidFill>
                  <a:schemeClr val="bg1">
                    <a:lumMod val="50000"/>
                  </a:schemeClr>
                </a:solidFill>
                <a:latin typeface="+mj-lt"/>
              </a:rPr>
              <a:t>Modeling Example</a:t>
            </a:r>
          </a:p>
          <a:p>
            <a:r>
              <a:rPr lang="en-US" sz="2448" dirty="0">
                <a:solidFill>
                  <a:schemeClr val="bg1">
                    <a:lumMod val="50000"/>
                  </a:schemeClr>
                </a:solidFill>
                <a:latin typeface="+mj-lt"/>
              </a:rPr>
              <a:t>Physics of Failure</a:t>
            </a:r>
          </a:p>
          <a:p>
            <a:r>
              <a:rPr lang="en-US" sz="2448" dirty="0">
                <a:solidFill>
                  <a:schemeClr val="bg1">
                    <a:lumMod val="50000"/>
                  </a:schemeClr>
                </a:solidFill>
                <a:latin typeface="+mj-lt"/>
              </a:rPr>
              <a:t>Key Measurements</a:t>
            </a:r>
          </a:p>
          <a:p>
            <a:r>
              <a:rPr lang="en-US" sz="2448" dirty="0">
                <a:latin typeface="+mj-lt"/>
              </a:rPr>
              <a:t>Intelligence</a:t>
            </a:r>
          </a:p>
        </p:txBody>
      </p:sp>
      <p:sp>
        <p:nvSpPr>
          <p:cNvPr id="3" name="Title 2"/>
          <p:cNvSpPr>
            <a:spLocks noGrp="1"/>
          </p:cNvSpPr>
          <p:nvPr>
            <p:ph type="title" idx="4294967295"/>
          </p:nvPr>
        </p:nvSpPr>
        <p:spPr>
          <a:xfrm>
            <a:off x="1041252" y="1009650"/>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9534626" y="6028246"/>
            <a:ext cx="2080742" cy="932603"/>
          </a:xfrm>
          <a:prstGeom prst="rect">
            <a:avLst/>
          </a:prstGeom>
        </p:spPr>
      </p:pic>
      <p:sp>
        <p:nvSpPr>
          <p:cNvPr id="8" name="Arrow: Right 7">
            <a:extLst>
              <a:ext uri="{FF2B5EF4-FFF2-40B4-BE49-F238E27FC236}">
                <a16:creationId xmlns:a16="http://schemas.microsoft.com/office/drawing/2014/main" id="{50DE6F8C-A9D7-4E2B-B43F-8873F234EC2C}"/>
              </a:ext>
            </a:extLst>
          </p:cNvPr>
          <p:cNvSpPr/>
          <p:nvPr/>
        </p:nvSpPr>
        <p:spPr bwMode="gray">
          <a:xfrm flipH="1" flipV="1">
            <a:off x="6973295" y="5173661"/>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438541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1334125" y="1646083"/>
            <a:ext cx="7791450" cy="3208338"/>
          </a:xfrm>
        </p:spPr>
        <p:txBody>
          <a:bodyPr>
            <a:noAutofit/>
          </a:bodyPr>
          <a:lstStyle/>
          <a:p>
            <a:pPr marL="0" indent="0">
              <a:buNone/>
            </a:pPr>
            <a:r>
              <a:rPr lang="en-US" sz="2300" b="1" dirty="0">
                <a:solidFill>
                  <a:srgbClr val="FFFF00"/>
                </a:solidFill>
                <a:latin typeface="Segoe UI Light" panose="020B0502040204020203" pitchFamily="34" charset="0"/>
                <a:cs typeface="Segoe UI Light" panose="020B0502040204020203" pitchFamily="34" charset="0"/>
              </a:rPr>
              <a:t>Sensors	</a:t>
            </a:r>
            <a:r>
              <a:rPr lang="en-US" sz="2300" dirty="0">
                <a:latin typeface="Segoe UI Light" panose="020B0502040204020203" pitchFamily="34" charset="0"/>
                <a:cs typeface="Segoe UI Light" panose="020B0502040204020203" pitchFamily="34" charset="0"/>
              </a:rPr>
              <a:t>–	Data Capture</a:t>
            </a:r>
          </a:p>
          <a:p>
            <a:pPr marL="0" indent="0">
              <a:buNone/>
            </a:pPr>
            <a:r>
              <a:rPr lang="en-US" sz="2300" b="1" dirty="0">
                <a:solidFill>
                  <a:srgbClr val="FFFF00"/>
                </a:solidFill>
                <a:latin typeface="Segoe UI Light" panose="020B0502040204020203" pitchFamily="34" charset="0"/>
                <a:cs typeface="Segoe UI Light" panose="020B0502040204020203" pitchFamily="34" charset="0"/>
              </a:rPr>
              <a:t>Linking		</a:t>
            </a:r>
            <a:r>
              <a:rPr lang="en-US" sz="2300" dirty="0">
                <a:latin typeface="Segoe UI Light" panose="020B0502040204020203" pitchFamily="34" charset="0"/>
                <a:cs typeface="Segoe UI Light" panose="020B0502040204020203" pitchFamily="34" charset="0"/>
              </a:rPr>
              <a:t>–	Data Integration</a:t>
            </a:r>
          </a:p>
          <a:p>
            <a:pPr marL="0" indent="0">
              <a:buNone/>
            </a:pPr>
            <a:r>
              <a:rPr lang="en-US" sz="2300" b="1" dirty="0">
                <a:solidFill>
                  <a:srgbClr val="FFFF00"/>
                </a:solidFill>
                <a:latin typeface="Segoe UI Light" panose="020B0502040204020203" pitchFamily="34" charset="0"/>
                <a:cs typeface="Segoe UI Light" panose="020B0502040204020203" pitchFamily="34" charset="0"/>
              </a:rPr>
              <a:t>Science		</a:t>
            </a:r>
            <a:r>
              <a:rPr lang="en-US" sz="2300" dirty="0">
                <a:latin typeface="Segoe UI Light" panose="020B0502040204020203" pitchFamily="34" charset="0"/>
                <a:cs typeface="Segoe UI Light" panose="020B0502040204020203" pitchFamily="34" charset="0"/>
              </a:rPr>
              <a:t>–	Knowledge</a:t>
            </a:r>
          </a:p>
          <a:p>
            <a:pPr marL="0" indent="0">
              <a:buNone/>
            </a:pPr>
            <a:r>
              <a:rPr lang="en-US" sz="2300" b="1" dirty="0">
                <a:solidFill>
                  <a:srgbClr val="FFFF00"/>
                </a:solidFill>
                <a:latin typeface="Segoe UI Light" panose="020B0502040204020203" pitchFamily="34" charset="0"/>
                <a:cs typeface="Segoe UI Light" panose="020B0502040204020203" pitchFamily="34" charset="0"/>
              </a:rPr>
              <a:t>Control		</a:t>
            </a:r>
            <a:r>
              <a:rPr lang="en-US" sz="2300" dirty="0">
                <a:latin typeface="Segoe UI Light" panose="020B0502040204020203" pitchFamily="34" charset="0"/>
                <a:cs typeface="Segoe UI Light" panose="020B0502040204020203" pitchFamily="34" charset="0"/>
              </a:rPr>
              <a:t>–	Action</a:t>
            </a:r>
          </a:p>
          <a:p>
            <a:pPr marL="0" indent="0">
              <a:buNone/>
            </a:pPr>
            <a:endParaRPr lang="en-US" sz="2300" dirty="0">
              <a:latin typeface="Segoe UI Light" panose="020B0502040204020203" pitchFamily="34" charset="0"/>
              <a:cs typeface="Segoe UI Light" panose="020B0502040204020203" pitchFamily="34" charset="0"/>
            </a:endParaRPr>
          </a:p>
          <a:p>
            <a:pPr marL="0" indent="0">
              <a:buNone/>
            </a:pPr>
            <a:r>
              <a:rPr lang="en-US" sz="2300" dirty="0">
                <a:latin typeface="Segoe UI Light" panose="020B0502040204020203" pitchFamily="34" charset="0"/>
                <a:cs typeface="Segoe UI Light" panose="020B0502040204020203" pitchFamily="34" charset="0"/>
              </a:rPr>
              <a:t> </a:t>
            </a:r>
          </a:p>
        </p:txBody>
      </p:sp>
      <p:sp>
        <p:nvSpPr>
          <p:cNvPr id="3" name="Title 2"/>
          <p:cNvSpPr>
            <a:spLocks noGrp="1"/>
          </p:cNvSpPr>
          <p:nvPr>
            <p:ph type="title" idx="4294967295"/>
          </p:nvPr>
        </p:nvSpPr>
        <p:spPr>
          <a:xfrm>
            <a:off x="1214203" y="336629"/>
            <a:ext cx="10726738" cy="1317625"/>
          </a:xfrm>
        </p:spPr>
        <p:txBody>
          <a:bodyPr>
            <a:normAutofit/>
          </a:bodyPr>
          <a:lstStyle/>
          <a:p>
            <a:r>
              <a:rPr lang="en-US" sz="3600" dirty="0"/>
              <a:t>The components of an intelligent system</a:t>
            </a:r>
          </a:p>
        </p:txBody>
      </p:sp>
      <p:sp>
        <p:nvSpPr>
          <p:cNvPr id="4" name="Text Placeholder 1">
            <a:extLst>
              <a:ext uri="{FF2B5EF4-FFF2-40B4-BE49-F238E27FC236}">
                <a16:creationId xmlns:a16="http://schemas.microsoft.com/office/drawing/2014/main" id="{38EE9232-60D9-487B-91D9-AB98DFC915EF}"/>
              </a:ext>
            </a:extLst>
          </p:cNvPr>
          <p:cNvSpPr txBox="1">
            <a:spLocks/>
          </p:cNvSpPr>
          <p:nvPr/>
        </p:nvSpPr>
        <p:spPr>
          <a:xfrm>
            <a:off x="1334125" y="4291519"/>
            <a:ext cx="11340059" cy="3208338"/>
          </a:xfrm>
          <a:prstGeom prst="rect">
            <a:avLst/>
          </a:prstGeom>
        </p:spPr>
        <p:txBody>
          <a:bodyPr vert="horz" lIns="91440" tIns="45720" rIns="91440" bIns="45720" rtlCol="0">
            <a:normAutofit fontScale="62500" lnSpcReduction="20000"/>
          </a:bodyPr>
          <a:lstStyle>
            <a:lvl1pPr marL="233149" indent="-233149" algn="l" defTabSz="932597" rtl="0" eaLnBrk="1" latinLnBrk="0" hangingPunct="1">
              <a:lnSpc>
                <a:spcPct val="120000"/>
              </a:lnSpc>
              <a:spcBef>
                <a:spcPts val="1020"/>
              </a:spcBef>
              <a:buSzPct val="125000"/>
              <a:buFont typeface="Arial" panose="020B0604020202020204" pitchFamily="34" charset="0"/>
              <a:buChar char="•"/>
              <a:defRPr sz="2448" kern="1200">
                <a:solidFill>
                  <a:schemeClr val="tx1"/>
                </a:solidFill>
                <a:latin typeface="+mn-lt"/>
                <a:ea typeface="+mn-ea"/>
                <a:cs typeface="+mn-cs"/>
              </a:defRPr>
            </a:lvl1pPr>
            <a:lvl2pPr marL="699447" indent="-233149" algn="l" defTabSz="932597" rtl="0" eaLnBrk="1" latinLnBrk="0" hangingPunct="1">
              <a:lnSpc>
                <a:spcPct val="120000"/>
              </a:lnSpc>
              <a:spcBef>
                <a:spcPts val="510"/>
              </a:spcBef>
              <a:buSzPct val="125000"/>
              <a:buFont typeface="Arial" panose="020B0604020202020204" pitchFamily="34" charset="0"/>
              <a:buChar char="•"/>
              <a:defRPr sz="2040" kern="1200">
                <a:solidFill>
                  <a:schemeClr val="tx1"/>
                </a:solidFill>
                <a:latin typeface="+mn-lt"/>
                <a:ea typeface="+mn-ea"/>
                <a:cs typeface="+mn-cs"/>
              </a:defRPr>
            </a:lvl2pPr>
            <a:lvl3pPr marL="1165746" indent="-233149" algn="l" defTabSz="932597" rtl="0" eaLnBrk="1" latinLnBrk="0" hangingPunct="1">
              <a:lnSpc>
                <a:spcPct val="120000"/>
              </a:lnSpc>
              <a:spcBef>
                <a:spcPts val="510"/>
              </a:spcBef>
              <a:buSzPct val="125000"/>
              <a:buFont typeface="Arial" panose="020B0604020202020204" pitchFamily="34" charset="0"/>
              <a:buChar char="•"/>
              <a:defRPr sz="1836" kern="1200">
                <a:solidFill>
                  <a:schemeClr val="tx1"/>
                </a:solidFill>
                <a:latin typeface="+mn-lt"/>
                <a:ea typeface="+mn-ea"/>
                <a:cs typeface="+mn-cs"/>
              </a:defRPr>
            </a:lvl3pPr>
            <a:lvl4pPr marL="1632044" indent="-233149" algn="l" defTabSz="932597" rtl="0" eaLnBrk="1" latinLnBrk="0" hangingPunct="1">
              <a:lnSpc>
                <a:spcPct val="120000"/>
              </a:lnSpc>
              <a:spcBef>
                <a:spcPts val="510"/>
              </a:spcBef>
              <a:buSzPct val="125000"/>
              <a:buFont typeface="Arial" panose="020B0604020202020204" pitchFamily="34" charset="0"/>
              <a:buChar char="•"/>
              <a:defRPr sz="1632" kern="1200">
                <a:solidFill>
                  <a:schemeClr val="tx1"/>
                </a:solidFill>
                <a:latin typeface="+mn-lt"/>
                <a:ea typeface="+mn-ea"/>
                <a:cs typeface="+mn-cs"/>
              </a:defRPr>
            </a:lvl4pPr>
            <a:lvl5pPr marL="2098342" indent="-233149" algn="l" defTabSz="932597" rtl="0" eaLnBrk="1" latinLnBrk="0" hangingPunct="1">
              <a:lnSpc>
                <a:spcPct val="120000"/>
              </a:lnSpc>
              <a:spcBef>
                <a:spcPts val="510"/>
              </a:spcBef>
              <a:buSzPct val="125000"/>
              <a:buFont typeface="Arial" panose="020B0604020202020204" pitchFamily="34" charset="0"/>
              <a:buChar char="•"/>
              <a:defRPr sz="1632" kern="1200">
                <a:solidFill>
                  <a:schemeClr val="tx1"/>
                </a:solidFill>
                <a:latin typeface="+mn-lt"/>
                <a:ea typeface="+mn-ea"/>
                <a:cs typeface="+mn-cs"/>
              </a:defRPr>
            </a:lvl5pPr>
            <a:lvl6pPr marL="2564641"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6pPr>
            <a:lvl7pPr marL="3030939"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7pPr>
            <a:lvl8pPr marL="3497237"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8pPr>
            <a:lvl9pPr marL="3963535" indent="-233149" algn="l" defTabSz="932597" rtl="0" eaLnBrk="1" latinLnBrk="0" hangingPunct="1">
              <a:lnSpc>
                <a:spcPct val="120000"/>
              </a:lnSpc>
              <a:spcBef>
                <a:spcPts val="510"/>
              </a:spcBef>
              <a:buSzPct val="125000"/>
              <a:buFont typeface="Arial" panose="020B0604020202020204" pitchFamily="34" charset="0"/>
              <a:buChar char="•"/>
              <a:defRPr sz="1428" kern="1200">
                <a:solidFill>
                  <a:schemeClr val="tx1"/>
                </a:solidFill>
                <a:latin typeface="+mn-lt"/>
                <a:ea typeface="+mn-ea"/>
                <a:cs typeface="+mn-cs"/>
              </a:defRPr>
            </a:lvl9pPr>
          </a:lstStyle>
          <a:p>
            <a:pPr marL="0" indent="0">
              <a:buFont typeface="Arial" panose="020B0604020202020204" pitchFamily="34" charset="0"/>
              <a:buNone/>
            </a:pPr>
            <a:r>
              <a:rPr lang="en-US" sz="3600" b="1" dirty="0">
                <a:solidFill>
                  <a:srgbClr val="FFFF00"/>
                </a:solidFill>
                <a:latin typeface="Segoe UI Light" panose="020B0502040204020203" pitchFamily="34" charset="0"/>
                <a:cs typeface="Segoe UI Light" panose="020B0502040204020203" pitchFamily="34" charset="0"/>
              </a:rPr>
              <a:t>Sensors	</a:t>
            </a:r>
            <a:r>
              <a:rPr lang="en-US" sz="3600" dirty="0">
                <a:latin typeface="Segoe UI Light" panose="020B0502040204020203" pitchFamily="34" charset="0"/>
                <a:cs typeface="Segoe UI Light" panose="020B0502040204020203" pitchFamily="34" charset="0"/>
              </a:rPr>
              <a:t>–	Instrumentation, who are your partners?</a:t>
            </a:r>
          </a:p>
          <a:p>
            <a:pPr marL="0" indent="0">
              <a:buFont typeface="Arial" panose="020B0604020202020204" pitchFamily="34" charset="0"/>
              <a:buNone/>
            </a:pPr>
            <a:r>
              <a:rPr lang="en-US" sz="3600" b="1" dirty="0">
                <a:solidFill>
                  <a:srgbClr val="FFFF00"/>
                </a:solidFill>
                <a:latin typeface="Segoe UI Light" panose="020B0502040204020203" pitchFamily="34" charset="0"/>
                <a:cs typeface="Segoe UI Light" panose="020B0502040204020203" pitchFamily="34" charset="0"/>
              </a:rPr>
              <a:t>Linking		</a:t>
            </a:r>
            <a:r>
              <a:rPr lang="en-US" sz="3600" dirty="0">
                <a:latin typeface="Segoe UI Light" panose="020B0502040204020203" pitchFamily="34" charset="0"/>
                <a:cs typeface="Segoe UI Light" panose="020B0502040204020203" pitchFamily="34" charset="0"/>
              </a:rPr>
              <a:t>–	How is IT working with the business?</a:t>
            </a:r>
          </a:p>
          <a:p>
            <a:pPr marL="0" indent="0">
              <a:buFont typeface="Arial" panose="020B0604020202020204" pitchFamily="34" charset="0"/>
              <a:buNone/>
            </a:pPr>
            <a:r>
              <a:rPr lang="en-US" sz="3600" b="1" dirty="0">
                <a:solidFill>
                  <a:srgbClr val="FFFF00"/>
                </a:solidFill>
                <a:latin typeface="Segoe UI Light" panose="020B0502040204020203" pitchFamily="34" charset="0"/>
                <a:cs typeface="Segoe UI Light" panose="020B0502040204020203" pitchFamily="34" charset="0"/>
              </a:rPr>
              <a:t>Science		</a:t>
            </a:r>
            <a:r>
              <a:rPr lang="en-US" sz="3600" dirty="0">
                <a:latin typeface="Segoe UI Light" panose="020B0502040204020203" pitchFamily="34" charset="0"/>
                <a:cs typeface="Segoe UI Light" panose="020B0502040204020203" pitchFamily="34" charset="0"/>
              </a:rPr>
              <a:t>–	Can your front line workers do their job better with this solution?</a:t>
            </a:r>
          </a:p>
          <a:p>
            <a:pPr marL="0" indent="0">
              <a:buFont typeface="Arial" panose="020B0604020202020204" pitchFamily="34" charset="0"/>
              <a:buNone/>
            </a:pPr>
            <a:r>
              <a:rPr lang="en-US" sz="3600" b="1" dirty="0">
                <a:solidFill>
                  <a:srgbClr val="FFFF00"/>
                </a:solidFill>
                <a:latin typeface="Segoe UI Light" panose="020B0502040204020203" pitchFamily="34" charset="0"/>
                <a:cs typeface="Segoe UI Light" panose="020B0502040204020203" pitchFamily="34" charset="0"/>
              </a:rPr>
              <a:t>Control		</a:t>
            </a:r>
            <a:r>
              <a:rPr lang="en-US" sz="3600" dirty="0">
                <a:latin typeface="Segoe UI Light" panose="020B0502040204020203" pitchFamily="34" charset="0"/>
                <a:cs typeface="Segoe UI Light" panose="020B0502040204020203" pitchFamily="34" charset="0"/>
              </a:rPr>
              <a:t>–	Who are your risk owners and how can they be empowered to act?</a:t>
            </a:r>
          </a:p>
          <a:p>
            <a:pPr marL="0" indent="0">
              <a:buFont typeface="Arial" panose="020B0604020202020204" pitchFamily="34" charset="0"/>
              <a:buNone/>
            </a:pPr>
            <a:endParaRPr lang="en-US" sz="3600" dirty="0">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sz="3600" dirty="0">
                <a:latin typeface="Segoe UI Light" panose="020B0502040204020203" pitchFamily="34" charset="0"/>
                <a:cs typeface="Segoe UI Light" panose="020B0502040204020203" pitchFamily="34" charset="0"/>
              </a:rPr>
              <a:t> </a:t>
            </a:r>
          </a:p>
        </p:txBody>
      </p:sp>
      <p:pic>
        <p:nvPicPr>
          <p:cNvPr id="5" name="Picture 4">
            <a:extLst>
              <a:ext uri="{FF2B5EF4-FFF2-40B4-BE49-F238E27FC236}">
                <a16:creationId xmlns:a16="http://schemas.microsoft.com/office/drawing/2014/main" id="{E0DEBCDB-BD1A-4AAE-942D-4D84E4A9B578}"/>
              </a:ext>
            </a:extLst>
          </p:cNvPr>
          <p:cNvPicPr>
            <a:picLocks noChangeAspect="1"/>
          </p:cNvPicPr>
          <p:nvPr/>
        </p:nvPicPr>
        <p:blipFill>
          <a:blip r:embed="rId3"/>
          <a:stretch>
            <a:fillRect/>
          </a:stretch>
        </p:blipFill>
        <p:spPr>
          <a:xfrm>
            <a:off x="9473807" y="1617870"/>
            <a:ext cx="1623127" cy="1076920"/>
          </a:xfrm>
          <a:prstGeom prst="rect">
            <a:avLst/>
          </a:prstGeom>
        </p:spPr>
      </p:pic>
      <p:sp>
        <p:nvSpPr>
          <p:cNvPr id="6" name="TextBox 5">
            <a:extLst>
              <a:ext uri="{FF2B5EF4-FFF2-40B4-BE49-F238E27FC236}">
                <a16:creationId xmlns:a16="http://schemas.microsoft.com/office/drawing/2014/main" id="{83C66AB2-67C8-443F-9220-7CF76981EBD3}"/>
              </a:ext>
            </a:extLst>
          </p:cNvPr>
          <p:cNvSpPr txBox="1"/>
          <p:nvPr/>
        </p:nvSpPr>
        <p:spPr>
          <a:xfrm>
            <a:off x="9838127" y="2154357"/>
            <a:ext cx="814647" cy="369332"/>
          </a:xfrm>
          <a:prstGeom prst="rect">
            <a:avLst/>
          </a:prstGeom>
          <a:noFill/>
        </p:spPr>
        <p:txBody>
          <a:bodyPr wrap="none" rtlCol="0">
            <a:spAutoFit/>
          </a:bodyPr>
          <a:lstStyle/>
          <a:p>
            <a:r>
              <a:rPr lang="en-US" dirty="0"/>
              <a:t>TRUST</a:t>
            </a:r>
          </a:p>
        </p:txBody>
      </p:sp>
      <p:pic>
        <p:nvPicPr>
          <p:cNvPr id="7" name="Picture 6">
            <a:extLst>
              <a:ext uri="{FF2B5EF4-FFF2-40B4-BE49-F238E27FC236}">
                <a16:creationId xmlns:a16="http://schemas.microsoft.com/office/drawing/2014/main" id="{5FA096B8-432F-4413-A816-EF19675FF6E8}"/>
              </a:ext>
            </a:extLst>
          </p:cNvPr>
          <p:cNvPicPr>
            <a:picLocks noChangeAspect="1"/>
          </p:cNvPicPr>
          <p:nvPr/>
        </p:nvPicPr>
        <p:blipFill>
          <a:blip r:embed="rId3"/>
          <a:stretch>
            <a:fillRect/>
          </a:stretch>
        </p:blipFill>
        <p:spPr>
          <a:xfrm>
            <a:off x="7991227" y="1260166"/>
            <a:ext cx="1623127" cy="1076920"/>
          </a:xfrm>
          <a:prstGeom prst="rect">
            <a:avLst/>
          </a:prstGeom>
        </p:spPr>
      </p:pic>
      <p:sp>
        <p:nvSpPr>
          <p:cNvPr id="8" name="TextBox 7">
            <a:extLst>
              <a:ext uri="{FF2B5EF4-FFF2-40B4-BE49-F238E27FC236}">
                <a16:creationId xmlns:a16="http://schemas.microsoft.com/office/drawing/2014/main" id="{CE6BAFE7-E9D5-4431-B1E9-DDBE9CC16BED}"/>
              </a:ext>
            </a:extLst>
          </p:cNvPr>
          <p:cNvSpPr txBox="1"/>
          <p:nvPr/>
        </p:nvSpPr>
        <p:spPr>
          <a:xfrm>
            <a:off x="8395466" y="1721559"/>
            <a:ext cx="693588" cy="369332"/>
          </a:xfrm>
          <a:prstGeom prst="rect">
            <a:avLst/>
          </a:prstGeom>
          <a:noFill/>
        </p:spPr>
        <p:txBody>
          <a:bodyPr wrap="none" rtlCol="0">
            <a:spAutoFit/>
          </a:bodyPr>
          <a:lstStyle/>
          <a:p>
            <a:r>
              <a:rPr lang="en-US" dirty="0"/>
              <a:t>DATA</a:t>
            </a:r>
          </a:p>
        </p:txBody>
      </p:sp>
      <p:pic>
        <p:nvPicPr>
          <p:cNvPr id="9" name="Picture 8">
            <a:extLst>
              <a:ext uri="{FF2B5EF4-FFF2-40B4-BE49-F238E27FC236}">
                <a16:creationId xmlns:a16="http://schemas.microsoft.com/office/drawing/2014/main" id="{91DDEDDC-B719-44A8-9C01-EB34C0206687}"/>
              </a:ext>
            </a:extLst>
          </p:cNvPr>
          <p:cNvPicPr>
            <a:picLocks noChangeAspect="1"/>
          </p:cNvPicPr>
          <p:nvPr/>
        </p:nvPicPr>
        <p:blipFill>
          <a:blip r:embed="rId3"/>
          <a:stretch>
            <a:fillRect/>
          </a:stretch>
        </p:blipFill>
        <p:spPr>
          <a:xfrm>
            <a:off x="8431105" y="2425248"/>
            <a:ext cx="1623127" cy="1076920"/>
          </a:xfrm>
          <a:prstGeom prst="rect">
            <a:avLst/>
          </a:prstGeom>
        </p:spPr>
      </p:pic>
      <p:sp>
        <p:nvSpPr>
          <p:cNvPr id="10" name="TextBox 9">
            <a:extLst>
              <a:ext uri="{FF2B5EF4-FFF2-40B4-BE49-F238E27FC236}">
                <a16:creationId xmlns:a16="http://schemas.microsoft.com/office/drawing/2014/main" id="{BF09C7C7-9C86-4C0A-8B97-78CE18B6D09B}"/>
              </a:ext>
            </a:extLst>
          </p:cNvPr>
          <p:cNvSpPr txBox="1"/>
          <p:nvPr/>
        </p:nvSpPr>
        <p:spPr>
          <a:xfrm>
            <a:off x="8695103" y="2885005"/>
            <a:ext cx="1209177" cy="369332"/>
          </a:xfrm>
          <a:prstGeom prst="rect">
            <a:avLst/>
          </a:prstGeom>
          <a:noFill/>
        </p:spPr>
        <p:txBody>
          <a:bodyPr wrap="none" rtlCol="0">
            <a:spAutoFit/>
          </a:bodyPr>
          <a:lstStyle/>
          <a:p>
            <a:r>
              <a:rPr lang="en-US" dirty="0"/>
              <a:t>FEEDBACK</a:t>
            </a:r>
          </a:p>
        </p:txBody>
      </p:sp>
    </p:spTree>
    <p:extLst>
      <p:ext uri="{BB962C8B-B14F-4D97-AF65-F5344CB8AC3E}">
        <p14:creationId xmlns:p14="http://schemas.microsoft.com/office/powerpoint/2010/main" val="2084336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1000"/>
                                        <p:tgtEl>
                                          <p:spTgt spid="9"/>
                                        </p:tgtEl>
                                      </p:cBhvr>
                                    </p:animEffect>
                                    <p:anim calcmode="lin" valueType="num">
                                      <p:cBhvr>
                                        <p:cTn id="35" dur="1000" fill="hold"/>
                                        <p:tgtEl>
                                          <p:spTgt spid="9"/>
                                        </p:tgtEl>
                                        <p:attrNameLst>
                                          <p:attrName>ppt_x</p:attrName>
                                        </p:attrNameLst>
                                      </p:cBhvr>
                                      <p:tavLst>
                                        <p:tav tm="0">
                                          <p:val>
                                            <p:strVal val="#ppt_x"/>
                                          </p:val>
                                        </p:tav>
                                        <p:tav tm="100000">
                                          <p:val>
                                            <p:strVal val="#ppt_x"/>
                                          </p:val>
                                        </p:tav>
                                      </p:tavLst>
                                    </p:anim>
                                    <p:anim calcmode="lin" valueType="num">
                                      <p:cBhvr>
                                        <p:cTn id="36" dur="1000" fill="hold"/>
                                        <p:tgtEl>
                                          <p:spTgt spid="9"/>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1000"/>
                                        <p:tgtEl>
                                          <p:spTgt spid="10"/>
                                        </p:tgtEl>
                                      </p:cBhvr>
                                    </p:animEffect>
                                    <p:anim calcmode="lin" valueType="num">
                                      <p:cBhvr>
                                        <p:cTn id="40" dur="1000" fill="hold"/>
                                        <p:tgtEl>
                                          <p:spTgt spid="10"/>
                                        </p:tgtEl>
                                        <p:attrNameLst>
                                          <p:attrName>ppt_x</p:attrName>
                                        </p:attrNameLst>
                                      </p:cBhvr>
                                      <p:tavLst>
                                        <p:tav tm="0">
                                          <p:val>
                                            <p:strVal val="#ppt_x"/>
                                          </p:val>
                                        </p:tav>
                                        <p:tav tm="100000">
                                          <p:val>
                                            <p:strVal val="#ppt_x"/>
                                          </p:val>
                                        </p:tav>
                                      </p:tavLst>
                                    </p:anim>
                                    <p:anim calcmode="lin" valueType="num">
                                      <p:cBhvr>
                                        <p:cTn id="4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12" name="Picture 2" descr="A picture containing electronics&#10;&#10;Description generated with high confidence">
            <a:extLst>
              <a:ext uri="{FF2B5EF4-FFF2-40B4-BE49-F238E27FC236}">
                <a16:creationId xmlns:a16="http://schemas.microsoft.com/office/drawing/2014/main" id="{42A62C1E-C074-4B9F-A126-5A6EB809163E}"/>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alphaModFix amt="30000"/>
            <a:extLst>
              <a:ext uri="{28A0092B-C50C-407E-A947-70E740481C1C}">
                <a14:useLocalDpi xmlns:a14="http://schemas.microsoft.com/office/drawing/2010/main" val="0"/>
              </a:ext>
            </a:extLst>
          </a:blip>
          <a:srcRect/>
          <a:stretch>
            <a:fillRect/>
          </a:stretch>
        </p:blipFill>
        <p:spPr bwMode="auto">
          <a:xfrm>
            <a:off x="0" y="0"/>
            <a:ext cx="12436478" cy="6994526"/>
          </a:xfrm>
          <a:prstGeom prst="rect">
            <a:avLst/>
          </a:prstGeom>
          <a:noFill/>
          <a:extLst>
            <a:ext uri="{909E8E84-426E-40dd-AFC4-6F175D3DCCD1}">
              <a14:hiddenFill xmlns:a14="http://schemas.microsoft.com/office/drawing/2010/main" xmlns:p14="http://schemas.microsoft.com/office/powerpoint/2010/main" xmlns="">
                <a:solidFill>
                  <a:srgbClr val="FFFFFF"/>
                </a:solidFill>
              </a14:hiddenFill>
            </a:ext>
          </a:extLst>
        </p:spPr>
      </p:pic>
      <p:grpSp>
        <p:nvGrpSpPr>
          <p:cNvPr id="14" name="Group 13">
            <a:extLst>
              <a:ext uri="{FF2B5EF4-FFF2-40B4-BE49-F238E27FC236}">
                <a16:creationId xmlns:a16="http://schemas.microsoft.com/office/drawing/2014/main" id="{AFAAC72B-1468-4A61-818C-9D6740A34BFD}"/>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0"/>
            <a:ext cx="2351222" cy="6994529"/>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5" name="Rectangle 5">
              <a:extLst>
                <a:ext uri="{FF2B5EF4-FFF2-40B4-BE49-F238E27FC236}">
                  <a16:creationId xmlns:a16="http://schemas.microsoft.com/office/drawing/2014/main" id="{DE7BA23F-CC7D-4F24-AA5D-87499F598206}"/>
                </a:ext>
              </a:extLst>
            </p:cNvPr>
            <p:cNvSpPr>
              <a:spLocks noChangeArrowheads="1"/>
            </p:cNvSpPr>
            <p:nvPr>
              <p:extLst>
                <p:ext uri="{386F3935-93C4-4BCD-93E2-E3B085C9AB24}">
                  <p16:designElem xmlns:p16="http://schemas.microsoft.com/office/powerpoint/2015/main" val="1"/>
                </p:ext>
              </p:extLst>
            </p:nvPr>
          </p:nvSpPr>
          <p:spPr bwMode="auto">
            <a:xfrm>
              <a:off x="1209675" y="4763"/>
              <a:ext cx="23813" cy="2181225"/>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sp>
        <p:sp>
          <p:nvSpPr>
            <p:cNvPr id="16" name="Freeform 6">
              <a:extLst>
                <a:ext uri="{FF2B5EF4-FFF2-40B4-BE49-F238E27FC236}">
                  <a16:creationId xmlns:a16="http://schemas.microsoft.com/office/drawing/2014/main" id="{01DA9AA6-9ED7-44A9-B89A-11D0F25AE2CF}"/>
                </a:ext>
              </a:extLst>
            </p:cNvPr>
            <p:cNvSpPr>
              <a:spLocks noEditPoints="1"/>
            </p:cNvSpPr>
            <p:nvPr>
              <p:extLst>
                <p:ext uri="{386F3935-93C4-4BCD-93E2-E3B085C9AB24}">
                  <p16:designElem xmlns:p16="http://schemas.microsoft.com/office/powerpoint/2015/main" val="1"/>
                </p:ext>
              </p:extLst>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17" name="Freeform 7">
              <a:extLst>
                <a:ext uri="{FF2B5EF4-FFF2-40B4-BE49-F238E27FC236}">
                  <a16:creationId xmlns:a16="http://schemas.microsoft.com/office/drawing/2014/main" id="{A01F0F80-5D96-4187-B1CF-7B7431005C0D}"/>
                </a:ext>
              </a:extLst>
            </p:cNvPr>
            <p:cNvSpPr>
              <a:spLocks noEditPoints="1"/>
            </p:cNvSpPr>
            <p:nvPr>
              <p:extLst>
                <p:ext uri="{386F3935-93C4-4BCD-93E2-E3B085C9AB24}">
                  <p16:designElem xmlns:p16="http://schemas.microsoft.com/office/powerpoint/2015/main" val="1"/>
                </p:ext>
              </p:extLst>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18" name="Rectangle 8">
              <a:extLst>
                <a:ext uri="{FF2B5EF4-FFF2-40B4-BE49-F238E27FC236}">
                  <a16:creationId xmlns:a16="http://schemas.microsoft.com/office/drawing/2014/main" id="{91BC74D8-180D-4752-8DB9-505286F1A3AC}"/>
                </a:ext>
              </a:extLst>
            </p:cNvPr>
            <p:cNvSpPr>
              <a:spLocks noChangeArrowheads="1"/>
            </p:cNvSpPr>
            <p:nvPr>
              <p:extLst>
                <p:ext uri="{386F3935-93C4-4BCD-93E2-E3B085C9AB24}">
                  <p16:designElem xmlns:p16="http://schemas.microsoft.com/office/powerpoint/2015/main" val="1"/>
                </p:ext>
              </p:extLst>
            </p:nvPr>
          </p:nvSpPr>
          <p:spPr bwMode="auto">
            <a:xfrm>
              <a:off x="414338" y="9525"/>
              <a:ext cx="28575" cy="4481513"/>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sp>
        <p:sp>
          <p:nvSpPr>
            <p:cNvPr id="19" name="Freeform 9">
              <a:extLst>
                <a:ext uri="{FF2B5EF4-FFF2-40B4-BE49-F238E27FC236}">
                  <a16:creationId xmlns:a16="http://schemas.microsoft.com/office/drawing/2014/main" id="{2BE69DAC-23FF-40E7-85CE-FBD085B37C63}"/>
                </a:ext>
              </a:extLst>
            </p:cNvPr>
            <p:cNvSpPr>
              <a:spLocks noEditPoints="1"/>
            </p:cNvSpPr>
            <p:nvPr>
              <p:extLst>
                <p:ext uri="{386F3935-93C4-4BCD-93E2-E3B085C9AB24}">
                  <p16:designElem xmlns:p16="http://schemas.microsoft.com/office/powerpoint/2015/main" val="1"/>
                </p:ext>
              </p:extLst>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0" name="Freeform 10">
              <a:extLst>
                <a:ext uri="{FF2B5EF4-FFF2-40B4-BE49-F238E27FC236}">
                  <a16:creationId xmlns:a16="http://schemas.microsoft.com/office/drawing/2014/main" id="{382513DE-28E5-4321-8AD8-DFF9A5D8825E}"/>
                </a:ext>
              </a:extLst>
            </p:cNvPr>
            <p:cNvSpPr/>
            <p:nvPr>
              <p:extLst>
                <p:ext uri="{386F3935-93C4-4BCD-93E2-E3B085C9AB24}">
                  <p16:designElem xmlns:p16="http://schemas.microsoft.com/office/powerpoint/2015/main" val="1"/>
                </p:ext>
              </p:extLst>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1" name="Freeform 11">
              <a:extLst>
                <a:ext uri="{FF2B5EF4-FFF2-40B4-BE49-F238E27FC236}">
                  <a16:creationId xmlns:a16="http://schemas.microsoft.com/office/drawing/2014/main" id="{AB55DF4F-428E-4489-BE27-817642043629}"/>
                </a:ext>
              </a:extLst>
            </p:cNvPr>
            <p:cNvSpPr/>
            <p:nvPr>
              <p:extLst>
                <p:ext uri="{386F3935-93C4-4BCD-93E2-E3B085C9AB24}">
                  <p16:designElem xmlns:p16="http://schemas.microsoft.com/office/powerpoint/2015/main" val="1"/>
                </p:ext>
              </p:extLst>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2" name="Freeform 12">
              <a:extLst>
                <a:ext uri="{FF2B5EF4-FFF2-40B4-BE49-F238E27FC236}">
                  <a16:creationId xmlns:a16="http://schemas.microsoft.com/office/drawing/2014/main" id="{1B7FA976-0B14-4F79-8941-DE4DBC021444}"/>
                </a:ext>
              </a:extLst>
            </p:cNvPr>
            <p:cNvSpPr>
              <a:spLocks noEditPoints="1"/>
            </p:cNvSpPr>
            <p:nvPr>
              <p:extLst>
                <p:ext uri="{386F3935-93C4-4BCD-93E2-E3B085C9AB24}">
                  <p16:designElem xmlns:p16="http://schemas.microsoft.com/office/powerpoint/2015/main" val="1"/>
                </p:ext>
              </p:extLst>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3" name="Freeform 13">
              <a:extLst>
                <a:ext uri="{FF2B5EF4-FFF2-40B4-BE49-F238E27FC236}">
                  <a16:creationId xmlns:a16="http://schemas.microsoft.com/office/drawing/2014/main" id="{CEFDC5BE-6BCF-4416-9519-1BD9689B73F0}"/>
                </a:ext>
              </a:extLst>
            </p:cNvPr>
            <p:cNvSpPr/>
            <p:nvPr>
              <p:extLst>
                <p:ext uri="{386F3935-93C4-4BCD-93E2-E3B085C9AB24}">
                  <p16:designElem xmlns:p16="http://schemas.microsoft.com/office/powerpoint/2015/main" val="1"/>
                </p:ext>
              </p:extLst>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4" name="Freeform 14">
              <a:extLst>
                <a:ext uri="{FF2B5EF4-FFF2-40B4-BE49-F238E27FC236}">
                  <a16:creationId xmlns:a16="http://schemas.microsoft.com/office/drawing/2014/main" id="{FDB8EB04-E349-4D57-BBB2-92BFE445021E}"/>
                </a:ext>
              </a:extLst>
            </p:cNvPr>
            <p:cNvSpPr/>
            <p:nvPr>
              <p:extLst>
                <p:ext uri="{386F3935-93C4-4BCD-93E2-E3B085C9AB24}">
                  <p16:designElem xmlns:p16="http://schemas.microsoft.com/office/powerpoint/2015/main" val="1"/>
                </p:ext>
              </p:extLst>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5" name="Freeform 15">
              <a:extLst>
                <a:ext uri="{FF2B5EF4-FFF2-40B4-BE49-F238E27FC236}">
                  <a16:creationId xmlns:a16="http://schemas.microsoft.com/office/drawing/2014/main" id="{7D4FB99B-8938-4DEB-A48C-3BE646BA62AB}"/>
                </a:ext>
              </a:extLst>
            </p:cNvPr>
            <p:cNvSpPr>
              <a:spLocks noEditPoints="1"/>
            </p:cNvSpPr>
            <p:nvPr>
              <p:extLst>
                <p:ext uri="{386F3935-93C4-4BCD-93E2-E3B085C9AB24}">
                  <p16:designElem xmlns:p16="http://schemas.microsoft.com/office/powerpoint/2015/main" val="1"/>
                </p:ext>
              </p:extLst>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6" name="Freeform 16">
              <a:extLst>
                <a:ext uri="{FF2B5EF4-FFF2-40B4-BE49-F238E27FC236}">
                  <a16:creationId xmlns:a16="http://schemas.microsoft.com/office/drawing/2014/main" id="{668F5E6F-41A9-43EC-993A-5521B263DD53}"/>
                </a:ext>
              </a:extLst>
            </p:cNvPr>
            <p:cNvSpPr>
              <a:spLocks noEditPoints="1"/>
            </p:cNvSpPr>
            <p:nvPr>
              <p:extLst>
                <p:ext uri="{386F3935-93C4-4BCD-93E2-E3B085C9AB24}">
                  <p16:designElem xmlns:p16="http://schemas.microsoft.com/office/powerpoint/2015/main" val="1"/>
                </p:ext>
              </p:extLst>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7" name="Freeform 17">
              <a:extLst>
                <a:ext uri="{FF2B5EF4-FFF2-40B4-BE49-F238E27FC236}">
                  <a16:creationId xmlns:a16="http://schemas.microsoft.com/office/drawing/2014/main" id="{5A1F62AA-D053-4902-92FF-68F46F1AE6E2}"/>
                </a:ext>
              </a:extLst>
            </p:cNvPr>
            <p:cNvSpPr/>
            <p:nvPr>
              <p:extLst>
                <p:ext uri="{386F3935-93C4-4BCD-93E2-E3B085C9AB24}">
                  <p16:designElem xmlns:p16="http://schemas.microsoft.com/office/powerpoint/2015/main" val="1"/>
                </p:ext>
              </p:extLst>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8" name="Freeform 18">
              <a:extLst>
                <a:ext uri="{FF2B5EF4-FFF2-40B4-BE49-F238E27FC236}">
                  <a16:creationId xmlns:a16="http://schemas.microsoft.com/office/drawing/2014/main" id="{54B35167-8C7F-4B4F-8237-6D71249CAF17}"/>
                </a:ext>
              </a:extLst>
            </p:cNvPr>
            <p:cNvSpPr>
              <a:spLocks noEditPoints="1"/>
            </p:cNvSpPr>
            <p:nvPr>
              <p:extLst>
                <p:ext uri="{386F3935-93C4-4BCD-93E2-E3B085C9AB24}">
                  <p16:designElem xmlns:p16="http://schemas.microsoft.com/office/powerpoint/2015/main" val="1"/>
                </p:ext>
              </p:extLst>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29" name="Freeform 19">
              <a:extLst>
                <a:ext uri="{FF2B5EF4-FFF2-40B4-BE49-F238E27FC236}">
                  <a16:creationId xmlns:a16="http://schemas.microsoft.com/office/drawing/2014/main" id="{5E227694-C57C-4F1D-AF07-8D0EC3F68B8B}"/>
                </a:ext>
              </a:extLst>
            </p:cNvPr>
            <p:cNvSpPr/>
            <p:nvPr>
              <p:extLst>
                <p:ext uri="{386F3935-93C4-4BCD-93E2-E3B085C9AB24}">
                  <p16:designElem xmlns:p16="http://schemas.microsoft.com/office/powerpoint/2015/main" val="1"/>
                </p:ext>
              </p:extLst>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0" name="Freeform 20">
              <a:extLst>
                <a:ext uri="{FF2B5EF4-FFF2-40B4-BE49-F238E27FC236}">
                  <a16:creationId xmlns:a16="http://schemas.microsoft.com/office/drawing/2014/main" id="{5839C01B-00BF-4880-B3D7-88C84DD1AF24}"/>
                </a:ext>
              </a:extLst>
            </p:cNvPr>
            <p:cNvSpPr>
              <a:spLocks noEditPoints="1"/>
            </p:cNvSpPr>
            <p:nvPr>
              <p:extLst>
                <p:ext uri="{386F3935-93C4-4BCD-93E2-E3B085C9AB24}">
                  <p16:designElem xmlns:p16="http://schemas.microsoft.com/office/powerpoint/2015/main" val="1"/>
                </p:ext>
              </p:extLst>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1" name="Freeform 21">
              <a:extLst>
                <a:ext uri="{FF2B5EF4-FFF2-40B4-BE49-F238E27FC236}">
                  <a16:creationId xmlns:a16="http://schemas.microsoft.com/office/drawing/2014/main" id="{66C6C7C1-7ACD-4545-BA06-5379AA3CCF7D}"/>
                </a:ext>
              </a:extLst>
            </p:cNvPr>
            <p:cNvSpPr>
              <a:spLocks noEditPoints="1"/>
            </p:cNvSpPr>
            <p:nvPr>
              <p:extLst>
                <p:ext uri="{386F3935-93C4-4BCD-93E2-E3B085C9AB24}">
                  <p16:designElem xmlns:p16="http://schemas.microsoft.com/office/powerpoint/2015/main" val="1"/>
                </p:ext>
              </p:extLst>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2" name="Freeform 22">
              <a:extLst>
                <a:ext uri="{FF2B5EF4-FFF2-40B4-BE49-F238E27FC236}">
                  <a16:creationId xmlns:a16="http://schemas.microsoft.com/office/drawing/2014/main" id="{28491955-6EBA-4E18-A945-B932BF040450}"/>
                </a:ext>
              </a:extLst>
            </p:cNvPr>
            <p:cNvSpPr/>
            <p:nvPr>
              <p:extLst>
                <p:ext uri="{386F3935-93C4-4BCD-93E2-E3B085C9AB24}">
                  <p16:designElem xmlns:p16="http://schemas.microsoft.com/office/powerpoint/2015/main" val="1"/>
                </p:ext>
              </p:extLst>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3" name="Freeform 23">
              <a:extLst>
                <a:ext uri="{FF2B5EF4-FFF2-40B4-BE49-F238E27FC236}">
                  <a16:creationId xmlns:a16="http://schemas.microsoft.com/office/drawing/2014/main" id="{75E5F549-BC29-4753-AFF3-51A22F9530C8}"/>
                </a:ext>
              </a:extLst>
            </p:cNvPr>
            <p:cNvSpPr>
              <a:spLocks noEditPoints="1"/>
            </p:cNvSpPr>
            <p:nvPr>
              <p:extLst>
                <p:ext uri="{386F3935-93C4-4BCD-93E2-E3B085C9AB24}">
                  <p16:designElem xmlns:p16="http://schemas.microsoft.com/office/powerpoint/2015/main" val="1"/>
                </p:ext>
              </p:extLst>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4" name="Freeform 24">
              <a:extLst>
                <a:ext uri="{FF2B5EF4-FFF2-40B4-BE49-F238E27FC236}">
                  <a16:creationId xmlns:a16="http://schemas.microsoft.com/office/drawing/2014/main" id="{843F9AF2-0061-417E-A0DD-D7C445484EBC}"/>
                </a:ext>
              </a:extLst>
            </p:cNvPr>
            <p:cNvSpPr>
              <a:spLocks noEditPoints="1"/>
            </p:cNvSpPr>
            <p:nvPr>
              <p:extLst>
                <p:ext uri="{386F3935-93C4-4BCD-93E2-E3B085C9AB24}">
                  <p16:designElem xmlns:p16="http://schemas.microsoft.com/office/powerpoint/2015/main" val="1"/>
                </p:ext>
              </p:extLst>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5" name="Freeform 25">
              <a:extLst>
                <a:ext uri="{FF2B5EF4-FFF2-40B4-BE49-F238E27FC236}">
                  <a16:creationId xmlns:a16="http://schemas.microsoft.com/office/drawing/2014/main" id="{441782E9-AB6A-4CF3-9891-3296C9F46DCE}"/>
                </a:ext>
              </a:extLst>
            </p:cNvPr>
            <p:cNvSpPr/>
            <p:nvPr>
              <p:extLst>
                <p:ext uri="{386F3935-93C4-4BCD-93E2-E3B085C9AB24}">
                  <p16:designElem xmlns:p16="http://schemas.microsoft.com/office/powerpoint/2015/main" val="1"/>
                </p:ext>
              </p:extLst>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6" name="Freeform 26">
              <a:extLst>
                <a:ext uri="{FF2B5EF4-FFF2-40B4-BE49-F238E27FC236}">
                  <a16:creationId xmlns:a16="http://schemas.microsoft.com/office/drawing/2014/main" id="{0011C945-E97D-4B05-AEF3-C4B7E14C1A29}"/>
                </a:ext>
              </a:extLst>
            </p:cNvPr>
            <p:cNvSpPr>
              <a:spLocks noEditPoints="1"/>
            </p:cNvSpPr>
            <p:nvPr>
              <p:extLst>
                <p:ext uri="{386F3935-93C4-4BCD-93E2-E3B085C9AB24}">
                  <p16:designElem xmlns:p16="http://schemas.microsoft.com/office/powerpoint/2015/main" val="1"/>
                </p:ext>
              </p:extLst>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7" name="Freeform 27">
              <a:extLst>
                <a:ext uri="{FF2B5EF4-FFF2-40B4-BE49-F238E27FC236}">
                  <a16:creationId xmlns:a16="http://schemas.microsoft.com/office/drawing/2014/main" id="{E027A564-E1CF-4BD2-B2A3-05DFEA1D95D8}"/>
                </a:ext>
              </a:extLst>
            </p:cNvPr>
            <p:cNvSpPr/>
            <p:nvPr>
              <p:extLst>
                <p:ext uri="{386F3935-93C4-4BCD-93E2-E3B085C9AB24}">
                  <p16:designElem xmlns:p16="http://schemas.microsoft.com/office/powerpoint/2015/main" val="1"/>
                </p:ext>
              </p:extLst>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8" name="Freeform 28">
              <a:extLst>
                <a:ext uri="{FF2B5EF4-FFF2-40B4-BE49-F238E27FC236}">
                  <a16:creationId xmlns:a16="http://schemas.microsoft.com/office/drawing/2014/main" id="{3EDB7B30-4D98-4873-83A0-409BFA725268}"/>
                </a:ext>
              </a:extLst>
            </p:cNvPr>
            <p:cNvSpPr>
              <a:spLocks noEditPoints="1"/>
            </p:cNvSpPr>
            <p:nvPr>
              <p:extLst>
                <p:ext uri="{386F3935-93C4-4BCD-93E2-E3B085C9AB24}">
                  <p16:designElem xmlns:p16="http://schemas.microsoft.com/office/powerpoint/2015/main" val="1"/>
                </p:ext>
              </p:extLst>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39" name="Freeform 29">
              <a:extLst>
                <a:ext uri="{FF2B5EF4-FFF2-40B4-BE49-F238E27FC236}">
                  <a16:creationId xmlns:a16="http://schemas.microsoft.com/office/drawing/2014/main" id="{5213EC14-8315-452D-8459-3D37691A388D}"/>
                </a:ext>
              </a:extLst>
            </p:cNvPr>
            <p:cNvSpPr/>
            <p:nvPr>
              <p:extLst>
                <p:ext uri="{386F3935-93C4-4BCD-93E2-E3B085C9AB24}">
                  <p16:designElem xmlns:p16="http://schemas.microsoft.com/office/powerpoint/2015/main" val="1"/>
                </p:ext>
              </p:extLst>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0" name="Freeform 30">
              <a:extLst>
                <a:ext uri="{FF2B5EF4-FFF2-40B4-BE49-F238E27FC236}">
                  <a16:creationId xmlns:a16="http://schemas.microsoft.com/office/drawing/2014/main" id="{9A398B2F-C37F-4EEA-A23D-51B55F600DEC}"/>
                </a:ext>
              </a:extLst>
            </p:cNvPr>
            <p:cNvSpPr>
              <a:spLocks noEditPoints="1"/>
            </p:cNvSpPr>
            <p:nvPr>
              <p:extLst>
                <p:ext uri="{386F3935-93C4-4BCD-93E2-E3B085C9AB24}">
                  <p16:designElem xmlns:p16="http://schemas.microsoft.com/office/powerpoint/2015/main" val="1"/>
                </p:ext>
              </p:extLst>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1" name="Freeform 31">
              <a:extLst>
                <a:ext uri="{FF2B5EF4-FFF2-40B4-BE49-F238E27FC236}">
                  <a16:creationId xmlns:a16="http://schemas.microsoft.com/office/drawing/2014/main" id="{FA8C1A2E-3302-4D50-BE7D-4A4BDD25E500}"/>
                </a:ext>
              </a:extLst>
            </p:cNvPr>
            <p:cNvSpPr/>
            <p:nvPr>
              <p:extLst>
                <p:ext uri="{386F3935-93C4-4BCD-93E2-E3B085C9AB24}">
                  <p16:designElem xmlns:p16="http://schemas.microsoft.com/office/powerpoint/2015/main" val="1"/>
                </p:ext>
              </p:extLst>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2" name="Freeform 32">
              <a:extLst>
                <a:ext uri="{FF2B5EF4-FFF2-40B4-BE49-F238E27FC236}">
                  <a16:creationId xmlns:a16="http://schemas.microsoft.com/office/drawing/2014/main" id="{2B777039-FD88-4624-86A1-2466E07CBC76}"/>
                </a:ext>
              </a:extLst>
            </p:cNvPr>
            <p:cNvSpPr>
              <a:spLocks noEditPoints="1"/>
            </p:cNvSpPr>
            <p:nvPr>
              <p:extLst>
                <p:ext uri="{386F3935-93C4-4BCD-93E2-E3B085C9AB24}">
                  <p16:designElem xmlns:p16="http://schemas.microsoft.com/office/powerpoint/2015/main" val="1"/>
                </p:ext>
              </p:extLst>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3" name="Rectangle 33">
              <a:extLst>
                <a:ext uri="{FF2B5EF4-FFF2-40B4-BE49-F238E27FC236}">
                  <a16:creationId xmlns:a16="http://schemas.microsoft.com/office/drawing/2014/main" id="{F5BBAC42-91EE-4166-AE92-D9B8E93A6578}"/>
                </a:ext>
              </a:extLst>
            </p:cNvPr>
            <p:cNvSpPr>
              <a:spLocks noChangeArrowheads="1"/>
            </p:cNvSpPr>
            <p:nvPr>
              <p:extLst>
                <p:ext uri="{386F3935-93C4-4BCD-93E2-E3B085C9AB24}">
                  <p16:designElem xmlns:p16="http://schemas.microsoft.com/office/powerpoint/2015/main" val="1"/>
                </p:ext>
              </p:extLst>
            </p:nvPr>
          </p:nvSpPr>
          <p:spPr bwMode="auto">
            <a:xfrm>
              <a:off x="642938" y="6610350"/>
              <a:ext cx="23813" cy="242888"/>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sp>
        <p:sp>
          <p:nvSpPr>
            <p:cNvPr id="44" name="Freeform 34">
              <a:extLst>
                <a:ext uri="{FF2B5EF4-FFF2-40B4-BE49-F238E27FC236}">
                  <a16:creationId xmlns:a16="http://schemas.microsoft.com/office/drawing/2014/main" id="{C4F2A499-1D75-4098-A69A-46F1BBCDEDD8}"/>
                </a:ext>
              </a:extLst>
            </p:cNvPr>
            <p:cNvSpPr>
              <a:spLocks noEditPoints="1"/>
            </p:cNvSpPr>
            <p:nvPr>
              <p:extLst>
                <p:ext uri="{386F3935-93C4-4BCD-93E2-E3B085C9AB24}">
                  <p16:designElem xmlns:p16="http://schemas.microsoft.com/office/powerpoint/2015/main" val="1"/>
                </p:ext>
              </p:extLst>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5" name="Freeform 35">
              <a:extLst>
                <a:ext uri="{FF2B5EF4-FFF2-40B4-BE49-F238E27FC236}">
                  <a16:creationId xmlns:a16="http://schemas.microsoft.com/office/drawing/2014/main" id="{BEC3B11A-8CD5-49CE-B430-62523671C430}"/>
                </a:ext>
              </a:extLst>
            </p:cNvPr>
            <p:cNvSpPr/>
            <p:nvPr>
              <p:extLst>
                <p:ext uri="{386F3935-93C4-4BCD-93E2-E3B085C9AB24}">
                  <p16:designElem xmlns:p16="http://schemas.microsoft.com/office/powerpoint/2015/main" val="1"/>
                </p:ext>
              </p:extLst>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6" name="Freeform 36">
              <a:extLst>
                <a:ext uri="{FF2B5EF4-FFF2-40B4-BE49-F238E27FC236}">
                  <a16:creationId xmlns:a16="http://schemas.microsoft.com/office/drawing/2014/main" id="{6DF23043-CE13-4BD7-A5B1-160E54D26556}"/>
                </a:ext>
              </a:extLst>
            </p:cNvPr>
            <p:cNvSpPr/>
            <p:nvPr>
              <p:extLst>
                <p:ext uri="{386F3935-93C4-4BCD-93E2-E3B085C9AB24}">
                  <p16:designElem xmlns:p16="http://schemas.microsoft.com/office/powerpoint/2015/main" val="1"/>
                </p:ext>
              </p:extLst>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7" name="Freeform 37">
              <a:extLst>
                <a:ext uri="{FF2B5EF4-FFF2-40B4-BE49-F238E27FC236}">
                  <a16:creationId xmlns:a16="http://schemas.microsoft.com/office/drawing/2014/main" id="{855D1673-334D-4ADA-B7A4-3A93ABA0F486}"/>
                </a:ext>
              </a:extLst>
            </p:cNvPr>
            <p:cNvSpPr>
              <a:spLocks noEditPoints="1"/>
            </p:cNvSpPr>
            <p:nvPr>
              <p:extLst>
                <p:ext uri="{386F3935-93C4-4BCD-93E2-E3B085C9AB24}">
                  <p16:designElem xmlns:p16="http://schemas.microsoft.com/office/powerpoint/2015/main" val="1"/>
                </p:ext>
              </p:extLst>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8" name="Freeform 38">
              <a:extLst>
                <a:ext uri="{FF2B5EF4-FFF2-40B4-BE49-F238E27FC236}">
                  <a16:creationId xmlns:a16="http://schemas.microsoft.com/office/drawing/2014/main" id="{A0540102-6F39-4192-B853-36A8304CAEFA}"/>
                </a:ext>
              </a:extLst>
            </p:cNvPr>
            <p:cNvSpPr/>
            <p:nvPr>
              <p:extLst>
                <p:ext uri="{386F3935-93C4-4BCD-93E2-E3B085C9AB24}">
                  <p16:designElem xmlns:p16="http://schemas.microsoft.com/office/powerpoint/2015/main" val="1"/>
                </p:ext>
              </p:extLst>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49" name="Freeform 39">
              <a:extLst>
                <a:ext uri="{FF2B5EF4-FFF2-40B4-BE49-F238E27FC236}">
                  <a16:creationId xmlns:a16="http://schemas.microsoft.com/office/drawing/2014/main" id="{FE7B2F63-B5E0-457B-8BDA-296AF0D6DFA6}"/>
                </a:ext>
              </a:extLst>
            </p:cNvPr>
            <p:cNvSpPr/>
            <p:nvPr>
              <p:extLst>
                <p:ext uri="{386F3935-93C4-4BCD-93E2-E3B085C9AB24}">
                  <p16:designElem xmlns:p16="http://schemas.microsoft.com/office/powerpoint/2015/main" val="1"/>
                </p:ext>
              </p:extLst>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0" name="Freeform 40">
              <a:extLst>
                <a:ext uri="{FF2B5EF4-FFF2-40B4-BE49-F238E27FC236}">
                  <a16:creationId xmlns:a16="http://schemas.microsoft.com/office/drawing/2014/main" id="{8AE74BF9-DD70-4138-AEA2-9E92FA54C3C0}"/>
                </a:ext>
              </a:extLst>
            </p:cNvPr>
            <p:cNvSpPr>
              <a:spLocks noEditPoints="1"/>
            </p:cNvSpPr>
            <p:nvPr>
              <p:extLst>
                <p:ext uri="{386F3935-93C4-4BCD-93E2-E3B085C9AB24}">
                  <p16:designElem xmlns:p16="http://schemas.microsoft.com/office/powerpoint/2015/main" val="1"/>
                </p:ext>
              </p:extLst>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1" name="Freeform 41">
              <a:extLst>
                <a:ext uri="{FF2B5EF4-FFF2-40B4-BE49-F238E27FC236}">
                  <a16:creationId xmlns:a16="http://schemas.microsoft.com/office/drawing/2014/main" id="{D57F9876-DDD6-4CDB-8CA3-3111229CB2D1}"/>
                </a:ext>
              </a:extLst>
            </p:cNvPr>
            <p:cNvSpPr/>
            <p:nvPr>
              <p:extLst>
                <p:ext uri="{386F3935-93C4-4BCD-93E2-E3B085C9AB24}">
                  <p16:designElem xmlns:p16="http://schemas.microsoft.com/office/powerpoint/2015/main" val="1"/>
                </p:ext>
              </p:extLst>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2" name="Freeform 42">
              <a:extLst>
                <a:ext uri="{FF2B5EF4-FFF2-40B4-BE49-F238E27FC236}">
                  <a16:creationId xmlns:a16="http://schemas.microsoft.com/office/drawing/2014/main" id="{D47958BA-B87B-43D9-B93E-988D8F206015}"/>
                </a:ext>
              </a:extLst>
            </p:cNvPr>
            <p:cNvSpPr>
              <a:spLocks noEditPoints="1"/>
            </p:cNvSpPr>
            <p:nvPr>
              <p:extLst>
                <p:ext uri="{386F3935-93C4-4BCD-93E2-E3B085C9AB24}">
                  <p16:designElem xmlns:p16="http://schemas.microsoft.com/office/powerpoint/2015/main" val="1"/>
                </p:ext>
              </p:extLst>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3" name="Freeform 43">
              <a:extLst>
                <a:ext uri="{FF2B5EF4-FFF2-40B4-BE49-F238E27FC236}">
                  <a16:creationId xmlns:a16="http://schemas.microsoft.com/office/drawing/2014/main" id="{6803A143-4A93-479A-859F-BC981C5E75BF}"/>
                </a:ext>
              </a:extLst>
            </p:cNvPr>
            <p:cNvSpPr/>
            <p:nvPr>
              <p:extLst>
                <p:ext uri="{386F3935-93C4-4BCD-93E2-E3B085C9AB24}">
                  <p16:designElem xmlns:p16="http://schemas.microsoft.com/office/powerpoint/2015/main" val="1"/>
                </p:ext>
              </p:extLst>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4" name="Freeform 44">
              <a:extLst>
                <a:ext uri="{FF2B5EF4-FFF2-40B4-BE49-F238E27FC236}">
                  <a16:creationId xmlns:a16="http://schemas.microsoft.com/office/drawing/2014/main" id="{5CC5C31E-616F-4351-944F-550BD278E46A}"/>
                </a:ext>
              </a:extLst>
            </p:cNvPr>
            <p:cNvSpPr>
              <a:spLocks noEditPoints="1"/>
            </p:cNvSpPr>
            <p:nvPr>
              <p:extLst>
                <p:ext uri="{386F3935-93C4-4BCD-93E2-E3B085C9AB24}">
                  <p16:designElem xmlns:p16="http://schemas.microsoft.com/office/powerpoint/2015/main" val="1"/>
                </p:ext>
              </p:extLst>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5" name="Rectangle 45">
              <a:extLst>
                <a:ext uri="{FF2B5EF4-FFF2-40B4-BE49-F238E27FC236}">
                  <a16:creationId xmlns:a16="http://schemas.microsoft.com/office/drawing/2014/main" id="{E8BB0EFF-C194-4679-AEC8-C6FADD255ABA}"/>
                </a:ext>
              </a:extLst>
            </p:cNvPr>
            <p:cNvSpPr>
              <a:spLocks noChangeArrowheads="1"/>
            </p:cNvSpPr>
            <p:nvPr>
              <p:extLst>
                <p:ext uri="{386F3935-93C4-4BCD-93E2-E3B085C9AB24}">
                  <p16:designElem xmlns:p16="http://schemas.microsoft.com/office/powerpoint/2015/main" val="1"/>
                </p:ext>
              </p:extLst>
            </p:nvPr>
          </p:nvSpPr>
          <p:spPr bwMode="auto">
            <a:xfrm>
              <a:off x="1228725" y="4662488"/>
              <a:ext cx="23813" cy="2181225"/>
            </a:xfrm>
            <a:prstGeom prst="rect">
              <a:avLst/>
            </a:prstGeom>
            <a:grpFill/>
            <a:ln>
              <a:noFill/>
            </a:ln>
            <a:extLst>
              <a:ext uri="{91240B29-F687-4f45-9708-019B960494DF}">
                <a14:hiddenLine xmlns:a14="http://schemas.microsoft.com/office/drawing/2010/main" xmlns:p14="http://schemas.microsoft.com/office/powerpoint/2010/main" xmlns="" w="9525">
                  <a:solidFill>
                    <a:srgbClr val="000000"/>
                  </a:solidFill>
                  <a:miter lim="800000"/>
                  <a:headEnd/>
                  <a:tailEnd/>
                </a14:hiddenLine>
              </a:ext>
            </a:extLst>
          </p:spPr>
        </p:sp>
        <p:sp>
          <p:nvSpPr>
            <p:cNvPr id="56" name="Freeform 46">
              <a:extLst>
                <a:ext uri="{FF2B5EF4-FFF2-40B4-BE49-F238E27FC236}">
                  <a16:creationId xmlns:a16="http://schemas.microsoft.com/office/drawing/2014/main" id="{5C5DCB57-D4AE-4565-AC0D-3CADFE7FD159}"/>
                </a:ext>
              </a:extLst>
            </p:cNvPr>
            <p:cNvSpPr/>
            <p:nvPr>
              <p:extLst>
                <p:ext uri="{386F3935-93C4-4BCD-93E2-E3B085C9AB24}">
                  <p16:designElem xmlns:p16="http://schemas.microsoft.com/office/powerpoint/2015/main" val="1"/>
                </p:ext>
              </p:extLst>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7" name="Freeform 47">
              <a:extLst>
                <a:ext uri="{FF2B5EF4-FFF2-40B4-BE49-F238E27FC236}">
                  <a16:creationId xmlns:a16="http://schemas.microsoft.com/office/drawing/2014/main" id="{93D5FBB1-89CF-4233-BE4A-80A60AA2287C}"/>
                </a:ext>
              </a:extLst>
            </p:cNvPr>
            <p:cNvSpPr>
              <a:spLocks noEditPoints="1"/>
            </p:cNvSpPr>
            <p:nvPr>
              <p:extLst>
                <p:ext uri="{386F3935-93C4-4BCD-93E2-E3B085C9AB24}">
                  <p16:designElem xmlns:p16="http://schemas.microsoft.com/office/powerpoint/2015/main" val="1"/>
                </p:ext>
              </p:extLst>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8" name="Freeform 48">
              <a:extLst>
                <a:ext uri="{FF2B5EF4-FFF2-40B4-BE49-F238E27FC236}">
                  <a16:creationId xmlns:a16="http://schemas.microsoft.com/office/drawing/2014/main" id="{159AEC9A-0D77-41B5-847A-9DC41199E2EE}"/>
                </a:ext>
              </a:extLst>
            </p:cNvPr>
            <p:cNvSpPr/>
            <p:nvPr>
              <p:extLst>
                <p:ext uri="{386F3935-93C4-4BCD-93E2-E3B085C9AB24}">
                  <p16:designElem xmlns:p16="http://schemas.microsoft.com/office/powerpoint/2015/main" val="1"/>
                </p:ext>
              </p:extLst>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59" name="Freeform 49">
              <a:extLst>
                <a:ext uri="{FF2B5EF4-FFF2-40B4-BE49-F238E27FC236}">
                  <a16:creationId xmlns:a16="http://schemas.microsoft.com/office/drawing/2014/main" id="{ED3F4044-CEFD-495A-8475-FC1A31C7CAF7}"/>
                </a:ext>
              </a:extLst>
            </p:cNvPr>
            <p:cNvSpPr>
              <a:spLocks noEditPoints="1"/>
            </p:cNvSpPr>
            <p:nvPr>
              <p:extLst>
                <p:ext uri="{386F3935-93C4-4BCD-93E2-E3B085C9AB24}">
                  <p16:designElem xmlns:p16="http://schemas.microsoft.com/office/powerpoint/2015/main" val="1"/>
                </p:ext>
              </p:extLst>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0" name="Freeform 50">
              <a:extLst>
                <a:ext uri="{FF2B5EF4-FFF2-40B4-BE49-F238E27FC236}">
                  <a16:creationId xmlns:a16="http://schemas.microsoft.com/office/drawing/2014/main" id="{F757E84F-F23F-433B-AFFC-2458F79580F5}"/>
                </a:ext>
              </a:extLst>
            </p:cNvPr>
            <p:cNvSpPr>
              <a:spLocks noEditPoints="1"/>
            </p:cNvSpPr>
            <p:nvPr>
              <p:extLst>
                <p:ext uri="{386F3935-93C4-4BCD-93E2-E3B085C9AB24}">
                  <p16:designElem xmlns:p16="http://schemas.microsoft.com/office/powerpoint/2015/main" val="1"/>
                </p:ext>
              </p:extLst>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1" name="Freeform 51">
              <a:extLst>
                <a:ext uri="{FF2B5EF4-FFF2-40B4-BE49-F238E27FC236}">
                  <a16:creationId xmlns:a16="http://schemas.microsoft.com/office/drawing/2014/main" id="{B5299AC1-77AA-4E3B-9906-E74667C2F622}"/>
                </a:ext>
              </a:extLst>
            </p:cNvPr>
            <p:cNvSpPr/>
            <p:nvPr>
              <p:extLst>
                <p:ext uri="{386F3935-93C4-4BCD-93E2-E3B085C9AB24}">
                  <p16:designElem xmlns:p16="http://schemas.microsoft.com/office/powerpoint/2015/main" val="1"/>
                </p:ext>
              </p:extLst>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2" name="Freeform 52">
              <a:extLst>
                <a:ext uri="{FF2B5EF4-FFF2-40B4-BE49-F238E27FC236}">
                  <a16:creationId xmlns:a16="http://schemas.microsoft.com/office/drawing/2014/main" id="{04ACF07A-AC80-4798-80C1-12A206946152}"/>
                </a:ext>
              </a:extLst>
            </p:cNvPr>
            <p:cNvSpPr/>
            <p:nvPr>
              <p:extLst>
                <p:ext uri="{386F3935-93C4-4BCD-93E2-E3B085C9AB24}">
                  <p16:designElem xmlns:p16="http://schemas.microsoft.com/office/powerpoint/2015/main" val="1"/>
                </p:ext>
              </p:extLst>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3" name="Freeform 53">
              <a:extLst>
                <a:ext uri="{FF2B5EF4-FFF2-40B4-BE49-F238E27FC236}">
                  <a16:creationId xmlns:a16="http://schemas.microsoft.com/office/drawing/2014/main" id="{26021A8B-6608-47E6-BCA3-604B36A79DAA}"/>
                </a:ext>
              </a:extLst>
            </p:cNvPr>
            <p:cNvSpPr>
              <a:spLocks noEditPoints="1"/>
            </p:cNvSpPr>
            <p:nvPr>
              <p:extLst>
                <p:ext uri="{386F3935-93C4-4BCD-93E2-E3B085C9AB24}">
                  <p16:designElem xmlns:p16="http://schemas.microsoft.com/office/powerpoint/2015/main" val="1"/>
                </p:ext>
              </p:extLst>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4" name="Freeform 54">
              <a:extLst>
                <a:ext uri="{FF2B5EF4-FFF2-40B4-BE49-F238E27FC236}">
                  <a16:creationId xmlns:a16="http://schemas.microsoft.com/office/drawing/2014/main" id="{304A353F-3DAA-4EAF-B03C-894303825D71}"/>
                </a:ext>
              </a:extLst>
            </p:cNvPr>
            <p:cNvSpPr>
              <a:spLocks noEditPoints="1"/>
            </p:cNvSpPr>
            <p:nvPr>
              <p:extLst>
                <p:ext uri="{386F3935-93C4-4BCD-93E2-E3B085C9AB24}">
                  <p16:designElem xmlns:p16="http://schemas.microsoft.com/office/powerpoint/2015/main" val="1"/>
                </p:ext>
              </p:extLst>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5" name="Freeform 55">
              <a:extLst>
                <a:ext uri="{FF2B5EF4-FFF2-40B4-BE49-F238E27FC236}">
                  <a16:creationId xmlns:a16="http://schemas.microsoft.com/office/drawing/2014/main" id="{41725314-ECC6-43BA-942E-59B57436D9D0}"/>
                </a:ext>
              </a:extLst>
            </p:cNvPr>
            <p:cNvSpPr/>
            <p:nvPr>
              <p:extLst>
                <p:ext uri="{386F3935-93C4-4BCD-93E2-E3B085C9AB24}">
                  <p16:designElem xmlns:p16="http://schemas.microsoft.com/office/powerpoint/2015/main" val="1"/>
                </p:ext>
              </p:extLst>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6" name="Freeform 56">
              <a:extLst>
                <a:ext uri="{FF2B5EF4-FFF2-40B4-BE49-F238E27FC236}">
                  <a16:creationId xmlns:a16="http://schemas.microsoft.com/office/drawing/2014/main" id="{6D630F64-A97A-4544-9770-C7A59B0413B0}"/>
                </a:ext>
              </a:extLst>
            </p:cNvPr>
            <p:cNvSpPr>
              <a:spLocks noEditPoints="1"/>
            </p:cNvSpPr>
            <p:nvPr>
              <p:extLst>
                <p:ext uri="{386F3935-93C4-4BCD-93E2-E3B085C9AB24}">
                  <p16:designElem xmlns:p16="http://schemas.microsoft.com/office/powerpoint/2015/main" val="1"/>
                </p:ext>
              </p:extLst>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7" name="Freeform 57">
              <a:extLst>
                <a:ext uri="{FF2B5EF4-FFF2-40B4-BE49-F238E27FC236}">
                  <a16:creationId xmlns:a16="http://schemas.microsoft.com/office/drawing/2014/main" id="{409BC0A2-5953-4975-BDAA-05BC3002DD99}"/>
                </a:ext>
              </a:extLst>
            </p:cNvPr>
            <p:cNvSpPr/>
            <p:nvPr>
              <p:extLst>
                <p:ext uri="{386F3935-93C4-4BCD-93E2-E3B085C9AB24}">
                  <p16:designElem xmlns:p16="http://schemas.microsoft.com/office/powerpoint/2015/main" val="1"/>
                </p:ext>
              </p:extLst>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sp>
          <p:nvSpPr>
            <p:cNvPr id="68" name="Freeform 58">
              <a:extLst>
                <a:ext uri="{FF2B5EF4-FFF2-40B4-BE49-F238E27FC236}">
                  <a16:creationId xmlns:a16="http://schemas.microsoft.com/office/drawing/2014/main" id="{BD1C4CCF-2F20-4FC7-B197-1C6478471A5F}"/>
                </a:ext>
              </a:extLst>
            </p:cNvPr>
            <p:cNvSpPr>
              <a:spLocks noEditPoints="1"/>
            </p:cNvSpPr>
            <p:nvPr>
              <p:extLst>
                <p:ext uri="{386F3935-93C4-4BCD-93E2-E3B085C9AB24}">
                  <p16:designElem xmlns:p16="http://schemas.microsoft.com/office/powerpoint/2015/main" val="1"/>
                </p:ext>
              </p:extLst>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p14="http://schemas.microsoft.com/office/powerpoint/2010/main" xmlns="" w="9525">
                  <a:solidFill>
                    <a:srgbClr val="000000"/>
                  </a:solidFill>
                  <a:round/>
                  <a:headEnd/>
                  <a:tailEnd/>
                </a14:hiddenLine>
              </a:ext>
            </a:extLst>
          </p:spPr>
        </p:sp>
      </p:grpSp>
      <p:grpSp>
        <p:nvGrpSpPr>
          <p:cNvPr id="70" name="Group 69">
            <a:extLst>
              <a:ext uri="{FF2B5EF4-FFF2-40B4-BE49-F238E27FC236}">
                <a16:creationId xmlns:a16="http://schemas.microsoft.com/office/drawing/2014/main" id="{AA951099-07C5-40D8-9433-5533C29CDE8B}"/>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
            <a:ext cx="12436478" cy="6994526"/>
            <a:chOff x="0" y="-1"/>
            <a:chExt cx="12192003" cy="6858001"/>
          </a:xfrm>
        </p:grpSpPr>
        <p:sp useBgFill="1">
          <p:nvSpPr>
            <p:cNvPr id="71" name="Rectangle 70">
              <a:extLst>
                <a:ext uri="{FF2B5EF4-FFF2-40B4-BE49-F238E27FC236}">
                  <a16:creationId xmlns:a16="http://schemas.microsoft.com/office/drawing/2014/main" id="{BDCE60CD-7593-4CD7-9458-7F982FC78718}"/>
                </a:ext>
              </a:extLst>
            </p:cNvPr>
            <p:cNvSpPr/>
            <p:nvPr>
              <p:extLst>
                <p:ext uri="{386F3935-93C4-4BCD-93E2-E3B085C9AB24}">
                  <p16:designElem xmlns:p16="http://schemas.microsoft.com/office/powerpoint/2015/main" val="1"/>
                </p:ext>
              </p:extLst>
            </p:nvPr>
          </p:nvSpPr>
          <p:spPr>
            <a:xfrm>
              <a:off x="1"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Picture 2" descr="A picture containing electronics&#10;&#10;Description generated with high confidence">
              <a:extLst>
                <a:ext uri="{FF2B5EF4-FFF2-40B4-BE49-F238E27FC236}">
                  <a16:creationId xmlns:a16="http://schemas.microsoft.com/office/drawing/2014/main" id="{A230CF07-D0CC-4389-B344-BEB9D6710E88}"/>
                </a:ext>
              </a:extLst>
            </p:cNvPr>
            <p:cNvPicPr>
              <a:picLocks noChangeAspect="1" noChangeArrowheads="1"/>
            </p:cNvPicPr>
            <p:nvPr>
              <p:extLst>
                <p:ext uri="{386F3935-93C4-4BCD-93E2-E3B085C9AB24}">
                  <p16:designElem xmlns:p16="http://schemas.microsoft.com/office/powerpoint/2015/main" val="1"/>
                </p:ext>
              </p:extLst>
            </p:nvPr>
          </p:nvPicPr>
          <p:blipFill>
            <a:blip r:embed="rId4">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Lst>
          </p:spPr>
        </p:pic>
      </p:grpSp>
      <p:grpSp>
        <p:nvGrpSpPr>
          <p:cNvPr id="74" name="Group 73">
            <a:extLst>
              <a:ext uri="{FF2B5EF4-FFF2-40B4-BE49-F238E27FC236}">
                <a16:creationId xmlns:a16="http://schemas.microsoft.com/office/drawing/2014/main" id="{8437831B-6E13-423A-801D-D376183AF8AA}"/>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573" y="0"/>
            <a:ext cx="1245240" cy="6994530"/>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75" name="Rectangle 5">
              <a:extLst>
                <a:ext uri="{FF2B5EF4-FFF2-40B4-BE49-F238E27FC236}">
                  <a16:creationId xmlns:a16="http://schemas.microsoft.com/office/drawing/2014/main" id="{AC8697B2-979F-407F-8DD6-2C80CCD8154E}"/>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miter lim="800000"/>
                  <a:headEnd/>
                  <a:tailEnd/>
                </a14:hiddenLine>
              </a:ext>
            </a:extLst>
          </p:spPr>
        </p:sp>
        <p:sp>
          <p:nvSpPr>
            <p:cNvPr id="76" name="Freeform 6">
              <a:extLst>
                <a:ext uri="{FF2B5EF4-FFF2-40B4-BE49-F238E27FC236}">
                  <a16:creationId xmlns:a16="http://schemas.microsoft.com/office/drawing/2014/main" id="{8A48E1A3-AC58-44D3-BAC2-3ECA105DDC62}"/>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77" name="Freeform 7">
              <a:extLst>
                <a:ext uri="{FF2B5EF4-FFF2-40B4-BE49-F238E27FC236}">
                  <a16:creationId xmlns:a16="http://schemas.microsoft.com/office/drawing/2014/main" id="{D0858047-AE9E-4143-AFF7-6BCCD5417C9C}"/>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78" name="Freeform 8">
              <a:extLst>
                <a:ext uri="{FF2B5EF4-FFF2-40B4-BE49-F238E27FC236}">
                  <a16:creationId xmlns:a16="http://schemas.microsoft.com/office/drawing/2014/main" id="{15477209-AA0B-451B-B791-99E642A72BA5}"/>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79" name="Freeform 9">
              <a:extLst>
                <a:ext uri="{FF2B5EF4-FFF2-40B4-BE49-F238E27FC236}">
                  <a16:creationId xmlns:a16="http://schemas.microsoft.com/office/drawing/2014/main" id="{3892F279-DC57-4428-8912-B6B973FBA84F}"/>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0" name="Freeform 10">
              <a:extLst>
                <a:ext uri="{FF2B5EF4-FFF2-40B4-BE49-F238E27FC236}">
                  <a16:creationId xmlns:a16="http://schemas.microsoft.com/office/drawing/2014/main" id="{7A8FDE26-34A3-4682-A072-9316B9A8F37A}"/>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1" name="Freeform 11">
              <a:extLst>
                <a:ext uri="{FF2B5EF4-FFF2-40B4-BE49-F238E27FC236}">
                  <a16:creationId xmlns:a16="http://schemas.microsoft.com/office/drawing/2014/main" id="{F97043B9-19F1-40F9-BC40-510054574C43}"/>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2" name="Freeform 12">
              <a:extLst>
                <a:ext uri="{FF2B5EF4-FFF2-40B4-BE49-F238E27FC236}">
                  <a16:creationId xmlns:a16="http://schemas.microsoft.com/office/drawing/2014/main" id="{FDD066AA-6AB5-465A-9DDD-D2BD92CBEEF6}"/>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3" name="Freeform 13">
              <a:extLst>
                <a:ext uri="{FF2B5EF4-FFF2-40B4-BE49-F238E27FC236}">
                  <a16:creationId xmlns:a16="http://schemas.microsoft.com/office/drawing/2014/main" id="{DEC852E1-FA4C-4182-BA83-D87B78FF4E30}"/>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4" name="Freeform 14">
              <a:extLst>
                <a:ext uri="{FF2B5EF4-FFF2-40B4-BE49-F238E27FC236}">
                  <a16:creationId xmlns:a16="http://schemas.microsoft.com/office/drawing/2014/main" id="{4268AAF3-6FEF-4815-AA5C-A75A2C28C05E}"/>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5" name="Freeform 15">
              <a:extLst>
                <a:ext uri="{FF2B5EF4-FFF2-40B4-BE49-F238E27FC236}">
                  <a16:creationId xmlns:a16="http://schemas.microsoft.com/office/drawing/2014/main" id="{E863730C-9D37-4063-91D9-FC9C5D1A7B17}"/>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6" name="Line 16">
              <a:extLst>
                <a:ext uri="{FF2B5EF4-FFF2-40B4-BE49-F238E27FC236}">
                  <a16:creationId xmlns:a16="http://schemas.microsoft.com/office/drawing/2014/main" id="{65C4A88F-6E1C-4BFA-B860-72DF9CD2559F}"/>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87" name="Freeform 17">
              <a:extLst>
                <a:ext uri="{FF2B5EF4-FFF2-40B4-BE49-F238E27FC236}">
                  <a16:creationId xmlns:a16="http://schemas.microsoft.com/office/drawing/2014/main" id="{C59CC5CD-3D37-412C-AFBC-0FE4F2AD3489}"/>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8" name="Freeform 18">
              <a:extLst>
                <a:ext uri="{FF2B5EF4-FFF2-40B4-BE49-F238E27FC236}">
                  <a16:creationId xmlns:a16="http://schemas.microsoft.com/office/drawing/2014/main" id="{D72CC1F8-1341-4965-B500-B9F6B0379685}"/>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89" name="Freeform 19">
              <a:extLst>
                <a:ext uri="{FF2B5EF4-FFF2-40B4-BE49-F238E27FC236}">
                  <a16:creationId xmlns:a16="http://schemas.microsoft.com/office/drawing/2014/main" id="{0CAE638B-812F-47EC-BEAD-1D4CF0A80188}"/>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0" name="Freeform 20">
              <a:extLst>
                <a:ext uri="{FF2B5EF4-FFF2-40B4-BE49-F238E27FC236}">
                  <a16:creationId xmlns:a16="http://schemas.microsoft.com/office/drawing/2014/main" id="{802BB1C2-CF18-4445-A43F-75B524789F58}"/>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1" name="Rectangle 21">
              <a:extLst>
                <a:ext uri="{FF2B5EF4-FFF2-40B4-BE49-F238E27FC236}">
                  <a16:creationId xmlns:a16="http://schemas.microsoft.com/office/drawing/2014/main" id="{E2DE9379-58E8-444C-9A8E-35C772B46960}"/>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miter lim="800000"/>
                  <a:headEnd/>
                  <a:tailEnd/>
                </a14:hiddenLine>
              </a:ext>
            </a:extLst>
          </p:spPr>
        </p:sp>
        <p:sp>
          <p:nvSpPr>
            <p:cNvPr id="92" name="Freeform 22">
              <a:extLst>
                <a:ext uri="{FF2B5EF4-FFF2-40B4-BE49-F238E27FC236}">
                  <a16:creationId xmlns:a16="http://schemas.microsoft.com/office/drawing/2014/main" id="{503A4679-3185-40E3-917A-ABDEE084F137}"/>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3" name="Freeform 23">
              <a:extLst>
                <a:ext uri="{FF2B5EF4-FFF2-40B4-BE49-F238E27FC236}">
                  <a16:creationId xmlns:a16="http://schemas.microsoft.com/office/drawing/2014/main" id="{AE3671F1-6787-4C9E-9E6A-79606551563F}"/>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4" name="Freeform 24">
              <a:extLst>
                <a:ext uri="{FF2B5EF4-FFF2-40B4-BE49-F238E27FC236}">
                  <a16:creationId xmlns:a16="http://schemas.microsoft.com/office/drawing/2014/main" id="{75B3F1EE-788A-4121-BEEB-A655052FF0D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5" name="Freeform 25">
              <a:extLst>
                <a:ext uri="{FF2B5EF4-FFF2-40B4-BE49-F238E27FC236}">
                  <a16:creationId xmlns:a16="http://schemas.microsoft.com/office/drawing/2014/main" id="{C141CDE3-653E-432A-966B-32445303BA4F}"/>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6" name="Freeform 26">
              <a:extLst>
                <a:ext uri="{FF2B5EF4-FFF2-40B4-BE49-F238E27FC236}">
                  <a16:creationId xmlns:a16="http://schemas.microsoft.com/office/drawing/2014/main" id="{93EA370F-E06E-4C47-BE6F-5BE48BC64779}"/>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7" name="Freeform 27">
              <a:extLst>
                <a:ext uri="{FF2B5EF4-FFF2-40B4-BE49-F238E27FC236}">
                  <a16:creationId xmlns:a16="http://schemas.microsoft.com/office/drawing/2014/main" id="{F0A45F11-4297-4470-B34B-BC4E1F5F486B}"/>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8" name="Freeform 28">
              <a:extLst>
                <a:ext uri="{FF2B5EF4-FFF2-40B4-BE49-F238E27FC236}">
                  <a16:creationId xmlns:a16="http://schemas.microsoft.com/office/drawing/2014/main" id="{D208CBFD-9378-4B0B-8365-5842D64C2F3F}"/>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99" name="Freeform 29">
              <a:extLst>
                <a:ext uri="{FF2B5EF4-FFF2-40B4-BE49-F238E27FC236}">
                  <a16:creationId xmlns:a16="http://schemas.microsoft.com/office/drawing/2014/main" id="{E12E3CDE-F490-4482-8996-50141834A736}"/>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0" name="Freeform 30">
              <a:extLst>
                <a:ext uri="{FF2B5EF4-FFF2-40B4-BE49-F238E27FC236}">
                  <a16:creationId xmlns:a16="http://schemas.microsoft.com/office/drawing/2014/main" id="{7783C03E-580E-4BD3-B10C-E72965DAF268}"/>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1" name="Freeform 31">
              <a:extLst>
                <a:ext uri="{FF2B5EF4-FFF2-40B4-BE49-F238E27FC236}">
                  <a16:creationId xmlns:a16="http://schemas.microsoft.com/office/drawing/2014/main" id="{38792D03-0B64-4EEA-A696-74016C39216D}"/>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grpSp>
      <p:grpSp>
        <p:nvGrpSpPr>
          <p:cNvPr id="103" name="Group 102">
            <a:extLst>
              <a:ext uri="{FF2B5EF4-FFF2-40B4-BE49-F238E27FC236}">
                <a16:creationId xmlns:a16="http://schemas.microsoft.com/office/drawing/2014/main" id="{6E7FDC5D-4882-4450-A5A5-B1D2F576A39B}"/>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92786" y="0"/>
            <a:ext cx="688216" cy="6984810"/>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04" name="Freeform 32">
              <a:extLst>
                <a:ext uri="{FF2B5EF4-FFF2-40B4-BE49-F238E27FC236}">
                  <a16:creationId xmlns:a16="http://schemas.microsoft.com/office/drawing/2014/main" id="{2A67CD2F-9C15-4DCA-908E-33A24D36B2DF}"/>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5" name="Freeform 33">
              <a:extLst>
                <a:ext uri="{FF2B5EF4-FFF2-40B4-BE49-F238E27FC236}">
                  <a16:creationId xmlns:a16="http://schemas.microsoft.com/office/drawing/2014/main" id="{CF6E9840-D612-49D6-8C65-1E77824A7884}"/>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6" name="Freeform 34">
              <a:extLst>
                <a:ext uri="{FF2B5EF4-FFF2-40B4-BE49-F238E27FC236}">
                  <a16:creationId xmlns:a16="http://schemas.microsoft.com/office/drawing/2014/main" id="{31E34932-5DE4-4F64-A359-8EC707738219}"/>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7" name="Freeform 35">
              <a:extLst>
                <a:ext uri="{FF2B5EF4-FFF2-40B4-BE49-F238E27FC236}">
                  <a16:creationId xmlns:a16="http://schemas.microsoft.com/office/drawing/2014/main" id="{367EA2E0-8E6F-4C39-A6A1-F297461C1333}"/>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8" name="Freeform 36">
              <a:extLst>
                <a:ext uri="{FF2B5EF4-FFF2-40B4-BE49-F238E27FC236}">
                  <a16:creationId xmlns:a16="http://schemas.microsoft.com/office/drawing/2014/main" id="{EB3DB58E-D618-4F8A-9F69-2C0D999DCB32}"/>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09" name="Freeform 37">
              <a:extLst>
                <a:ext uri="{FF2B5EF4-FFF2-40B4-BE49-F238E27FC236}">
                  <a16:creationId xmlns:a16="http://schemas.microsoft.com/office/drawing/2014/main" id="{07D3C9F9-29CE-4E08-87ED-F09B8A4269EB}"/>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10" name="Freeform 38">
              <a:extLst>
                <a:ext uri="{FF2B5EF4-FFF2-40B4-BE49-F238E27FC236}">
                  <a16:creationId xmlns:a16="http://schemas.microsoft.com/office/drawing/2014/main" id="{47C731EC-954B-4D06-8B2F-C59FCB8573C9}"/>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11" name="Freeform 39">
              <a:extLst>
                <a:ext uri="{FF2B5EF4-FFF2-40B4-BE49-F238E27FC236}">
                  <a16:creationId xmlns:a16="http://schemas.microsoft.com/office/drawing/2014/main" id="{82E63265-82CB-4177-BD53-64840F052D57}"/>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12" name="Freeform 40">
              <a:extLst>
                <a:ext uri="{FF2B5EF4-FFF2-40B4-BE49-F238E27FC236}">
                  <a16:creationId xmlns:a16="http://schemas.microsoft.com/office/drawing/2014/main" id="{BC85785C-1F96-48F1-89CF-AB022BE44A4D}"/>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round/>
                  <a:headEnd/>
                  <a:tailEnd/>
                </a14:hiddenLine>
              </a:ext>
            </a:extLst>
          </p:spPr>
        </p:sp>
        <p:sp>
          <p:nvSpPr>
            <p:cNvPr id="113" name="Rectangle 41">
              <a:extLst>
                <a:ext uri="{FF2B5EF4-FFF2-40B4-BE49-F238E27FC236}">
                  <a16:creationId xmlns:a16="http://schemas.microsoft.com/office/drawing/2014/main" id="{714DCDF1-C14A-484C-BBF6-8C67B12DBFE7}"/>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4="http://schemas.microsoft.com/office/drawing/2010/main" xmlns:mc="http://schemas.openxmlformats.org/markup-compatibility/2006" xmlns:p14="http://schemas.microsoft.com/office/powerpoint/2010/main" xmlns="" w="9525">
                  <a:solidFill>
                    <a:srgbClr val="000000"/>
                  </a:solidFill>
                  <a:miter lim="800000"/>
                  <a:headEnd/>
                  <a:tailEnd/>
                </a14:hiddenLine>
              </a:ext>
            </a:extLst>
          </p:spPr>
        </p:sp>
      </p:grpSp>
      <p:pic>
        <p:nvPicPr>
          <p:cNvPr id="6" name="Picture 5" descr="A close up of a logo&#10;&#10;Description generated with very high confidence">
            <a:extLst>
              <a:ext uri="{FF2B5EF4-FFF2-40B4-BE49-F238E27FC236}">
                <a16:creationId xmlns:a16="http://schemas.microsoft.com/office/drawing/2014/main" id="{EC2AAB81-6E52-4041-88A0-54A2921D1C29}"/>
              </a:ext>
            </a:extLst>
          </p:cNvPr>
          <p:cNvPicPr>
            <a:picLocks noChangeAspect="1"/>
          </p:cNvPicPr>
          <p:nvPr/>
        </p:nvPicPr>
        <p:blipFill rotWithShape="1">
          <a:blip r:embed="rId5"/>
          <a:srcRect l="1458" r="-3" b="-3"/>
          <a:stretch/>
        </p:blipFill>
        <p:spPr>
          <a:xfrm>
            <a:off x="1164299" y="619112"/>
            <a:ext cx="3316394" cy="3365468"/>
          </a:xfrm>
          <a:custGeom>
            <a:avLst/>
            <a:gdLst>
              <a:gd name="connsiteX0" fmla="*/ 160369 w 4874998"/>
              <a:gd name="connsiteY0" fmla="*/ 0 h 3299778"/>
              <a:gd name="connsiteX1" fmla="*/ 4874998 w 4874998"/>
              <a:gd name="connsiteY1" fmla="*/ 0 h 3299778"/>
              <a:gd name="connsiteX2" fmla="*/ 4874998 w 4874998"/>
              <a:gd name="connsiteY2" fmla="*/ 3299778 h 3299778"/>
              <a:gd name="connsiteX3" fmla="*/ 0 w 4874998"/>
              <a:gd name="connsiteY3" fmla="*/ 3299778 h 3299778"/>
              <a:gd name="connsiteX4" fmla="*/ 0 w 4874998"/>
              <a:gd name="connsiteY4" fmla="*/ 160369 h 3299778"/>
              <a:gd name="connsiteX5" fmla="*/ 160369 w 4874998"/>
              <a:gd name="connsiteY5" fmla="*/ 0 h 329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74998" h="3299778">
                <a:moveTo>
                  <a:pt x="160369" y="0"/>
                </a:moveTo>
                <a:lnTo>
                  <a:pt x="4874998" y="0"/>
                </a:lnTo>
                <a:lnTo>
                  <a:pt x="4874998" y="3299778"/>
                </a:lnTo>
                <a:lnTo>
                  <a:pt x="0" y="3299778"/>
                </a:lnTo>
                <a:lnTo>
                  <a:pt x="0" y="160369"/>
                </a:lnTo>
                <a:cubicBezTo>
                  <a:pt x="0" y="71800"/>
                  <a:pt x="71800" y="0"/>
                  <a:pt x="160369" y="0"/>
                </a:cubicBezTo>
                <a:close/>
              </a:path>
            </a:pathLst>
          </a:cu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pic>
      <p:pic>
        <p:nvPicPr>
          <p:cNvPr id="5" name="Picture 4" descr="A circuit board&#10;&#10;Description generated with high confidence">
            <a:extLst>
              <a:ext uri="{FF2B5EF4-FFF2-40B4-BE49-F238E27FC236}">
                <a16:creationId xmlns:a16="http://schemas.microsoft.com/office/drawing/2014/main" id="{5594D425-753F-497C-9619-3898231A5421}"/>
              </a:ext>
            </a:extLst>
          </p:cNvPr>
          <p:cNvPicPr>
            <a:picLocks noChangeAspect="1"/>
          </p:cNvPicPr>
          <p:nvPr/>
        </p:nvPicPr>
        <p:blipFill rotWithShape="1">
          <a:blip r:embed="rId6"/>
          <a:srcRect r="-3" b="270"/>
          <a:stretch/>
        </p:blipFill>
        <p:spPr>
          <a:xfrm>
            <a:off x="4674972" y="612346"/>
            <a:ext cx="3374694" cy="3365468"/>
          </a:xfrm>
          <a:custGeom>
            <a:avLst/>
            <a:gdLst>
              <a:gd name="connsiteX0" fmla="*/ 0 w 4873629"/>
              <a:gd name="connsiteY0" fmla="*/ 0 h 3299778"/>
              <a:gd name="connsiteX1" fmla="*/ 4873629 w 4873629"/>
              <a:gd name="connsiteY1" fmla="*/ 0 h 3299778"/>
              <a:gd name="connsiteX2" fmla="*/ 4873629 w 4873629"/>
              <a:gd name="connsiteY2" fmla="*/ 3139409 h 3299778"/>
              <a:gd name="connsiteX3" fmla="*/ 4713260 w 4873629"/>
              <a:gd name="connsiteY3" fmla="*/ 3299778 h 3299778"/>
              <a:gd name="connsiteX4" fmla="*/ 0 w 4873629"/>
              <a:gd name="connsiteY4" fmla="*/ 3299778 h 3299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3629" h="3299778">
                <a:moveTo>
                  <a:pt x="0" y="0"/>
                </a:moveTo>
                <a:lnTo>
                  <a:pt x="4873629" y="0"/>
                </a:lnTo>
                <a:lnTo>
                  <a:pt x="4873629" y="3139409"/>
                </a:lnTo>
                <a:cubicBezTo>
                  <a:pt x="4873629" y="3227978"/>
                  <a:pt x="4801829" y="3299778"/>
                  <a:pt x="4713260" y="3299778"/>
                </a:cubicBezTo>
                <a:lnTo>
                  <a:pt x="0" y="3299778"/>
                </a:lnTo>
                <a:close/>
              </a:path>
            </a:pathLst>
          </a:cu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pic>
      <p:pic>
        <p:nvPicPr>
          <p:cNvPr id="7" name="Picture 6" descr="A close up of a logo&#10;&#10;Description generated with very high confidence">
            <a:extLst>
              <a:ext uri="{FF2B5EF4-FFF2-40B4-BE49-F238E27FC236}">
                <a16:creationId xmlns:a16="http://schemas.microsoft.com/office/drawing/2014/main" id="{7F280994-A3B4-4DBF-BD79-1D1EE9B86F3F}"/>
              </a:ext>
            </a:extLst>
          </p:cNvPr>
          <p:cNvPicPr>
            <a:picLocks noChangeAspect="1"/>
          </p:cNvPicPr>
          <p:nvPr/>
        </p:nvPicPr>
        <p:blipFill rotWithShape="1">
          <a:blip r:embed="rId7"/>
          <a:srcRect r="-7" b="896"/>
          <a:stretch/>
        </p:blipFill>
        <p:spPr>
          <a:xfrm>
            <a:off x="8230753" y="617072"/>
            <a:ext cx="3397358" cy="3366698"/>
          </a:xfrm>
          <a:prstGeom prst="rect">
            <a:avLst/>
          </a:prstGeom>
          <a:ln w="19050" cap="sq">
            <a:solidFill>
              <a:schemeClr val="tx2">
                <a:lumMod val="60000"/>
                <a:lumOff val="40000"/>
                <a:alpha val="60000"/>
              </a:schemeClr>
            </a:solidFill>
            <a:miter lim="800000"/>
          </a:ln>
          <a:effectLst>
            <a:outerShdw blurRad="88900" dist="38100" dir="5400000" algn="tl" rotWithShape="0">
              <a:prstClr val="black">
                <a:alpha val="40000"/>
              </a:prstClr>
            </a:outerShdw>
          </a:effectLst>
        </p:spPr>
      </p:pic>
      <p:sp>
        <p:nvSpPr>
          <p:cNvPr id="3" name="Title 2">
            <a:extLst>
              <a:ext uri="{FF2B5EF4-FFF2-40B4-BE49-F238E27FC236}">
                <a16:creationId xmlns:a16="http://schemas.microsoft.com/office/drawing/2014/main" id="{E6EC3794-91C8-4E3B-8CC4-7B29F0A30639}"/>
              </a:ext>
            </a:extLst>
          </p:cNvPr>
          <p:cNvSpPr txBox="1">
            <a:spLocks/>
          </p:cNvSpPr>
          <p:nvPr/>
        </p:nvSpPr>
        <p:spPr>
          <a:xfrm>
            <a:off x="1165919" y="4360785"/>
            <a:ext cx="9007808" cy="954731"/>
          </a:xfrm>
          <a:prstGeom prst="rect">
            <a:avLst/>
          </a:prstGeom>
        </p:spPr>
        <p:txBody>
          <a:bodyPr vert="horz" lIns="91440" tIns="45720" rIns="91440" bIns="45720" rtlCol="0" anchor="b">
            <a:normAutofit/>
          </a:bodyPr>
          <a:lstStyle>
            <a:lvl1pPr algn="l" defTabSz="932597" rtl="0" eaLnBrk="1" latinLnBrk="0" hangingPunct="1">
              <a:lnSpc>
                <a:spcPct val="90000"/>
              </a:lnSpc>
              <a:spcBef>
                <a:spcPct val="0"/>
              </a:spcBef>
              <a:buNone/>
              <a:defRPr sz="3672" kern="1200" cap="all" baseline="0">
                <a:solidFill>
                  <a:schemeClr val="tx1"/>
                </a:solidFill>
                <a:latin typeface="+mj-lt"/>
                <a:ea typeface="+mj-ea"/>
                <a:cs typeface="+mj-cs"/>
              </a:defRPr>
            </a:lvl1pPr>
          </a:lstStyle>
          <a:p>
            <a:pPr defTabSz="914400">
              <a:spcAft>
                <a:spcPts val="600"/>
              </a:spcAft>
            </a:pPr>
            <a:r>
              <a:rPr lang="en-US" sz="4400" dirty="0"/>
              <a:t>The Bet, The buy-In, &amp; The Vision</a:t>
            </a:r>
          </a:p>
        </p:txBody>
      </p:sp>
    </p:spTree>
    <p:extLst>
      <p:ext uri="{BB962C8B-B14F-4D97-AF65-F5344CB8AC3E}">
        <p14:creationId xmlns:p14="http://schemas.microsoft.com/office/powerpoint/2010/main" val="280609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267939" y="-172740"/>
            <a:ext cx="11191240" cy="1351952"/>
          </a:xfrm>
          <a:prstGeom prst="rect">
            <a:avLst/>
          </a:prstGeom>
        </p:spPr>
        <p:txBody>
          <a:bodyPr vert="horz" lIns="93260" tIns="46630" rIns="93260" bIns="46630" rtlCol="0" anchor="ctr">
            <a:normAutofit/>
          </a:bodyPr>
          <a:lstStyle>
            <a:lvl1pPr algn="ctr" defTabSz="914400" rtl="0" eaLnBrk="1" latinLnBrk="0" hangingPunct="1">
              <a:lnSpc>
                <a:spcPct val="90000"/>
              </a:lnSpc>
              <a:spcBef>
                <a:spcPct val="0"/>
              </a:spcBef>
              <a:buNone/>
              <a:defRPr sz="4800" b="0" kern="1200">
                <a:solidFill>
                  <a:schemeClr val="tx1"/>
                </a:solidFill>
                <a:latin typeface="Segoe UI Semibold" panose="020B0702040204020203" pitchFamily="34" charset="0"/>
                <a:ea typeface="+mj-ea"/>
                <a:cs typeface="Segoe UI Semibold" panose="020B0702040204020203" pitchFamily="34" charset="0"/>
              </a:defRPr>
            </a:lvl1pPr>
          </a:lstStyle>
          <a:p>
            <a:pPr algn="l" defTabSz="932597"/>
            <a:r>
              <a:rPr lang="en-US" sz="3600" dirty="0">
                <a:solidFill>
                  <a:prstClr val="white"/>
                </a:solidFill>
                <a:latin typeface="Segoe UI Light" panose="020B0502040204020203" pitchFamily="34" charset="0"/>
                <a:cs typeface="Segoe UI Light" panose="020B0502040204020203" pitchFamily="34" charset="0"/>
              </a:rPr>
              <a:t>The Business Case &amp; Long Term Vision</a:t>
            </a:r>
          </a:p>
        </p:txBody>
      </p:sp>
      <p:sp>
        <p:nvSpPr>
          <p:cNvPr id="80" name="Rectangle 79">
            <a:extLst>
              <a:ext uri="{FF2B5EF4-FFF2-40B4-BE49-F238E27FC236}">
                <a16:creationId xmlns:a16="http://schemas.microsoft.com/office/drawing/2014/main" id="{B9A2E20F-471A-4D76-999A-846E3646A746}"/>
              </a:ext>
            </a:extLst>
          </p:cNvPr>
          <p:cNvSpPr/>
          <p:nvPr/>
        </p:nvSpPr>
        <p:spPr>
          <a:xfrm>
            <a:off x="112798" y="2034608"/>
            <a:ext cx="6569144" cy="482888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a:endParaRPr>
          </a:p>
        </p:txBody>
      </p:sp>
      <p:sp>
        <p:nvSpPr>
          <p:cNvPr id="81" name="TextBox 80">
            <a:extLst>
              <a:ext uri="{FF2B5EF4-FFF2-40B4-BE49-F238E27FC236}">
                <a16:creationId xmlns:a16="http://schemas.microsoft.com/office/drawing/2014/main" id="{89BC9012-4CCD-4524-AA79-4223C62DAF4D}"/>
              </a:ext>
            </a:extLst>
          </p:cNvPr>
          <p:cNvSpPr txBox="1"/>
          <p:nvPr/>
        </p:nvSpPr>
        <p:spPr>
          <a:xfrm>
            <a:off x="139308" y="2400085"/>
            <a:ext cx="4048102" cy="523220"/>
          </a:xfrm>
          <a:prstGeom prst="rect">
            <a:avLst/>
          </a:prstGeom>
          <a:noFill/>
        </p:spPr>
        <p:txBody>
          <a:bodyPr wrap="square" rtlCol="0">
            <a:spAutoFit/>
          </a:bodyPr>
          <a:lstStyle/>
          <a:p>
            <a:pPr defTabSz="932597"/>
            <a:r>
              <a:rPr lang="en-US" sz="2800" dirty="0">
                <a:solidFill>
                  <a:prstClr val="white"/>
                </a:solidFill>
                <a:latin typeface="+mj-lt"/>
              </a:rPr>
              <a:t>Digital Innovation Pillars</a:t>
            </a:r>
          </a:p>
        </p:txBody>
      </p:sp>
      <p:pic>
        <p:nvPicPr>
          <p:cNvPr id="82" name="Picture 81">
            <a:extLst>
              <a:ext uri="{FF2B5EF4-FFF2-40B4-BE49-F238E27FC236}">
                <a16:creationId xmlns:a16="http://schemas.microsoft.com/office/drawing/2014/main" id="{2625CB86-2F63-4344-B0DD-020C5EC8E990}"/>
              </a:ext>
            </a:extLst>
          </p:cNvPr>
          <p:cNvPicPr>
            <a:picLocks noChangeAspect="1"/>
          </p:cNvPicPr>
          <p:nvPr/>
        </p:nvPicPr>
        <p:blipFill>
          <a:blip r:embed="rId3"/>
          <a:stretch>
            <a:fillRect/>
          </a:stretch>
        </p:blipFill>
        <p:spPr>
          <a:xfrm>
            <a:off x="139308" y="3275351"/>
            <a:ext cx="6520146" cy="3419623"/>
          </a:xfrm>
          <a:prstGeom prst="rect">
            <a:avLst/>
          </a:prstGeom>
        </p:spPr>
      </p:pic>
      <p:pic>
        <p:nvPicPr>
          <p:cNvPr id="13" name="Picture 12">
            <a:extLst>
              <a:ext uri="{FF2B5EF4-FFF2-40B4-BE49-F238E27FC236}">
                <a16:creationId xmlns:a16="http://schemas.microsoft.com/office/drawing/2014/main" id="{8E1F7AB7-2E41-44D7-9E93-2BBCBE66BC11}"/>
              </a:ext>
            </a:extLst>
          </p:cNvPr>
          <p:cNvPicPr>
            <a:picLocks noChangeAspect="1"/>
          </p:cNvPicPr>
          <p:nvPr/>
        </p:nvPicPr>
        <p:blipFill>
          <a:blip r:embed="rId4"/>
          <a:stretch>
            <a:fillRect/>
          </a:stretch>
        </p:blipFill>
        <p:spPr>
          <a:xfrm>
            <a:off x="9231962" y="662447"/>
            <a:ext cx="2578993" cy="1711122"/>
          </a:xfrm>
          <a:prstGeom prst="rect">
            <a:avLst/>
          </a:prstGeom>
        </p:spPr>
      </p:pic>
      <p:sp>
        <p:nvSpPr>
          <p:cNvPr id="10" name="TextBox 9">
            <a:extLst>
              <a:ext uri="{FF2B5EF4-FFF2-40B4-BE49-F238E27FC236}">
                <a16:creationId xmlns:a16="http://schemas.microsoft.com/office/drawing/2014/main" id="{B57BF8E1-D8CD-421F-950D-A337837057B0}"/>
              </a:ext>
            </a:extLst>
          </p:cNvPr>
          <p:cNvSpPr txBox="1"/>
          <p:nvPr/>
        </p:nvSpPr>
        <p:spPr>
          <a:xfrm>
            <a:off x="9675068" y="1445618"/>
            <a:ext cx="1721753" cy="1077218"/>
          </a:xfrm>
          <a:prstGeom prst="rect">
            <a:avLst/>
          </a:prstGeom>
          <a:noFill/>
        </p:spPr>
        <p:txBody>
          <a:bodyPr wrap="none" rtlCol="0">
            <a:spAutoFit/>
          </a:bodyPr>
          <a:lstStyle/>
          <a:p>
            <a:r>
              <a:rPr lang="en-US" sz="3200" dirty="0"/>
              <a:t>Direction</a:t>
            </a:r>
          </a:p>
          <a:p>
            <a:endParaRPr lang="en-US" sz="3200" dirty="0"/>
          </a:p>
        </p:txBody>
      </p:sp>
      <p:pic>
        <p:nvPicPr>
          <p:cNvPr id="15" name="Picture 14">
            <a:extLst>
              <a:ext uri="{FF2B5EF4-FFF2-40B4-BE49-F238E27FC236}">
                <a16:creationId xmlns:a16="http://schemas.microsoft.com/office/drawing/2014/main" id="{4B62D5F3-6913-4E72-AA4C-CEE63EFBA88C}"/>
              </a:ext>
            </a:extLst>
          </p:cNvPr>
          <p:cNvPicPr>
            <a:picLocks noChangeAspect="1"/>
          </p:cNvPicPr>
          <p:nvPr/>
        </p:nvPicPr>
        <p:blipFill>
          <a:blip r:embed="rId4"/>
          <a:stretch>
            <a:fillRect/>
          </a:stretch>
        </p:blipFill>
        <p:spPr>
          <a:xfrm>
            <a:off x="6681942" y="662447"/>
            <a:ext cx="2578993" cy="1711122"/>
          </a:xfrm>
          <a:prstGeom prst="rect">
            <a:avLst/>
          </a:prstGeom>
        </p:spPr>
      </p:pic>
      <p:sp>
        <p:nvSpPr>
          <p:cNvPr id="16" name="TextBox 15">
            <a:extLst>
              <a:ext uri="{FF2B5EF4-FFF2-40B4-BE49-F238E27FC236}">
                <a16:creationId xmlns:a16="http://schemas.microsoft.com/office/drawing/2014/main" id="{3885C3A2-1404-4968-A5A5-39B17F661559}"/>
              </a:ext>
            </a:extLst>
          </p:cNvPr>
          <p:cNvSpPr txBox="1"/>
          <p:nvPr/>
        </p:nvSpPr>
        <p:spPr>
          <a:xfrm>
            <a:off x="7026302" y="1449832"/>
            <a:ext cx="1947969" cy="584775"/>
          </a:xfrm>
          <a:prstGeom prst="rect">
            <a:avLst/>
          </a:prstGeom>
          <a:noFill/>
        </p:spPr>
        <p:txBody>
          <a:bodyPr wrap="none" rtlCol="0">
            <a:spAutoFit/>
          </a:bodyPr>
          <a:lstStyle/>
          <a:p>
            <a:r>
              <a:rPr lang="en-US" sz="3200" dirty="0"/>
              <a:t>Quick Win</a:t>
            </a:r>
          </a:p>
        </p:txBody>
      </p:sp>
      <p:pic>
        <p:nvPicPr>
          <p:cNvPr id="12" name="Picture 11" descr="A circuit board&#10;&#10;Description generated with high confidence">
            <a:extLst>
              <a:ext uri="{FF2B5EF4-FFF2-40B4-BE49-F238E27FC236}">
                <a16:creationId xmlns:a16="http://schemas.microsoft.com/office/drawing/2014/main" id="{8D68A13A-DF2B-4895-A26F-62C9015859F6}"/>
              </a:ext>
            </a:extLst>
          </p:cNvPr>
          <p:cNvPicPr>
            <a:picLocks noChangeAspect="1"/>
          </p:cNvPicPr>
          <p:nvPr/>
        </p:nvPicPr>
        <p:blipFill>
          <a:blip r:embed="rId5"/>
          <a:stretch>
            <a:fillRect/>
          </a:stretch>
        </p:blipFill>
        <p:spPr>
          <a:xfrm>
            <a:off x="9344240" y="2477125"/>
            <a:ext cx="2354435" cy="2354435"/>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893132BF-D6C6-4F1B-98BA-EFC8DE218BD9}"/>
              </a:ext>
            </a:extLst>
          </p:cNvPr>
          <p:cNvPicPr>
            <a:picLocks noChangeAspect="1"/>
          </p:cNvPicPr>
          <p:nvPr/>
        </p:nvPicPr>
        <p:blipFill>
          <a:blip r:embed="rId6"/>
          <a:stretch>
            <a:fillRect/>
          </a:stretch>
        </p:blipFill>
        <p:spPr>
          <a:xfrm>
            <a:off x="7633975" y="4369633"/>
            <a:ext cx="1597987" cy="1597987"/>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E96485DF-6165-4178-894F-B9E5BDDC0595}"/>
              </a:ext>
            </a:extLst>
          </p:cNvPr>
          <p:cNvPicPr>
            <a:picLocks noChangeAspect="1"/>
          </p:cNvPicPr>
          <p:nvPr/>
        </p:nvPicPr>
        <p:blipFill>
          <a:blip r:embed="rId7"/>
          <a:stretch>
            <a:fillRect/>
          </a:stretch>
        </p:blipFill>
        <p:spPr>
          <a:xfrm>
            <a:off x="9729440" y="4935116"/>
            <a:ext cx="2270567" cy="2270567"/>
          </a:xfrm>
          <a:prstGeom prst="rect">
            <a:avLst/>
          </a:prstGeom>
        </p:spPr>
      </p:pic>
    </p:spTree>
    <p:extLst>
      <p:ext uri="{BB962C8B-B14F-4D97-AF65-F5344CB8AC3E}">
        <p14:creationId xmlns:p14="http://schemas.microsoft.com/office/powerpoint/2010/main" val="3918654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anim calcmode="lin" valueType="num">
                                      <p:cBhvr>
                                        <p:cTn id="25" dur="1000" fill="hold"/>
                                        <p:tgtEl>
                                          <p:spTgt spid="13"/>
                                        </p:tgtEl>
                                        <p:attrNameLst>
                                          <p:attrName>ppt_x</p:attrName>
                                        </p:attrNameLst>
                                      </p:cBhvr>
                                      <p:tavLst>
                                        <p:tav tm="0">
                                          <p:val>
                                            <p:strVal val="#ppt_x"/>
                                          </p:val>
                                        </p:tav>
                                        <p:tav tm="100000">
                                          <p:val>
                                            <p:strVal val="#ppt_x"/>
                                          </p:val>
                                        </p:tav>
                                      </p:tavLst>
                                    </p:anim>
                                    <p:anim calcmode="lin" valueType="num">
                                      <p:cBhvr>
                                        <p:cTn id="26" dur="1000" fill="hold"/>
                                        <p:tgtEl>
                                          <p:spTgt spid="13"/>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anim calcmode="lin" valueType="num">
                                      <p:cBhvr>
                                        <p:cTn id="35" dur="1000" fill="hold"/>
                                        <p:tgtEl>
                                          <p:spTgt spid="15"/>
                                        </p:tgtEl>
                                        <p:attrNameLst>
                                          <p:attrName>ppt_x</p:attrName>
                                        </p:attrNameLst>
                                      </p:cBhvr>
                                      <p:tavLst>
                                        <p:tav tm="0">
                                          <p:val>
                                            <p:strVal val="#ppt_x"/>
                                          </p:val>
                                        </p:tav>
                                        <p:tav tm="100000">
                                          <p:val>
                                            <p:strVal val="#ppt_x"/>
                                          </p:val>
                                        </p:tav>
                                      </p:tavLst>
                                    </p:anim>
                                    <p:anim calcmode="lin" valueType="num">
                                      <p:cBhvr>
                                        <p:cTn id="36" dur="1000" fill="hold"/>
                                        <p:tgtEl>
                                          <p:spTgt spid="15"/>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anim calcmode="lin" valueType="num">
                                      <p:cBhvr>
                                        <p:cTn id="40" dur="1000" fill="hold"/>
                                        <p:tgtEl>
                                          <p:spTgt spid="16"/>
                                        </p:tgtEl>
                                        <p:attrNameLst>
                                          <p:attrName>ppt_x</p:attrName>
                                        </p:attrNameLst>
                                      </p:cBhvr>
                                      <p:tavLst>
                                        <p:tav tm="0">
                                          <p:val>
                                            <p:strVal val="#ppt_x"/>
                                          </p:val>
                                        </p:tav>
                                        <p:tav tm="100000">
                                          <p:val>
                                            <p:strVal val="#ppt_x"/>
                                          </p:val>
                                        </p:tav>
                                      </p:tavLst>
                                    </p:anim>
                                    <p:anim calcmode="lin" valueType="num">
                                      <p:cBhvr>
                                        <p:cTn id="4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6"/>
          <p:cNvSpPr txBox="1">
            <a:spLocks noChangeArrowheads="1"/>
          </p:cNvSpPr>
          <p:nvPr>
            <p:custDataLst>
              <p:tags r:id="rId1"/>
            </p:custDataLst>
          </p:nvPr>
        </p:nvSpPr>
        <p:spPr bwMode="auto">
          <a:xfrm>
            <a:off x="6993104" y="1070762"/>
            <a:ext cx="420435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60" rIns="93260">
            <a:spAutoFit/>
          </a:bodyPr>
          <a:lstStyle>
            <a:lvl1pPr eaLnBrk="0" hangingPunct="0">
              <a:defRPr sz="1000">
                <a:solidFill>
                  <a:srgbClr val="00B050"/>
                </a:solidFill>
                <a:latin typeface="Arial" charset="0"/>
              </a:defRPr>
            </a:lvl1pPr>
            <a:lvl2pPr marL="742950" indent="-285750" eaLnBrk="0" hangingPunct="0">
              <a:defRPr sz="1000">
                <a:solidFill>
                  <a:srgbClr val="00B050"/>
                </a:solidFill>
                <a:latin typeface="Arial" charset="0"/>
              </a:defRPr>
            </a:lvl2pPr>
            <a:lvl3pPr marL="1143000" indent="-228600" eaLnBrk="0" hangingPunct="0">
              <a:defRPr sz="1000">
                <a:solidFill>
                  <a:srgbClr val="00B050"/>
                </a:solidFill>
                <a:latin typeface="Arial" charset="0"/>
              </a:defRPr>
            </a:lvl3pPr>
            <a:lvl4pPr marL="1600200" indent="-228600" eaLnBrk="0" hangingPunct="0">
              <a:defRPr sz="1000">
                <a:solidFill>
                  <a:srgbClr val="00B050"/>
                </a:solidFill>
                <a:latin typeface="Arial" charset="0"/>
              </a:defRPr>
            </a:lvl4pPr>
            <a:lvl5pPr marL="2057400" indent="-228600" eaLnBrk="0" hangingPunct="0">
              <a:defRPr sz="1000">
                <a:solidFill>
                  <a:srgbClr val="00B050"/>
                </a:solidFill>
                <a:latin typeface="Arial" charset="0"/>
              </a:defRPr>
            </a:lvl5pPr>
            <a:lvl6pPr marL="2514600" indent="-228600" eaLnBrk="0" fontAlgn="base" hangingPunct="0">
              <a:spcBef>
                <a:spcPct val="50000"/>
              </a:spcBef>
              <a:spcAft>
                <a:spcPct val="0"/>
              </a:spcAft>
              <a:buClr>
                <a:schemeClr val="tx1"/>
              </a:buClr>
              <a:defRPr sz="1000">
                <a:solidFill>
                  <a:srgbClr val="00B050"/>
                </a:solidFill>
                <a:latin typeface="Arial" charset="0"/>
              </a:defRPr>
            </a:lvl6pPr>
            <a:lvl7pPr marL="2971800" indent="-228600" eaLnBrk="0" fontAlgn="base" hangingPunct="0">
              <a:spcBef>
                <a:spcPct val="50000"/>
              </a:spcBef>
              <a:spcAft>
                <a:spcPct val="0"/>
              </a:spcAft>
              <a:buClr>
                <a:schemeClr val="tx1"/>
              </a:buClr>
              <a:defRPr sz="1000">
                <a:solidFill>
                  <a:srgbClr val="00B050"/>
                </a:solidFill>
                <a:latin typeface="Arial" charset="0"/>
              </a:defRPr>
            </a:lvl7pPr>
            <a:lvl8pPr marL="3429000" indent="-228600" eaLnBrk="0" fontAlgn="base" hangingPunct="0">
              <a:spcBef>
                <a:spcPct val="50000"/>
              </a:spcBef>
              <a:spcAft>
                <a:spcPct val="0"/>
              </a:spcAft>
              <a:buClr>
                <a:schemeClr val="tx1"/>
              </a:buClr>
              <a:defRPr sz="1000">
                <a:solidFill>
                  <a:srgbClr val="00B050"/>
                </a:solidFill>
                <a:latin typeface="Arial" charset="0"/>
              </a:defRPr>
            </a:lvl8pPr>
            <a:lvl9pPr marL="3886200" indent="-228600" eaLnBrk="0" fontAlgn="base" hangingPunct="0">
              <a:spcBef>
                <a:spcPct val="50000"/>
              </a:spcBef>
              <a:spcAft>
                <a:spcPct val="0"/>
              </a:spcAft>
              <a:buClr>
                <a:schemeClr val="tx1"/>
              </a:buClr>
              <a:defRPr sz="1000">
                <a:solidFill>
                  <a:srgbClr val="00B050"/>
                </a:solidFill>
                <a:latin typeface="Arial" charset="0"/>
              </a:defRPr>
            </a:lvl9pPr>
          </a:lstStyle>
          <a:p>
            <a:pPr marL="0" marR="0" lvl="0" indent="0" algn="ctr" defTabSz="932317"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prstClr val="black">
                    <a:lumMod val="50000"/>
                    <a:lumOff val="50000"/>
                  </a:prstClr>
                </a:solidFill>
                <a:effectLst/>
                <a:uLnTx/>
                <a:uFillTx/>
                <a:latin typeface="+mj-lt"/>
                <a:ea typeface="Verdana" panose="020B0604030504040204" pitchFamily="34" charset="0"/>
                <a:cs typeface="Verdana" panose="020B0604030504040204" pitchFamily="34" charset="0"/>
              </a:rPr>
              <a:t>Value Levers</a:t>
            </a:r>
          </a:p>
        </p:txBody>
      </p:sp>
      <p:sp>
        <p:nvSpPr>
          <p:cNvPr id="26" name="Rounded Rectangle 25"/>
          <p:cNvSpPr/>
          <p:nvPr>
            <p:custDataLst>
              <p:tags r:id="rId2"/>
            </p:custDataLst>
          </p:nvPr>
        </p:nvSpPr>
        <p:spPr bwMode="auto">
          <a:xfrm>
            <a:off x="6618157" y="2063316"/>
            <a:ext cx="4954249" cy="395412"/>
          </a:xfrm>
          <a:prstGeom prst="roundRect">
            <a:avLst>
              <a:gd name="adj" fmla="val 0"/>
            </a:avLst>
          </a:prstGeom>
          <a:solidFill>
            <a:schemeClr val="accent1"/>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prstClr val="white"/>
                </a:solidFill>
                <a:effectLst/>
                <a:uLnTx/>
                <a:uFillTx/>
                <a:latin typeface="+mj-lt"/>
                <a:ea typeface="Verdana" panose="020B0604030504040204" pitchFamily="34" charset="0"/>
                <a:cs typeface="Verdana" panose="020B0604030504040204" pitchFamily="34" charset="0"/>
              </a:rPr>
              <a:t>NextGen</a:t>
            </a:r>
            <a:r>
              <a:rPr kumimoji="0" lang="en-US" sz="2000" b="1" i="0" u="none" strike="noStrike" kern="1200" cap="none" spc="0" normalizeH="0" baseline="0" noProof="0" dirty="0">
                <a:ln>
                  <a:noFill/>
                </a:ln>
                <a:solidFill>
                  <a:prstClr val="white"/>
                </a:solidFill>
                <a:effectLst/>
                <a:uLnTx/>
                <a:uFillTx/>
                <a:latin typeface="+mj-lt"/>
                <a:ea typeface="Verdana" panose="020B0604030504040204" pitchFamily="34" charset="0"/>
                <a:cs typeface="Verdana" panose="020B0604030504040204" pitchFamily="34" charset="0"/>
              </a:rPr>
              <a:t> Products/Services</a:t>
            </a:r>
          </a:p>
        </p:txBody>
      </p:sp>
      <p:sp>
        <p:nvSpPr>
          <p:cNvPr id="27" name="Rounded Rectangle 26"/>
          <p:cNvSpPr/>
          <p:nvPr>
            <p:custDataLst>
              <p:tags r:id="rId3"/>
            </p:custDataLst>
          </p:nvPr>
        </p:nvSpPr>
        <p:spPr bwMode="auto">
          <a:xfrm>
            <a:off x="6618157" y="1585334"/>
            <a:ext cx="4954249" cy="395412"/>
          </a:xfrm>
          <a:prstGeom prst="roundRect">
            <a:avLst>
              <a:gd name="adj" fmla="val 0"/>
            </a:avLst>
          </a:prstGeom>
          <a:solidFill>
            <a:schemeClr val="accent1"/>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j-lt"/>
                <a:ea typeface="Verdana" panose="020B0604030504040204" pitchFamily="34" charset="0"/>
                <a:cs typeface="Verdana" panose="020B0604030504040204" pitchFamily="34" charset="0"/>
              </a:rPr>
              <a:t>Product as a Platform</a:t>
            </a:r>
          </a:p>
        </p:txBody>
      </p:sp>
      <p:sp>
        <p:nvSpPr>
          <p:cNvPr id="28" name="Rounded Rectangle 27"/>
          <p:cNvSpPr/>
          <p:nvPr>
            <p:custDataLst>
              <p:tags r:id="rId4"/>
            </p:custDataLst>
          </p:nvPr>
        </p:nvSpPr>
        <p:spPr bwMode="auto">
          <a:xfrm>
            <a:off x="6618157" y="3019280"/>
            <a:ext cx="4954249" cy="395412"/>
          </a:xfrm>
          <a:prstGeom prst="roundRect">
            <a:avLst>
              <a:gd name="adj" fmla="val 0"/>
            </a:avLst>
          </a:prstGeom>
          <a:solidFill>
            <a:schemeClr val="accent1"/>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New Business and Operating Models</a:t>
            </a:r>
          </a:p>
        </p:txBody>
      </p:sp>
      <p:sp>
        <p:nvSpPr>
          <p:cNvPr id="29" name="Rounded Rectangle 28"/>
          <p:cNvSpPr/>
          <p:nvPr>
            <p:custDataLst>
              <p:tags r:id="rId5"/>
            </p:custDataLst>
          </p:nvPr>
        </p:nvSpPr>
        <p:spPr bwMode="auto">
          <a:xfrm>
            <a:off x="6618157" y="2541298"/>
            <a:ext cx="4954249" cy="395412"/>
          </a:xfrm>
          <a:prstGeom prst="roundRect">
            <a:avLst>
              <a:gd name="adj" fmla="val 0"/>
            </a:avLst>
          </a:prstGeom>
          <a:solidFill>
            <a:schemeClr val="accent1"/>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Most Valuable Information Provider</a:t>
            </a:r>
          </a:p>
        </p:txBody>
      </p:sp>
      <p:sp>
        <p:nvSpPr>
          <p:cNvPr id="31" name="Rounded Rectangle 30"/>
          <p:cNvSpPr/>
          <p:nvPr>
            <p:custDataLst>
              <p:tags r:id="rId6"/>
            </p:custDataLst>
          </p:nvPr>
        </p:nvSpPr>
        <p:spPr bwMode="auto">
          <a:xfrm>
            <a:off x="6618157" y="3497262"/>
            <a:ext cx="4954249" cy="395412"/>
          </a:xfrm>
          <a:prstGeom prst="roundRect">
            <a:avLst>
              <a:gd name="adj" fmla="val 0"/>
            </a:avLst>
          </a:prstGeom>
          <a:solidFill>
            <a:schemeClr val="accent2"/>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j-lt"/>
                <a:ea typeface="Verdana" panose="020B0604030504040204" pitchFamily="34" charset="0"/>
                <a:cs typeface="Verdana" panose="020B0604030504040204" pitchFamily="34" charset="0"/>
              </a:rPr>
              <a:t>Operations and Predictive Maintenance</a:t>
            </a:r>
          </a:p>
        </p:txBody>
      </p:sp>
      <p:sp>
        <p:nvSpPr>
          <p:cNvPr id="32" name="Rounded Rectangle 31"/>
          <p:cNvSpPr/>
          <p:nvPr>
            <p:custDataLst>
              <p:tags r:id="rId7"/>
            </p:custDataLst>
          </p:nvPr>
        </p:nvSpPr>
        <p:spPr bwMode="auto">
          <a:xfrm>
            <a:off x="6618157" y="3975244"/>
            <a:ext cx="4954249" cy="395412"/>
          </a:xfrm>
          <a:prstGeom prst="roundRect">
            <a:avLst>
              <a:gd name="adj" fmla="val 0"/>
            </a:avLst>
          </a:prstGeom>
          <a:solidFill>
            <a:schemeClr val="accent2"/>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Commercial Optimization</a:t>
            </a:r>
          </a:p>
        </p:txBody>
      </p:sp>
      <p:sp>
        <p:nvSpPr>
          <p:cNvPr id="33" name="Rounded Rectangle 32"/>
          <p:cNvSpPr/>
          <p:nvPr>
            <p:custDataLst>
              <p:tags r:id="rId8"/>
            </p:custDataLst>
          </p:nvPr>
        </p:nvSpPr>
        <p:spPr bwMode="auto">
          <a:xfrm>
            <a:off x="6618157" y="4453226"/>
            <a:ext cx="4954249" cy="395412"/>
          </a:xfrm>
          <a:prstGeom prst="roundRect">
            <a:avLst>
              <a:gd name="adj" fmla="val 0"/>
            </a:avLst>
          </a:prstGeom>
          <a:solidFill>
            <a:schemeClr val="accent2"/>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Customer Experience and Applications</a:t>
            </a:r>
          </a:p>
        </p:txBody>
      </p:sp>
      <p:sp>
        <p:nvSpPr>
          <p:cNvPr id="37" name="Rounded Rectangle 36"/>
          <p:cNvSpPr/>
          <p:nvPr>
            <p:custDataLst>
              <p:tags r:id="rId9"/>
            </p:custDataLst>
          </p:nvPr>
        </p:nvSpPr>
        <p:spPr bwMode="auto">
          <a:xfrm>
            <a:off x="6618157" y="4931208"/>
            <a:ext cx="4954249" cy="395412"/>
          </a:xfrm>
          <a:prstGeom prst="roundRect">
            <a:avLst>
              <a:gd name="adj" fmla="val 0"/>
            </a:avLst>
          </a:prstGeom>
          <a:solidFill>
            <a:schemeClr val="accent4"/>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Preventive Maintenance </a:t>
            </a:r>
          </a:p>
        </p:txBody>
      </p:sp>
      <p:sp>
        <p:nvSpPr>
          <p:cNvPr id="38" name="Rounded Rectangle 37"/>
          <p:cNvSpPr/>
          <p:nvPr>
            <p:custDataLst>
              <p:tags r:id="rId10"/>
            </p:custDataLst>
          </p:nvPr>
        </p:nvSpPr>
        <p:spPr bwMode="auto">
          <a:xfrm>
            <a:off x="6618157" y="5409190"/>
            <a:ext cx="4954249" cy="395412"/>
          </a:xfrm>
          <a:prstGeom prst="roundRect">
            <a:avLst>
              <a:gd name="adj" fmla="val 0"/>
            </a:avLst>
          </a:prstGeom>
          <a:solidFill>
            <a:schemeClr val="accent4"/>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Process Automation</a:t>
            </a:r>
          </a:p>
        </p:txBody>
      </p:sp>
      <p:sp>
        <p:nvSpPr>
          <p:cNvPr id="39" name="Rounded Rectangle 38"/>
          <p:cNvSpPr/>
          <p:nvPr>
            <p:custDataLst>
              <p:tags r:id="rId11"/>
            </p:custDataLst>
          </p:nvPr>
        </p:nvSpPr>
        <p:spPr bwMode="auto">
          <a:xfrm>
            <a:off x="6618157" y="5887172"/>
            <a:ext cx="4954249" cy="395412"/>
          </a:xfrm>
          <a:prstGeom prst="roundRect">
            <a:avLst>
              <a:gd name="adj" fmla="val 0"/>
            </a:avLst>
          </a:prstGeom>
          <a:solidFill>
            <a:schemeClr val="accent4"/>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Operation Optimization</a:t>
            </a:r>
          </a:p>
        </p:txBody>
      </p:sp>
      <p:sp>
        <p:nvSpPr>
          <p:cNvPr id="40" name="Rounded Rectangle 39"/>
          <p:cNvSpPr/>
          <p:nvPr>
            <p:custDataLst>
              <p:tags r:id="rId12"/>
            </p:custDataLst>
          </p:nvPr>
        </p:nvSpPr>
        <p:spPr bwMode="auto">
          <a:xfrm>
            <a:off x="6618157" y="6365152"/>
            <a:ext cx="4954249" cy="395412"/>
          </a:xfrm>
          <a:prstGeom prst="roundRect">
            <a:avLst>
              <a:gd name="adj" fmla="val 0"/>
            </a:avLst>
          </a:prstGeom>
          <a:solidFill>
            <a:schemeClr val="accent4"/>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Global Asset Visibility</a:t>
            </a:r>
          </a:p>
        </p:txBody>
      </p:sp>
      <p:sp>
        <p:nvSpPr>
          <p:cNvPr id="41" name="Title 1"/>
          <p:cNvSpPr>
            <a:spLocks noGrp="1"/>
          </p:cNvSpPr>
          <p:nvPr>
            <p:ph type="title" idx="4294967295"/>
          </p:nvPr>
        </p:nvSpPr>
        <p:spPr>
          <a:xfrm>
            <a:off x="1340505" y="228835"/>
            <a:ext cx="11888787" cy="682625"/>
          </a:xfrm>
        </p:spPr>
        <p:txBody>
          <a:bodyPr>
            <a:normAutofit/>
          </a:bodyPr>
          <a:lstStyle/>
          <a:p>
            <a:r>
              <a:rPr lang="en-US" sz="3600" dirty="0">
                <a:ea typeface="Verdana" panose="020B0604030504040204" pitchFamily="34" charset="0"/>
                <a:cs typeface="Verdana" panose="020B0604030504040204" pitchFamily="34" charset="0"/>
              </a:rPr>
              <a:t>Realizing vision for </a:t>
            </a:r>
            <a:r>
              <a:rPr lang="en-US" sz="3600" dirty="0" err="1">
                <a:ea typeface="Verdana" panose="020B0604030504040204" pitchFamily="34" charset="0"/>
                <a:cs typeface="Verdana" panose="020B0604030504040204" pitchFamily="34" charset="0"/>
              </a:rPr>
              <a:t>iot</a:t>
            </a:r>
            <a:endParaRPr lang="en-US" sz="3600" dirty="0">
              <a:ea typeface="Verdana" panose="020B0604030504040204" pitchFamily="34" charset="0"/>
              <a:cs typeface="Verdana" panose="020B0604030504040204" pitchFamily="34" charset="0"/>
            </a:endParaRPr>
          </a:p>
        </p:txBody>
      </p:sp>
      <p:sp>
        <p:nvSpPr>
          <p:cNvPr id="3" name="TextBox 5"/>
          <p:cNvSpPr txBox="1">
            <a:spLocks noChangeArrowheads="1"/>
          </p:cNvSpPr>
          <p:nvPr/>
        </p:nvSpPr>
        <p:spPr bwMode="auto">
          <a:xfrm>
            <a:off x="3310065" y="1089498"/>
            <a:ext cx="24525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60" rIns="93260">
            <a:spAutoFit/>
          </a:bodyPr>
          <a:lstStyle>
            <a:lvl1pPr eaLnBrk="0" hangingPunct="0">
              <a:defRPr sz="1000">
                <a:solidFill>
                  <a:srgbClr val="00B050"/>
                </a:solidFill>
                <a:latin typeface="Arial" charset="0"/>
              </a:defRPr>
            </a:lvl1pPr>
            <a:lvl2pPr marL="742950" indent="-285750" eaLnBrk="0" hangingPunct="0">
              <a:defRPr sz="1000">
                <a:solidFill>
                  <a:srgbClr val="00B050"/>
                </a:solidFill>
                <a:latin typeface="Arial" charset="0"/>
              </a:defRPr>
            </a:lvl2pPr>
            <a:lvl3pPr marL="1143000" indent="-228600" eaLnBrk="0" hangingPunct="0">
              <a:defRPr sz="1000">
                <a:solidFill>
                  <a:srgbClr val="00B050"/>
                </a:solidFill>
                <a:latin typeface="Arial" charset="0"/>
              </a:defRPr>
            </a:lvl3pPr>
            <a:lvl4pPr marL="1600200" indent="-228600" eaLnBrk="0" hangingPunct="0">
              <a:defRPr sz="1000">
                <a:solidFill>
                  <a:srgbClr val="00B050"/>
                </a:solidFill>
                <a:latin typeface="Arial" charset="0"/>
              </a:defRPr>
            </a:lvl4pPr>
            <a:lvl5pPr marL="2057400" indent="-228600" eaLnBrk="0" hangingPunct="0">
              <a:defRPr sz="1000">
                <a:solidFill>
                  <a:srgbClr val="00B050"/>
                </a:solidFill>
                <a:latin typeface="Arial" charset="0"/>
              </a:defRPr>
            </a:lvl5pPr>
            <a:lvl6pPr marL="2514600" indent="-228600" eaLnBrk="0" fontAlgn="base" hangingPunct="0">
              <a:spcBef>
                <a:spcPct val="50000"/>
              </a:spcBef>
              <a:spcAft>
                <a:spcPct val="0"/>
              </a:spcAft>
              <a:buClr>
                <a:schemeClr val="tx1"/>
              </a:buClr>
              <a:defRPr sz="1000">
                <a:solidFill>
                  <a:srgbClr val="00B050"/>
                </a:solidFill>
                <a:latin typeface="Arial" charset="0"/>
              </a:defRPr>
            </a:lvl6pPr>
            <a:lvl7pPr marL="2971800" indent="-228600" eaLnBrk="0" fontAlgn="base" hangingPunct="0">
              <a:spcBef>
                <a:spcPct val="50000"/>
              </a:spcBef>
              <a:spcAft>
                <a:spcPct val="0"/>
              </a:spcAft>
              <a:buClr>
                <a:schemeClr val="tx1"/>
              </a:buClr>
              <a:defRPr sz="1000">
                <a:solidFill>
                  <a:srgbClr val="00B050"/>
                </a:solidFill>
                <a:latin typeface="Arial" charset="0"/>
              </a:defRPr>
            </a:lvl7pPr>
            <a:lvl8pPr marL="3429000" indent="-228600" eaLnBrk="0" fontAlgn="base" hangingPunct="0">
              <a:spcBef>
                <a:spcPct val="50000"/>
              </a:spcBef>
              <a:spcAft>
                <a:spcPct val="0"/>
              </a:spcAft>
              <a:buClr>
                <a:schemeClr val="tx1"/>
              </a:buClr>
              <a:defRPr sz="1000">
                <a:solidFill>
                  <a:srgbClr val="00B050"/>
                </a:solidFill>
                <a:latin typeface="Arial" charset="0"/>
              </a:defRPr>
            </a:lvl8pPr>
            <a:lvl9pPr marL="3886200" indent="-228600" eaLnBrk="0" fontAlgn="base" hangingPunct="0">
              <a:spcBef>
                <a:spcPct val="50000"/>
              </a:spcBef>
              <a:spcAft>
                <a:spcPct val="0"/>
              </a:spcAft>
              <a:buClr>
                <a:schemeClr val="tx1"/>
              </a:buClr>
              <a:defRPr sz="1000">
                <a:solidFill>
                  <a:srgbClr val="00B050"/>
                </a:solidFill>
                <a:latin typeface="Arial" charset="0"/>
              </a:defRPr>
            </a:lvl9pPr>
          </a:lstStyle>
          <a:p>
            <a:pPr marL="0" marR="0" lvl="0" indent="0" algn="ctr" defTabSz="932317"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prstClr val="black">
                    <a:lumMod val="50000"/>
                    <a:lumOff val="50000"/>
                  </a:prstClr>
                </a:solidFill>
                <a:effectLst/>
                <a:uLnTx/>
                <a:uFillTx/>
                <a:latin typeface="+mj-lt"/>
                <a:ea typeface="Verdana" panose="020B0604030504040204" pitchFamily="34" charset="0"/>
                <a:cs typeface="Verdana" panose="020B0604030504040204" pitchFamily="34" charset="0"/>
              </a:rPr>
              <a:t>Value Categories</a:t>
            </a:r>
          </a:p>
        </p:txBody>
      </p:sp>
      <p:cxnSp>
        <p:nvCxnSpPr>
          <p:cNvPr id="6" name="Shape 11"/>
          <p:cNvCxnSpPr>
            <a:cxnSpLocks/>
            <a:stCxn id="56" idx="2"/>
            <a:endCxn id="35" idx="1"/>
          </p:cNvCxnSpPr>
          <p:nvPr>
            <p:custDataLst>
              <p:tags r:id="rId13"/>
            </p:custDataLst>
          </p:nvPr>
        </p:nvCxnSpPr>
        <p:spPr bwMode="auto">
          <a:xfrm rot="16200000" flipH="1">
            <a:off x="1782471" y="4289421"/>
            <a:ext cx="1085629" cy="1969559"/>
          </a:xfrm>
          <a:prstGeom prst="bentConnector2">
            <a:avLst/>
          </a:prstGeom>
          <a:solidFill>
            <a:schemeClr val="accent1"/>
          </a:solidFill>
          <a:ln w="25400" cap="flat" cmpd="sng" algn="ctr">
            <a:solidFill>
              <a:schemeClr val="bg1">
                <a:lumMod val="75000"/>
              </a:schemeClr>
            </a:solidFill>
            <a:prstDash val="solid"/>
            <a:round/>
            <a:headEnd type="none" w="med" len="med"/>
            <a:tailEnd type="triangle" w="lg" len="med"/>
          </a:ln>
          <a:effectLst/>
        </p:spPr>
      </p:cxnSp>
      <p:sp>
        <p:nvSpPr>
          <p:cNvPr id="7" name="Plus 6"/>
          <p:cNvSpPr/>
          <p:nvPr>
            <p:custDataLst>
              <p:tags r:id="rId14"/>
            </p:custDataLst>
          </p:nvPr>
        </p:nvSpPr>
        <p:spPr bwMode="auto">
          <a:xfrm>
            <a:off x="3506851" y="4703039"/>
            <a:ext cx="297720" cy="346720"/>
          </a:xfrm>
          <a:prstGeom prst="mathPlus">
            <a:avLst/>
          </a:prstGeom>
          <a:solidFill>
            <a:schemeClr val="accent1"/>
          </a:solidFill>
          <a:ln w="9525" cap="flat" cmpd="sng" algn="ctr">
            <a:noFill/>
            <a:prstDash val="solid"/>
            <a:round/>
            <a:headEnd type="none" w="med" len="med"/>
            <a:tailEnd type="none" w="med" len="med"/>
          </a:ln>
          <a:effectLst/>
        </p:spPr>
        <p:txBody>
          <a:bodyPr wrap="square" lIns="186521" rIns="93260"/>
          <a:lstStyle/>
          <a:p>
            <a:pPr marL="0" marR="0" lvl="0" indent="0" algn="l" defTabSz="932317" rtl="0" eaLnBrk="0" fontAlgn="auto" latinLnBrk="0" hangingPunct="0">
              <a:lnSpc>
                <a:spcPct val="80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endParaRPr>
          </a:p>
        </p:txBody>
      </p:sp>
      <p:sp>
        <p:nvSpPr>
          <p:cNvPr id="13" name="Rectangle 12"/>
          <p:cNvSpPr/>
          <p:nvPr>
            <p:custDataLst>
              <p:tags r:id="rId15"/>
            </p:custDataLst>
          </p:nvPr>
        </p:nvSpPr>
        <p:spPr bwMode="auto">
          <a:xfrm>
            <a:off x="3310065" y="2164049"/>
            <a:ext cx="2452540" cy="615574"/>
          </a:xfrm>
          <a:prstGeom prst="rect">
            <a:avLst/>
          </a:prstGeom>
          <a:solidFill>
            <a:schemeClr val="accent1"/>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Net New Revenue Sources</a:t>
            </a:r>
          </a:p>
        </p:txBody>
      </p:sp>
      <p:cxnSp>
        <p:nvCxnSpPr>
          <p:cNvPr id="14" name="Shape 15"/>
          <p:cNvCxnSpPr>
            <a:cxnSpLocks/>
            <a:stCxn id="56" idx="3"/>
            <a:endCxn id="34" idx="1"/>
          </p:cNvCxnSpPr>
          <p:nvPr>
            <p:custDataLst>
              <p:tags r:id="rId16"/>
            </p:custDataLst>
          </p:nvPr>
        </p:nvCxnSpPr>
        <p:spPr bwMode="auto">
          <a:xfrm>
            <a:off x="2238803" y="4134912"/>
            <a:ext cx="1071262" cy="500"/>
          </a:xfrm>
          <a:prstGeom prst="bentConnector3">
            <a:avLst>
              <a:gd name="adj1" fmla="val 50000"/>
            </a:avLst>
          </a:prstGeom>
          <a:solidFill>
            <a:schemeClr val="accent1"/>
          </a:solidFill>
          <a:ln w="25400" cap="flat" cmpd="sng" algn="ctr">
            <a:solidFill>
              <a:schemeClr val="bg1">
                <a:lumMod val="75000"/>
              </a:schemeClr>
            </a:solidFill>
            <a:prstDash val="solid"/>
            <a:round/>
            <a:headEnd type="none" w="med" len="med"/>
            <a:tailEnd type="triangle" w="lg" len="med"/>
          </a:ln>
          <a:effectLst/>
        </p:spPr>
      </p:cxnSp>
      <p:cxnSp>
        <p:nvCxnSpPr>
          <p:cNvPr id="15" name="Shape 15"/>
          <p:cNvCxnSpPr>
            <a:cxnSpLocks/>
            <a:stCxn id="56" idx="0"/>
            <a:endCxn id="13" idx="1"/>
          </p:cNvCxnSpPr>
          <p:nvPr>
            <p:custDataLst>
              <p:tags r:id="rId17"/>
            </p:custDataLst>
          </p:nvPr>
        </p:nvCxnSpPr>
        <p:spPr bwMode="auto">
          <a:xfrm rot="5400000" flipH="1" flipV="1">
            <a:off x="1791985" y="2020357"/>
            <a:ext cx="1066600" cy="1969559"/>
          </a:xfrm>
          <a:prstGeom prst="bentConnector2">
            <a:avLst/>
          </a:prstGeom>
          <a:solidFill>
            <a:schemeClr val="accent1"/>
          </a:solidFill>
          <a:ln w="25400" cap="flat" cmpd="sng" algn="ctr">
            <a:solidFill>
              <a:schemeClr val="bg1">
                <a:lumMod val="75000"/>
              </a:schemeClr>
            </a:solidFill>
            <a:prstDash val="solid"/>
            <a:round/>
            <a:headEnd type="none" w="med" len="med"/>
            <a:tailEnd type="triangle" w="lg" len="med"/>
          </a:ln>
          <a:effectLst/>
        </p:spPr>
      </p:cxnSp>
      <p:sp>
        <p:nvSpPr>
          <p:cNvPr id="34" name="Rectangle 33"/>
          <p:cNvSpPr/>
          <p:nvPr>
            <p:custDataLst>
              <p:tags r:id="rId18"/>
            </p:custDataLst>
          </p:nvPr>
        </p:nvSpPr>
        <p:spPr bwMode="auto">
          <a:xfrm>
            <a:off x="3310065" y="3827625"/>
            <a:ext cx="2452540" cy="615574"/>
          </a:xfrm>
          <a:prstGeom prst="rect">
            <a:avLst/>
          </a:prstGeom>
          <a:solidFill>
            <a:schemeClr val="accent2"/>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Product &amp; Service</a:t>
            </a:r>
          </a:p>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Optimization</a:t>
            </a:r>
          </a:p>
        </p:txBody>
      </p:sp>
      <p:sp>
        <p:nvSpPr>
          <p:cNvPr id="35" name="Rectangle 34"/>
          <p:cNvSpPr/>
          <p:nvPr>
            <p:custDataLst>
              <p:tags r:id="rId19"/>
            </p:custDataLst>
          </p:nvPr>
        </p:nvSpPr>
        <p:spPr bwMode="auto">
          <a:xfrm>
            <a:off x="3310065" y="5509229"/>
            <a:ext cx="2452540" cy="615574"/>
          </a:xfrm>
          <a:prstGeom prst="rect">
            <a:avLst/>
          </a:prstGeom>
          <a:solidFill>
            <a:schemeClr val="accent4"/>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Operational Efficiency</a:t>
            </a:r>
          </a:p>
        </p:txBody>
      </p:sp>
      <p:sp>
        <p:nvSpPr>
          <p:cNvPr id="56" name="Rectangle 55"/>
          <p:cNvSpPr/>
          <p:nvPr>
            <p:custDataLst>
              <p:tags r:id="rId20"/>
            </p:custDataLst>
          </p:nvPr>
        </p:nvSpPr>
        <p:spPr bwMode="auto">
          <a:xfrm>
            <a:off x="442208" y="3538436"/>
            <a:ext cx="1796595" cy="1192951"/>
          </a:xfrm>
          <a:prstGeom prst="rect">
            <a:avLst/>
          </a:prstGeom>
          <a:solidFill>
            <a:srgbClr val="1792AF"/>
          </a:solidFill>
          <a:ln w="6350">
            <a:noFill/>
            <a:round/>
            <a:headEnd/>
            <a:tailEnd/>
          </a:ln>
          <a:effectLst/>
        </p:spPr>
        <p:txBody>
          <a:bodyPr wrap="square" lIns="186521" rIns="93260" anchor="ctr"/>
          <a:lstStyle/>
          <a:p>
            <a:pPr marL="0" marR="0" lvl="0" indent="0" algn="l" defTabSz="93231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err="1">
                <a:ln>
                  <a:noFill/>
                </a:ln>
                <a:solidFill>
                  <a:prstClr val="white"/>
                </a:solidFill>
                <a:effectLst/>
                <a:uLnTx/>
                <a:uFillTx/>
                <a:latin typeface="+mj-lt"/>
                <a:ea typeface="Verdana" panose="020B0604030504040204" pitchFamily="34" charset="0"/>
                <a:cs typeface="Verdana" panose="020B0604030504040204" pitchFamily="34" charset="0"/>
              </a:rPr>
              <a:t>IoT</a:t>
            </a:r>
            <a:r>
              <a:rPr kumimoji="0" lang="en-US" sz="2000" b="1" i="0" u="none" strike="noStrike" kern="1200" cap="none" spc="0" normalizeH="0" baseline="0" noProof="0">
                <a:ln>
                  <a:noFill/>
                </a:ln>
                <a:solidFill>
                  <a:prstClr val="white"/>
                </a:solidFill>
                <a:effectLst/>
                <a:uLnTx/>
                <a:uFillTx/>
                <a:latin typeface="+mj-lt"/>
                <a:ea typeface="Verdana" panose="020B0604030504040204" pitchFamily="34" charset="0"/>
                <a:cs typeface="Verdana" panose="020B0604030504040204" pitchFamily="34" charset="0"/>
              </a:rPr>
              <a:t> Value Proposition</a:t>
            </a:r>
          </a:p>
        </p:txBody>
      </p:sp>
      <p:sp>
        <p:nvSpPr>
          <p:cNvPr id="36" name="Slide Number Placeholder 2"/>
          <p:cNvSpPr txBox="1">
            <a:spLocks/>
          </p:cNvSpPr>
          <p:nvPr/>
        </p:nvSpPr>
        <p:spPr>
          <a:xfrm>
            <a:off x="11523774" y="6508588"/>
            <a:ext cx="595407" cy="387592"/>
          </a:xfrm>
          <a:prstGeom prst="rect">
            <a:avLst/>
          </a:prstGeom>
        </p:spPr>
        <p:txBody>
          <a:bodyPr vert="horz" lIns="95101" tIns="47550" rIns="95101" bIns="47550" rtlCol="0" anchor="ctr"/>
          <a:lstStyle>
            <a:defPPr>
              <a:defRPr lang="en-US"/>
            </a:defPPr>
            <a:lvl1pPr marL="0" algn="r" defTabSz="914400" rtl="0" eaLnBrk="1" latinLnBrk="0" hangingPunct="1">
              <a:defRPr sz="784" kern="1200">
                <a:solidFill>
                  <a:schemeClr val="tx1"/>
                </a:solidFill>
                <a:latin typeface="Segoe UI" pitchFamily="34" charset="0"/>
                <a:ea typeface="Segoe UI" pitchFamily="34" charset="0"/>
                <a:cs typeface="Segoe U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32597"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32597"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50505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38359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297837" y="1168062"/>
            <a:ext cx="6021388" cy="4973637"/>
          </a:xfrm>
        </p:spPr>
        <p:txBody>
          <a:bodyPr>
            <a:normAutofit lnSpcReduction="10000"/>
          </a:bodyPr>
          <a:lstStyle/>
          <a:p>
            <a:r>
              <a:rPr lang="en-US" sz="2448" dirty="0">
                <a:solidFill>
                  <a:schemeClr val="bg1">
                    <a:lumMod val="50000"/>
                  </a:schemeClr>
                </a:solidFill>
              </a:rPr>
              <a:t>Industry Overview</a:t>
            </a:r>
          </a:p>
          <a:p>
            <a:r>
              <a:rPr lang="en-US" sz="2448" dirty="0"/>
              <a:t>Predictive Maintenance</a:t>
            </a:r>
          </a:p>
          <a:p>
            <a:r>
              <a:rPr lang="en-US" sz="2448" dirty="0">
                <a:solidFill>
                  <a:schemeClr val="bg1">
                    <a:lumMod val="50000"/>
                  </a:schemeClr>
                </a:solidFill>
              </a:rPr>
              <a:t>Use Cases</a:t>
            </a:r>
          </a:p>
          <a:p>
            <a:r>
              <a:rPr lang="en-US" sz="2448" dirty="0">
                <a:solidFill>
                  <a:schemeClr val="bg1">
                    <a:lumMod val="50000"/>
                  </a:schemeClr>
                </a:solidFill>
              </a:rPr>
              <a:t>Data Foundation</a:t>
            </a:r>
          </a:p>
          <a:p>
            <a:r>
              <a:rPr lang="en-US" sz="2448" dirty="0">
                <a:solidFill>
                  <a:schemeClr val="bg1">
                    <a:lumMod val="50000"/>
                  </a:schemeClr>
                </a:solidFill>
              </a:rPr>
              <a:t>Modeling</a:t>
            </a:r>
          </a:p>
          <a:p>
            <a:r>
              <a:rPr lang="en-US" sz="2448" dirty="0">
                <a:solidFill>
                  <a:schemeClr val="bg1">
                    <a:lumMod val="50000"/>
                  </a:schemeClr>
                </a:solidFill>
              </a:rPr>
              <a:t>Modeling Example</a:t>
            </a:r>
          </a:p>
          <a:p>
            <a:r>
              <a:rPr lang="en-US" sz="2448" dirty="0">
                <a:solidFill>
                  <a:schemeClr val="bg1">
                    <a:lumMod val="50000"/>
                  </a:schemeClr>
                </a:solidFill>
              </a:rPr>
              <a:t>Physics of Failure</a:t>
            </a:r>
          </a:p>
          <a:p>
            <a:r>
              <a:rPr lang="en-US" sz="2448" dirty="0">
                <a:solidFill>
                  <a:schemeClr val="bg1">
                    <a:lumMod val="50000"/>
                  </a:schemeClr>
                </a:solidFill>
              </a:rPr>
              <a:t>Key Measurements</a:t>
            </a:r>
          </a:p>
          <a:p>
            <a:r>
              <a:rPr lang="en-US" sz="2448" dirty="0">
                <a:solidFill>
                  <a:schemeClr val="bg1">
                    <a:lumMod val="50000"/>
                  </a:schemeClr>
                </a:solidFill>
              </a:rPr>
              <a:t>Intelligence</a:t>
            </a:r>
          </a:p>
        </p:txBody>
      </p:sp>
      <p:sp>
        <p:nvSpPr>
          <p:cNvPr id="3" name="Title 2"/>
          <p:cNvSpPr>
            <a:spLocks noGrp="1"/>
          </p:cNvSpPr>
          <p:nvPr>
            <p:ph type="title" idx="4294967295"/>
          </p:nvPr>
        </p:nvSpPr>
        <p:spPr>
          <a:xfrm>
            <a:off x="539646" y="1295478"/>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10" name="Arrow: Right 9">
            <a:extLst>
              <a:ext uri="{FF2B5EF4-FFF2-40B4-BE49-F238E27FC236}">
                <a16:creationId xmlns:a16="http://schemas.microsoft.com/office/drawing/2014/main" id="{77FA4000-D958-492B-AC5D-500D114D0E55}"/>
              </a:ext>
            </a:extLst>
          </p:cNvPr>
          <p:cNvSpPr/>
          <p:nvPr/>
        </p:nvSpPr>
        <p:spPr bwMode="gray">
          <a:xfrm flipH="1" flipV="1">
            <a:off x="6770459" y="1820862"/>
            <a:ext cx="914400" cy="304800"/>
          </a:xfrm>
          <a:prstGeom prst="rightArrow">
            <a:avLst/>
          </a:prstGeom>
          <a:solidFill>
            <a:srgbClr val="5191CD"/>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813412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7661" y="1228521"/>
            <a:ext cx="3253431" cy="1230312"/>
          </a:xfrm>
        </p:spPr>
        <p:txBody>
          <a:bodyPr>
            <a:normAutofit/>
          </a:bodyPr>
          <a:lstStyle/>
          <a:p>
            <a:r>
              <a:rPr lang="en-US" sz="3600" dirty="0">
                <a:latin typeface="+mj-lt"/>
              </a:rPr>
              <a:t>Predictive Maintenance</a:t>
            </a:r>
          </a:p>
        </p:txBody>
      </p:sp>
      <p:sp>
        <p:nvSpPr>
          <p:cNvPr id="3" name="Slide Number Placeholder 2"/>
          <p:cNvSpPr>
            <a:spLocks noGrp="1"/>
          </p:cNvSpPr>
          <p:nvPr>
            <p:ph type="sldNum" sz="quarter" idx="4294967295"/>
          </p:nvPr>
        </p:nvSpPr>
        <p:spPr>
          <a:xfrm>
            <a:off x="9534525" y="6483350"/>
            <a:ext cx="2901950" cy="371475"/>
          </a:xfrm>
        </p:spPr>
        <p:txBody>
          <a:bodyPr/>
          <a:lstStyle/>
          <a:p>
            <a:pPr marL="0" marR="0" lvl="0" indent="0" algn="r" defTabSz="12434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1200" cap="none" spc="0" normalizeH="0" baseline="0" noProof="0">
                <a:ln>
                  <a:noFill/>
                </a:ln>
                <a:solidFill>
                  <a:srgbClr val="292929"/>
                </a:solidFill>
                <a:effectLst/>
                <a:uLnTx/>
                <a:uFillTx/>
                <a:latin typeface="Segoe UI"/>
                <a:ea typeface="+mn-ea"/>
                <a:cs typeface="+mn-cs"/>
              </a:rPr>
              <a:pPr marL="0" marR="0" lvl="0" indent="0" algn="r" defTabSz="1243442" rtl="0" eaLnBrk="1" fontAlgn="auto" latinLnBrk="0" hangingPunct="1">
                <a:lnSpc>
                  <a:spcPct val="100000"/>
                </a:lnSpc>
                <a:spcBef>
                  <a:spcPts val="0"/>
                </a:spcBef>
                <a:spcAft>
                  <a:spcPts val="0"/>
                </a:spcAft>
                <a:buClrTx/>
                <a:buSzTx/>
                <a:buFontTx/>
                <a:buNone/>
                <a:tabLst/>
                <a:defRPr/>
              </a:pPr>
              <a:t>7</a:t>
            </a:fld>
            <a:endParaRPr kumimoji="0" lang="en-US" sz="1088" b="0" i="0" u="none" strike="noStrike" kern="1200" cap="none" spc="0" normalizeH="0" baseline="0" noProof="0">
              <a:ln>
                <a:noFill/>
              </a:ln>
              <a:solidFill>
                <a:srgbClr val="292929"/>
              </a:solidFill>
              <a:effectLst/>
              <a:uLnTx/>
              <a:uFillTx/>
              <a:latin typeface="Segoe UI"/>
              <a:ea typeface="+mn-ea"/>
              <a:cs typeface="+mn-cs"/>
            </a:endParaRPr>
          </a:p>
        </p:txBody>
      </p:sp>
      <p:sp>
        <p:nvSpPr>
          <p:cNvPr id="4" name="Content Placeholder 3"/>
          <p:cNvSpPr>
            <a:spLocks noGrp="1"/>
          </p:cNvSpPr>
          <p:nvPr>
            <p:ph idx="4294967295"/>
          </p:nvPr>
        </p:nvSpPr>
        <p:spPr>
          <a:xfrm>
            <a:off x="4051092" y="641350"/>
            <a:ext cx="9324975" cy="2855912"/>
          </a:xfrm>
        </p:spPr>
        <p:txBody>
          <a:bodyPr>
            <a:normAutofit lnSpcReduction="10000"/>
          </a:bodyPr>
          <a:lstStyle/>
          <a:p>
            <a:pPr marL="0" indent="0">
              <a:buNone/>
            </a:pPr>
            <a:r>
              <a:rPr lang="en-US" sz="3200" b="1" dirty="0">
                <a:latin typeface="+mj-lt"/>
              </a:rPr>
              <a:t>The four facets of Predictive Maintenance:</a:t>
            </a:r>
          </a:p>
          <a:p>
            <a:r>
              <a:rPr lang="en-US" dirty="0">
                <a:latin typeface="+mj-lt"/>
              </a:rPr>
              <a:t>Detect Failures		</a:t>
            </a:r>
            <a:r>
              <a:rPr lang="en-US" b="1" dirty="0">
                <a:solidFill>
                  <a:srgbClr val="FF0000"/>
                </a:solidFill>
                <a:latin typeface="+mj-lt"/>
              </a:rPr>
              <a:t>Where</a:t>
            </a:r>
            <a:r>
              <a:rPr lang="en-US" dirty="0">
                <a:latin typeface="+mj-lt"/>
              </a:rPr>
              <a:t> are there failures now?</a:t>
            </a:r>
          </a:p>
          <a:p>
            <a:r>
              <a:rPr lang="en-US" dirty="0">
                <a:latin typeface="+mj-lt"/>
              </a:rPr>
              <a:t>Diagnose Failures		</a:t>
            </a:r>
            <a:r>
              <a:rPr lang="en-US" b="1" dirty="0">
                <a:solidFill>
                  <a:srgbClr val="FF0000"/>
                </a:solidFill>
                <a:latin typeface="+mj-lt"/>
              </a:rPr>
              <a:t>What</a:t>
            </a:r>
            <a:r>
              <a:rPr lang="en-US" dirty="0">
                <a:latin typeface="+mj-lt"/>
              </a:rPr>
              <a:t> part(s) are failing?</a:t>
            </a:r>
          </a:p>
          <a:p>
            <a:r>
              <a:rPr lang="en-US" dirty="0">
                <a:latin typeface="+mj-lt"/>
              </a:rPr>
              <a:t>Explain Failures		</a:t>
            </a:r>
            <a:r>
              <a:rPr lang="en-US" b="1" dirty="0">
                <a:solidFill>
                  <a:srgbClr val="FF0000"/>
                </a:solidFill>
                <a:latin typeface="+mj-lt"/>
              </a:rPr>
              <a:t>Why</a:t>
            </a:r>
            <a:r>
              <a:rPr lang="en-US" dirty="0">
                <a:latin typeface="+mj-lt"/>
              </a:rPr>
              <a:t> are they failing?</a:t>
            </a:r>
          </a:p>
          <a:p>
            <a:r>
              <a:rPr lang="en-US" b="1" dirty="0">
                <a:solidFill>
                  <a:srgbClr val="FF0000"/>
                </a:solidFill>
                <a:latin typeface="+mj-lt"/>
              </a:rPr>
              <a:t>Predict</a:t>
            </a:r>
            <a:r>
              <a:rPr lang="en-US" dirty="0">
                <a:latin typeface="+mj-lt"/>
              </a:rPr>
              <a:t> </a:t>
            </a:r>
            <a:r>
              <a:rPr lang="en-US" b="1" dirty="0">
                <a:solidFill>
                  <a:srgbClr val="FF0000"/>
                </a:solidFill>
                <a:latin typeface="+mj-lt"/>
              </a:rPr>
              <a:t>Failures!</a:t>
            </a:r>
            <a:r>
              <a:rPr lang="en-US" dirty="0">
                <a:latin typeface="+mj-lt"/>
              </a:rPr>
              <a:t>		</a:t>
            </a:r>
            <a:r>
              <a:rPr lang="en-US" b="1" dirty="0">
                <a:solidFill>
                  <a:srgbClr val="FF0000"/>
                </a:solidFill>
                <a:latin typeface="+mj-lt"/>
              </a:rPr>
              <a:t>When</a:t>
            </a:r>
            <a:r>
              <a:rPr lang="en-US" dirty="0">
                <a:latin typeface="+mj-lt"/>
              </a:rPr>
              <a:t> will it fail?</a:t>
            </a:r>
          </a:p>
        </p:txBody>
      </p:sp>
      <p:pic>
        <p:nvPicPr>
          <p:cNvPr id="5" name="Picture 4"/>
          <p:cNvPicPr>
            <a:picLocks noChangeAspect="1"/>
          </p:cNvPicPr>
          <p:nvPr/>
        </p:nvPicPr>
        <p:blipFill>
          <a:blip r:embed="rId3"/>
          <a:stretch>
            <a:fillRect/>
          </a:stretch>
        </p:blipFill>
        <p:spPr>
          <a:xfrm>
            <a:off x="881" y="6030835"/>
            <a:ext cx="2080742" cy="932603"/>
          </a:xfrm>
          <a:prstGeom prst="rect">
            <a:avLst/>
          </a:prstGeom>
        </p:spPr>
      </p:pic>
      <p:pic>
        <p:nvPicPr>
          <p:cNvPr id="4098" name="Picture 2" descr="Image result for geolocation">
            <a:extLst>
              <a:ext uri="{FF2B5EF4-FFF2-40B4-BE49-F238E27FC236}">
                <a16:creationId xmlns:a16="http://schemas.microsoft.com/office/drawing/2014/main" id="{2CC4DDE0-DCC6-4FE9-B955-8EE8331F40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934" y="3527312"/>
            <a:ext cx="2720715" cy="165928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machine analytics">
            <a:extLst>
              <a:ext uri="{FF2B5EF4-FFF2-40B4-BE49-F238E27FC236}">
                <a16:creationId xmlns:a16="http://schemas.microsoft.com/office/drawing/2014/main" id="{917EEAAD-E80E-4FA4-AE67-A074199CF8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34525" y="3437836"/>
            <a:ext cx="2901950" cy="1450653"/>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B2E5AC32-84A7-4981-86BC-31564E9A7F78}"/>
              </a:ext>
            </a:extLst>
          </p:cNvPr>
          <p:cNvGrpSpPr/>
          <p:nvPr/>
        </p:nvGrpSpPr>
        <p:grpSpPr>
          <a:xfrm>
            <a:off x="3582649" y="4108761"/>
            <a:ext cx="2635588" cy="1965948"/>
            <a:chOff x="3200400" y="4094589"/>
            <a:chExt cx="2238616" cy="1965948"/>
          </a:xfrm>
        </p:grpSpPr>
        <p:pic>
          <p:nvPicPr>
            <p:cNvPr id="4104" name="Picture 8" descr="Image result for turbine diagram">
              <a:extLst>
                <a:ext uri="{FF2B5EF4-FFF2-40B4-BE49-F238E27FC236}">
                  <a16:creationId xmlns:a16="http://schemas.microsoft.com/office/drawing/2014/main" id="{62166A15-21D3-4EBB-93F5-2BC8AAC76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0400" y="4094589"/>
              <a:ext cx="2238616" cy="1828800"/>
            </a:xfrm>
            <a:prstGeom prst="rect">
              <a:avLst/>
            </a:prstGeom>
            <a:noFill/>
            <a:extLst>
              <a:ext uri="{909E8E84-426E-40DD-AFC4-6F175D3DCCD1}">
                <a14:hiddenFill xmlns:a14="http://schemas.microsoft.com/office/drawing/2010/main">
                  <a:solidFill>
                    <a:srgbClr val="FFFFFF"/>
                  </a:solidFill>
                </a14:hiddenFill>
              </a:ext>
            </a:extLst>
          </p:spPr>
        </p:pic>
        <p:sp>
          <p:nvSpPr>
            <p:cNvPr id="6" name="Multiplication Sign 5">
              <a:extLst>
                <a:ext uri="{FF2B5EF4-FFF2-40B4-BE49-F238E27FC236}">
                  <a16:creationId xmlns:a16="http://schemas.microsoft.com/office/drawing/2014/main" id="{BE97B52F-A04A-4329-B8ED-92FAE98BB5FF}"/>
                </a:ext>
              </a:extLst>
            </p:cNvPr>
            <p:cNvSpPr/>
            <p:nvPr/>
          </p:nvSpPr>
          <p:spPr bwMode="gray">
            <a:xfrm>
              <a:off x="4502577" y="4221957"/>
              <a:ext cx="750094" cy="742950"/>
            </a:xfrm>
            <a:prstGeom prst="mathMultiply">
              <a:avLst/>
            </a:prstGeom>
            <a:solidFill>
              <a:srgbClr val="FF0000">
                <a:alpha val="55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Multiplication Sign 10">
              <a:extLst>
                <a:ext uri="{FF2B5EF4-FFF2-40B4-BE49-F238E27FC236}">
                  <a16:creationId xmlns:a16="http://schemas.microsoft.com/office/drawing/2014/main" id="{49B434CF-78A4-4447-9B4F-CE36075EBF30}"/>
                </a:ext>
              </a:extLst>
            </p:cNvPr>
            <p:cNvSpPr/>
            <p:nvPr/>
          </p:nvSpPr>
          <p:spPr bwMode="gray">
            <a:xfrm>
              <a:off x="3525624" y="5317587"/>
              <a:ext cx="750094" cy="742950"/>
            </a:xfrm>
            <a:prstGeom prst="mathMultiply">
              <a:avLst/>
            </a:prstGeom>
            <a:solidFill>
              <a:srgbClr val="FF0000">
                <a:alpha val="55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pic>
        <p:nvPicPr>
          <p:cNvPr id="4106" name="Picture 10" descr="Image result for machine failure">
            <a:extLst>
              <a:ext uri="{FF2B5EF4-FFF2-40B4-BE49-F238E27FC236}">
                <a16:creationId xmlns:a16="http://schemas.microsoft.com/office/drawing/2014/main" id="{4D318DB3-18A6-425E-9E4B-36F241EEAE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18237" y="4774662"/>
            <a:ext cx="332509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892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4419" y="1118560"/>
            <a:ext cx="3452707" cy="2178050"/>
          </a:xfrm>
        </p:spPr>
        <p:txBody>
          <a:bodyPr>
            <a:normAutofit/>
          </a:bodyPr>
          <a:lstStyle/>
          <a:p>
            <a:r>
              <a:rPr lang="en-US" sz="3600" dirty="0">
                <a:latin typeface="+mj-lt"/>
              </a:rPr>
              <a:t>Predictive Maintenance</a:t>
            </a:r>
            <a:br>
              <a:rPr lang="en-US" sz="3600" dirty="0">
                <a:latin typeface="+mj-lt"/>
              </a:rPr>
            </a:br>
            <a:r>
              <a:rPr lang="en-US" sz="3600" dirty="0">
                <a:latin typeface="+mj-lt"/>
              </a:rPr>
              <a:t>is here now</a:t>
            </a:r>
          </a:p>
        </p:txBody>
      </p:sp>
      <p:sp>
        <p:nvSpPr>
          <p:cNvPr id="3" name="Slide Number Placeholder 2"/>
          <p:cNvSpPr>
            <a:spLocks noGrp="1"/>
          </p:cNvSpPr>
          <p:nvPr>
            <p:ph type="sldNum" sz="quarter" idx="4294967295"/>
          </p:nvPr>
        </p:nvSpPr>
        <p:spPr>
          <a:xfrm>
            <a:off x="9534525" y="6483350"/>
            <a:ext cx="2901950" cy="371475"/>
          </a:xfrm>
        </p:spPr>
        <p:txBody>
          <a:bodyPr/>
          <a:lstStyle/>
          <a:p>
            <a:pPr marL="0" marR="0" lvl="0" indent="0" algn="r" defTabSz="12434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1200" cap="none" spc="0" normalizeH="0" baseline="0" noProof="0">
                <a:ln>
                  <a:noFill/>
                </a:ln>
                <a:solidFill>
                  <a:srgbClr val="292929"/>
                </a:solidFill>
                <a:effectLst/>
                <a:uLnTx/>
                <a:uFillTx/>
                <a:latin typeface="Segoe UI"/>
                <a:ea typeface="+mn-ea"/>
                <a:cs typeface="+mn-cs"/>
              </a:rPr>
              <a:pPr marL="0" marR="0" lvl="0" indent="0" algn="r" defTabSz="1243442" rtl="0" eaLnBrk="1" fontAlgn="auto" latinLnBrk="0" hangingPunct="1">
                <a:lnSpc>
                  <a:spcPct val="100000"/>
                </a:lnSpc>
                <a:spcBef>
                  <a:spcPts val="0"/>
                </a:spcBef>
                <a:spcAft>
                  <a:spcPts val="0"/>
                </a:spcAft>
                <a:buClrTx/>
                <a:buSzTx/>
                <a:buFontTx/>
                <a:buNone/>
                <a:tabLst/>
                <a:defRPr/>
              </a:pPr>
              <a:t>8</a:t>
            </a:fld>
            <a:endParaRPr kumimoji="0" lang="en-US" sz="1088" b="0" i="0" u="none" strike="noStrike" kern="1200" cap="none" spc="0" normalizeH="0" baseline="0" noProof="0">
              <a:ln>
                <a:noFill/>
              </a:ln>
              <a:solidFill>
                <a:srgbClr val="292929"/>
              </a:solidFill>
              <a:effectLst/>
              <a:uLnTx/>
              <a:uFillTx/>
              <a:latin typeface="Segoe UI"/>
              <a:ea typeface="+mn-ea"/>
              <a:cs typeface="+mn-cs"/>
            </a:endParaRPr>
          </a:p>
        </p:txBody>
      </p:sp>
      <p:sp>
        <p:nvSpPr>
          <p:cNvPr id="4" name="Content Placeholder 3"/>
          <p:cNvSpPr>
            <a:spLocks noGrp="1"/>
          </p:cNvSpPr>
          <p:nvPr>
            <p:ph idx="4294967295"/>
          </p:nvPr>
        </p:nvSpPr>
        <p:spPr>
          <a:xfrm>
            <a:off x="4108346" y="734740"/>
            <a:ext cx="9324975" cy="3335338"/>
          </a:xfrm>
        </p:spPr>
        <p:txBody>
          <a:bodyPr>
            <a:normAutofit/>
          </a:bodyPr>
          <a:lstStyle/>
          <a:p>
            <a:r>
              <a:rPr lang="en-US" dirty="0">
                <a:latin typeface="+mj-lt"/>
              </a:rPr>
              <a:t>Did you hear that [grinding, whining, clanking, …] sound?</a:t>
            </a:r>
          </a:p>
          <a:p>
            <a:r>
              <a:rPr lang="en-US" dirty="0">
                <a:latin typeface="+mj-lt"/>
              </a:rPr>
              <a:t>Do you feel that vibration?</a:t>
            </a:r>
          </a:p>
          <a:p>
            <a:r>
              <a:rPr lang="en-US" dirty="0">
                <a:latin typeface="+mj-lt"/>
              </a:rPr>
              <a:t>Does this feel [warm, hot, cold] to you?</a:t>
            </a:r>
          </a:p>
          <a:p>
            <a:r>
              <a:rPr lang="en-US" dirty="0">
                <a:latin typeface="+mj-lt"/>
              </a:rPr>
              <a:t>Check Engine.</a:t>
            </a:r>
          </a:p>
          <a:p>
            <a:r>
              <a:rPr lang="en-US" dirty="0">
                <a:solidFill>
                  <a:srgbClr val="FF0000"/>
                </a:solidFill>
                <a:latin typeface="+mj-lt"/>
              </a:rPr>
              <a:t>Check Engine Now!!</a:t>
            </a:r>
          </a:p>
        </p:txBody>
      </p:sp>
      <p:pic>
        <p:nvPicPr>
          <p:cNvPr id="5" name="Picture 4"/>
          <p:cNvPicPr>
            <a:picLocks noChangeAspect="1"/>
          </p:cNvPicPr>
          <p:nvPr/>
        </p:nvPicPr>
        <p:blipFill>
          <a:blip r:embed="rId3"/>
          <a:stretch>
            <a:fillRect/>
          </a:stretch>
        </p:blipFill>
        <p:spPr>
          <a:xfrm>
            <a:off x="881" y="6030835"/>
            <a:ext cx="2080742" cy="932603"/>
          </a:xfrm>
          <a:prstGeom prst="rect">
            <a:avLst/>
          </a:prstGeom>
        </p:spPr>
      </p:pic>
      <p:pic>
        <p:nvPicPr>
          <p:cNvPr id="6146" name="Picture 2" descr="Image result for strange noise">
            <a:extLst>
              <a:ext uri="{FF2B5EF4-FFF2-40B4-BE49-F238E27FC236}">
                <a16:creationId xmlns:a16="http://schemas.microsoft.com/office/drawing/2014/main" id="{6101F3E4-6ED4-4457-9FAF-6A23E668D2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205" y="4264902"/>
            <a:ext cx="2402066"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Image result for star trek shaking bridge">
            <a:extLst>
              <a:ext uri="{FF2B5EF4-FFF2-40B4-BE49-F238E27FC236}">
                <a16:creationId xmlns:a16="http://schemas.microsoft.com/office/drawing/2014/main" id="{E2924261-55E4-4F88-8149-FFD71DD4AF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3455" y="4264902"/>
            <a:ext cx="2780124"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forward warm fever">
            <a:extLst>
              <a:ext uri="{FF2B5EF4-FFF2-40B4-BE49-F238E27FC236}">
                <a16:creationId xmlns:a16="http://schemas.microsoft.com/office/drawing/2014/main" id="{66FC631F-0853-430D-A3DB-02DEDD4446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8334" y="4264902"/>
            <a:ext cx="2734654"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car breakdown meme">
            <a:extLst>
              <a:ext uri="{FF2B5EF4-FFF2-40B4-BE49-F238E27FC236}">
                <a16:creationId xmlns:a16="http://schemas.microsoft.com/office/drawing/2014/main" id="{5492AE57-0D60-4157-9B79-CAA7FC48FD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07743" y="4264902"/>
            <a:ext cx="182880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3763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5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275351" y="1145576"/>
            <a:ext cx="6021388" cy="4973637"/>
          </a:xfrm>
        </p:spPr>
        <p:txBody>
          <a:bodyPr>
            <a:normAutofit lnSpcReduction="10000"/>
          </a:bodyPr>
          <a:lstStyle/>
          <a:p>
            <a:r>
              <a:rPr lang="en-US" sz="2448" dirty="0">
                <a:solidFill>
                  <a:schemeClr val="bg1">
                    <a:lumMod val="50000"/>
                  </a:schemeClr>
                </a:solidFill>
                <a:latin typeface="+mj-lt"/>
              </a:rPr>
              <a:t>Industry Overview</a:t>
            </a:r>
          </a:p>
          <a:p>
            <a:r>
              <a:rPr lang="en-US" sz="2448" dirty="0">
                <a:solidFill>
                  <a:schemeClr val="bg1">
                    <a:lumMod val="50000"/>
                  </a:schemeClr>
                </a:solidFill>
                <a:latin typeface="+mj-lt"/>
              </a:rPr>
              <a:t>Predictive Maintenance</a:t>
            </a:r>
          </a:p>
          <a:p>
            <a:r>
              <a:rPr lang="en-US" sz="2448" dirty="0">
                <a:latin typeface="+mj-lt"/>
              </a:rPr>
              <a:t>Use Cases</a:t>
            </a:r>
          </a:p>
          <a:p>
            <a:r>
              <a:rPr lang="en-US" sz="2448" dirty="0">
                <a:solidFill>
                  <a:schemeClr val="bg1">
                    <a:lumMod val="50000"/>
                  </a:schemeClr>
                </a:solidFill>
                <a:latin typeface="+mj-lt"/>
              </a:rPr>
              <a:t>Data Foundation</a:t>
            </a:r>
          </a:p>
          <a:p>
            <a:r>
              <a:rPr lang="en-US" sz="2448" dirty="0">
                <a:solidFill>
                  <a:schemeClr val="bg1">
                    <a:lumMod val="50000"/>
                  </a:schemeClr>
                </a:solidFill>
                <a:latin typeface="+mj-lt"/>
              </a:rPr>
              <a:t>Modeling</a:t>
            </a:r>
          </a:p>
          <a:p>
            <a:r>
              <a:rPr lang="en-US" sz="2448" dirty="0">
                <a:solidFill>
                  <a:schemeClr val="bg1">
                    <a:lumMod val="50000"/>
                  </a:schemeClr>
                </a:solidFill>
                <a:latin typeface="+mj-lt"/>
              </a:rPr>
              <a:t>Modeling Example</a:t>
            </a:r>
          </a:p>
          <a:p>
            <a:r>
              <a:rPr lang="en-US" sz="2448" dirty="0">
                <a:solidFill>
                  <a:schemeClr val="bg1">
                    <a:lumMod val="50000"/>
                  </a:schemeClr>
                </a:solidFill>
                <a:latin typeface="+mj-lt"/>
              </a:rPr>
              <a:t>Physics of Failure</a:t>
            </a:r>
          </a:p>
          <a:p>
            <a:r>
              <a:rPr lang="en-US" sz="2448" dirty="0">
                <a:solidFill>
                  <a:schemeClr val="bg1">
                    <a:lumMod val="50000"/>
                  </a:schemeClr>
                </a:solidFill>
                <a:latin typeface="+mj-lt"/>
              </a:rPr>
              <a:t>Key Measurements</a:t>
            </a:r>
          </a:p>
          <a:p>
            <a:r>
              <a:rPr lang="en-US" sz="2448" dirty="0">
                <a:solidFill>
                  <a:schemeClr val="bg1">
                    <a:lumMod val="50000"/>
                  </a:schemeClr>
                </a:solidFill>
                <a:latin typeface="+mj-lt"/>
              </a:rPr>
              <a:t>Intelligence</a:t>
            </a:r>
          </a:p>
        </p:txBody>
      </p:sp>
      <p:sp>
        <p:nvSpPr>
          <p:cNvPr id="10" name="Title 9">
            <a:extLst>
              <a:ext uri="{FF2B5EF4-FFF2-40B4-BE49-F238E27FC236}">
                <a16:creationId xmlns:a16="http://schemas.microsoft.com/office/drawing/2014/main" id="{2953DC60-E31B-439E-9167-D8276865177A}"/>
              </a:ext>
            </a:extLst>
          </p:cNvPr>
          <p:cNvSpPr>
            <a:spLocks noGrp="1"/>
          </p:cNvSpPr>
          <p:nvPr>
            <p:ph type="title" idx="4294967295"/>
          </p:nvPr>
        </p:nvSpPr>
        <p:spPr>
          <a:xfrm>
            <a:off x="538955" y="1243136"/>
            <a:ext cx="2487613" cy="2487612"/>
          </a:xfrm>
        </p:spPr>
        <p:txBody>
          <a:bodyPr>
            <a:normAutofit/>
          </a:bodyPr>
          <a:lstStyle/>
          <a:p>
            <a:r>
              <a:rPr lang="en-US" sz="3600" dirty="0">
                <a:latin typeface="+mj-lt"/>
              </a:rPr>
              <a:t>Contents</a:t>
            </a:r>
          </a:p>
        </p:txBody>
      </p:sp>
      <p:pic>
        <p:nvPicPr>
          <p:cNvPr id="9" name="Picture 8"/>
          <p:cNvPicPr>
            <a:picLocks noChangeAspect="1"/>
          </p:cNvPicPr>
          <p:nvPr/>
        </p:nvPicPr>
        <p:blipFill>
          <a:blip r:embed="rId3"/>
          <a:stretch>
            <a:fillRect/>
          </a:stretch>
        </p:blipFill>
        <p:spPr>
          <a:xfrm>
            <a:off x="881" y="6030835"/>
            <a:ext cx="2080742" cy="932603"/>
          </a:xfrm>
          <a:prstGeom prst="rect">
            <a:avLst/>
          </a:prstGeom>
        </p:spPr>
      </p:pic>
      <p:sp>
        <p:nvSpPr>
          <p:cNvPr id="8" name="Arrow: Right 7">
            <a:extLst>
              <a:ext uri="{FF2B5EF4-FFF2-40B4-BE49-F238E27FC236}">
                <a16:creationId xmlns:a16="http://schemas.microsoft.com/office/drawing/2014/main" id="{91976CC4-84E3-456F-901A-5D87E2B9F754}"/>
              </a:ext>
            </a:extLst>
          </p:cNvPr>
          <p:cNvSpPr/>
          <p:nvPr/>
        </p:nvSpPr>
        <p:spPr bwMode="gray">
          <a:xfrm flipH="1" flipV="1">
            <a:off x="6889750" y="2334542"/>
            <a:ext cx="914400" cy="304800"/>
          </a:xfrm>
          <a:prstGeom prst="rightArrow">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6702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jlQmBBvBUielG7lgwy2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ZjN.RTYOUaWcJppBX7Q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ZjN.RTYOUaWcJppBX7Q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f_O0m3YQEyy8izf9Ig.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6Tl3_nydUiP2hPYCVq1Sw"/>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aYPc7.25EK2i481IBJn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BXjGSWtU6juDDD47Xx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dA2zTK502Q3TPH1Q6n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dA2zTK502Q3TPH1Q6n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BXjGSWtU6juDDD47Xx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BXjGSWtU6juDDD47Xx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i7cy6mufUmuv5_wxp1iHw"/>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_rels/theme17.xml.rels><?xml version="1.0" encoding="UTF-8" standalone="yes"?>
<Relationships xmlns="http://schemas.openxmlformats.org/package/2006/relationships"><Relationship Id="rId1" Type="http://schemas.openxmlformats.org/officeDocument/2006/relationships/image" Target="../media/image56.jpeg"/></Relationships>
</file>

<file path=ppt/theme/theme1.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ppt/theme/theme11.xml><?xml version="1.0" encoding="utf-8"?>
<a:theme xmlns:a="http://schemas.openxmlformats.org/drawingml/2006/main" name="8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WHITE TEMPLAT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0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1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14.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5.xml><?xml version="1.0" encoding="utf-8"?>
<a:theme xmlns:a="http://schemas.openxmlformats.org/drawingml/2006/main" name="MS BRAND DARK BLUE">
  <a:themeElements>
    <a:clrScheme name="MSVID White and Dark Blue">
      <a:dk1>
        <a:srgbClr val="505050"/>
      </a:dk1>
      <a:lt1>
        <a:srgbClr val="FFFFFF"/>
      </a:lt1>
      <a:dk2>
        <a:srgbClr val="002050"/>
      </a:dk2>
      <a:lt2>
        <a:srgbClr val="9BD2FF"/>
      </a:lt2>
      <a:accent1>
        <a:srgbClr val="002050"/>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BRAND DARK BLUE" id="{96BBF511-EF6C-4FEA-BCC5-23E64238F129}" vid="{F7D712EB-3349-4C6D-BF15-45F7CAF32923}"/>
    </a:ext>
  </a:extLst>
</a:theme>
</file>

<file path=ppt/theme/theme16.xml><?xml version="1.0" encoding="utf-8"?>
<a:theme xmlns:a="http://schemas.openxmlformats.org/drawingml/2006/main" name="NS 2014 PowerPoint Theme">
  <a:themeElements>
    <a:clrScheme name="Custom 1">
      <a:dk1>
        <a:sysClr val="windowText" lastClr="000000"/>
      </a:dk1>
      <a:lt1>
        <a:sysClr val="window" lastClr="FFFFFF"/>
      </a:lt1>
      <a:dk2>
        <a:srgbClr val="143055"/>
      </a:dk2>
      <a:lt2>
        <a:srgbClr val="60BAE9"/>
      </a:lt2>
      <a:accent1>
        <a:srgbClr val="004A88"/>
      </a:accent1>
      <a:accent2>
        <a:srgbClr val="F79036"/>
      </a:accent2>
      <a:accent3>
        <a:srgbClr val="A5A5A5"/>
      </a:accent3>
      <a:accent4>
        <a:srgbClr val="CC5F2F"/>
      </a:accent4>
      <a:accent5>
        <a:srgbClr val="60BAE9"/>
      </a:accent5>
      <a:accent6>
        <a:srgbClr val="70AD47"/>
      </a:accent6>
      <a:hlink>
        <a:srgbClr val="F79036"/>
      </a:hlink>
      <a:folHlink>
        <a:srgbClr val="CC5F2F"/>
      </a:folHlink>
    </a:clrScheme>
    <a:fontScheme name="Segoe Pro">
      <a:majorFont>
        <a:latin typeface="Segoe Pro"/>
        <a:ea typeface=""/>
        <a:cs typeface=""/>
      </a:majorFont>
      <a:minorFont>
        <a:latin typeface="Segoe Pro"/>
        <a:ea typeface=""/>
        <a:cs typeface=""/>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 2014 PowerPoint Theme" id="{CD2DB8EB-4FCF-452F-8295-7B704F853DDA}" vid="{4CDFB939-79CF-475E-B4F8-F4D426C5372C}"/>
    </a:ext>
  </a:extLst>
</a:theme>
</file>

<file path=ppt/theme/theme17.xml><?xml version="1.0" encoding="utf-8"?>
<a:theme xmlns:a="http://schemas.openxmlformats.org/drawingml/2006/main" name="Circuit">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Light"/>
        <a:ea typeface=""/>
        <a:cs typeface=""/>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4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5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
          <a:solidFill>
            <a:schemeClr val="bg1">
              <a:lumMod val="75000"/>
            </a:schemeClr>
          </a:solidFill>
          <a:headEnd type="none" w="med" len="med"/>
          <a:tailEnd type="none" w="med" len="med"/>
        </a:ln>
        <a:effectLst/>
      </a:spPr>
      <a:bodyPr rtlCol="0" anchor="ctr"/>
      <a:lstStyle>
        <a:defPPr algn="ctr">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6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3175">
          <a:noFill/>
          <a:headEnd type="none" w="med" len="med"/>
          <a:tailEnd type="none" w="med" len="med"/>
        </a:ln>
        <a:effectLst/>
      </a:spPr>
      <a:bodyPr rtlCol="0" anchor="ctr"/>
      <a:lstStyle>
        <a:defPPr algn="ctr">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Custom 3">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7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G01KC-99682991-18566</_dlc_DocId>
    <_dlc_DocIdUrl xmlns="230e9df3-be65-4c73-a93b-d1236ebd677e">
      <Url>https://microsoft.sharepoint.com/sites/Infopedia_G01KC/_layouts/15/DocIdRedir.aspx?ID=G01KC-99682991-18566</Url>
      <Description>G01KC-99682991-18566</Description>
    </_dlc_DocIdUrl>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SMSG Solution Framework</TermName>
          <TermId xmlns="http://schemas.microsoft.com/office/infopath/2007/PartnerControls">a00353a3-6a39-44d1-9b3a-5c1ce0c4245c</TermId>
        </TermInfo>
      </Terms>
    </i1b478372f814787abd313030b81fcb2>
    <ef109fd36bcf4bcd9dd945731030600b xmlns="230e9df3-be65-4c73-a93b-d1236ebd677e">
      <Terms xmlns="http://schemas.microsoft.com/office/infopath/2007/PartnerControls"/>
    </ef109fd36bcf4bcd9dd945731030600b>
    <DocumentDescription xmlns="230e9df3-be65-4c73-a93b-d1236ebd677e">This deck details the Predictive Maintenance scenario for a BDM. It provides a visual walk-thru of the holistic nature of what Predictive Maintenance using Microsoft as your platform can provide.</DocumentDescription>
    <ReportOwner xmlns="http://schemas.microsoft.com/sharepoint/v3">
      <UserInfo>
        <DisplayName/>
        <AccountId xsi:nil="true"/>
        <AccountType/>
      </UserInfo>
    </ReportOwner>
    <k21a64daf20d4502b2796a1c6b8ce6c8 xmlns="230e9df3-be65-4c73-a93b-d1236ebd677e">
      <Terms xmlns="http://schemas.microsoft.com/office/infopath/2007/PartnerControls">
        <TermInfo xmlns="http://schemas.microsoft.com/office/infopath/2007/PartnerControls">
          <TermName xmlns="http://schemas.microsoft.com/office/infopath/2007/PartnerControls">government industry</TermName>
          <TermId xmlns="http://schemas.microsoft.com/office/infopath/2007/PartnerControls">0a090a42-8fcf-4c58-8d4f-10b57a9eafc0</TermId>
        </TermInfo>
        <TermInfo xmlns="http://schemas.microsoft.com/office/infopath/2007/PartnerControls">
          <TermName xmlns="http://schemas.microsoft.com/office/infopath/2007/PartnerControls">manufacturing and resources sector</TermName>
          <TermId xmlns="http://schemas.microsoft.com/office/infopath/2007/PartnerControls">868ab31c-08df-4f88-9150-9f7feacdc972</TermId>
        </TermInfo>
        <TermInfo xmlns="http://schemas.microsoft.com/office/infopath/2007/PartnerControls">
          <TermName xmlns="http://schemas.microsoft.com/office/infopath/2007/PartnerControls">retail and consumer goods industry</TermName>
          <TermId xmlns="http://schemas.microsoft.com/office/infopath/2007/PartnerControls">27afda12-6108-4c32-ad35-0d5fe4178a48</TermId>
        </TermInfo>
        <TermInfo xmlns="http://schemas.microsoft.com/office/infopath/2007/PartnerControls">
          <TermName xmlns="http://schemas.microsoft.com/office/infopath/2007/PartnerControls">financial services sector</TermName>
          <TermId xmlns="http://schemas.microsoft.com/office/infopath/2007/PartnerControls">b538d45a-5f3b-4c47-9c69-37273fafe895</TermId>
        </TermInfo>
        <TermInfo xmlns="http://schemas.microsoft.com/office/infopath/2007/PartnerControls">
          <TermName xmlns="http://schemas.microsoft.com/office/infopath/2007/PartnerControls">industries</TermName>
          <TermId xmlns="http://schemas.microsoft.com/office/infopath/2007/PartnerControls">3e19349d-0f97-4bdd-98f7-34f9b5ced943</TermId>
        </TermInfo>
        <TermInfo xmlns="http://schemas.microsoft.com/office/infopath/2007/PartnerControls">
          <TermName xmlns="http://schemas.microsoft.com/office/infopath/2007/PartnerControls">discrete manufacturing industry</TermName>
          <TermId xmlns="http://schemas.microsoft.com/office/infopath/2007/PartnerControls">849cc5cd-9e2e-43b0-bb40-7dfe9bc975a9</TermId>
        </TermInfo>
        <TermInfo xmlns="http://schemas.microsoft.com/office/infopath/2007/PartnerControls">
          <TermName xmlns="http://schemas.microsoft.com/office/infopath/2007/PartnerControls">banking and capital markets industry</TermName>
          <TermId xmlns="http://schemas.microsoft.com/office/infopath/2007/PartnerControls">d0dd4449-7982-4555-91de-85c77bb38cdb</TermId>
        </TermInfo>
        <TermInfo xmlns="http://schemas.microsoft.com/office/infopath/2007/PartnerControls">
          <TermName xmlns="http://schemas.microsoft.com/office/infopath/2007/PartnerControls">hospitality and travel industry</TermName>
          <TermId xmlns="http://schemas.microsoft.com/office/infopath/2007/PartnerControls">840bec97-0923-4d55-9041-af1e38d5ce6b</TermId>
        </TermInfo>
      </Terms>
    </k21a64daf20d4502b2796a1c6b8ce6c8>
    <Coowner xmlns="230e9df3-be65-4c73-a93b-d1236ebd677e">
      <UserInfo>
        <DisplayName>i:0#.f|membership|v-caicha@microsoft.com</DisplayName>
        <AccountId>637</AccountId>
        <AccountType/>
      </UserInfo>
      <UserInfo>
        <DisplayName>i:0#.f|membership|v-anmarv@microsoft.com</DisplayName>
        <AccountId>45</AccountId>
        <AccountType/>
      </UserInfo>
    </Coowner>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Update_x0020_Parent_x0020_Child_x0020_Relation_x0028_1_x0029_0 xmlns="b3bc04a5-d503-43b1-b98c-a8cf663329d9">
      <Url xsi:nil="true"/>
      <Description xsi:nil="true"/>
    </Update_x0020_Parent_x0020_Child_x0020_Relation_x0028_1_x0029_0>
    <Thumbnail1 xmlns="230e9df3-be65-4c73-a93b-d1236ebd677e">
      <Url xsi:nil="true"/>
      <Description xsi:nil="true"/>
    </Thumbnail1>
    <TaxKeywordTaxHTField xmlns="230e9df3-be65-4c73-a93b-d1236ebd677e">
      <Terms xmlns="http://schemas.microsoft.com/office/infopath/2007/PartnerControls"/>
    </TaxKeywordTaxHTField>
    <PublishDate xmlns="230E9DF3-BE65-4C73-A93B-D1236EBD677E">2017-01-03T08:00:00+00:00</PublishDate>
    <ContentID xmlns="230e9df3-be65-4c73-a93b-d1236ebd677e" xsi:nil="true"/>
    <b4224c12c78d42ea9b214de0badf8358 xmlns="230e9df3-be65-4c73-a93b-d1236ebd677e">
      <Terms xmlns="http://schemas.microsoft.com/office/infopath/2007/PartnerControls"/>
    </b4224c12c78d42ea9b214de0badf8358>
    <GenericText2 xmlns="230e9df3-be65-4c73-a93b-d1236ebd677e" xsi:nil="true"/>
    <Owner xmlns="230e9df3-be65-4c73-a93b-d1236ebd677e">
      <UserInfo>
        <DisplayName>Ann Bachrach</DisplayName>
        <AccountId>125</AccountId>
        <AccountType/>
      </UserInfo>
    </Owner>
    <k20e0dfa74bf4e44818db03027b0ccd8 xmlns="230e9df3-be65-4c73-a93b-d1236ebd677e">
      <Terms xmlns="http://schemas.microsoft.com/office/infopath/2007/PartnerControls"/>
    </k20e0dfa74bf4e44818db03027b0ccd8>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Solutions Domain</TermName>
          <TermId xmlns="http://schemas.microsoft.com/office/infopath/2007/PartnerControls">b6a4eb8e-9bd7-49bd-b562-5f155e53683b</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s>
    </eb54ac91059940029a3cc8a4ff5af673>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GenericHTML1 xmlns="230e9df3-be65-4c73-a93b-d1236ebd677e" xsi:nil="true"/>
    <mb88723863e1404388ba3733387d48df xmlns="230e9df3-be65-4c73-a93b-d1236ebd677e">
      <Terms xmlns="http://schemas.microsoft.com/office/infopath/2007/PartnerControls">
        <TermInfo xmlns="http://schemas.microsoft.com/office/infopath/2007/PartnerControls">
          <TermName xmlns="http://schemas.microsoft.com/office/infopath/2007/PartnerControls">business decision makers</TermName>
          <TermId xmlns="http://schemas.microsoft.com/office/infopath/2007/PartnerControls">c5581652-6887-44c0-9e7e-d38ca54728bd</TermId>
        </TermInfo>
      </Terms>
    </mb88723863e1404388ba3733387d48df>
    <od9986d31974458fb3007746ec0bce5f xmlns="230e9df3-be65-4c73-a93b-d1236ebd677e">
      <Terms xmlns="http://schemas.microsoft.com/office/infopath/2007/PartnerControls"/>
    </od9986d31974458fb3007746ec0bce5f>
    <kf34bcdc8fc34e479d3f94c6210e8e27 xmlns="230e9df3-be65-4c73-a93b-d1236ebd677e">
      <Terms xmlns="http://schemas.microsoft.com/office/infopath/2007/PartnerControls"/>
    </kf34bcdc8fc34e479d3f94c6210e8e27>
    <bf80e81150e248c48aa8cffdf0021a1f xmlns="230e9df3-be65-4c73-a93b-d1236ebd677e">
      <Terms xmlns="http://schemas.microsoft.com/office/infopath/2007/PartnerControls"/>
    </bf80e81150e248c48aa8cffdf0021a1f>
    <ApplyWorkflowRules xmlns="230E9DF3-BE65-4C73-A93B-D1236EBD677E" xsi:nil="true"/>
    <TaxCatchAll xmlns="230e9df3-be65-4c73-a93b-d1236ebd677e">
      <Value>110</Value>
      <Value>1108</Value>
      <Value>34</Value>
      <Value>216</Value>
      <Value>1768</Value>
      <Value>138</Value>
      <Value>137</Value>
      <Value>902</Value>
      <Value>21</Value>
      <Value>1870</Value>
      <Value>351</Value>
      <Value>126</Value>
      <Value>14</Value>
      <Value>49</Value>
      <Value>565</Value>
      <Value>42</Value>
      <Value>77</Value>
      <Value>37</Value>
    </TaxCatchAll>
    <m6c7b4717b6346e6a075a59dd47eac69 xmlns="230e9df3-be65-4c73-a93b-d1236ebd677e">
      <Terms xmlns="http://schemas.microsoft.com/office/infopath/2007/PartnerControls"/>
    </m6c7b4717b6346e6a075a59dd47eac69>
    <m6d26e40ac264097a006193f92232ece xmlns="230e9df3-be65-4c73-a93b-d1236ebd677e">
      <Terms xmlns="http://schemas.microsoft.com/office/infopath/2007/PartnerControls"/>
    </m6d26e40ac264097a006193f92232ece>
    <Blog_x0020_Name xmlns="230e9df3-be65-4c73-a93b-d1236ebd677e" xsi:nil="true"/>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Industry Priority Solution Areas</TermName>
          <TermId xmlns="http://schemas.microsoft.com/office/infopath/2007/PartnerControls">da519620-339e-4f67-a536-a8e3db635296</TermId>
        </TermInfo>
      </Terms>
    </i0d941ee1e744ffea7aeee9924c91cbb>
    <ec5b2ad5c27b45fb8a00a1f27c7ce1ae xmlns="230e9df3-be65-4c73-a93b-d1236ebd677e">
      <Terms xmlns="http://schemas.microsoft.com/office/infopath/2007/PartnerControls"/>
    </ec5b2ad5c27b45fb8a00a1f27c7ce1ae>
    <PublishingExpirationDate xmlns="http://schemas.microsoft.com/sharepoint/v3" xsi:nil="true"/>
    <b60f8d2dbb984f349d80d8196897f4d3 xmlns="230e9df3-be65-4c73-a93b-d1236ebd677e">
      <Terms xmlns="http://schemas.microsoft.com/office/infopath/2007/PartnerControls"/>
    </b60f8d2dbb984f349d80d8196897f4d3>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_ip_UnifiedCompliancePolicyUIAction xmlns="http://schemas.microsoft.com/sharepoint/v3" xsi:nil="true"/>
    <RatingCount xmlns="http://schemas.microsoft.com/sharepoint/v3" xsi:nil="true"/>
    <_ip_UnifiedCompliancePolicyProperties xmlns="http://schemas.microsoft.com/sharepoint/v3" xsi:nil="true"/>
    <RoutingRuleDescription xmlns="http://schemas.microsoft.com/sharepoint/v3" xsi:nil="true"/>
    <AverageRating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c3140e8de396127a527fddea180df23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53a36cabd23756bf831f266553a9966c"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2478d1b8-79bf-461f-b8e8-704d21601f1a"/>
    <ds:schemaRef ds:uri="b3bc04a5-d503-43b1-b98c-a8cf663329d9"/>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A7BDE20F-2AF2-4715-9432-41E171C26B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578253-8863-4A45-99FC-4CCB78AA669D}">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20</TotalTime>
  <Words>2379</Words>
  <Application>Microsoft Office PowerPoint</Application>
  <PresentationFormat>Custom</PresentationFormat>
  <Paragraphs>391</Paragraphs>
  <Slides>33</Slides>
  <Notes>33</Notes>
  <HiddenSlides>0</HiddenSlides>
  <MMClips>0</MMClips>
  <ScaleCrop>false</ScaleCrop>
  <HeadingPairs>
    <vt:vector size="8" baseType="variant">
      <vt:variant>
        <vt:lpstr>Fonts Used</vt:lpstr>
      </vt:variant>
      <vt:variant>
        <vt:i4>14</vt:i4>
      </vt:variant>
      <vt:variant>
        <vt:lpstr>Theme</vt:lpstr>
      </vt:variant>
      <vt:variant>
        <vt:i4>17</vt:i4>
      </vt:variant>
      <vt:variant>
        <vt:lpstr>Embedded OLE Servers</vt:lpstr>
      </vt:variant>
      <vt:variant>
        <vt:i4>1</vt:i4>
      </vt:variant>
      <vt:variant>
        <vt:lpstr>Slide Titles</vt:lpstr>
      </vt:variant>
      <vt:variant>
        <vt:i4>33</vt:i4>
      </vt:variant>
    </vt:vector>
  </HeadingPairs>
  <TitlesOfParts>
    <vt:vector size="65" baseType="lpstr">
      <vt:lpstr>ＭＳ Ｐゴシック</vt:lpstr>
      <vt:lpstr>Arial</vt:lpstr>
      <vt:lpstr>Calibri</vt:lpstr>
      <vt:lpstr>Consolas</vt:lpstr>
      <vt:lpstr>Segoe Light</vt:lpstr>
      <vt:lpstr>Segoe Pro</vt:lpstr>
      <vt:lpstr>Segoe Pro Light</vt:lpstr>
      <vt:lpstr>Segoe UI</vt:lpstr>
      <vt:lpstr>Segoe UI Light</vt:lpstr>
      <vt:lpstr>Segoe UI Semibold</vt:lpstr>
      <vt:lpstr>Segoe UI Semilight</vt:lpstr>
      <vt:lpstr>Trebuchet MS</vt:lpstr>
      <vt:lpstr>Verdana</vt:lpstr>
      <vt:lpstr>Wingdings</vt:lpstr>
      <vt:lpstr>1_C+E Deck</vt:lpstr>
      <vt:lpstr>Server and Cloud 2013</vt:lpstr>
      <vt:lpstr>4_Server and Cloud 2013</vt:lpstr>
      <vt:lpstr>5_Server and Cloud 2013</vt:lpstr>
      <vt:lpstr>6_Server and Cloud 2013</vt:lpstr>
      <vt:lpstr>3_Server and Cloud 2013</vt:lpstr>
      <vt:lpstr>1_Server and Cloud 2013</vt:lpstr>
      <vt:lpstr>2_Server and Cloud 2013</vt:lpstr>
      <vt:lpstr>7_Server and Cloud 2013</vt:lpstr>
      <vt:lpstr>FY17 EMPOWER Campaign Theme</vt:lpstr>
      <vt:lpstr>8_Server and Cloud 2013</vt:lpstr>
      <vt:lpstr>WHITE TEMPLATE</vt:lpstr>
      <vt:lpstr>5-30659_Machine_Learning_Data_Science_Conference_Spring_2015_Template</vt:lpstr>
      <vt:lpstr>SDM PPT Template</vt:lpstr>
      <vt:lpstr>MS BRAND DARK BLUE</vt:lpstr>
      <vt:lpstr>NS 2014 PowerPoint Theme</vt:lpstr>
      <vt:lpstr>Circuit</vt:lpstr>
      <vt:lpstr>think-cell Slide</vt:lpstr>
      <vt:lpstr>PowerPoint Presentation</vt:lpstr>
      <vt:lpstr>Contents</vt:lpstr>
      <vt:lpstr>PowerPoint Presentation</vt:lpstr>
      <vt:lpstr>PowerPoint Presentation</vt:lpstr>
      <vt:lpstr>Realizing vision for iot</vt:lpstr>
      <vt:lpstr>Contents</vt:lpstr>
      <vt:lpstr>Predictive Maintenance</vt:lpstr>
      <vt:lpstr>Predictive Maintenance is here now</vt:lpstr>
      <vt:lpstr>Contents</vt:lpstr>
      <vt:lpstr>Predictive Maintenance Use Cases</vt:lpstr>
      <vt:lpstr>PowerPoint Presentation</vt:lpstr>
      <vt:lpstr>PowerPoint Presentation</vt:lpstr>
      <vt:lpstr>PREDICTIVE MAINTENANCE FRAMEWORK IN CONTEXT</vt:lpstr>
      <vt:lpstr>The raw materials of Data Science</vt:lpstr>
      <vt:lpstr>Data Sources</vt:lpstr>
      <vt:lpstr>Contents</vt:lpstr>
      <vt:lpstr>Machine Learning is Human Guided</vt:lpstr>
      <vt:lpstr>Modeling Problems</vt:lpstr>
      <vt:lpstr>Contents</vt:lpstr>
      <vt:lpstr>PowerPoint Presentation</vt:lpstr>
      <vt:lpstr>PowerPoint Presentation</vt:lpstr>
      <vt:lpstr>PowerPoint Presentation</vt:lpstr>
      <vt:lpstr>PowerPoint Presentation</vt:lpstr>
      <vt:lpstr>PowerPoint Presentation</vt:lpstr>
      <vt:lpstr>Contents</vt:lpstr>
      <vt:lpstr>Physics of Failure</vt:lpstr>
      <vt:lpstr>Contents</vt:lpstr>
      <vt:lpstr>What to measure?</vt:lpstr>
      <vt:lpstr>PowerPoint Presentation</vt:lpstr>
      <vt:lpstr>PowerPoint Presentation</vt:lpstr>
      <vt:lpstr>Contents</vt:lpstr>
      <vt:lpstr>The components of an intelligent syste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BD - Fasteners ADS workshop</dc:title>
  <dc:creator>Keith Duggar</dc:creator>
  <cp:lastModifiedBy>Nadia Hernandez-Quan</cp:lastModifiedBy>
  <cp:revision>50</cp:revision>
  <dcterms:modified xsi:type="dcterms:W3CDTF">2018-04-20T14:2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of67e5d4b76f4a9db8769983fda9cec0">
    <vt:lpwstr/>
  </property>
  <property fmtid="{D5CDD505-2E9C-101B-9397-08002B2CF9AE}" pid="7" name="TaxKeyword">
    <vt:lpwstr/>
  </property>
  <property fmtid="{D5CDD505-2E9C-101B-9397-08002B2CF9AE}" pid="8" name="NewsType">
    <vt:lpwstr/>
  </property>
  <property fmtid="{D5CDD505-2E9C-101B-9397-08002B2CF9AE}" pid="9" name="_dlc_policyId">
    <vt:lpwstr/>
  </property>
  <property fmtid="{D5CDD505-2E9C-101B-9397-08002B2CF9AE}" pid="10" name="Region">
    <vt:lpwstr/>
  </property>
  <property fmtid="{D5CDD505-2E9C-101B-9397-08002B2CF9AE}" pid="11" name="Confidentiality">
    <vt:lpwstr>14;#customer ready|8986c41d-21c5-4f8f-8a12-ea4625b46858</vt:lpwstr>
  </property>
  <property fmtid="{D5CDD505-2E9C-101B-9397-08002B2CF9AE}" pid="12" name="ItemType">
    <vt:lpwstr>351;#feedback requests|00ce1828-98a3-430e-af54-eda270e1be04</vt:lpwstr>
  </property>
  <property fmtid="{D5CDD505-2E9C-101B-9397-08002B2CF9AE}" pid="13" name="ga0c0bf70a6644469c61b3efa7025301">
    <vt:lpwstr/>
  </property>
  <property fmtid="{D5CDD505-2E9C-101B-9397-08002B2CF9AE}" pid="14" name="Industries">
    <vt:lpwstr>49;#government industry|0a090a42-8fcf-4c58-8d4f-10b57a9eafc0;#77;#manufacturing and resources sector|868ab31c-08df-4f88-9150-9f7feacdc972;#137;#retail and consumer goods industry|27afda12-6108-4c32-ad35-0d5fe4178a48;#110;#financial services sector|b538d45</vt:lpwstr>
  </property>
  <property fmtid="{D5CDD505-2E9C-101B-9397-08002B2CF9AE}" pid="15" name="MSProducts">
    <vt:lpwstr/>
  </property>
  <property fmtid="{D5CDD505-2E9C-101B-9397-08002B2CF9AE}" pid="16" name="Competitors">
    <vt:lpwstr/>
  </property>
  <property fmtid="{D5CDD505-2E9C-101B-9397-08002B2CF9AE}" pid="17" name="SMSGDomain">
    <vt:lpwstr>21;#Cloud and Enterprise|adc2fe87-c79a-4ded-a449-3f86b954069d;#1870;#Solutions Domain|b6a4eb8e-9bd7-49bd-b562-5f155e53683b;#37;#Sales, Marketing, Services Group|ecda8836-afa0-40aa-878e-630e18c8fc5c</vt:lpwstr>
  </property>
  <property fmtid="{D5CDD505-2E9C-101B-9397-08002B2CF9AE}" pid="18" name="ExperienceContentType">
    <vt:lpwstr/>
  </property>
  <property fmtid="{D5CDD505-2E9C-101B-9397-08002B2CF9AE}" pid="19" name="BusinessArchitecture">
    <vt:lpwstr>1108;#Industry Priority Solution Areas|da519620-339e-4f67-a536-a8e3db635296</vt:lpwstr>
  </property>
  <property fmtid="{D5CDD505-2E9C-101B-9397-08002B2CF9AE}" pid="20" name="Products">
    <vt:lpwstr/>
  </property>
  <property fmtid="{D5CDD505-2E9C-101B-9397-08002B2CF9AE}" pid="21" name="l6f004f21209409da86a713c0f24627d">
    <vt:lpwstr/>
  </property>
  <property fmtid="{D5CDD505-2E9C-101B-9397-08002B2CF9AE}" pid="22" name="Topics">
    <vt:lpwstr/>
  </property>
  <property fmtid="{D5CDD505-2E9C-101B-9397-08002B2CF9AE}" pid="23" name="Groups">
    <vt:lpwstr>42;#Cloud and Enterprise Marketing Group|4f75e184-e5aa-4234-a07f-b032d60df254;#34;#Worldwide Readiness|c6595b84-b463-470a-bb46-2a47364645be</vt:lpwstr>
  </property>
  <property fmtid="{D5CDD505-2E9C-101B-9397-08002B2CF9AE}" pid="24" name="MSProductsTaxHTField0">
    <vt:lpwstr/>
  </property>
  <property fmtid="{D5CDD505-2E9C-101B-9397-08002B2CF9AE}" pid="25" name="_docset_NoMedatataSyncRequired">
    <vt:lpwstr>False</vt:lpwstr>
  </property>
  <property fmtid="{D5CDD505-2E9C-101B-9397-08002B2CF9AE}" pid="26" name="Languages">
    <vt:lpwstr/>
  </property>
  <property fmtid="{D5CDD505-2E9C-101B-9397-08002B2CF9AE}" pid="27" name="e8080b0481964c759b2c36ae49591b31">
    <vt:lpwstr/>
  </property>
  <property fmtid="{D5CDD505-2E9C-101B-9397-08002B2CF9AE}" pid="28" name="TechnicalLevel">
    <vt:lpwstr/>
  </property>
  <property fmtid="{D5CDD505-2E9C-101B-9397-08002B2CF9AE}" pid="29" name="Audiences">
    <vt:lpwstr>1768;#business decision makers|c5581652-6887-44c0-9e7e-d38ca54728bd</vt:lpwstr>
  </property>
  <property fmtid="{D5CDD505-2E9C-101B-9397-08002B2CF9AE}" pid="30" name="ldac8aee9d1f469e8cd8c3f8d6a615f2">
    <vt:lpwstr/>
  </property>
  <property fmtid="{D5CDD505-2E9C-101B-9397-08002B2CF9AE}" pid="31" name="EmployeeRole">
    <vt:lpwstr/>
  </property>
  <property fmtid="{D5CDD505-2E9C-101B-9397-08002B2CF9AE}" pid="32" name="NewsTopic">
    <vt:lpwstr/>
  </property>
  <property fmtid="{D5CDD505-2E9C-101B-9397-08002B2CF9AE}" pid="33" name="Roles">
    <vt:lpwstr/>
  </property>
  <property fmtid="{D5CDD505-2E9C-101B-9397-08002B2CF9AE}" pid="34" name="ItemRetentionFormula">
    <vt:lpwstr/>
  </property>
  <property fmtid="{D5CDD505-2E9C-101B-9397-08002B2CF9AE}" pid="35" name="NewsSource">
    <vt:lpwstr/>
  </property>
  <property fmtid="{D5CDD505-2E9C-101B-9397-08002B2CF9AE}" pid="36" name="SMSGTags">
    <vt:lpwstr/>
  </property>
  <property fmtid="{D5CDD505-2E9C-101B-9397-08002B2CF9AE}" pid="37" name="_dlc_DocIdItemGuid">
    <vt:lpwstr>680e4765-a21a-46f8-874b-d9b7fb355e60</vt:lpwstr>
  </property>
  <property fmtid="{D5CDD505-2E9C-101B-9397-08002B2CF9AE}" pid="38" name="MSPhysicalGeography">
    <vt:lpwstr/>
  </property>
  <property fmtid="{D5CDD505-2E9C-101B-9397-08002B2CF9AE}" pid="39" name="j3562c58ee414e028925bc902cfc01a1">
    <vt:lpwstr/>
  </property>
  <property fmtid="{D5CDD505-2E9C-101B-9397-08002B2CF9AE}" pid="40" name="EnterpriseDomainTags">
    <vt:lpwstr/>
  </property>
  <property fmtid="{D5CDD505-2E9C-101B-9397-08002B2CF9AE}" pid="41" name="ActivitiesAndPrograms">
    <vt:lpwstr>565;#SMSG Solution Framework|a00353a3-6a39-44d1-9b3a-5c1ce0c4245c</vt:lpwstr>
  </property>
  <property fmtid="{D5CDD505-2E9C-101B-9397-08002B2CF9AE}" pid="42" name="Segments">
    <vt:lpwstr/>
  </property>
  <property fmtid="{D5CDD505-2E9C-101B-9397-08002B2CF9AE}" pid="43" name="Partners">
    <vt:lpwstr/>
  </property>
  <property fmtid="{D5CDD505-2E9C-101B-9397-08002B2CF9AE}" pid="44" name="la4444b61d19467597d63190b69ac227">
    <vt:lpwstr/>
  </property>
  <property fmtid="{D5CDD505-2E9C-101B-9397-08002B2CF9AE}" pid="45" name="i1b478372f814787abd313030b81fcb2">
    <vt:lpwstr>SMSG Solution Framework|a00353a3-6a39-44d1-9b3a-5c1ce0c4245c</vt:lpwstr>
  </property>
  <property fmtid="{D5CDD505-2E9C-101B-9397-08002B2CF9AE}" pid="46" name="DocumentDescription">
    <vt:lpwstr>This deck details the Predictive Maintenance scenario for a BDM. It provides a visual walk-thru of the holistic nature of what Predictive Maintenance using Microsoft as your platform can provide.</vt:lpwstr>
  </property>
  <property fmtid="{D5CDD505-2E9C-101B-9397-08002B2CF9AE}" pid="47" name="ReportOwner">
    <vt:lpwstr/>
  </property>
  <property fmtid="{D5CDD505-2E9C-101B-9397-08002B2CF9AE}" pid="48" name="k21a64daf20d4502b2796a1c6b8ce6c8">
    <vt:lpwstr>government industry|0a090a42-8fcf-4c58-8d4f-10b57a9eafc0;manufacturing and resources sector|868ab31c-08df-4f88-9150-9f7feacdc972;retail and consumer goods industry|27afda12-6108-4c32-ad35-0d5fe4178a48;financial services sector|b538d45a-5f3b-4c47-9c69-3727</vt:lpwstr>
  </property>
  <property fmtid="{D5CDD505-2E9C-101B-9397-08002B2CF9AE}" pid="49" name="Coowner">
    <vt:lpwstr>637;#i:0#.f|membership|v-caicha@microsoft.com;#45;#i:0#.f|membership|v-anmarv@microsoft.com</vt:lpwstr>
  </property>
  <property fmtid="{D5CDD505-2E9C-101B-9397-08002B2CF9AE}" pid="50" name="hd9637eefc984b85b6097c6374e15725">
    <vt:lpwstr>feedback requests|00ce1828-98a3-430e-af54-eda270e1be04</vt:lpwstr>
  </property>
  <property fmtid="{D5CDD505-2E9C-101B-9397-08002B2CF9AE}" pid="51" name="Update Parent Child Relation(1)0">
    <vt:lpwstr>, </vt:lpwstr>
  </property>
  <property fmtid="{D5CDD505-2E9C-101B-9397-08002B2CF9AE}" pid="52" name="Thumbnail1">
    <vt:lpwstr>, </vt:lpwstr>
  </property>
  <property fmtid="{D5CDD505-2E9C-101B-9397-08002B2CF9AE}" pid="53" name="PublishDate">
    <vt:filetime>2016-10-26T07:00:00Z</vt:filetime>
  </property>
  <property fmtid="{D5CDD505-2E9C-101B-9397-08002B2CF9AE}" pid="54" name="Owner">
    <vt:lpwstr>125</vt:lpwstr>
  </property>
  <property fmtid="{D5CDD505-2E9C-101B-9397-08002B2CF9AE}" pid="55" name="ConfidentialityTaxHTField0">
    <vt:lpwstr>customer ready|8986c41d-21c5-4f8f-8a12-ea4625b46858</vt:lpwstr>
  </property>
  <property fmtid="{D5CDD505-2E9C-101B-9397-08002B2CF9AE}" pid="56" name="eb54ac91059940029a3cc8a4ff5af673">
    <vt:lpwstr>Cloud and Enterprise|adc2fe87-c79a-4ded-a449-3f86b954069d;Solutions Domain|b6a4eb8e-9bd7-49bd-b562-5f155e53683b;Sales, Marketing, Services Group|ecda8836-afa0-40aa-878e-630e18c8fc5c</vt:lpwstr>
  </property>
  <property fmtid="{D5CDD505-2E9C-101B-9397-08002B2CF9AE}" pid="57" name="l3c3ea61849e4288a8acc49bb5388e8c">
    <vt:lpwstr>Cloud and Enterprise Marketing Group|4f75e184-e5aa-4234-a07f-b032d60df254;Worldwide Readiness|c6595b84-b463-470a-bb46-2a47364645be</vt:lpwstr>
  </property>
  <property fmtid="{D5CDD505-2E9C-101B-9397-08002B2CF9AE}" pid="58" name="mb88723863e1404388ba3733387d48df">
    <vt:lpwstr>business decision makers|c5581652-6887-44c0-9e7e-d38ca54728bd</vt:lpwstr>
  </property>
  <property fmtid="{D5CDD505-2E9C-101B-9397-08002B2CF9AE}" pid="59" name="TaxCatchAll">
    <vt:lpwstr>110;#financial services sector|b538d45a-5f3b-4c47-9c69-37273fafe895;#1108;#Industry Priority Solution Areas|da519620-339e-4f67-a536-a8e3db635296;#34;#Worldwide Readiness|c6595b84-b463-470a-bb46-2a47364645be;#216;#industries|3e19349d-0f97-4bdd-98f7-34f9b5c</vt:lpwstr>
  </property>
  <property fmtid="{D5CDD505-2E9C-101B-9397-08002B2CF9AE}" pid="60" name="i0d941ee1e744ffea7aeee9924c91cbb">
    <vt:lpwstr>Industry Priority Solution Areas|da519620-339e-4f67-a536-a8e3db635296</vt:lpwstr>
  </property>
  <property fmtid="{D5CDD505-2E9C-101B-9397-08002B2CF9AE}" pid="61" name="ef109fd36bcf4bcd9dd945731030600b">
    <vt:lpwstr/>
  </property>
  <property fmtid="{D5CDD505-2E9C-101B-9397-08002B2CF9AE}" pid="62" name="TaxKeywordTaxHTField">
    <vt:lpwstr/>
  </property>
  <property fmtid="{D5CDD505-2E9C-101B-9397-08002B2CF9AE}" pid="63" name="b4224c12c78d42ea9b214de0badf8358">
    <vt:lpwstr/>
  </property>
  <property fmtid="{D5CDD505-2E9C-101B-9397-08002B2CF9AE}" pid="64" name="b60f8d2dbb984f349d80d8196897f4d3">
    <vt:lpwstr/>
  </property>
  <property fmtid="{D5CDD505-2E9C-101B-9397-08002B2CF9AE}" pid="65" name="k20e0dfa74bf4e44818db03027b0ccd8">
    <vt:lpwstr/>
  </property>
  <property fmtid="{D5CDD505-2E9C-101B-9397-08002B2CF9AE}" pid="66" name="od9986d31974458fb3007746ec0bce5f">
    <vt:lpwstr/>
  </property>
  <property fmtid="{D5CDD505-2E9C-101B-9397-08002B2CF9AE}" pid="67" name="kf34bcdc8fc34e479d3f94c6210e8e27">
    <vt:lpwstr/>
  </property>
  <property fmtid="{D5CDD505-2E9C-101B-9397-08002B2CF9AE}" pid="68" name="bf80e81150e248c48aa8cffdf0021a1f">
    <vt:lpwstr/>
  </property>
  <property fmtid="{D5CDD505-2E9C-101B-9397-08002B2CF9AE}" pid="69" name="m6c7b4717b6346e6a075a59dd47eac69">
    <vt:lpwstr/>
  </property>
  <property fmtid="{D5CDD505-2E9C-101B-9397-08002B2CF9AE}" pid="70" name="m6d26e40ac264097a006193f92232ece">
    <vt:lpwstr/>
  </property>
  <property fmtid="{D5CDD505-2E9C-101B-9397-08002B2CF9AE}" pid="71" name="ec5b2ad5c27b45fb8a00a1f27c7ce1ae">
    <vt:lpwstr/>
  </property>
  <property fmtid="{D5CDD505-2E9C-101B-9397-08002B2CF9AE}" pid="72" name="CreatedBy">
    <vt:lpwstr/>
  </property>
  <property fmtid="{D5CDD505-2E9C-101B-9397-08002B2CF9AE}" pid="73" name="Update Parent Child Relation">
    <vt:lpwstr>, </vt:lpwstr>
  </property>
  <property fmtid="{D5CDD505-2E9C-101B-9397-08002B2CF9AE}" pid="74" name="Blogallday">
    <vt:bool>false</vt:bool>
  </property>
  <property fmtid="{D5CDD505-2E9C-101B-9397-08002B2CF9AE}" pid="75" name="FeaturedNews">
    <vt:bool>false</vt:bool>
  </property>
  <property fmtid="{D5CDD505-2E9C-101B-9397-08002B2CF9AE}" pid="76" name="Private">
    <vt:bool>true</vt:bool>
  </property>
  <property fmtid="{D5CDD505-2E9C-101B-9397-08002B2CF9AE}" pid="77" name="Support">
    <vt:lpwstr/>
  </property>
  <property fmtid="{D5CDD505-2E9C-101B-9397-08002B2CF9AE}" pid="78" name="OAWF">
    <vt:lpwstr>, </vt:lpwstr>
  </property>
  <property fmtid="{D5CDD505-2E9C-101B-9397-08002B2CF9AE}" pid="79" name="Update Parent Child Relation(1)">
    <vt:lpwstr>, </vt:lpwstr>
  </property>
  <property fmtid="{D5CDD505-2E9C-101B-9397-08002B2CF9AE}" pid="80" name="KMWF">
    <vt:lpwstr>, </vt:lpwstr>
  </property>
  <property fmtid="{D5CDD505-2E9C-101B-9397-08002B2CF9AE}" pid="81" name="Hide Page Title">
    <vt:bool>true</vt:bool>
  </property>
  <property fmtid="{D5CDD505-2E9C-101B-9397-08002B2CF9AE}" pid="82" name="MSIP_Label_f42aa342-8706-4288-bd11-ebb85995028c_Enabled">
    <vt:lpwstr>True</vt:lpwstr>
  </property>
  <property fmtid="{D5CDD505-2E9C-101B-9397-08002B2CF9AE}" pid="83" name="MSIP_Label_f42aa342-8706-4288-bd11-ebb85995028c_SiteId">
    <vt:lpwstr>72f988bf-86f1-41af-91ab-2d7cd011db47</vt:lpwstr>
  </property>
  <property fmtid="{D5CDD505-2E9C-101B-9397-08002B2CF9AE}" pid="84" name="MSIP_Label_f42aa342-8706-4288-bd11-ebb85995028c_Ref">
    <vt:lpwstr>https://api.informationprotection.azure.com/api/72f988bf-86f1-41af-91ab-2d7cd011db47</vt:lpwstr>
  </property>
  <property fmtid="{D5CDD505-2E9C-101B-9397-08002B2CF9AE}" pid="85" name="MSIP_Label_f42aa342-8706-4288-bd11-ebb85995028c_Owner">
    <vt:lpwstr>paulman@microsoft.com</vt:lpwstr>
  </property>
  <property fmtid="{D5CDD505-2E9C-101B-9397-08002B2CF9AE}" pid="86" name="MSIP_Label_f42aa342-8706-4288-bd11-ebb85995028c_SetDate">
    <vt:lpwstr>2017-09-29T18:40:41.4789148-04:00</vt:lpwstr>
  </property>
  <property fmtid="{D5CDD505-2E9C-101B-9397-08002B2CF9AE}" pid="87" name="MSIP_Label_f42aa342-8706-4288-bd11-ebb85995028c_Name">
    <vt:lpwstr>General</vt:lpwstr>
  </property>
  <property fmtid="{D5CDD505-2E9C-101B-9397-08002B2CF9AE}" pid="88" name="MSIP_Label_f42aa342-8706-4288-bd11-ebb85995028c_Application">
    <vt:lpwstr>Microsoft Azure Information Protection</vt:lpwstr>
  </property>
  <property fmtid="{D5CDD505-2E9C-101B-9397-08002B2CF9AE}" pid="89" name="MSIP_Label_f42aa342-8706-4288-bd11-ebb85995028c_Extended_MSFT_Method">
    <vt:lpwstr>Automatic</vt:lpwstr>
  </property>
  <property fmtid="{D5CDD505-2E9C-101B-9397-08002B2CF9AE}" pid="90" name="Sensitivity">
    <vt:lpwstr>General</vt:lpwstr>
  </property>
</Properties>
</file>